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1.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7" r:id="rId4"/>
  </p:sldMasterIdLst>
  <p:notesMasterIdLst>
    <p:notesMasterId r:id="rId57"/>
  </p:notesMasterIdLst>
  <p:sldIdLst>
    <p:sldId id="230717696" r:id="rId5"/>
    <p:sldId id="230717671" r:id="rId6"/>
    <p:sldId id="230717716" r:id="rId7"/>
    <p:sldId id="230717668" r:id="rId8"/>
    <p:sldId id="230717632" r:id="rId9"/>
    <p:sldId id="230717620" r:id="rId10"/>
    <p:sldId id="230717624" r:id="rId11"/>
    <p:sldId id="230717630" r:id="rId12"/>
    <p:sldId id="230717712" r:id="rId13"/>
    <p:sldId id="230717713" r:id="rId14"/>
    <p:sldId id="230717714" r:id="rId15"/>
    <p:sldId id="230717635" r:id="rId16"/>
    <p:sldId id="230717614" r:id="rId17"/>
    <p:sldId id="230717717" r:id="rId18"/>
    <p:sldId id="230717649" r:id="rId19"/>
    <p:sldId id="230717651" r:id="rId20"/>
    <p:sldId id="230717643" r:id="rId21"/>
    <p:sldId id="230717697" r:id="rId22"/>
    <p:sldId id="230717642" r:id="rId23"/>
    <p:sldId id="230717646" r:id="rId24"/>
    <p:sldId id="230717645" r:id="rId25"/>
    <p:sldId id="230717654" r:id="rId26"/>
    <p:sldId id="230717701" r:id="rId27"/>
    <p:sldId id="230717702" r:id="rId28"/>
    <p:sldId id="230717705" r:id="rId29"/>
    <p:sldId id="230717706" r:id="rId30"/>
    <p:sldId id="230717711" r:id="rId31"/>
    <p:sldId id="230717707" r:id="rId32"/>
    <p:sldId id="230717708" r:id="rId33"/>
    <p:sldId id="230717709" r:id="rId34"/>
    <p:sldId id="230717715" r:id="rId35"/>
    <p:sldId id="230717672" r:id="rId36"/>
    <p:sldId id="230717674" r:id="rId37"/>
    <p:sldId id="230717677" r:id="rId38"/>
    <p:sldId id="230717678" r:id="rId39"/>
    <p:sldId id="230717679" r:id="rId40"/>
    <p:sldId id="230717680" r:id="rId41"/>
    <p:sldId id="230717681" r:id="rId42"/>
    <p:sldId id="230717683" r:id="rId43"/>
    <p:sldId id="230717710" r:id="rId44"/>
    <p:sldId id="230717688" r:id="rId45"/>
    <p:sldId id="230717689" r:id="rId46"/>
    <p:sldId id="230717684" r:id="rId47"/>
    <p:sldId id="230717685" r:id="rId48"/>
    <p:sldId id="230717686" r:id="rId49"/>
    <p:sldId id="230717687" r:id="rId50"/>
    <p:sldId id="230717682" r:id="rId51"/>
    <p:sldId id="230717690" r:id="rId52"/>
    <p:sldId id="230717693" r:id="rId53"/>
    <p:sldId id="230717718" r:id="rId54"/>
    <p:sldId id="230717695" r:id="rId55"/>
    <p:sldId id="230717698" r:id="rId56"/>
  </p:sldIdLst>
  <p:sldSz cx="13439775" cy="7559675"/>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59D93174-C906-4071-85D1-459B73E149AC}">
          <p14:sldIdLst>
            <p14:sldId id="230717696"/>
            <p14:sldId id="230717671"/>
            <p14:sldId id="230717716"/>
            <p14:sldId id="230717668"/>
            <p14:sldId id="230717632"/>
            <p14:sldId id="230717620"/>
            <p14:sldId id="230717624"/>
            <p14:sldId id="230717630"/>
            <p14:sldId id="230717712"/>
            <p14:sldId id="230717713"/>
            <p14:sldId id="230717714"/>
            <p14:sldId id="230717635"/>
            <p14:sldId id="230717614"/>
            <p14:sldId id="230717717"/>
            <p14:sldId id="230717649"/>
            <p14:sldId id="230717651"/>
            <p14:sldId id="230717643"/>
            <p14:sldId id="230717697"/>
            <p14:sldId id="230717642"/>
            <p14:sldId id="230717646"/>
            <p14:sldId id="230717645"/>
            <p14:sldId id="230717654"/>
            <p14:sldId id="230717701"/>
            <p14:sldId id="230717702"/>
            <p14:sldId id="230717705"/>
            <p14:sldId id="230717706"/>
            <p14:sldId id="230717711"/>
            <p14:sldId id="230717707"/>
            <p14:sldId id="230717708"/>
            <p14:sldId id="230717709"/>
            <p14:sldId id="230717715"/>
            <p14:sldId id="230717672"/>
            <p14:sldId id="230717674"/>
            <p14:sldId id="230717677"/>
            <p14:sldId id="230717678"/>
            <p14:sldId id="230717679"/>
            <p14:sldId id="230717680"/>
            <p14:sldId id="230717681"/>
            <p14:sldId id="230717683"/>
            <p14:sldId id="230717710"/>
            <p14:sldId id="230717688"/>
            <p14:sldId id="230717689"/>
            <p14:sldId id="230717684"/>
            <p14:sldId id="230717685"/>
            <p14:sldId id="230717686"/>
            <p14:sldId id="230717687"/>
            <p14:sldId id="230717682"/>
            <p14:sldId id="230717690"/>
            <p14:sldId id="230717693"/>
            <p14:sldId id="230717718"/>
            <p14:sldId id="230717695"/>
            <p14:sldId id="230717698"/>
          </p14:sldIdLst>
        </p14:section>
      </p14:sectionLst>
    </p:ext>
    <p:ext uri="{EFAFB233-063F-42B5-8137-9DF3F51BA10A}">
      <p15:sldGuideLst xmlns:p15="http://schemas.microsoft.com/office/powerpoint/2012/main">
        <p15:guide id="10" userDrawn="1">
          <p15:clr>
            <a:srgbClr val="A4A3A4"/>
          </p15:clr>
        </p15:guide>
        <p15:guide id="11" orient="horz" pos="2381"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5E8694-BADD-4E17-748C-2509E7A5EB45}" name="El Bakkouri, Manal" initials="EBM" userId="S::melbakkouri@deloitte.fr::8b130982-2e3f-4164-b881-fd3a2e4b245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DF8F5"/>
    <a:srgbClr val="26890D"/>
    <a:srgbClr val="7FBE26"/>
    <a:srgbClr val="9AD3CE"/>
    <a:srgbClr val="696B71"/>
    <a:srgbClr val="F39F9B"/>
    <a:srgbClr val="D7EFAB"/>
    <a:srgbClr val="FAEBE2"/>
    <a:srgbClr val="F7DFD1"/>
    <a:srgbClr val="F8FC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736030-60C8-430F-BF42-3BA6CD1BB300}" v="6" dt="2024-02-22T08:50:16.0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11" autoAdjust="0"/>
    <p:restoredTop sz="47406" autoAdjust="0"/>
  </p:normalViewPr>
  <p:slideViewPr>
    <p:cSldViewPr snapToGrid="0">
      <p:cViewPr varScale="1">
        <p:scale>
          <a:sx n="33" d="100"/>
          <a:sy n="33" d="100"/>
        </p:scale>
        <p:origin x="1984" y="40"/>
      </p:cViewPr>
      <p:guideLst>
        <p:guide/>
        <p:guide orient="horz" pos="2381"/>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 Bakkouri, Manal" userId="8b130982-2e3f-4164-b881-fd3a2e4b2453" providerId="ADAL" clId="{5D736030-60C8-430F-BF42-3BA6CD1BB300}"/>
    <pc:docChg chg="modSld">
      <pc:chgData name="El Bakkouri, Manal" userId="8b130982-2e3f-4164-b881-fd3a2e4b2453" providerId="ADAL" clId="{5D736030-60C8-430F-BF42-3BA6CD1BB300}" dt="2024-02-22T08:50:16.022" v="1"/>
      <pc:docMkLst>
        <pc:docMk/>
      </pc:docMkLst>
      <pc:sldChg chg="modTransition">
        <pc:chgData name="El Bakkouri, Manal" userId="8b130982-2e3f-4164-b881-fd3a2e4b2453" providerId="ADAL" clId="{5D736030-60C8-430F-BF42-3BA6CD1BB300}" dt="2024-02-22T08:50:16.022" v="1"/>
        <pc:sldMkLst>
          <pc:docMk/>
          <pc:sldMk cId="1796768274" sldId="230717679"/>
        </pc:sldMkLst>
      </pc:sldChg>
    </pc:docChg>
  </pc:docChgLst>
  <pc:docChgLst>
    <pc:chgData name="Manal El Bakkouri" userId="8b130982-2e3f-4164-b881-fd3a2e4b2453" providerId="ADAL" clId="{4457FA57-250B-44AC-8655-05D46C5A3D8A}"/>
    <pc:docChg chg="undo redo custSel addSld delSld modSld sldOrd addSection delSection modSection">
      <pc:chgData name="Manal El Bakkouri" userId="8b130982-2e3f-4164-b881-fd3a2e4b2453" providerId="ADAL" clId="{4457FA57-250B-44AC-8655-05D46C5A3D8A}" dt="2023-06-09T15:12:35.912" v="22861" actId="478"/>
      <pc:docMkLst>
        <pc:docMk/>
      </pc:docMkLst>
      <pc:sldChg chg="del mod modShow">
        <pc:chgData name="Manal El Bakkouri" userId="8b130982-2e3f-4164-b881-fd3a2e4b2453" providerId="ADAL" clId="{4457FA57-250B-44AC-8655-05D46C5A3D8A}" dt="2023-06-01T18:48:33.711" v="2476" actId="2696"/>
        <pc:sldMkLst>
          <pc:docMk/>
          <pc:sldMk cId="3270476557" sldId="263"/>
        </pc:sldMkLst>
      </pc:sldChg>
      <pc:sldChg chg="addSp delSp modSp del mod modShow delCm">
        <pc:chgData name="Manal El Bakkouri" userId="8b130982-2e3f-4164-b881-fd3a2e4b2453" providerId="ADAL" clId="{4457FA57-250B-44AC-8655-05D46C5A3D8A}" dt="2023-06-06T08:17:48.420" v="8574" actId="2696"/>
        <pc:sldMkLst>
          <pc:docMk/>
          <pc:sldMk cId="3629079265" sldId="264"/>
        </pc:sldMkLst>
        <pc:spChg chg="add mod">
          <ac:chgData name="Manal El Bakkouri" userId="8b130982-2e3f-4164-b881-fd3a2e4b2453" providerId="ADAL" clId="{4457FA57-250B-44AC-8655-05D46C5A3D8A}" dt="2023-05-31T15:06:39.408" v="31" actId="571"/>
          <ac:spMkLst>
            <pc:docMk/>
            <pc:sldMk cId="3629079265" sldId="264"/>
            <ac:spMk id="190" creationId="{8A0DBEB5-91DE-4CAD-B9B8-5DCF43679738}"/>
          </ac:spMkLst>
        </pc:spChg>
        <pc:spChg chg="add del mod">
          <ac:chgData name="Manal El Bakkouri" userId="8b130982-2e3f-4164-b881-fd3a2e4b2453" providerId="ADAL" clId="{4457FA57-250B-44AC-8655-05D46C5A3D8A}" dt="2023-05-31T15:08:14.706" v="42" actId="478"/>
          <ac:spMkLst>
            <pc:docMk/>
            <pc:sldMk cId="3629079265" sldId="264"/>
            <ac:spMk id="191" creationId="{83A3BF4D-0672-4281-AAF2-8638FE7C794D}"/>
          </ac:spMkLst>
        </pc:spChg>
        <pc:spChg chg="add mod">
          <ac:chgData name="Manal El Bakkouri" userId="8b130982-2e3f-4164-b881-fd3a2e4b2453" providerId="ADAL" clId="{4457FA57-250B-44AC-8655-05D46C5A3D8A}" dt="2023-06-01T11:31:43.836" v="965" actId="207"/>
          <ac:spMkLst>
            <pc:docMk/>
            <pc:sldMk cId="3629079265" sldId="264"/>
            <ac:spMk id="192" creationId="{9E098C64-8CFF-4973-BF57-E088FF18628A}"/>
          </ac:spMkLst>
        </pc:spChg>
        <pc:spChg chg="mod">
          <ac:chgData name="Manal El Bakkouri" userId="8b130982-2e3f-4164-b881-fd3a2e4b2453" providerId="ADAL" clId="{4457FA57-250B-44AC-8655-05D46C5A3D8A}" dt="2023-06-01T11:31:40.712" v="964" actId="207"/>
          <ac:spMkLst>
            <pc:docMk/>
            <pc:sldMk cId="3629079265" sldId="264"/>
            <ac:spMk id="211" creationId="{6D531BC2-2CC5-4125-8E9F-094481C7BF2A}"/>
          </ac:spMkLst>
        </pc:spChg>
        <pc:spChg chg="del">
          <ac:chgData name="Manal El Bakkouri" userId="8b130982-2e3f-4164-b881-fd3a2e4b2453" providerId="ADAL" clId="{4457FA57-250B-44AC-8655-05D46C5A3D8A}" dt="2023-05-31T15:08:03.344" v="40" actId="478"/>
          <ac:spMkLst>
            <pc:docMk/>
            <pc:sldMk cId="3629079265" sldId="264"/>
            <ac:spMk id="212" creationId="{5036E86C-2E29-4335-9BF8-30B9C6420A14}"/>
          </ac:spMkLst>
        </pc:spChg>
        <pc:spChg chg="mod">
          <ac:chgData name="Manal El Bakkouri" userId="8b130982-2e3f-4164-b881-fd3a2e4b2453" providerId="ADAL" clId="{4457FA57-250B-44AC-8655-05D46C5A3D8A}" dt="2023-06-01T11:31:48.162" v="968" actId="207"/>
          <ac:spMkLst>
            <pc:docMk/>
            <pc:sldMk cId="3629079265" sldId="264"/>
            <ac:spMk id="216" creationId="{F632B6E7-E369-47D3-BE81-18498F18AD2C}"/>
          </ac:spMkLst>
        </pc:spChg>
        <pc:spChg chg="del">
          <ac:chgData name="Manal El Bakkouri" userId="8b130982-2e3f-4164-b881-fd3a2e4b2453" providerId="ADAL" clId="{4457FA57-250B-44AC-8655-05D46C5A3D8A}" dt="2023-05-31T15:07:07.461" v="35" actId="478"/>
          <ac:spMkLst>
            <pc:docMk/>
            <pc:sldMk cId="3629079265" sldId="264"/>
            <ac:spMk id="218" creationId="{D5277337-9A2A-405D-B7E6-565B36A2EB79}"/>
          </ac:spMkLst>
        </pc:spChg>
        <pc:spChg chg="mod topLvl">
          <ac:chgData name="Manal El Bakkouri" userId="8b130982-2e3f-4164-b881-fd3a2e4b2453" providerId="ADAL" clId="{4457FA57-250B-44AC-8655-05D46C5A3D8A}" dt="2023-05-31T15:08:50.666" v="50" actId="404"/>
          <ac:spMkLst>
            <pc:docMk/>
            <pc:sldMk cId="3629079265" sldId="264"/>
            <ac:spMk id="220" creationId="{670BD2D6-C0B1-4ADF-92B6-B7FA8F8FB45A}"/>
          </ac:spMkLst>
        </pc:spChg>
        <pc:spChg chg="mod topLvl">
          <ac:chgData name="Manal El Bakkouri" userId="8b130982-2e3f-4164-b881-fd3a2e4b2453" providerId="ADAL" clId="{4457FA57-250B-44AC-8655-05D46C5A3D8A}" dt="2023-05-31T15:09:04.106" v="53" actId="14100"/>
          <ac:spMkLst>
            <pc:docMk/>
            <pc:sldMk cId="3629079265" sldId="264"/>
            <ac:spMk id="221" creationId="{819FCDBF-2B1F-4DCF-978E-1903108EA020}"/>
          </ac:spMkLst>
        </pc:spChg>
        <pc:spChg chg="del">
          <ac:chgData name="Manal El Bakkouri" userId="8b130982-2e3f-4164-b881-fd3a2e4b2453" providerId="ADAL" clId="{4457FA57-250B-44AC-8655-05D46C5A3D8A}" dt="2023-05-31T15:05:49.558" v="22" actId="478"/>
          <ac:spMkLst>
            <pc:docMk/>
            <pc:sldMk cId="3629079265" sldId="264"/>
            <ac:spMk id="222" creationId="{5644CA3D-84F7-4F6D-87A2-C24884C8328B}"/>
          </ac:spMkLst>
        </pc:spChg>
        <pc:spChg chg="mod">
          <ac:chgData name="Manal El Bakkouri" userId="8b130982-2e3f-4164-b881-fd3a2e4b2453" providerId="ADAL" clId="{4457FA57-250B-44AC-8655-05D46C5A3D8A}" dt="2023-06-01T11:31:58.823" v="970" actId="207"/>
          <ac:spMkLst>
            <pc:docMk/>
            <pc:sldMk cId="3629079265" sldId="264"/>
            <ac:spMk id="230" creationId="{287AE7B2-1276-455D-9605-BFE9497406F9}"/>
          </ac:spMkLst>
        </pc:spChg>
        <pc:spChg chg="del">
          <ac:chgData name="Manal El Bakkouri" userId="8b130982-2e3f-4164-b881-fd3a2e4b2453" providerId="ADAL" clId="{4457FA57-250B-44AC-8655-05D46C5A3D8A}" dt="2023-05-31T15:05:47.531" v="21" actId="478"/>
          <ac:spMkLst>
            <pc:docMk/>
            <pc:sldMk cId="3629079265" sldId="264"/>
            <ac:spMk id="232" creationId="{B65DD59D-90E8-4682-AD87-DD3AD1E9D683}"/>
          </ac:spMkLst>
        </pc:spChg>
        <pc:spChg chg="mod">
          <ac:chgData name="Manal El Bakkouri" userId="8b130982-2e3f-4164-b881-fd3a2e4b2453" providerId="ADAL" clId="{4457FA57-250B-44AC-8655-05D46C5A3D8A}" dt="2023-06-01T11:31:53.033" v="969" actId="207"/>
          <ac:spMkLst>
            <pc:docMk/>
            <pc:sldMk cId="3629079265" sldId="264"/>
            <ac:spMk id="233" creationId="{717C4238-227A-4D8F-A4BA-A0B6AE804B05}"/>
          </ac:spMkLst>
        </pc:spChg>
        <pc:grpChg chg="add del mod">
          <ac:chgData name="Manal El Bakkouri" userId="8b130982-2e3f-4164-b881-fd3a2e4b2453" providerId="ADAL" clId="{4457FA57-250B-44AC-8655-05D46C5A3D8A}" dt="2023-05-31T15:06:21.328" v="26" actId="165"/>
          <ac:grpSpMkLst>
            <pc:docMk/>
            <pc:sldMk cId="3629079265" sldId="264"/>
            <ac:grpSpMk id="2" creationId="{C7FFE0F0-0C21-471E-A1C0-306FB808BD05}"/>
          </ac:grpSpMkLst>
        </pc:grpChg>
      </pc:sldChg>
      <pc:sldChg chg="modSp add del mod modShow">
        <pc:chgData name="Manal El Bakkouri" userId="8b130982-2e3f-4164-b881-fd3a2e4b2453" providerId="ADAL" clId="{4457FA57-250B-44AC-8655-05D46C5A3D8A}" dt="2023-06-06T10:56:09.360" v="9825" actId="2696"/>
        <pc:sldMkLst>
          <pc:docMk/>
          <pc:sldMk cId="3693186348" sldId="266"/>
        </pc:sldMkLst>
        <pc:spChg chg="mod">
          <ac:chgData name="Manal El Bakkouri" userId="8b130982-2e3f-4164-b881-fd3a2e4b2453" providerId="ADAL" clId="{4457FA57-250B-44AC-8655-05D46C5A3D8A}" dt="2023-06-01T15:11:56.409" v="2017" actId="1076"/>
          <ac:spMkLst>
            <pc:docMk/>
            <pc:sldMk cId="3693186348" sldId="266"/>
            <ac:spMk id="60" creationId="{6A96E425-90AB-4DBB-A49D-F79C458992A0}"/>
          </ac:spMkLst>
        </pc:spChg>
        <pc:spChg chg="mod">
          <ac:chgData name="Manal El Bakkouri" userId="8b130982-2e3f-4164-b881-fd3a2e4b2453" providerId="ADAL" clId="{4457FA57-250B-44AC-8655-05D46C5A3D8A}" dt="2023-06-01T15:11:56.409" v="2017" actId="1076"/>
          <ac:spMkLst>
            <pc:docMk/>
            <pc:sldMk cId="3693186348" sldId="266"/>
            <ac:spMk id="61" creationId="{355BB64A-DA2E-4CFC-8BD9-EC21352718F0}"/>
          </ac:spMkLst>
        </pc:spChg>
        <pc:spChg chg="mod">
          <ac:chgData name="Manal El Bakkouri" userId="8b130982-2e3f-4164-b881-fd3a2e4b2453" providerId="ADAL" clId="{4457FA57-250B-44AC-8655-05D46C5A3D8A}" dt="2023-06-01T15:11:56.409" v="2017" actId="1076"/>
          <ac:spMkLst>
            <pc:docMk/>
            <pc:sldMk cId="3693186348" sldId="266"/>
            <ac:spMk id="62" creationId="{3E81F2BC-2152-4047-825E-68C4E551E8CA}"/>
          </ac:spMkLst>
        </pc:spChg>
        <pc:spChg chg="mod">
          <ac:chgData name="Manal El Bakkouri" userId="8b130982-2e3f-4164-b881-fd3a2e4b2453" providerId="ADAL" clId="{4457FA57-250B-44AC-8655-05D46C5A3D8A}" dt="2023-06-01T15:11:56.409" v="2017" actId="1076"/>
          <ac:spMkLst>
            <pc:docMk/>
            <pc:sldMk cId="3693186348" sldId="266"/>
            <ac:spMk id="64" creationId="{2172BF4D-4BF1-4310-8589-037A1E52990F}"/>
          </ac:spMkLst>
        </pc:spChg>
        <pc:graphicFrameChg chg="mod">
          <ac:chgData name="Manal El Bakkouri" userId="8b130982-2e3f-4164-b881-fd3a2e4b2453" providerId="ADAL" clId="{4457FA57-250B-44AC-8655-05D46C5A3D8A}" dt="2023-06-01T15:11:56.409" v="2017" actId="1076"/>
          <ac:graphicFrameMkLst>
            <pc:docMk/>
            <pc:sldMk cId="3693186348" sldId="266"/>
            <ac:graphicFrameMk id="57" creationId="{B2D771BE-3470-4138-8B48-7D1E283AF96B}"/>
          </ac:graphicFrameMkLst>
        </pc:graphicFrameChg>
        <pc:graphicFrameChg chg="mod">
          <ac:chgData name="Manal El Bakkouri" userId="8b130982-2e3f-4164-b881-fd3a2e4b2453" providerId="ADAL" clId="{4457FA57-250B-44AC-8655-05D46C5A3D8A}" dt="2023-06-01T15:11:56.409" v="2017" actId="1076"/>
          <ac:graphicFrameMkLst>
            <pc:docMk/>
            <pc:sldMk cId="3693186348" sldId="266"/>
            <ac:graphicFrameMk id="58" creationId="{6873DC52-7AB6-4E4B-957E-835E9700D57A}"/>
          </ac:graphicFrameMkLst>
        </pc:graphicFrameChg>
        <pc:graphicFrameChg chg="mod">
          <ac:chgData name="Manal El Bakkouri" userId="8b130982-2e3f-4164-b881-fd3a2e4b2453" providerId="ADAL" clId="{4457FA57-250B-44AC-8655-05D46C5A3D8A}" dt="2023-06-01T15:11:56.409" v="2017" actId="1076"/>
          <ac:graphicFrameMkLst>
            <pc:docMk/>
            <pc:sldMk cId="3693186348" sldId="266"/>
            <ac:graphicFrameMk id="59" creationId="{036AC884-7DD6-4A3A-8221-71CD3EB7C626}"/>
          </ac:graphicFrameMkLst>
        </pc:graphicFrameChg>
        <pc:cxnChg chg="mod">
          <ac:chgData name="Manal El Bakkouri" userId="8b130982-2e3f-4164-b881-fd3a2e4b2453" providerId="ADAL" clId="{4457FA57-250B-44AC-8655-05D46C5A3D8A}" dt="2023-06-01T15:11:56.409" v="2017" actId="1076"/>
          <ac:cxnSpMkLst>
            <pc:docMk/>
            <pc:sldMk cId="3693186348" sldId="266"/>
            <ac:cxnSpMk id="63" creationId="{62786766-40D0-4176-99A8-3DCD2ACCD8F8}"/>
          </ac:cxnSpMkLst>
        </pc:cxnChg>
      </pc:sldChg>
      <pc:sldChg chg="add del mod modShow">
        <pc:chgData name="Manal El Bakkouri" userId="8b130982-2e3f-4164-b881-fd3a2e4b2453" providerId="ADAL" clId="{4457FA57-250B-44AC-8655-05D46C5A3D8A}" dt="2023-06-09T14:51:48.266" v="22742" actId="2696"/>
        <pc:sldMkLst>
          <pc:docMk/>
          <pc:sldMk cId="2798750017" sldId="1229"/>
        </pc:sldMkLst>
      </pc:sldChg>
      <pc:sldChg chg="addSp delSp modSp mod ord modShow modNotesTx">
        <pc:chgData name="Manal El Bakkouri" userId="8b130982-2e3f-4164-b881-fd3a2e4b2453" providerId="ADAL" clId="{4457FA57-250B-44AC-8655-05D46C5A3D8A}" dt="2023-06-09T11:25:26.035" v="21694"/>
        <pc:sldMkLst>
          <pc:docMk/>
          <pc:sldMk cId="929834127" sldId="230717614"/>
        </pc:sldMkLst>
        <pc:spChg chg="add mod">
          <ac:chgData name="Manal El Bakkouri" userId="8b130982-2e3f-4164-b881-fd3a2e4b2453" providerId="ADAL" clId="{4457FA57-250B-44AC-8655-05D46C5A3D8A}" dt="2023-06-09T11:25:26.035" v="21694"/>
          <ac:spMkLst>
            <pc:docMk/>
            <pc:sldMk cId="929834127" sldId="230717614"/>
            <ac:spMk id="13" creationId="{AE3D4332-8CF2-4F35-A991-D01EB8DE6F93}"/>
          </ac:spMkLst>
        </pc:spChg>
        <pc:spChg chg="add mod">
          <ac:chgData name="Manal El Bakkouri" userId="8b130982-2e3f-4164-b881-fd3a2e4b2453" providerId="ADAL" clId="{4457FA57-250B-44AC-8655-05D46C5A3D8A}" dt="2023-06-09T11:25:26.035" v="21694"/>
          <ac:spMkLst>
            <pc:docMk/>
            <pc:sldMk cId="929834127" sldId="230717614"/>
            <ac:spMk id="14" creationId="{B8AAD59A-5CB8-4150-846E-C1C77E2978E7}"/>
          </ac:spMkLst>
        </pc:spChg>
        <pc:spChg chg="add del mod">
          <ac:chgData name="Manal El Bakkouri" userId="8b130982-2e3f-4164-b881-fd3a2e4b2453" providerId="ADAL" clId="{4457FA57-250B-44AC-8655-05D46C5A3D8A}" dt="2023-06-06T10:25:01.224" v="9632"/>
          <ac:spMkLst>
            <pc:docMk/>
            <pc:sldMk cId="929834127" sldId="230717614"/>
            <ac:spMk id="14" creationId="{BDC6CA82-770A-4CD6-BDBC-465BDB7CE3A8}"/>
          </ac:spMkLst>
        </pc:spChg>
        <pc:spChg chg="add del mod">
          <ac:chgData name="Manal El Bakkouri" userId="8b130982-2e3f-4164-b881-fd3a2e4b2453" providerId="ADAL" clId="{4457FA57-250B-44AC-8655-05D46C5A3D8A}" dt="2023-06-06T10:25:01.224" v="9632"/>
          <ac:spMkLst>
            <pc:docMk/>
            <pc:sldMk cId="929834127" sldId="230717614"/>
            <ac:spMk id="15" creationId="{14E50F77-0085-4C51-9F2F-03223628F13E}"/>
          </ac:spMkLst>
        </pc:spChg>
        <pc:spChg chg="add mod">
          <ac:chgData name="Manal El Bakkouri" userId="8b130982-2e3f-4164-b881-fd3a2e4b2453" providerId="ADAL" clId="{4457FA57-250B-44AC-8655-05D46C5A3D8A}" dt="2023-06-09T11:25:26.035" v="21694"/>
          <ac:spMkLst>
            <pc:docMk/>
            <pc:sldMk cId="929834127" sldId="230717614"/>
            <ac:spMk id="15" creationId="{E3870215-2EFC-46A3-992A-3B4138FECCBF}"/>
          </ac:spMkLst>
        </pc:spChg>
        <pc:spChg chg="add del mod">
          <ac:chgData name="Manal El Bakkouri" userId="8b130982-2e3f-4164-b881-fd3a2e4b2453" providerId="ADAL" clId="{4457FA57-250B-44AC-8655-05D46C5A3D8A}" dt="2023-06-06T10:25:01.224" v="9632"/>
          <ac:spMkLst>
            <pc:docMk/>
            <pc:sldMk cId="929834127" sldId="230717614"/>
            <ac:spMk id="17" creationId="{BF7C8881-B12E-4915-8233-2BE2CE2252D8}"/>
          </ac:spMkLst>
        </pc:spChg>
        <pc:spChg chg="add mod">
          <ac:chgData name="Manal El Bakkouri" userId="8b130982-2e3f-4164-b881-fd3a2e4b2453" providerId="ADAL" clId="{4457FA57-250B-44AC-8655-05D46C5A3D8A}" dt="2023-06-09T11:25:26.035" v="21694"/>
          <ac:spMkLst>
            <pc:docMk/>
            <pc:sldMk cId="929834127" sldId="230717614"/>
            <ac:spMk id="17" creationId="{F6BFB3B8-EA58-4337-AD3D-C97357604073}"/>
          </ac:spMkLst>
        </pc:spChg>
        <pc:spChg chg="add del mod">
          <ac:chgData name="Manal El Bakkouri" userId="8b130982-2e3f-4164-b881-fd3a2e4b2453" providerId="ADAL" clId="{4457FA57-250B-44AC-8655-05D46C5A3D8A}" dt="2023-06-06T10:25:01.224" v="9632"/>
          <ac:spMkLst>
            <pc:docMk/>
            <pc:sldMk cId="929834127" sldId="230717614"/>
            <ac:spMk id="18" creationId="{967AE28F-EE1C-4472-9CA5-D901519E460F}"/>
          </ac:spMkLst>
        </pc:spChg>
        <pc:spChg chg="add del mod">
          <ac:chgData name="Manal El Bakkouri" userId="8b130982-2e3f-4164-b881-fd3a2e4b2453" providerId="ADAL" clId="{4457FA57-250B-44AC-8655-05D46C5A3D8A}" dt="2023-06-06T10:25:01.224" v="9632"/>
          <ac:spMkLst>
            <pc:docMk/>
            <pc:sldMk cId="929834127" sldId="230717614"/>
            <ac:spMk id="19" creationId="{488A8F49-1584-42A3-8B77-99C3F574FFB2}"/>
          </ac:spMkLst>
        </pc:spChg>
        <pc:spChg chg="add del mod">
          <ac:chgData name="Manal El Bakkouri" userId="8b130982-2e3f-4164-b881-fd3a2e4b2453" providerId="ADAL" clId="{4457FA57-250B-44AC-8655-05D46C5A3D8A}" dt="2023-06-06T10:25:01.224" v="9632"/>
          <ac:spMkLst>
            <pc:docMk/>
            <pc:sldMk cId="929834127" sldId="230717614"/>
            <ac:spMk id="20" creationId="{9EC8C04B-32B5-4B98-8E8C-19F3595ADEA8}"/>
          </ac:spMkLst>
        </pc:spChg>
        <pc:spChg chg="add del mod">
          <ac:chgData name="Manal El Bakkouri" userId="8b130982-2e3f-4164-b881-fd3a2e4b2453" providerId="ADAL" clId="{4457FA57-250B-44AC-8655-05D46C5A3D8A}" dt="2023-06-06T10:25:01.224" v="9632"/>
          <ac:spMkLst>
            <pc:docMk/>
            <pc:sldMk cId="929834127" sldId="230717614"/>
            <ac:spMk id="21" creationId="{4515ABC7-6187-4083-86A9-6EC44C24EBD2}"/>
          </ac:spMkLst>
        </pc:spChg>
        <pc:spChg chg="add del mod">
          <ac:chgData name="Manal El Bakkouri" userId="8b130982-2e3f-4164-b881-fd3a2e4b2453" providerId="ADAL" clId="{4457FA57-250B-44AC-8655-05D46C5A3D8A}" dt="2023-06-06T10:25:01.224" v="9632"/>
          <ac:spMkLst>
            <pc:docMk/>
            <pc:sldMk cId="929834127" sldId="230717614"/>
            <ac:spMk id="22" creationId="{97882081-85AE-44AE-B60B-AD40C5FBCD5B}"/>
          </ac:spMkLst>
        </pc:spChg>
        <pc:spChg chg="add del mod">
          <ac:chgData name="Manal El Bakkouri" userId="8b130982-2e3f-4164-b881-fd3a2e4b2453" providerId="ADAL" clId="{4457FA57-250B-44AC-8655-05D46C5A3D8A}" dt="2023-06-06T10:25:01.224" v="9632"/>
          <ac:spMkLst>
            <pc:docMk/>
            <pc:sldMk cId="929834127" sldId="230717614"/>
            <ac:spMk id="23" creationId="{BAC49DB3-9DAB-488F-88D4-97EF510925D8}"/>
          </ac:spMkLst>
        </pc:spChg>
        <pc:spChg chg="add del mod">
          <ac:chgData name="Manal El Bakkouri" userId="8b130982-2e3f-4164-b881-fd3a2e4b2453" providerId="ADAL" clId="{4457FA57-250B-44AC-8655-05D46C5A3D8A}" dt="2023-06-09T11:25:25.092" v="21693" actId="478"/>
          <ac:spMkLst>
            <pc:docMk/>
            <pc:sldMk cId="929834127" sldId="230717614"/>
            <ac:spMk id="24" creationId="{8405CC3D-65E4-45FF-9A6C-84BF1B5AF414}"/>
          </ac:spMkLst>
        </pc:spChg>
        <pc:spChg chg="add del mod">
          <ac:chgData name="Manal El Bakkouri" userId="8b130982-2e3f-4164-b881-fd3a2e4b2453" providerId="ADAL" clId="{4457FA57-250B-44AC-8655-05D46C5A3D8A}" dt="2023-06-09T11:25:25.092" v="21693" actId="478"/>
          <ac:spMkLst>
            <pc:docMk/>
            <pc:sldMk cId="929834127" sldId="230717614"/>
            <ac:spMk id="25" creationId="{4969B0DB-1349-46A4-B791-876DED267B9A}"/>
          </ac:spMkLst>
        </pc:spChg>
        <pc:spChg chg="add mod">
          <ac:chgData name="Manal El Bakkouri" userId="8b130982-2e3f-4164-b881-fd3a2e4b2453" providerId="ADAL" clId="{4457FA57-250B-44AC-8655-05D46C5A3D8A}" dt="2023-06-06T10:25:03.557" v="9634"/>
          <ac:spMkLst>
            <pc:docMk/>
            <pc:sldMk cId="929834127" sldId="230717614"/>
            <ac:spMk id="26" creationId="{F7F9A31F-795E-4202-99C5-22D06683EE56}"/>
          </ac:spMkLst>
        </pc:spChg>
        <pc:spChg chg="add mod">
          <ac:chgData name="Manal El Bakkouri" userId="8b130982-2e3f-4164-b881-fd3a2e4b2453" providerId="ADAL" clId="{4457FA57-250B-44AC-8655-05D46C5A3D8A}" dt="2023-06-06T10:25:30.900" v="9641" actId="207"/>
          <ac:spMkLst>
            <pc:docMk/>
            <pc:sldMk cId="929834127" sldId="230717614"/>
            <ac:spMk id="27" creationId="{612CDDE0-8295-47E3-8E93-E36CE3D124AA}"/>
          </ac:spMkLst>
        </pc:spChg>
        <pc:spChg chg="add del mod">
          <ac:chgData name="Manal El Bakkouri" userId="8b130982-2e3f-4164-b881-fd3a2e4b2453" providerId="ADAL" clId="{4457FA57-250B-44AC-8655-05D46C5A3D8A}" dt="2023-06-09T11:25:25.092" v="21693" actId="478"/>
          <ac:spMkLst>
            <pc:docMk/>
            <pc:sldMk cId="929834127" sldId="230717614"/>
            <ac:spMk id="28" creationId="{3E24DB7E-743E-4058-90F7-778E3B786E77}"/>
          </ac:spMkLst>
        </pc:spChg>
        <pc:spChg chg="add mod">
          <ac:chgData name="Manal El Bakkouri" userId="8b130982-2e3f-4164-b881-fd3a2e4b2453" providerId="ADAL" clId="{4457FA57-250B-44AC-8655-05D46C5A3D8A}" dt="2023-06-06T10:25:03.557" v="9634"/>
          <ac:spMkLst>
            <pc:docMk/>
            <pc:sldMk cId="929834127" sldId="230717614"/>
            <ac:spMk id="29" creationId="{A4C391BE-E987-4C29-8D0E-404746451AFB}"/>
          </ac:spMkLst>
        </pc:spChg>
        <pc:spChg chg="add mod">
          <ac:chgData name="Manal El Bakkouri" userId="8b130982-2e3f-4164-b881-fd3a2e4b2453" providerId="ADAL" clId="{4457FA57-250B-44AC-8655-05D46C5A3D8A}" dt="2023-06-06T10:25:17.542" v="9638" actId="207"/>
          <ac:spMkLst>
            <pc:docMk/>
            <pc:sldMk cId="929834127" sldId="230717614"/>
            <ac:spMk id="30" creationId="{C3508D52-2580-4D0C-80FB-92DFDBBC5DC0}"/>
          </ac:spMkLst>
        </pc:spChg>
        <pc:spChg chg="add mod">
          <ac:chgData name="Manal El Bakkouri" userId="8b130982-2e3f-4164-b881-fd3a2e4b2453" providerId="ADAL" clId="{4457FA57-250B-44AC-8655-05D46C5A3D8A}" dt="2023-06-06T10:25:41.124" v="9644" actId="207"/>
          <ac:spMkLst>
            <pc:docMk/>
            <pc:sldMk cId="929834127" sldId="230717614"/>
            <ac:spMk id="31" creationId="{203B5515-2FDE-4BD1-A8A9-258BA207D832}"/>
          </ac:spMkLst>
        </pc:spChg>
        <pc:spChg chg="add mod">
          <ac:chgData name="Manal El Bakkouri" userId="8b130982-2e3f-4164-b881-fd3a2e4b2453" providerId="ADAL" clId="{4457FA57-250B-44AC-8655-05D46C5A3D8A}" dt="2023-06-06T10:31:06.314" v="9726" actId="1036"/>
          <ac:spMkLst>
            <pc:docMk/>
            <pc:sldMk cId="929834127" sldId="230717614"/>
            <ac:spMk id="32" creationId="{73E7C8FE-1436-4E11-84CF-7D7515C003FD}"/>
          </ac:spMkLst>
        </pc:spChg>
        <pc:spChg chg="del">
          <ac:chgData name="Manal El Bakkouri" userId="8b130982-2e3f-4164-b881-fd3a2e4b2453" providerId="ADAL" clId="{4457FA57-250B-44AC-8655-05D46C5A3D8A}" dt="2023-06-06T10:25:02.743" v="9633" actId="478"/>
          <ac:spMkLst>
            <pc:docMk/>
            <pc:sldMk cId="929834127" sldId="230717614"/>
            <ac:spMk id="33" creationId="{19427609-0E9B-415B-B7DE-A5953A05E06D}"/>
          </ac:spMkLst>
        </pc:spChg>
        <pc:spChg chg="del">
          <ac:chgData name="Manal El Bakkouri" userId="8b130982-2e3f-4164-b881-fd3a2e4b2453" providerId="ADAL" clId="{4457FA57-250B-44AC-8655-05D46C5A3D8A}" dt="2023-06-06T10:25:02.743" v="9633" actId="478"/>
          <ac:spMkLst>
            <pc:docMk/>
            <pc:sldMk cId="929834127" sldId="230717614"/>
            <ac:spMk id="34" creationId="{ACDEC103-AB2D-4453-BFC3-E61636762E8D}"/>
          </ac:spMkLst>
        </pc:spChg>
        <pc:spChg chg="del">
          <ac:chgData name="Manal El Bakkouri" userId="8b130982-2e3f-4164-b881-fd3a2e4b2453" providerId="ADAL" clId="{4457FA57-250B-44AC-8655-05D46C5A3D8A}" dt="2023-06-06T10:25:02.743" v="9633" actId="478"/>
          <ac:spMkLst>
            <pc:docMk/>
            <pc:sldMk cId="929834127" sldId="230717614"/>
            <ac:spMk id="35" creationId="{E156B3A2-B3BF-469B-96A0-0976D528D628}"/>
          </ac:spMkLst>
        </pc:spChg>
        <pc:spChg chg="del">
          <ac:chgData name="Manal El Bakkouri" userId="8b130982-2e3f-4164-b881-fd3a2e4b2453" providerId="ADAL" clId="{4457FA57-250B-44AC-8655-05D46C5A3D8A}" dt="2023-06-06T10:25:02.743" v="9633" actId="478"/>
          <ac:spMkLst>
            <pc:docMk/>
            <pc:sldMk cId="929834127" sldId="230717614"/>
            <ac:spMk id="36" creationId="{EA7CC9AD-E1D7-435B-85D6-A6E2A5812E51}"/>
          </ac:spMkLst>
        </pc:spChg>
        <pc:spChg chg="del">
          <ac:chgData name="Manal El Bakkouri" userId="8b130982-2e3f-4164-b881-fd3a2e4b2453" providerId="ADAL" clId="{4457FA57-250B-44AC-8655-05D46C5A3D8A}" dt="2023-06-06T10:25:02.743" v="9633" actId="478"/>
          <ac:spMkLst>
            <pc:docMk/>
            <pc:sldMk cId="929834127" sldId="230717614"/>
            <ac:spMk id="37" creationId="{79BDA702-2741-44FC-ABF5-6210091AB3C1}"/>
          </ac:spMkLst>
        </pc:spChg>
        <pc:spChg chg="del">
          <ac:chgData name="Manal El Bakkouri" userId="8b130982-2e3f-4164-b881-fd3a2e4b2453" providerId="ADAL" clId="{4457FA57-250B-44AC-8655-05D46C5A3D8A}" dt="2023-06-06T10:25:02.743" v="9633" actId="478"/>
          <ac:spMkLst>
            <pc:docMk/>
            <pc:sldMk cId="929834127" sldId="230717614"/>
            <ac:spMk id="38" creationId="{BD36A635-3E49-4953-90CF-31A258C3F147}"/>
          </ac:spMkLst>
        </pc:spChg>
        <pc:spChg chg="del">
          <ac:chgData name="Manal El Bakkouri" userId="8b130982-2e3f-4164-b881-fd3a2e4b2453" providerId="ADAL" clId="{4457FA57-250B-44AC-8655-05D46C5A3D8A}" dt="2023-06-06T10:25:02.743" v="9633" actId="478"/>
          <ac:spMkLst>
            <pc:docMk/>
            <pc:sldMk cId="929834127" sldId="230717614"/>
            <ac:spMk id="39" creationId="{0036ACDD-A6B4-4A24-9040-94EAE2CEC013}"/>
          </ac:spMkLst>
        </pc:spChg>
        <pc:spChg chg="del">
          <ac:chgData name="Manal El Bakkouri" userId="8b130982-2e3f-4164-b881-fd3a2e4b2453" providerId="ADAL" clId="{4457FA57-250B-44AC-8655-05D46C5A3D8A}" dt="2023-06-06T10:25:02.743" v="9633" actId="478"/>
          <ac:spMkLst>
            <pc:docMk/>
            <pc:sldMk cId="929834127" sldId="230717614"/>
            <ac:spMk id="40" creationId="{D2F05A72-D7A1-4A84-988D-A2BF5A81436F}"/>
          </ac:spMkLst>
        </pc:spChg>
        <pc:spChg chg="del mod">
          <ac:chgData name="Manal El Bakkouri" userId="8b130982-2e3f-4164-b881-fd3a2e4b2453" providerId="ADAL" clId="{4457FA57-250B-44AC-8655-05D46C5A3D8A}" dt="2023-06-06T10:25:02.743" v="9633" actId="478"/>
          <ac:spMkLst>
            <pc:docMk/>
            <pc:sldMk cId="929834127" sldId="230717614"/>
            <ac:spMk id="41" creationId="{E8185DEA-5EB2-434A-B24A-CE9E2D230904}"/>
          </ac:spMkLst>
        </pc:spChg>
        <pc:spChg chg="del">
          <ac:chgData name="Manal El Bakkouri" userId="8b130982-2e3f-4164-b881-fd3a2e4b2453" providerId="ADAL" clId="{4457FA57-250B-44AC-8655-05D46C5A3D8A}" dt="2023-06-06T10:25:02.743" v="9633" actId="478"/>
          <ac:spMkLst>
            <pc:docMk/>
            <pc:sldMk cId="929834127" sldId="230717614"/>
            <ac:spMk id="42" creationId="{A3B78CEB-24E9-4599-BA33-3420875311EF}"/>
          </ac:spMkLst>
        </pc:spChg>
        <pc:spChg chg="add mod">
          <ac:chgData name="Manal El Bakkouri" userId="8b130982-2e3f-4164-b881-fd3a2e4b2453" providerId="ADAL" clId="{4457FA57-250B-44AC-8655-05D46C5A3D8A}" dt="2023-06-06T10:25:28.026" v="9640" actId="571"/>
          <ac:spMkLst>
            <pc:docMk/>
            <pc:sldMk cId="929834127" sldId="230717614"/>
            <ac:spMk id="43" creationId="{FEE31C02-44F4-4D4B-8CFE-06331CB24FAF}"/>
          </ac:spMkLst>
        </pc:spChg>
        <pc:graphicFrameChg chg="mod modGraphic">
          <ac:chgData name="Manal El Bakkouri" userId="8b130982-2e3f-4164-b881-fd3a2e4b2453" providerId="ADAL" clId="{4457FA57-250B-44AC-8655-05D46C5A3D8A}" dt="2023-06-06T16:34:17.462" v="16935" actId="20577"/>
          <ac:graphicFrameMkLst>
            <pc:docMk/>
            <pc:sldMk cId="929834127" sldId="230717614"/>
            <ac:graphicFrameMk id="2" creationId="{358248BD-79CE-4F82-B30D-5DFCEBC6AFEF}"/>
          </ac:graphicFrameMkLst>
        </pc:graphicFrameChg>
      </pc:sldChg>
      <pc:sldChg chg="del mod ord modShow">
        <pc:chgData name="Manal El Bakkouri" userId="8b130982-2e3f-4164-b881-fd3a2e4b2453" providerId="ADAL" clId="{4457FA57-250B-44AC-8655-05D46C5A3D8A}" dt="2023-06-06T08:17:50.552" v="8575" actId="2696"/>
        <pc:sldMkLst>
          <pc:docMk/>
          <pc:sldMk cId="1361074498" sldId="230717619"/>
        </pc:sldMkLst>
      </pc:sldChg>
      <pc:sldChg chg="addSp delSp modSp mod modNotesTx">
        <pc:chgData name="Manal El Bakkouri" userId="8b130982-2e3f-4164-b881-fd3a2e4b2453" providerId="ADAL" clId="{4457FA57-250B-44AC-8655-05D46C5A3D8A}" dt="2023-06-09T11:24:48.102" v="21680"/>
        <pc:sldMkLst>
          <pc:docMk/>
          <pc:sldMk cId="819422060" sldId="230717620"/>
        </pc:sldMkLst>
        <pc:spChg chg="del">
          <ac:chgData name="Manal El Bakkouri" userId="8b130982-2e3f-4164-b881-fd3a2e4b2453" providerId="ADAL" clId="{4457FA57-250B-44AC-8655-05D46C5A3D8A}" dt="2023-05-31T17:07:08.541" v="633" actId="478"/>
          <ac:spMkLst>
            <pc:docMk/>
            <pc:sldMk cId="819422060" sldId="230717620"/>
            <ac:spMk id="3" creationId="{782A4630-8A07-488A-B2EE-582DD3F2BB66}"/>
          </ac:spMkLst>
        </pc:spChg>
        <pc:spChg chg="del">
          <ac:chgData name="Manal El Bakkouri" userId="8b130982-2e3f-4164-b881-fd3a2e4b2453" providerId="ADAL" clId="{4457FA57-250B-44AC-8655-05D46C5A3D8A}" dt="2023-05-31T17:07:08.541" v="633" actId="478"/>
          <ac:spMkLst>
            <pc:docMk/>
            <pc:sldMk cId="819422060" sldId="230717620"/>
            <ac:spMk id="4" creationId="{60F8BEA3-3FFA-4DCC-9E05-248B2DFE3A6C}"/>
          </ac:spMkLst>
        </pc:spChg>
        <pc:spChg chg="del">
          <ac:chgData name="Manal El Bakkouri" userId="8b130982-2e3f-4164-b881-fd3a2e4b2453" providerId="ADAL" clId="{4457FA57-250B-44AC-8655-05D46C5A3D8A}" dt="2023-05-31T17:07:08.541" v="633" actId="478"/>
          <ac:spMkLst>
            <pc:docMk/>
            <pc:sldMk cId="819422060" sldId="230717620"/>
            <ac:spMk id="5" creationId="{8C40113C-49C9-4B08-93C2-8621080A610C}"/>
          </ac:spMkLst>
        </pc:spChg>
        <pc:spChg chg="del">
          <ac:chgData name="Manal El Bakkouri" userId="8b130982-2e3f-4164-b881-fd3a2e4b2453" providerId="ADAL" clId="{4457FA57-250B-44AC-8655-05D46C5A3D8A}" dt="2023-05-31T17:07:08.541" v="633" actId="478"/>
          <ac:spMkLst>
            <pc:docMk/>
            <pc:sldMk cId="819422060" sldId="230717620"/>
            <ac:spMk id="6" creationId="{25EACFCA-2018-4F1E-A4A5-4CA51E1683D7}"/>
          </ac:spMkLst>
        </pc:spChg>
        <pc:spChg chg="del">
          <ac:chgData name="Manal El Bakkouri" userId="8b130982-2e3f-4164-b881-fd3a2e4b2453" providerId="ADAL" clId="{4457FA57-250B-44AC-8655-05D46C5A3D8A}" dt="2023-05-31T17:07:08.541" v="633" actId="478"/>
          <ac:spMkLst>
            <pc:docMk/>
            <pc:sldMk cId="819422060" sldId="230717620"/>
            <ac:spMk id="7" creationId="{FE915977-9A19-49DE-8DAA-3B473F005622}"/>
          </ac:spMkLst>
        </pc:spChg>
        <pc:spChg chg="del">
          <ac:chgData name="Manal El Bakkouri" userId="8b130982-2e3f-4164-b881-fd3a2e4b2453" providerId="ADAL" clId="{4457FA57-250B-44AC-8655-05D46C5A3D8A}" dt="2023-05-31T17:07:08.541" v="633" actId="478"/>
          <ac:spMkLst>
            <pc:docMk/>
            <pc:sldMk cId="819422060" sldId="230717620"/>
            <ac:spMk id="8" creationId="{A2521567-CAB3-4E1C-B33C-0983A6728DFE}"/>
          </ac:spMkLst>
        </pc:spChg>
        <pc:spChg chg="del">
          <ac:chgData name="Manal El Bakkouri" userId="8b130982-2e3f-4164-b881-fd3a2e4b2453" providerId="ADAL" clId="{4457FA57-250B-44AC-8655-05D46C5A3D8A}" dt="2023-05-31T17:07:08.541" v="633" actId="478"/>
          <ac:spMkLst>
            <pc:docMk/>
            <pc:sldMk cId="819422060" sldId="230717620"/>
            <ac:spMk id="9" creationId="{1BFDFBCC-5BC2-4299-848F-1552C1BB2296}"/>
          </ac:spMkLst>
        </pc:spChg>
        <pc:spChg chg="del">
          <ac:chgData name="Manal El Bakkouri" userId="8b130982-2e3f-4164-b881-fd3a2e4b2453" providerId="ADAL" clId="{4457FA57-250B-44AC-8655-05D46C5A3D8A}" dt="2023-05-31T17:07:08.541" v="633" actId="478"/>
          <ac:spMkLst>
            <pc:docMk/>
            <pc:sldMk cId="819422060" sldId="230717620"/>
            <ac:spMk id="10" creationId="{2AC8980D-553B-4386-9DAB-602A45483F12}"/>
          </ac:spMkLst>
        </pc:spChg>
        <pc:spChg chg="del">
          <ac:chgData name="Manal El Bakkouri" userId="8b130982-2e3f-4164-b881-fd3a2e4b2453" providerId="ADAL" clId="{4457FA57-250B-44AC-8655-05D46C5A3D8A}" dt="2023-05-31T17:07:08.541" v="633" actId="478"/>
          <ac:spMkLst>
            <pc:docMk/>
            <pc:sldMk cId="819422060" sldId="230717620"/>
            <ac:spMk id="11" creationId="{468C8FB4-8826-43C8-AF70-DE7A53B24F80}"/>
          </ac:spMkLst>
        </pc:spChg>
        <pc:spChg chg="del">
          <ac:chgData name="Manal El Bakkouri" userId="8b130982-2e3f-4164-b881-fd3a2e4b2453" providerId="ADAL" clId="{4457FA57-250B-44AC-8655-05D46C5A3D8A}" dt="2023-05-31T17:07:08.541" v="633" actId="478"/>
          <ac:spMkLst>
            <pc:docMk/>
            <pc:sldMk cId="819422060" sldId="230717620"/>
            <ac:spMk id="12" creationId="{1D26EFED-D0FF-4A85-A37B-2523993856D7}"/>
          </ac:spMkLst>
        </pc:spChg>
        <pc:spChg chg="mod">
          <ac:chgData name="Manal El Bakkouri" userId="8b130982-2e3f-4164-b881-fd3a2e4b2453" providerId="ADAL" clId="{4457FA57-250B-44AC-8655-05D46C5A3D8A}" dt="2023-06-06T16:24:54.155" v="16700" actId="20577"/>
          <ac:spMkLst>
            <pc:docMk/>
            <pc:sldMk cId="819422060" sldId="230717620"/>
            <ac:spMk id="13" creationId="{83398356-7396-4559-9440-E3C5F2EBAED3}"/>
          </ac:spMkLst>
        </pc:spChg>
        <pc:spChg chg="add mod">
          <ac:chgData name="Manal El Bakkouri" userId="8b130982-2e3f-4164-b881-fd3a2e4b2453" providerId="ADAL" clId="{4457FA57-250B-44AC-8655-05D46C5A3D8A}" dt="2023-06-04T13:05:19.717" v="7616" actId="20577"/>
          <ac:spMkLst>
            <pc:docMk/>
            <pc:sldMk cId="819422060" sldId="230717620"/>
            <ac:spMk id="17" creationId="{C951BED0-9848-470C-A82F-40DA99597AE4}"/>
          </ac:spMkLst>
        </pc:spChg>
        <pc:spChg chg="add del mod">
          <ac:chgData name="Manal El Bakkouri" userId="8b130982-2e3f-4164-b881-fd3a2e4b2453" providerId="ADAL" clId="{4457FA57-250B-44AC-8655-05D46C5A3D8A}" dt="2023-06-09T11:24:47.783" v="21679" actId="478"/>
          <ac:spMkLst>
            <pc:docMk/>
            <pc:sldMk cId="819422060" sldId="230717620"/>
            <ac:spMk id="18" creationId="{F1CF1501-19AB-41EF-8BEC-EE92E135AEAE}"/>
          </ac:spMkLst>
        </pc:spChg>
        <pc:spChg chg="add del mod">
          <ac:chgData name="Manal El Bakkouri" userId="8b130982-2e3f-4164-b881-fd3a2e4b2453" providerId="ADAL" clId="{4457FA57-250B-44AC-8655-05D46C5A3D8A}" dt="2023-06-09T11:24:47.783" v="21679" actId="478"/>
          <ac:spMkLst>
            <pc:docMk/>
            <pc:sldMk cId="819422060" sldId="230717620"/>
            <ac:spMk id="19" creationId="{9521B7CF-3FA9-4CF8-8CE0-20E71A30AA7E}"/>
          </ac:spMkLst>
        </pc:spChg>
        <pc:spChg chg="add mod">
          <ac:chgData name="Manal El Bakkouri" userId="8b130982-2e3f-4164-b881-fd3a2e4b2453" providerId="ADAL" clId="{4457FA57-250B-44AC-8655-05D46C5A3D8A}" dt="2023-06-06T10:26:32.323" v="9660"/>
          <ac:spMkLst>
            <pc:docMk/>
            <pc:sldMk cId="819422060" sldId="230717620"/>
            <ac:spMk id="20" creationId="{6FF58794-93A4-4250-8CAC-98C4B2C638F6}"/>
          </ac:spMkLst>
        </pc:spChg>
        <pc:spChg chg="add mod">
          <ac:chgData name="Manal El Bakkouri" userId="8b130982-2e3f-4164-b881-fd3a2e4b2453" providerId="ADAL" clId="{4457FA57-250B-44AC-8655-05D46C5A3D8A}" dt="2023-06-06T10:26:32.323" v="9660"/>
          <ac:spMkLst>
            <pc:docMk/>
            <pc:sldMk cId="819422060" sldId="230717620"/>
            <ac:spMk id="21" creationId="{C2AFAF79-CDAA-4F3D-98CA-03E65E7CA3BD}"/>
          </ac:spMkLst>
        </pc:spChg>
        <pc:spChg chg="add del mod">
          <ac:chgData name="Manal El Bakkouri" userId="8b130982-2e3f-4164-b881-fd3a2e4b2453" providerId="ADAL" clId="{4457FA57-250B-44AC-8655-05D46C5A3D8A}" dt="2023-05-31T17:08:14.405" v="645" actId="478"/>
          <ac:spMkLst>
            <pc:docMk/>
            <pc:sldMk cId="819422060" sldId="230717620"/>
            <ac:spMk id="21" creationId="{EACB4EE3-1837-4FCE-BF0B-791C38848B17}"/>
          </ac:spMkLst>
        </pc:spChg>
        <pc:spChg chg="add del mod">
          <ac:chgData name="Manal El Bakkouri" userId="8b130982-2e3f-4164-b881-fd3a2e4b2453" providerId="ADAL" clId="{4457FA57-250B-44AC-8655-05D46C5A3D8A}" dt="2023-06-09T11:24:47.783" v="21679" actId="478"/>
          <ac:spMkLst>
            <pc:docMk/>
            <pc:sldMk cId="819422060" sldId="230717620"/>
            <ac:spMk id="22" creationId="{90282C2A-E8C1-4F2C-BB3C-798326D9F2DA}"/>
          </ac:spMkLst>
        </pc:spChg>
        <pc:spChg chg="add del mod">
          <ac:chgData name="Manal El Bakkouri" userId="8b130982-2e3f-4164-b881-fd3a2e4b2453" providerId="ADAL" clId="{4457FA57-250B-44AC-8655-05D46C5A3D8A}" dt="2023-05-31T17:08:14.405" v="645" actId="478"/>
          <ac:spMkLst>
            <pc:docMk/>
            <pc:sldMk cId="819422060" sldId="230717620"/>
            <ac:spMk id="22" creationId="{D0444962-8258-483D-B51E-0E76266C8417}"/>
          </ac:spMkLst>
        </pc:spChg>
        <pc:spChg chg="add mod">
          <ac:chgData name="Manal El Bakkouri" userId="8b130982-2e3f-4164-b881-fd3a2e4b2453" providerId="ADAL" clId="{4457FA57-250B-44AC-8655-05D46C5A3D8A}" dt="2023-06-06T10:26:32.323" v="9660"/>
          <ac:spMkLst>
            <pc:docMk/>
            <pc:sldMk cId="819422060" sldId="230717620"/>
            <ac:spMk id="23" creationId="{5C4ADF1D-988B-4B33-9E84-B795E0604443}"/>
          </ac:spMkLst>
        </pc:spChg>
        <pc:spChg chg="add del mod">
          <ac:chgData name="Manal El Bakkouri" userId="8b130982-2e3f-4164-b881-fd3a2e4b2453" providerId="ADAL" clId="{4457FA57-250B-44AC-8655-05D46C5A3D8A}" dt="2023-05-31T17:08:14.405" v="645" actId="478"/>
          <ac:spMkLst>
            <pc:docMk/>
            <pc:sldMk cId="819422060" sldId="230717620"/>
            <ac:spMk id="23" creationId="{EEC85089-A3E9-412C-B472-627A5CB7C979}"/>
          </ac:spMkLst>
        </pc:spChg>
        <pc:spChg chg="add mod">
          <ac:chgData name="Manal El Bakkouri" userId="8b130982-2e3f-4164-b881-fd3a2e4b2453" providerId="ADAL" clId="{4457FA57-250B-44AC-8655-05D46C5A3D8A}" dt="2023-06-06T10:26:32.323" v="9660"/>
          <ac:spMkLst>
            <pc:docMk/>
            <pc:sldMk cId="819422060" sldId="230717620"/>
            <ac:spMk id="24" creationId="{3C6579A0-8C47-41B6-B342-C84B383F8D70}"/>
          </ac:spMkLst>
        </pc:spChg>
        <pc:spChg chg="add del mod">
          <ac:chgData name="Manal El Bakkouri" userId="8b130982-2e3f-4164-b881-fd3a2e4b2453" providerId="ADAL" clId="{4457FA57-250B-44AC-8655-05D46C5A3D8A}" dt="2023-05-31T17:08:14.405" v="645" actId="478"/>
          <ac:spMkLst>
            <pc:docMk/>
            <pc:sldMk cId="819422060" sldId="230717620"/>
            <ac:spMk id="24" creationId="{E538F214-146C-4438-B306-E37205B3569C}"/>
          </ac:spMkLst>
        </pc:spChg>
        <pc:spChg chg="add mod">
          <ac:chgData name="Manal El Bakkouri" userId="8b130982-2e3f-4164-b881-fd3a2e4b2453" providerId="ADAL" clId="{4457FA57-250B-44AC-8655-05D46C5A3D8A}" dt="2023-06-06T10:26:32.323" v="9660"/>
          <ac:spMkLst>
            <pc:docMk/>
            <pc:sldMk cId="819422060" sldId="230717620"/>
            <ac:spMk id="25" creationId="{752EA5E0-FD69-4D57-B58B-AD5741EAB711}"/>
          </ac:spMkLst>
        </pc:spChg>
        <pc:spChg chg="add del mod">
          <ac:chgData name="Manal El Bakkouri" userId="8b130982-2e3f-4164-b881-fd3a2e4b2453" providerId="ADAL" clId="{4457FA57-250B-44AC-8655-05D46C5A3D8A}" dt="2023-05-31T17:08:14.405" v="645" actId="478"/>
          <ac:spMkLst>
            <pc:docMk/>
            <pc:sldMk cId="819422060" sldId="230717620"/>
            <ac:spMk id="25" creationId="{CD10DE0C-2688-471E-AA28-F457026A79E6}"/>
          </ac:spMkLst>
        </pc:spChg>
        <pc:spChg chg="add mod">
          <ac:chgData name="Manal El Bakkouri" userId="8b130982-2e3f-4164-b881-fd3a2e4b2453" providerId="ADAL" clId="{4457FA57-250B-44AC-8655-05D46C5A3D8A}" dt="2023-06-06T10:26:32.323" v="9660"/>
          <ac:spMkLst>
            <pc:docMk/>
            <pc:sldMk cId="819422060" sldId="230717620"/>
            <ac:spMk id="26" creationId="{4E0B0CDC-119C-46E8-B50E-2ED2184FDF5C}"/>
          </ac:spMkLst>
        </pc:spChg>
        <pc:spChg chg="add del mod">
          <ac:chgData name="Manal El Bakkouri" userId="8b130982-2e3f-4164-b881-fd3a2e4b2453" providerId="ADAL" clId="{4457FA57-250B-44AC-8655-05D46C5A3D8A}" dt="2023-05-31T17:08:14.405" v="645" actId="478"/>
          <ac:spMkLst>
            <pc:docMk/>
            <pc:sldMk cId="819422060" sldId="230717620"/>
            <ac:spMk id="26" creationId="{78F1178B-03AF-46AB-9221-26F720D0C656}"/>
          </ac:spMkLst>
        </pc:spChg>
        <pc:spChg chg="add mod">
          <ac:chgData name="Manal El Bakkouri" userId="8b130982-2e3f-4164-b881-fd3a2e4b2453" providerId="ADAL" clId="{4457FA57-250B-44AC-8655-05D46C5A3D8A}" dt="2023-06-09T11:24:48.102" v="21680"/>
          <ac:spMkLst>
            <pc:docMk/>
            <pc:sldMk cId="819422060" sldId="230717620"/>
            <ac:spMk id="27" creationId="{3D6C0129-87D4-409D-80A8-23059C93FFB5}"/>
          </ac:spMkLst>
        </pc:spChg>
        <pc:spChg chg="add del mod">
          <ac:chgData name="Manal El Bakkouri" userId="8b130982-2e3f-4164-b881-fd3a2e4b2453" providerId="ADAL" clId="{4457FA57-250B-44AC-8655-05D46C5A3D8A}" dt="2023-05-31T17:08:14.405" v="645" actId="478"/>
          <ac:spMkLst>
            <pc:docMk/>
            <pc:sldMk cId="819422060" sldId="230717620"/>
            <ac:spMk id="27" creationId="{53378BBF-18B8-43EF-A7DB-096F5A9D4154}"/>
          </ac:spMkLst>
        </pc:spChg>
        <pc:spChg chg="add mod">
          <ac:chgData name="Manal El Bakkouri" userId="8b130982-2e3f-4164-b881-fd3a2e4b2453" providerId="ADAL" clId="{4457FA57-250B-44AC-8655-05D46C5A3D8A}" dt="2023-06-09T11:24:48.102" v="21680"/>
          <ac:spMkLst>
            <pc:docMk/>
            <pc:sldMk cId="819422060" sldId="230717620"/>
            <ac:spMk id="28" creationId="{0DD9691D-A21B-4BF5-BB44-FBD57F16B0E1}"/>
          </ac:spMkLst>
        </pc:spChg>
        <pc:spChg chg="add del mod">
          <ac:chgData name="Manal El Bakkouri" userId="8b130982-2e3f-4164-b881-fd3a2e4b2453" providerId="ADAL" clId="{4457FA57-250B-44AC-8655-05D46C5A3D8A}" dt="2023-06-06T10:26:32.052" v="9659" actId="478"/>
          <ac:spMkLst>
            <pc:docMk/>
            <pc:sldMk cId="819422060" sldId="230717620"/>
            <ac:spMk id="28" creationId="{6DA0A379-E925-4B38-B5F3-07A22EF39806}"/>
          </ac:spMkLst>
        </pc:spChg>
        <pc:spChg chg="add mod">
          <ac:chgData name="Manal El Bakkouri" userId="8b130982-2e3f-4164-b881-fd3a2e4b2453" providerId="ADAL" clId="{4457FA57-250B-44AC-8655-05D46C5A3D8A}" dt="2023-06-09T11:24:48.102" v="21680"/>
          <ac:spMkLst>
            <pc:docMk/>
            <pc:sldMk cId="819422060" sldId="230717620"/>
            <ac:spMk id="29" creationId="{01E40990-57A4-4B17-B1E1-80C36A30D78E}"/>
          </ac:spMkLst>
        </pc:spChg>
        <pc:spChg chg="add del mod">
          <ac:chgData name="Manal El Bakkouri" userId="8b130982-2e3f-4164-b881-fd3a2e4b2453" providerId="ADAL" clId="{4457FA57-250B-44AC-8655-05D46C5A3D8A}" dt="2023-06-06T10:26:32.052" v="9659" actId="478"/>
          <ac:spMkLst>
            <pc:docMk/>
            <pc:sldMk cId="819422060" sldId="230717620"/>
            <ac:spMk id="29" creationId="{30E9770D-B730-4ED3-BF61-4C71CBD156D0}"/>
          </ac:spMkLst>
        </pc:spChg>
        <pc:spChg chg="add mod">
          <ac:chgData name="Manal El Bakkouri" userId="8b130982-2e3f-4164-b881-fd3a2e4b2453" providerId="ADAL" clId="{4457FA57-250B-44AC-8655-05D46C5A3D8A}" dt="2023-06-09T11:24:48.102" v="21680"/>
          <ac:spMkLst>
            <pc:docMk/>
            <pc:sldMk cId="819422060" sldId="230717620"/>
            <ac:spMk id="30" creationId="{3458C3F1-CB4E-4791-8359-8A9650902F44}"/>
          </ac:spMkLst>
        </pc:spChg>
        <pc:spChg chg="add del mod">
          <ac:chgData name="Manal El Bakkouri" userId="8b130982-2e3f-4164-b881-fd3a2e4b2453" providerId="ADAL" clId="{4457FA57-250B-44AC-8655-05D46C5A3D8A}" dt="2023-06-06T10:26:32.052" v="9659" actId="478"/>
          <ac:spMkLst>
            <pc:docMk/>
            <pc:sldMk cId="819422060" sldId="230717620"/>
            <ac:spMk id="30" creationId="{923A8045-E158-4602-8D7E-1799FC0D566C}"/>
          </ac:spMkLst>
        </pc:spChg>
        <pc:spChg chg="add del mod">
          <ac:chgData name="Manal El Bakkouri" userId="8b130982-2e3f-4164-b881-fd3a2e4b2453" providerId="ADAL" clId="{4457FA57-250B-44AC-8655-05D46C5A3D8A}" dt="2023-06-06T10:26:32.052" v="9659" actId="478"/>
          <ac:spMkLst>
            <pc:docMk/>
            <pc:sldMk cId="819422060" sldId="230717620"/>
            <ac:spMk id="31" creationId="{DF405850-CADD-42AE-8361-96DE2DAF6B2F}"/>
          </ac:spMkLst>
        </pc:spChg>
        <pc:spChg chg="add del mod">
          <ac:chgData name="Manal El Bakkouri" userId="8b130982-2e3f-4164-b881-fd3a2e4b2453" providerId="ADAL" clId="{4457FA57-250B-44AC-8655-05D46C5A3D8A}" dt="2023-06-06T10:26:32.052" v="9659" actId="478"/>
          <ac:spMkLst>
            <pc:docMk/>
            <pc:sldMk cId="819422060" sldId="230717620"/>
            <ac:spMk id="32" creationId="{3A21B804-3190-4D23-8D5F-4AD3A24B1EA8}"/>
          </ac:spMkLst>
        </pc:spChg>
        <pc:spChg chg="add del mod">
          <ac:chgData name="Manal El Bakkouri" userId="8b130982-2e3f-4164-b881-fd3a2e4b2453" providerId="ADAL" clId="{4457FA57-250B-44AC-8655-05D46C5A3D8A}" dt="2023-06-06T10:26:32.052" v="9659" actId="478"/>
          <ac:spMkLst>
            <pc:docMk/>
            <pc:sldMk cId="819422060" sldId="230717620"/>
            <ac:spMk id="33" creationId="{8D3927E3-405E-4D32-9274-FFC847AD2368}"/>
          </ac:spMkLst>
        </pc:spChg>
        <pc:spChg chg="add del mod">
          <ac:chgData name="Manal El Bakkouri" userId="8b130982-2e3f-4164-b881-fd3a2e4b2453" providerId="ADAL" clId="{4457FA57-250B-44AC-8655-05D46C5A3D8A}" dt="2023-06-06T10:26:32.052" v="9659" actId="478"/>
          <ac:spMkLst>
            <pc:docMk/>
            <pc:sldMk cId="819422060" sldId="230717620"/>
            <ac:spMk id="34" creationId="{BC923E3D-A657-40B1-9B2C-406647EC48A2}"/>
          </ac:spMkLst>
        </pc:spChg>
        <pc:spChg chg="del">
          <ac:chgData name="Manal El Bakkouri" userId="8b130982-2e3f-4164-b881-fd3a2e4b2453" providerId="ADAL" clId="{4457FA57-250B-44AC-8655-05D46C5A3D8A}" dt="2023-05-31T17:06:15.507" v="631" actId="478"/>
          <ac:spMkLst>
            <pc:docMk/>
            <pc:sldMk cId="819422060" sldId="230717620"/>
            <ac:spMk id="85" creationId="{5F895BFB-F69F-4227-8B47-425C2ABB1B72}"/>
          </ac:spMkLst>
        </pc:spChg>
      </pc:sldChg>
      <pc:sldChg chg="addSp delSp modSp mod modNotesTx">
        <pc:chgData name="Manal El Bakkouri" userId="8b130982-2e3f-4164-b881-fd3a2e4b2453" providerId="ADAL" clId="{4457FA57-250B-44AC-8655-05D46C5A3D8A}" dt="2023-06-09T11:24:52.561" v="21682"/>
        <pc:sldMkLst>
          <pc:docMk/>
          <pc:sldMk cId="691375642" sldId="230717624"/>
        </pc:sldMkLst>
        <pc:spChg chg="del">
          <ac:chgData name="Manal El Bakkouri" userId="8b130982-2e3f-4164-b881-fd3a2e4b2453" providerId="ADAL" clId="{4457FA57-250B-44AC-8655-05D46C5A3D8A}" dt="2023-05-31T17:07:14.328" v="635" actId="478"/>
          <ac:spMkLst>
            <pc:docMk/>
            <pc:sldMk cId="691375642" sldId="230717624"/>
            <ac:spMk id="3" creationId="{782A4630-8A07-488A-B2EE-582DD3F2BB66}"/>
          </ac:spMkLst>
        </pc:spChg>
        <pc:spChg chg="del">
          <ac:chgData name="Manal El Bakkouri" userId="8b130982-2e3f-4164-b881-fd3a2e4b2453" providerId="ADAL" clId="{4457FA57-250B-44AC-8655-05D46C5A3D8A}" dt="2023-05-31T17:07:14.328" v="635" actId="478"/>
          <ac:spMkLst>
            <pc:docMk/>
            <pc:sldMk cId="691375642" sldId="230717624"/>
            <ac:spMk id="4" creationId="{60F8BEA3-3FFA-4DCC-9E05-248B2DFE3A6C}"/>
          </ac:spMkLst>
        </pc:spChg>
        <pc:spChg chg="del">
          <ac:chgData name="Manal El Bakkouri" userId="8b130982-2e3f-4164-b881-fd3a2e4b2453" providerId="ADAL" clId="{4457FA57-250B-44AC-8655-05D46C5A3D8A}" dt="2023-05-31T17:07:14.328" v="635" actId="478"/>
          <ac:spMkLst>
            <pc:docMk/>
            <pc:sldMk cId="691375642" sldId="230717624"/>
            <ac:spMk id="5" creationId="{8C40113C-49C9-4B08-93C2-8621080A610C}"/>
          </ac:spMkLst>
        </pc:spChg>
        <pc:spChg chg="del">
          <ac:chgData name="Manal El Bakkouri" userId="8b130982-2e3f-4164-b881-fd3a2e4b2453" providerId="ADAL" clId="{4457FA57-250B-44AC-8655-05D46C5A3D8A}" dt="2023-05-31T17:07:14.328" v="635" actId="478"/>
          <ac:spMkLst>
            <pc:docMk/>
            <pc:sldMk cId="691375642" sldId="230717624"/>
            <ac:spMk id="6" creationId="{25EACFCA-2018-4F1E-A4A5-4CA51E1683D7}"/>
          </ac:spMkLst>
        </pc:spChg>
        <pc:spChg chg="del">
          <ac:chgData name="Manal El Bakkouri" userId="8b130982-2e3f-4164-b881-fd3a2e4b2453" providerId="ADAL" clId="{4457FA57-250B-44AC-8655-05D46C5A3D8A}" dt="2023-05-31T17:07:14.328" v="635" actId="478"/>
          <ac:spMkLst>
            <pc:docMk/>
            <pc:sldMk cId="691375642" sldId="230717624"/>
            <ac:spMk id="7" creationId="{FE915977-9A19-49DE-8DAA-3B473F005622}"/>
          </ac:spMkLst>
        </pc:spChg>
        <pc:spChg chg="del">
          <ac:chgData name="Manal El Bakkouri" userId="8b130982-2e3f-4164-b881-fd3a2e4b2453" providerId="ADAL" clId="{4457FA57-250B-44AC-8655-05D46C5A3D8A}" dt="2023-05-31T17:07:14.328" v="635" actId="478"/>
          <ac:spMkLst>
            <pc:docMk/>
            <pc:sldMk cId="691375642" sldId="230717624"/>
            <ac:spMk id="8" creationId="{A2521567-CAB3-4E1C-B33C-0983A6728DFE}"/>
          </ac:spMkLst>
        </pc:spChg>
        <pc:spChg chg="del">
          <ac:chgData name="Manal El Bakkouri" userId="8b130982-2e3f-4164-b881-fd3a2e4b2453" providerId="ADAL" clId="{4457FA57-250B-44AC-8655-05D46C5A3D8A}" dt="2023-05-31T17:07:14.328" v="635" actId="478"/>
          <ac:spMkLst>
            <pc:docMk/>
            <pc:sldMk cId="691375642" sldId="230717624"/>
            <ac:spMk id="9" creationId="{1BFDFBCC-5BC2-4299-848F-1552C1BB2296}"/>
          </ac:spMkLst>
        </pc:spChg>
        <pc:spChg chg="del">
          <ac:chgData name="Manal El Bakkouri" userId="8b130982-2e3f-4164-b881-fd3a2e4b2453" providerId="ADAL" clId="{4457FA57-250B-44AC-8655-05D46C5A3D8A}" dt="2023-05-31T17:07:14.328" v="635" actId="478"/>
          <ac:spMkLst>
            <pc:docMk/>
            <pc:sldMk cId="691375642" sldId="230717624"/>
            <ac:spMk id="10" creationId="{2AC8980D-553B-4386-9DAB-602A45483F12}"/>
          </ac:spMkLst>
        </pc:spChg>
        <pc:spChg chg="del">
          <ac:chgData name="Manal El Bakkouri" userId="8b130982-2e3f-4164-b881-fd3a2e4b2453" providerId="ADAL" clId="{4457FA57-250B-44AC-8655-05D46C5A3D8A}" dt="2023-05-31T17:07:14.328" v="635" actId="478"/>
          <ac:spMkLst>
            <pc:docMk/>
            <pc:sldMk cId="691375642" sldId="230717624"/>
            <ac:spMk id="11" creationId="{468C8FB4-8826-43C8-AF70-DE7A53B24F80}"/>
          </ac:spMkLst>
        </pc:spChg>
        <pc:spChg chg="del">
          <ac:chgData name="Manal El Bakkouri" userId="8b130982-2e3f-4164-b881-fd3a2e4b2453" providerId="ADAL" clId="{4457FA57-250B-44AC-8655-05D46C5A3D8A}" dt="2023-05-31T17:07:14.328" v="635" actId="478"/>
          <ac:spMkLst>
            <pc:docMk/>
            <pc:sldMk cId="691375642" sldId="230717624"/>
            <ac:spMk id="12" creationId="{1D26EFED-D0FF-4A85-A37B-2523993856D7}"/>
          </ac:spMkLst>
        </pc:spChg>
        <pc:spChg chg="add mod">
          <ac:chgData name="Manal El Bakkouri" userId="8b130982-2e3f-4164-b881-fd3a2e4b2453" providerId="ADAL" clId="{4457FA57-250B-44AC-8655-05D46C5A3D8A}" dt="2023-06-04T13:05:30.703" v="7621" actId="20577"/>
          <ac:spMkLst>
            <pc:docMk/>
            <pc:sldMk cId="691375642" sldId="230717624"/>
            <ac:spMk id="17" creationId="{03D1B9AB-A2E1-4DBE-9BD7-E102C7BC53B5}"/>
          </ac:spMkLst>
        </pc:spChg>
        <pc:spChg chg="add del mod">
          <ac:chgData name="Manal El Bakkouri" userId="8b130982-2e3f-4164-b881-fd3a2e4b2453" providerId="ADAL" clId="{4457FA57-250B-44AC-8655-05D46C5A3D8A}" dt="2023-06-09T11:24:52.207" v="21681" actId="478"/>
          <ac:spMkLst>
            <pc:docMk/>
            <pc:sldMk cId="691375642" sldId="230717624"/>
            <ac:spMk id="18" creationId="{062ED539-EFDB-42A0-A323-1164F17EEEBE}"/>
          </ac:spMkLst>
        </pc:spChg>
        <pc:spChg chg="add del mod">
          <ac:chgData name="Manal El Bakkouri" userId="8b130982-2e3f-4164-b881-fd3a2e4b2453" providerId="ADAL" clId="{4457FA57-250B-44AC-8655-05D46C5A3D8A}" dt="2023-06-09T11:24:52.207" v="21681" actId="478"/>
          <ac:spMkLst>
            <pc:docMk/>
            <pc:sldMk cId="691375642" sldId="230717624"/>
            <ac:spMk id="20" creationId="{86C628D6-C287-45CC-9424-71419D3C0149}"/>
          </ac:spMkLst>
        </pc:spChg>
        <pc:spChg chg="add del mod">
          <ac:chgData name="Manal El Bakkouri" userId="8b130982-2e3f-4164-b881-fd3a2e4b2453" providerId="ADAL" clId="{4457FA57-250B-44AC-8655-05D46C5A3D8A}" dt="2023-05-31T17:08:19.270" v="647" actId="478"/>
          <ac:spMkLst>
            <pc:docMk/>
            <pc:sldMk cId="691375642" sldId="230717624"/>
            <ac:spMk id="21" creationId="{1AEAC7FB-14D1-457C-8B51-C09DA2D4E259}"/>
          </ac:spMkLst>
        </pc:spChg>
        <pc:spChg chg="add mod">
          <ac:chgData name="Manal El Bakkouri" userId="8b130982-2e3f-4164-b881-fd3a2e4b2453" providerId="ADAL" clId="{4457FA57-250B-44AC-8655-05D46C5A3D8A}" dt="2023-06-06T10:26:28.369" v="9658"/>
          <ac:spMkLst>
            <pc:docMk/>
            <pc:sldMk cId="691375642" sldId="230717624"/>
            <ac:spMk id="21" creationId="{E069C6E6-7817-4E66-8E67-829ACE1E7540}"/>
          </ac:spMkLst>
        </pc:spChg>
        <pc:spChg chg="add mod">
          <ac:chgData name="Manal El Bakkouri" userId="8b130982-2e3f-4164-b881-fd3a2e4b2453" providerId="ADAL" clId="{4457FA57-250B-44AC-8655-05D46C5A3D8A}" dt="2023-06-06T10:26:28.369" v="9658"/>
          <ac:spMkLst>
            <pc:docMk/>
            <pc:sldMk cId="691375642" sldId="230717624"/>
            <ac:spMk id="22" creationId="{2A90AFDC-07A0-46A2-9112-B72BC8C1BE12}"/>
          </ac:spMkLst>
        </pc:spChg>
        <pc:spChg chg="add del mod">
          <ac:chgData name="Manal El Bakkouri" userId="8b130982-2e3f-4164-b881-fd3a2e4b2453" providerId="ADAL" clId="{4457FA57-250B-44AC-8655-05D46C5A3D8A}" dt="2023-05-31T17:08:19.270" v="647" actId="478"/>
          <ac:spMkLst>
            <pc:docMk/>
            <pc:sldMk cId="691375642" sldId="230717624"/>
            <ac:spMk id="22" creationId="{CCA1450B-5629-4A6E-A6AF-AB15E5C94605}"/>
          </ac:spMkLst>
        </pc:spChg>
        <pc:spChg chg="add del mod">
          <ac:chgData name="Manal El Bakkouri" userId="8b130982-2e3f-4164-b881-fd3a2e4b2453" providerId="ADAL" clId="{4457FA57-250B-44AC-8655-05D46C5A3D8A}" dt="2023-06-09T11:24:52.207" v="21681" actId="478"/>
          <ac:spMkLst>
            <pc:docMk/>
            <pc:sldMk cId="691375642" sldId="230717624"/>
            <ac:spMk id="25" creationId="{11F9306E-C9D4-4B61-A0DF-3D22A62892CA}"/>
          </ac:spMkLst>
        </pc:spChg>
        <pc:spChg chg="add del mod">
          <ac:chgData name="Manal El Bakkouri" userId="8b130982-2e3f-4164-b881-fd3a2e4b2453" providerId="ADAL" clId="{4457FA57-250B-44AC-8655-05D46C5A3D8A}" dt="2023-05-31T17:08:19.270" v="647" actId="478"/>
          <ac:spMkLst>
            <pc:docMk/>
            <pc:sldMk cId="691375642" sldId="230717624"/>
            <ac:spMk id="25" creationId="{9DB49ACC-71D1-4EFD-8C52-8D025EB7944A}"/>
          </ac:spMkLst>
        </pc:spChg>
        <pc:spChg chg="add mod">
          <ac:chgData name="Manal El Bakkouri" userId="8b130982-2e3f-4164-b881-fd3a2e4b2453" providerId="ADAL" clId="{4457FA57-250B-44AC-8655-05D46C5A3D8A}" dt="2023-06-06T10:26:28.369" v="9658"/>
          <ac:spMkLst>
            <pc:docMk/>
            <pc:sldMk cId="691375642" sldId="230717624"/>
            <ac:spMk id="26" creationId="{954AE213-E8A2-429E-9E90-9D5D8379CF06}"/>
          </ac:spMkLst>
        </pc:spChg>
        <pc:spChg chg="add del mod">
          <ac:chgData name="Manal El Bakkouri" userId="8b130982-2e3f-4164-b881-fd3a2e4b2453" providerId="ADAL" clId="{4457FA57-250B-44AC-8655-05D46C5A3D8A}" dt="2023-05-31T17:08:19.270" v="647" actId="478"/>
          <ac:spMkLst>
            <pc:docMk/>
            <pc:sldMk cId="691375642" sldId="230717624"/>
            <ac:spMk id="26" creationId="{D5863B12-3707-40A0-AEED-5C567BD948C3}"/>
          </ac:spMkLst>
        </pc:spChg>
        <pc:spChg chg="add del mod">
          <ac:chgData name="Manal El Bakkouri" userId="8b130982-2e3f-4164-b881-fd3a2e4b2453" providerId="ADAL" clId="{4457FA57-250B-44AC-8655-05D46C5A3D8A}" dt="2023-05-31T17:08:19.270" v="647" actId="478"/>
          <ac:spMkLst>
            <pc:docMk/>
            <pc:sldMk cId="691375642" sldId="230717624"/>
            <ac:spMk id="28" creationId="{588E2AA9-581F-416A-A991-5F4EFC1A2D90}"/>
          </ac:spMkLst>
        </pc:spChg>
        <pc:spChg chg="add mod">
          <ac:chgData name="Manal El Bakkouri" userId="8b130982-2e3f-4164-b881-fd3a2e4b2453" providerId="ADAL" clId="{4457FA57-250B-44AC-8655-05D46C5A3D8A}" dt="2023-06-06T10:26:28.369" v="9658"/>
          <ac:spMkLst>
            <pc:docMk/>
            <pc:sldMk cId="691375642" sldId="230717624"/>
            <ac:spMk id="28" creationId="{DD461D1B-636B-4BFD-B716-9D4F200B4BEF}"/>
          </ac:spMkLst>
        </pc:spChg>
        <pc:spChg chg="add mod">
          <ac:chgData name="Manal El Bakkouri" userId="8b130982-2e3f-4164-b881-fd3a2e4b2453" providerId="ADAL" clId="{4457FA57-250B-44AC-8655-05D46C5A3D8A}" dt="2023-06-06T10:26:28.369" v="9658"/>
          <ac:spMkLst>
            <pc:docMk/>
            <pc:sldMk cId="691375642" sldId="230717624"/>
            <ac:spMk id="31" creationId="{15B027B3-D413-4C72-81C2-CE461E9E354F}"/>
          </ac:spMkLst>
        </pc:spChg>
        <pc:spChg chg="del">
          <ac:chgData name="Manal El Bakkouri" userId="8b130982-2e3f-4164-b881-fd3a2e4b2453" providerId="ADAL" clId="{4457FA57-250B-44AC-8655-05D46C5A3D8A}" dt="2023-05-31T17:06:28.951" v="632" actId="478"/>
          <ac:spMkLst>
            <pc:docMk/>
            <pc:sldMk cId="691375642" sldId="230717624"/>
            <ac:spMk id="31" creationId="{A3CB5561-D3EA-42B8-AA04-BA12F2F93FE4}"/>
          </ac:spMkLst>
        </pc:spChg>
        <pc:spChg chg="add mod">
          <ac:chgData name="Manal El Bakkouri" userId="8b130982-2e3f-4164-b881-fd3a2e4b2453" providerId="ADAL" clId="{4457FA57-250B-44AC-8655-05D46C5A3D8A}" dt="2023-06-06T10:26:28.369" v="9658"/>
          <ac:spMkLst>
            <pc:docMk/>
            <pc:sldMk cId="691375642" sldId="230717624"/>
            <ac:spMk id="32" creationId="{90E60874-86D7-4E79-B440-542E586D6F60}"/>
          </ac:spMkLst>
        </pc:spChg>
        <pc:spChg chg="add del mod">
          <ac:chgData name="Manal El Bakkouri" userId="8b130982-2e3f-4164-b881-fd3a2e4b2453" providerId="ADAL" clId="{4457FA57-250B-44AC-8655-05D46C5A3D8A}" dt="2023-05-31T17:08:19.270" v="647" actId="478"/>
          <ac:spMkLst>
            <pc:docMk/>
            <pc:sldMk cId="691375642" sldId="230717624"/>
            <ac:spMk id="32" creationId="{ED851292-A0ED-4FEF-8075-82ED4309C1AD}"/>
          </ac:spMkLst>
        </pc:spChg>
        <pc:spChg chg="add del mod">
          <ac:chgData name="Manal El Bakkouri" userId="8b130982-2e3f-4164-b881-fd3a2e4b2453" providerId="ADAL" clId="{4457FA57-250B-44AC-8655-05D46C5A3D8A}" dt="2023-05-31T17:08:19.270" v="647" actId="478"/>
          <ac:spMkLst>
            <pc:docMk/>
            <pc:sldMk cId="691375642" sldId="230717624"/>
            <ac:spMk id="33" creationId="{2B3FCE7F-5DB9-42A3-8C93-26609BDBE3B5}"/>
          </ac:spMkLst>
        </pc:spChg>
        <pc:spChg chg="add mod">
          <ac:chgData name="Manal El Bakkouri" userId="8b130982-2e3f-4164-b881-fd3a2e4b2453" providerId="ADAL" clId="{4457FA57-250B-44AC-8655-05D46C5A3D8A}" dt="2023-06-09T11:24:52.561" v="21682"/>
          <ac:spMkLst>
            <pc:docMk/>
            <pc:sldMk cId="691375642" sldId="230717624"/>
            <ac:spMk id="33" creationId="{3C74BCF5-B7A9-4F3D-82DB-240E08655445}"/>
          </ac:spMkLst>
        </pc:spChg>
        <pc:spChg chg="add del mod">
          <ac:chgData name="Manal El Bakkouri" userId="8b130982-2e3f-4164-b881-fd3a2e4b2453" providerId="ADAL" clId="{4457FA57-250B-44AC-8655-05D46C5A3D8A}" dt="2023-06-06T10:26:28.070" v="9657" actId="478"/>
          <ac:spMkLst>
            <pc:docMk/>
            <pc:sldMk cId="691375642" sldId="230717624"/>
            <ac:spMk id="34" creationId="{33076469-088A-4061-8E0E-B9EC67FC8258}"/>
          </ac:spMkLst>
        </pc:spChg>
        <pc:spChg chg="add mod">
          <ac:chgData name="Manal El Bakkouri" userId="8b130982-2e3f-4164-b881-fd3a2e4b2453" providerId="ADAL" clId="{4457FA57-250B-44AC-8655-05D46C5A3D8A}" dt="2023-06-09T11:24:52.561" v="21682"/>
          <ac:spMkLst>
            <pc:docMk/>
            <pc:sldMk cId="691375642" sldId="230717624"/>
            <ac:spMk id="34" creationId="{4D2BC69D-A924-4F72-BAB4-484C97A7D661}"/>
          </ac:spMkLst>
        </pc:spChg>
        <pc:spChg chg="add mod">
          <ac:chgData name="Manal El Bakkouri" userId="8b130982-2e3f-4164-b881-fd3a2e4b2453" providerId="ADAL" clId="{4457FA57-250B-44AC-8655-05D46C5A3D8A}" dt="2023-06-09T11:24:52.561" v="21682"/>
          <ac:spMkLst>
            <pc:docMk/>
            <pc:sldMk cId="691375642" sldId="230717624"/>
            <ac:spMk id="36" creationId="{5796B8AC-EE2C-4ACB-A306-7E1B94FFF49D}"/>
          </ac:spMkLst>
        </pc:spChg>
        <pc:spChg chg="add del mod">
          <ac:chgData name="Manal El Bakkouri" userId="8b130982-2e3f-4164-b881-fd3a2e4b2453" providerId="ADAL" clId="{4457FA57-250B-44AC-8655-05D46C5A3D8A}" dt="2023-06-06T10:26:28.070" v="9657" actId="478"/>
          <ac:spMkLst>
            <pc:docMk/>
            <pc:sldMk cId="691375642" sldId="230717624"/>
            <ac:spMk id="36" creationId="{D8B431F9-CE07-4516-870E-443352E93F33}"/>
          </ac:spMkLst>
        </pc:spChg>
        <pc:spChg chg="add del mod">
          <ac:chgData name="Manal El Bakkouri" userId="8b130982-2e3f-4164-b881-fd3a2e4b2453" providerId="ADAL" clId="{4457FA57-250B-44AC-8655-05D46C5A3D8A}" dt="2023-06-06T10:26:28.070" v="9657" actId="478"/>
          <ac:spMkLst>
            <pc:docMk/>
            <pc:sldMk cId="691375642" sldId="230717624"/>
            <ac:spMk id="37" creationId="{129A3DC0-DBB0-44EA-96C1-8B067F1C1C84}"/>
          </ac:spMkLst>
        </pc:spChg>
        <pc:spChg chg="add mod">
          <ac:chgData name="Manal El Bakkouri" userId="8b130982-2e3f-4164-b881-fd3a2e4b2453" providerId="ADAL" clId="{4457FA57-250B-44AC-8655-05D46C5A3D8A}" dt="2023-06-09T11:24:52.561" v="21682"/>
          <ac:spMkLst>
            <pc:docMk/>
            <pc:sldMk cId="691375642" sldId="230717624"/>
            <ac:spMk id="37" creationId="{F875BD7F-CE0F-4430-A963-8BED61B7B46E}"/>
          </ac:spMkLst>
        </pc:spChg>
        <pc:spChg chg="add del mod">
          <ac:chgData name="Manal El Bakkouri" userId="8b130982-2e3f-4164-b881-fd3a2e4b2453" providerId="ADAL" clId="{4457FA57-250B-44AC-8655-05D46C5A3D8A}" dt="2023-06-06T10:26:28.070" v="9657" actId="478"/>
          <ac:spMkLst>
            <pc:docMk/>
            <pc:sldMk cId="691375642" sldId="230717624"/>
            <ac:spMk id="38" creationId="{3881AD2B-4A5C-450B-AF52-C2EDD4D48ED4}"/>
          </ac:spMkLst>
        </pc:spChg>
        <pc:spChg chg="add del mod">
          <ac:chgData name="Manal El Bakkouri" userId="8b130982-2e3f-4164-b881-fd3a2e4b2453" providerId="ADAL" clId="{4457FA57-250B-44AC-8655-05D46C5A3D8A}" dt="2023-06-06T10:26:28.070" v="9657" actId="478"/>
          <ac:spMkLst>
            <pc:docMk/>
            <pc:sldMk cId="691375642" sldId="230717624"/>
            <ac:spMk id="39" creationId="{534F1E99-A148-4E57-8636-6B395183C44B}"/>
          </ac:spMkLst>
        </pc:spChg>
        <pc:spChg chg="add del mod">
          <ac:chgData name="Manal El Bakkouri" userId="8b130982-2e3f-4164-b881-fd3a2e4b2453" providerId="ADAL" clId="{4457FA57-250B-44AC-8655-05D46C5A3D8A}" dt="2023-06-06T10:26:28.070" v="9657" actId="478"/>
          <ac:spMkLst>
            <pc:docMk/>
            <pc:sldMk cId="691375642" sldId="230717624"/>
            <ac:spMk id="40" creationId="{A277467C-A38E-4DBC-BB96-FF0C5F1EE203}"/>
          </ac:spMkLst>
        </pc:spChg>
        <pc:spChg chg="add del mod">
          <ac:chgData name="Manal El Bakkouri" userId="8b130982-2e3f-4164-b881-fd3a2e4b2453" providerId="ADAL" clId="{4457FA57-250B-44AC-8655-05D46C5A3D8A}" dt="2023-06-06T10:26:28.070" v="9657" actId="478"/>
          <ac:spMkLst>
            <pc:docMk/>
            <pc:sldMk cId="691375642" sldId="230717624"/>
            <ac:spMk id="41" creationId="{6FA86E16-13B4-4F6E-B03A-15B8BFFEA2FC}"/>
          </ac:spMkLst>
        </pc:spChg>
      </pc:sldChg>
      <pc:sldChg chg="addSp delSp modSp del mod modTransition modNotesTx">
        <pc:chgData name="Manal El Bakkouri" userId="8b130982-2e3f-4164-b881-fd3a2e4b2453" providerId="ADAL" clId="{4457FA57-250B-44AC-8655-05D46C5A3D8A}" dt="2023-06-07T09:21:54.174" v="17400" actId="2696"/>
        <pc:sldMkLst>
          <pc:docMk/>
          <pc:sldMk cId="1782207499" sldId="230717626"/>
        </pc:sldMkLst>
        <pc:spChg chg="del">
          <ac:chgData name="Manal El Bakkouri" userId="8b130982-2e3f-4164-b881-fd3a2e4b2453" providerId="ADAL" clId="{4457FA57-250B-44AC-8655-05D46C5A3D8A}" dt="2023-05-31T17:07:32.107" v="637" actId="478"/>
          <ac:spMkLst>
            <pc:docMk/>
            <pc:sldMk cId="1782207499" sldId="230717626"/>
            <ac:spMk id="50" creationId="{0D675A8C-4762-4C05-BD22-AFED6BCF2286}"/>
          </ac:spMkLst>
        </pc:spChg>
        <pc:spChg chg="del">
          <ac:chgData name="Manal El Bakkouri" userId="8b130982-2e3f-4164-b881-fd3a2e4b2453" providerId="ADAL" clId="{4457FA57-250B-44AC-8655-05D46C5A3D8A}" dt="2023-05-31T17:07:32.107" v="637" actId="478"/>
          <ac:spMkLst>
            <pc:docMk/>
            <pc:sldMk cId="1782207499" sldId="230717626"/>
            <ac:spMk id="51" creationId="{5F729168-66BA-430C-BAE0-1B818C22C59B}"/>
          </ac:spMkLst>
        </pc:spChg>
        <pc:spChg chg="del">
          <ac:chgData name="Manal El Bakkouri" userId="8b130982-2e3f-4164-b881-fd3a2e4b2453" providerId="ADAL" clId="{4457FA57-250B-44AC-8655-05D46C5A3D8A}" dt="2023-05-31T17:07:32.107" v="637" actId="478"/>
          <ac:spMkLst>
            <pc:docMk/>
            <pc:sldMk cId="1782207499" sldId="230717626"/>
            <ac:spMk id="52" creationId="{3AA9E2E5-19A3-42AC-974C-BECC00D4815D}"/>
          </ac:spMkLst>
        </pc:spChg>
        <pc:spChg chg="del">
          <ac:chgData name="Manal El Bakkouri" userId="8b130982-2e3f-4164-b881-fd3a2e4b2453" providerId="ADAL" clId="{4457FA57-250B-44AC-8655-05D46C5A3D8A}" dt="2023-05-31T17:07:32.107" v="637" actId="478"/>
          <ac:spMkLst>
            <pc:docMk/>
            <pc:sldMk cId="1782207499" sldId="230717626"/>
            <ac:spMk id="53" creationId="{74C20459-E4F2-4CF2-9B4D-9F4C56AE4006}"/>
          </ac:spMkLst>
        </pc:spChg>
        <pc:spChg chg="del">
          <ac:chgData name="Manal El Bakkouri" userId="8b130982-2e3f-4164-b881-fd3a2e4b2453" providerId="ADAL" clId="{4457FA57-250B-44AC-8655-05D46C5A3D8A}" dt="2023-05-31T17:07:32.107" v="637" actId="478"/>
          <ac:spMkLst>
            <pc:docMk/>
            <pc:sldMk cId="1782207499" sldId="230717626"/>
            <ac:spMk id="54" creationId="{FDE211B4-883D-4803-9945-BF19AC0B850E}"/>
          </ac:spMkLst>
        </pc:spChg>
        <pc:spChg chg="del">
          <ac:chgData name="Manal El Bakkouri" userId="8b130982-2e3f-4164-b881-fd3a2e4b2453" providerId="ADAL" clId="{4457FA57-250B-44AC-8655-05D46C5A3D8A}" dt="2023-05-31T17:07:32.107" v="637" actId="478"/>
          <ac:spMkLst>
            <pc:docMk/>
            <pc:sldMk cId="1782207499" sldId="230717626"/>
            <ac:spMk id="55" creationId="{A4B47897-DEF0-408F-9265-0FC2E2B2492A}"/>
          </ac:spMkLst>
        </pc:spChg>
        <pc:spChg chg="del">
          <ac:chgData name="Manal El Bakkouri" userId="8b130982-2e3f-4164-b881-fd3a2e4b2453" providerId="ADAL" clId="{4457FA57-250B-44AC-8655-05D46C5A3D8A}" dt="2023-05-31T17:07:32.107" v="637" actId="478"/>
          <ac:spMkLst>
            <pc:docMk/>
            <pc:sldMk cId="1782207499" sldId="230717626"/>
            <ac:spMk id="56" creationId="{7EA0729B-96F3-44FF-B1E5-AEFEDCD90A64}"/>
          </ac:spMkLst>
        </pc:spChg>
        <pc:spChg chg="del">
          <ac:chgData name="Manal El Bakkouri" userId="8b130982-2e3f-4164-b881-fd3a2e4b2453" providerId="ADAL" clId="{4457FA57-250B-44AC-8655-05D46C5A3D8A}" dt="2023-05-31T17:07:32.107" v="637" actId="478"/>
          <ac:spMkLst>
            <pc:docMk/>
            <pc:sldMk cId="1782207499" sldId="230717626"/>
            <ac:spMk id="57" creationId="{AD90DEE4-BA59-409B-8702-59A9189D3128}"/>
          </ac:spMkLst>
        </pc:spChg>
        <pc:spChg chg="del">
          <ac:chgData name="Manal El Bakkouri" userId="8b130982-2e3f-4164-b881-fd3a2e4b2453" providerId="ADAL" clId="{4457FA57-250B-44AC-8655-05D46C5A3D8A}" dt="2023-05-31T17:07:32.107" v="637" actId="478"/>
          <ac:spMkLst>
            <pc:docMk/>
            <pc:sldMk cId="1782207499" sldId="230717626"/>
            <ac:spMk id="58" creationId="{CC9E7F20-EADC-4392-BB8D-B237DB9EE1E1}"/>
          </ac:spMkLst>
        </pc:spChg>
        <pc:spChg chg="del">
          <ac:chgData name="Manal El Bakkouri" userId="8b130982-2e3f-4164-b881-fd3a2e4b2453" providerId="ADAL" clId="{4457FA57-250B-44AC-8655-05D46C5A3D8A}" dt="2023-05-31T17:07:32.107" v="637" actId="478"/>
          <ac:spMkLst>
            <pc:docMk/>
            <pc:sldMk cId="1782207499" sldId="230717626"/>
            <ac:spMk id="59" creationId="{319F091D-9EDE-452E-964E-ED78548E6664}"/>
          </ac:spMkLst>
        </pc:spChg>
        <pc:spChg chg="add mod">
          <ac:chgData name="Manal El Bakkouri" userId="8b130982-2e3f-4164-b881-fd3a2e4b2453" providerId="ADAL" clId="{4457FA57-250B-44AC-8655-05D46C5A3D8A}" dt="2023-06-04T13:05:48" v="7628" actId="20577"/>
          <ac:spMkLst>
            <pc:docMk/>
            <pc:sldMk cId="1782207499" sldId="230717626"/>
            <ac:spMk id="65" creationId="{66A72490-EB9E-41B8-B25B-1D29150C670D}"/>
          </ac:spMkLst>
        </pc:spChg>
        <pc:spChg chg="add mod">
          <ac:chgData name="Manal El Bakkouri" userId="8b130982-2e3f-4164-b881-fd3a2e4b2453" providerId="ADAL" clId="{4457FA57-250B-44AC-8655-05D46C5A3D8A}" dt="2023-06-06T10:26:24.230" v="9656"/>
          <ac:spMkLst>
            <pc:docMk/>
            <pc:sldMk cId="1782207499" sldId="230717626"/>
            <ac:spMk id="66" creationId="{3B6C2612-4C3F-46B4-8786-672C9F3A587D}"/>
          </ac:spMkLst>
        </pc:spChg>
        <pc:spChg chg="add mod">
          <ac:chgData name="Manal El Bakkouri" userId="8b130982-2e3f-4164-b881-fd3a2e4b2453" providerId="ADAL" clId="{4457FA57-250B-44AC-8655-05D46C5A3D8A}" dt="2023-06-06T10:26:24.230" v="9656"/>
          <ac:spMkLst>
            <pc:docMk/>
            <pc:sldMk cId="1782207499" sldId="230717626"/>
            <ac:spMk id="67" creationId="{07CF5A71-048F-4397-873A-D867D2EFFB89}"/>
          </ac:spMkLst>
        </pc:spChg>
        <pc:spChg chg="add mod">
          <ac:chgData name="Manal El Bakkouri" userId="8b130982-2e3f-4164-b881-fd3a2e4b2453" providerId="ADAL" clId="{4457FA57-250B-44AC-8655-05D46C5A3D8A}" dt="2023-06-06T10:26:24.230" v="9656"/>
          <ac:spMkLst>
            <pc:docMk/>
            <pc:sldMk cId="1782207499" sldId="230717626"/>
            <ac:spMk id="68" creationId="{81D92D59-78D6-4FB3-AF3A-CF2D3C6C1188}"/>
          </ac:spMkLst>
        </pc:spChg>
        <pc:spChg chg="add del mod">
          <ac:chgData name="Manal El Bakkouri" userId="8b130982-2e3f-4164-b881-fd3a2e4b2453" providerId="ADAL" clId="{4457FA57-250B-44AC-8655-05D46C5A3D8A}" dt="2023-05-31T17:08:25.912" v="649" actId="478"/>
          <ac:spMkLst>
            <pc:docMk/>
            <pc:sldMk cId="1782207499" sldId="230717626"/>
            <ac:spMk id="68" creationId="{DCC7F056-0984-4908-8735-5964B1743AAC}"/>
          </ac:spMkLst>
        </pc:spChg>
        <pc:spChg chg="add del mod">
          <ac:chgData name="Manal El Bakkouri" userId="8b130982-2e3f-4164-b881-fd3a2e4b2453" providerId="ADAL" clId="{4457FA57-250B-44AC-8655-05D46C5A3D8A}" dt="2023-05-31T17:08:25.912" v="649" actId="478"/>
          <ac:spMkLst>
            <pc:docMk/>
            <pc:sldMk cId="1782207499" sldId="230717626"/>
            <ac:spMk id="69" creationId="{4027447D-B4C0-4FE6-9D13-DBF24AB498D8}"/>
          </ac:spMkLst>
        </pc:spChg>
        <pc:spChg chg="add mod">
          <ac:chgData name="Manal El Bakkouri" userId="8b130982-2e3f-4164-b881-fd3a2e4b2453" providerId="ADAL" clId="{4457FA57-250B-44AC-8655-05D46C5A3D8A}" dt="2023-06-06T10:26:24.230" v="9656"/>
          <ac:spMkLst>
            <pc:docMk/>
            <pc:sldMk cId="1782207499" sldId="230717626"/>
            <ac:spMk id="69" creationId="{8ADC744F-25F9-45CF-B4D4-CFB9A57836DC}"/>
          </ac:spMkLst>
        </pc:spChg>
        <pc:spChg chg="add mod">
          <ac:chgData name="Manal El Bakkouri" userId="8b130982-2e3f-4164-b881-fd3a2e4b2453" providerId="ADAL" clId="{4457FA57-250B-44AC-8655-05D46C5A3D8A}" dt="2023-06-06T10:26:24.230" v="9656"/>
          <ac:spMkLst>
            <pc:docMk/>
            <pc:sldMk cId="1782207499" sldId="230717626"/>
            <ac:spMk id="70" creationId="{23DCA962-C71D-46BB-BC9B-5771FC090104}"/>
          </ac:spMkLst>
        </pc:spChg>
        <pc:spChg chg="add del mod">
          <ac:chgData name="Manal El Bakkouri" userId="8b130982-2e3f-4164-b881-fd3a2e4b2453" providerId="ADAL" clId="{4457FA57-250B-44AC-8655-05D46C5A3D8A}" dt="2023-05-31T17:08:25.912" v="649" actId="478"/>
          <ac:spMkLst>
            <pc:docMk/>
            <pc:sldMk cId="1782207499" sldId="230717626"/>
            <ac:spMk id="70" creationId="{DB7C7FD4-4E93-4778-A353-934AB69538B1}"/>
          </ac:spMkLst>
        </pc:spChg>
        <pc:spChg chg="add del mod">
          <ac:chgData name="Manal El Bakkouri" userId="8b130982-2e3f-4164-b881-fd3a2e4b2453" providerId="ADAL" clId="{4457FA57-250B-44AC-8655-05D46C5A3D8A}" dt="2023-05-31T17:08:25.912" v="649" actId="478"/>
          <ac:spMkLst>
            <pc:docMk/>
            <pc:sldMk cId="1782207499" sldId="230717626"/>
            <ac:spMk id="71" creationId="{3E0FE027-8F01-497D-8D01-932F6C6E7FA7}"/>
          </ac:spMkLst>
        </pc:spChg>
        <pc:spChg chg="add mod">
          <ac:chgData name="Manal El Bakkouri" userId="8b130982-2e3f-4164-b881-fd3a2e4b2453" providerId="ADAL" clId="{4457FA57-250B-44AC-8655-05D46C5A3D8A}" dt="2023-06-06T10:26:24.230" v="9656"/>
          <ac:spMkLst>
            <pc:docMk/>
            <pc:sldMk cId="1782207499" sldId="230717626"/>
            <ac:spMk id="71" creationId="{B6701622-A9D8-47F5-AEF7-1DA3B73A402A}"/>
          </ac:spMkLst>
        </pc:spChg>
        <pc:spChg chg="add del mod">
          <ac:chgData name="Manal El Bakkouri" userId="8b130982-2e3f-4164-b881-fd3a2e4b2453" providerId="ADAL" clId="{4457FA57-250B-44AC-8655-05D46C5A3D8A}" dt="2023-05-31T17:08:25.912" v="649" actId="478"/>
          <ac:spMkLst>
            <pc:docMk/>
            <pc:sldMk cId="1782207499" sldId="230717626"/>
            <ac:spMk id="72" creationId="{AB93F4B8-C962-4705-BB3B-08B579CA3514}"/>
          </ac:spMkLst>
        </pc:spChg>
        <pc:spChg chg="add mod">
          <ac:chgData name="Manal El Bakkouri" userId="8b130982-2e3f-4164-b881-fd3a2e4b2453" providerId="ADAL" clId="{4457FA57-250B-44AC-8655-05D46C5A3D8A}" dt="2023-06-06T10:26:24.230" v="9656"/>
          <ac:spMkLst>
            <pc:docMk/>
            <pc:sldMk cId="1782207499" sldId="230717626"/>
            <ac:spMk id="72" creationId="{CD2E54D7-549E-4A49-9EB5-C74A0EC546B6}"/>
          </ac:spMkLst>
        </pc:spChg>
        <pc:spChg chg="add del mod">
          <ac:chgData name="Manal El Bakkouri" userId="8b130982-2e3f-4164-b881-fd3a2e4b2453" providerId="ADAL" clId="{4457FA57-250B-44AC-8655-05D46C5A3D8A}" dt="2023-05-31T17:08:25.912" v="649" actId="478"/>
          <ac:spMkLst>
            <pc:docMk/>
            <pc:sldMk cId="1782207499" sldId="230717626"/>
            <ac:spMk id="73" creationId="{E5F92A69-84AD-49C4-A870-6B8CD88BA378}"/>
          </ac:spMkLst>
        </pc:spChg>
        <pc:spChg chg="add mod">
          <ac:chgData name="Manal El Bakkouri" userId="8b130982-2e3f-4164-b881-fd3a2e4b2453" providerId="ADAL" clId="{4457FA57-250B-44AC-8655-05D46C5A3D8A}" dt="2023-06-06T10:26:24.230" v="9656"/>
          <ac:spMkLst>
            <pc:docMk/>
            <pc:sldMk cId="1782207499" sldId="230717626"/>
            <ac:spMk id="73" creationId="{FA7F3D43-243A-4AB2-9FB3-F4C70986166C}"/>
          </ac:spMkLst>
        </pc:spChg>
        <pc:spChg chg="add mod">
          <ac:chgData name="Manal El Bakkouri" userId="8b130982-2e3f-4164-b881-fd3a2e4b2453" providerId="ADAL" clId="{4457FA57-250B-44AC-8655-05D46C5A3D8A}" dt="2023-06-06T10:26:24.230" v="9656"/>
          <ac:spMkLst>
            <pc:docMk/>
            <pc:sldMk cId="1782207499" sldId="230717626"/>
            <ac:spMk id="74" creationId="{5DB5AFFA-15B5-4083-B845-51C0B12185EC}"/>
          </ac:spMkLst>
        </pc:spChg>
        <pc:spChg chg="add del mod">
          <ac:chgData name="Manal El Bakkouri" userId="8b130982-2e3f-4164-b881-fd3a2e4b2453" providerId="ADAL" clId="{4457FA57-250B-44AC-8655-05D46C5A3D8A}" dt="2023-05-31T17:08:25.912" v="649" actId="478"/>
          <ac:spMkLst>
            <pc:docMk/>
            <pc:sldMk cId="1782207499" sldId="230717626"/>
            <ac:spMk id="74" creationId="{7507993E-0A30-48B7-B251-DD823CFB8B44}"/>
          </ac:spMkLst>
        </pc:spChg>
        <pc:spChg chg="add del mod">
          <ac:chgData name="Manal El Bakkouri" userId="8b130982-2e3f-4164-b881-fd3a2e4b2453" providerId="ADAL" clId="{4457FA57-250B-44AC-8655-05D46C5A3D8A}" dt="2023-06-06T10:26:23.776" v="9655" actId="478"/>
          <ac:spMkLst>
            <pc:docMk/>
            <pc:sldMk cId="1782207499" sldId="230717626"/>
            <ac:spMk id="75" creationId="{91A7C4F4-B61B-49A0-9ECC-D7A25A7C7A5F}"/>
          </ac:spMkLst>
        </pc:spChg>
        <pc:spChg chg="add del mod">
          <ac:chgData name="Manal El Bakkouri" userId="8b130982-2e3f-4164-b881-fd3a2e4b2453" providerId="ADAL" clId="{4457FA57-250B-44AC-8655-05D46C5A3D8A}" dt="2023-06-06T10:26:23.776" v="9655" actId="478"/>
          <ac:spMkLst>
            <pc:docMk/>
            <pc:sldMk cId="1782207499" sldId="230717626"/>
            <ac:spMk id="76" creationId="{669E0EB5-5746-4384-9AC5-62515127EAB5}"/>
          </ac:spMkLst>
        </pc:spChg>
        <pc:spChg chg="add del mod">
          <ac:chgData name="Manal El Bakkouri" userId="8b130982-2e3f-4164-b881-fd3a2e4b2453" providerId="ADAL" clId="{4457FA57-250B-44AC-8655-05D46C5A3D8A}" dt="2023-06-06T10:26:23.776" v="9655" actId="478"/>
          <ac:spMkLst>
            <pc:docMk/>
            <pc:sldMk cId="1782207499" sldId="230717626"/>
            <ac:spMk id="77" creationId="{ACFD352A-E031-487F-A632-925FA217F382}"/>
          </ac:spMkLst>
        </pc:spChg>
        <pc:spChg chg="add del mod">
          <ac:chgData name="Manal El Bakkouri" userId="8b130982-2e3f-4164-b881-fd3a2e4b2453" providerId="ADAL" clId="{4457FA57-250B-44AC-8655-05D46C5A3D8A}" dt="2023-06-06T10:26:23.776" v="9655" actId="478"/>
          <ac:spMkLst>
            <pc:docMk/>
            <pc:sldMk cId="1782207499" sldId="230717626"/>
            <ac:spMk id="78" creationId="{752E245B-1B49-49DA-A4F0-21EB6BDAB66B}"/>
          </ac:spMkLst>
        </pc:spChg>
        <pc:spChg chg="add del mod">
          <ac:chgData name="Manal El Bakkouri" userId="8b130982-2e3f-4164-b881-fd3a2e4b2453" providerId="ADAL" clId="{4457FA57-250B-44AC-8655-05D46C5A3D8A}" dt="2023-06-06T10:26:23.776" v="9655" actId="478"/>
          <ac:spMkLst>
            <pc:docMk/>
            <pc:sldMk cId="1782207499" sldId="230717626"/>
            <ac:spMk id="79" creationId="{92558CCD-0788-4877-801B-D1D6C0F8793D}"/>
          </ac:spMkLst>
        </pc:spChg>
        <pc:spChg chg="add del mod">
          <ac:chgData name="Manal El Bakkouri" userId="8b130982-2e3f-4164-b881-fd3a2e4b2453" providerId="ADAL" clId="{4457FA57-250B-44AC-8655-05D46C5A3D8A}" dt="2023-06-06T10:26:23.776" v="9655" actId="478"/>
          <ac:spMkLst>
            <pc:docMk/>
            <pc:sldMk cId="1782207499" sldId="230717626"/>
            <ac:spMk id="80" creationId="{7D0AB57D-8FA6-4E14-AFE8-61631168CB66}"/>
          </ac:spMkLst>
        </pc:spChg>
        <pc:spChg chg="add del mod">
          <ac:chgData name="Manal El Bakkouri" userId="8b130982-2e3f-4164-b881-fd3a2e4b2453" providerId="ADAL" clId="{4457FA57-250B-44AC-8655-05D46C5A3D8A}" dt="2023-06-06T10:26:23.776" v="9655" actId="478"/>
          <ac:spMkLst>
            <pc:docMk/>
            <pc:sldMk cId="1782207499" sldId="230717626"/>
            <ac:spMk id="81" creationId="{1E067B86-9315-42FB-84A9-3EE9F93BA9DE}"/>
          </ac:spMkLst>
        </pc:spChg>
        <pc:spChg chg="mod">
          <ac:chgData name="Manal El Bakkouri" userId="8b130982-2e3f-4164-b881-fd3a2e4b2453" providerId="ADAL" clId="{4457FA57-250B-44AC-8655-05D46C5A3D8A}" dt="2023-06-03T17:56:00.903" v="5962" actId="14100"/>
          <ac:spMkLst>
            <pc:docMk/>
            <pc:sldMk cId="1782207499" sldId="230717626"/>
            <ac:spMk id="118" creationId="{D6230F0A-3089-4FE2-8CA2-9F4872ED312A}"/>
          </ac:spMkLst>
        </pc:spChg>
        <pc:spChg chg="mod">
          <ac:chgData name="Manal El Bakkouri" userId="8b130982-2e3f-4164-b881-fd3a2e4b2453" providerId="ADAL" clId="{4457FA57-250B-44AC-8655-05D46C5A3D8A}" dt="2023-06-03T17:56:14.800" v="5964" actId="113"/>
          <ac:spMkLst>
            <pc:docMk/>
            <pc:sldMk cId="1782207499" sldId="230717626"/>
            <ac:spMk id="163" creationId="{85611E3E-9EA2-439F-A0D8-419697612AD8}"/>
          </ac:spMkLst>
        </pc:spChg>
      </pc:sldChg>
      <pc:sldChg chg="addSp delSp modSp del mod modTransition modNotesTx">
        <pc:chgData name="Manal El Bakkouri" userId="8b130982-2e3f-4164-b881-fd3a2e4b2453" providerId="ADAL" clId="{4457FA57-250B-44AC-8655-05D46C5A3D8A}" dt="2023-06-07T09:21:54.174" v="17400" actId="2696"/>
        <pc:sldMkLst>
          <pc:docMk/>
          <pc:sldMk cId="1666637574" sldId="230717627"/>
        </pc:sldMkLst>
        <pc:spChg chg="del">
          <ac:chgData name="Manal El Bakkouri" userId="8b130982-2e3f-4164-b881-fd3a2e4b2453" providerId="ADAL" clId="{4457FA57-250B-44AC-8655-05D46C5A3D8A}" dt="2023-05-31T17:08:30.791" v="651" actId="478"/>
          <ac:spMkLst>
            <pc:docMk/>
            <pc:sldMk cId="1666637574" sldId="230717627"/>
            <ac:spMk id="50" creationId="{0D675A8C-4762-4C05-BD22-AFED6BCF2286}"/>
          </ac:spMkLst>
        </pc:spChg>
        <pc:spChg chg="del">
          <ac:chgData name="Manal El Bakkouri" userId="8b130982-2e3f-4164-b881-fd3a2e4b2453" providerId="ADAL" clId="{4457FA57-250B-44AC-8655-05D46C5A3D8A}" dt="2023-05-31T17:08:30.791" v="651" actId="478"/>
          <ac:spMkLst>
            <pc:docMk/>
            <pc:sldMk cId="1666637574" sldId="230717627"/>
            <ac:spMk id="51" creationId="{5F729168-66BA-430C-BAE0-1B818C22C59B}"/>
          </ac:spMkLst>
        </pc:spChg>
        <pc:spChg chg="del">
          <ac:chgData name="Manal El Bakkouri" userId="8b130982-2e3f-4164-b881-fd3a2e4b2453" providerId="ADAL" clId="{4457FA57-250B-44AC-8655-05D46C5A3D8A}" dt="2023-05-31T17:08:30.791" v="651" actId="478"/>
          <ac:spMkLst>
            <pc:docMk/>
            <pc:sldMk cId="1666637574" sldId="230717627"/>
            <ac:spMk id="52" creationId="{3AA9E2E5-19A3-42AC-974C-BECC00D4815D}"/>
          </ac:spMkLst>
        </pc:spChg>
        <pc:spChg chg="del">
          <ac:chgData name="Manal El Bakkouri" userId="8b130982-2e3f-4164-b881-fd3a2e4b2453" providerId="ADAL" clId="{4457FA57-250B-44AC-8655-05D46C5A3D8A}" dt="2023-05-31T17:08:30.791" v="651" actId="478"/>
          <ac:spMkLst>
            <pc:docMk/>
            <pc:sldMk cId="1666637574" sldId="230717627"/>
            <ac:spMk id="53" creationId="{74C20459-E4F2-4CF2-9B4D-9F4C56AE4006}"/>
          </ac:spMkLst>
        </pc:spChg>
        <pc:spChg chg="del">
          <ac:chgData name="Manal El Bakkouri" userId="8b130982-2e3f-4164-b881-fd3a2e4b2453" providerId="ADAL" clId="{4457FA57-250B-44AC-8655-05D46C5A3D8A}" dt="2023-05-31T17:08:30.791" v="651" actId="478"/>
          <ac:spMkLst>
            <pc:docMk/>
            <pc:sldMk cId="1666637574" sldId="230717627"/>
            <ac:spMk id="54" creationId="{FDE211B4-883D-4803-9945-BF19AC0B850E}"/>
          </ac:spMkLst>
        </pc:spChg>
        <pc:spChg chg="del">
          <ac:chgData name="Manal El Bakkouri" userId="8b130982-2e3f-4164-b881-fd3a2e4b2453" providerId="ADAL" clId="{4457FA57-250B-44AC-8655-05D46C5A3D8A}" dt="2023-05-31T17:08:30.791" v="651" actId="478"/>
          <ac:spMkLst>
            <pc:docMk/>
            <pc:sldMk cId="1666637574" sldId="230717627"/>
            <ac:spMk id="55" creationId="{A4B47897-DEF0-408F-9265-0FC2E2B2492A}"/>
          </ac:spMkLst>
        </pc:spChg>
        <pc:spChg chg="del">
          <ac:chgData name="Manal El Bakkouri" userId="8b130982-2e3f-4164-b881-fd3a2e4b2453" providerId="ADAL" clId="{4457FA57-250B-44AC-8655-05D46C5A3D8A}" dt="2023-05-31T17:08:30.791" v="651" actId="478"/>
          <ac:spMkLst>
            <pc:docMk/>
            <pc:sldMk cId="1666637574" sldId="230717627"/>
            <ac:spMk id="56" creationId="{7EA0729B-96F3-44FF-B1E5-AEFEDCD90A64}"/>
          </ac:spMkLst>
        </pc:spChg>
        <pc:spChg chg="del">
          <ac:chgData name="Manal El Bakkouri" userId="8b130982-2e3f-4164-b881-fd3a2e4b2453" providerId="ADAL" clId="{4457FA57-250B-44AC-8655-05D46C5A3D8A}" dt="2023-05-31T17:08:30.791" v="651" actId="478"/>
          <ac:spMkLst>
            <pc:docMk/>
            <pc:sldMk cId="1666637574" sldId="230717627"/>
            <ac:spMk id="57" creationId="{AD90DEE4-BA59-409B-8702-59A9189D3128}"/>
          </ac:spMkLst>
        </pc:spChg>
        <pc:spChg chg="del">
          <ac:chgData name="Manal El Bakkouri" userId="8b130982-2e3f-4164-b881-fd3a2e4b2453" providerId="ADAL" clId="{4457FA57-250B-44AC-8655-05D46C5A3D8A}" dt="2023-05-31T17:08:30.791" v="651" actId="478"/>
          <ac:spMkLst>
            <pc:docMk/>
            <pc:sldMk cId="1666637574" sldId="230717627"/>
            <ac:spMk id="58" creationId="{CC9E7F20-EADC-4392-BB8D-B237DB9EE1E1}"/>
          </ac:spMkLst>
        </pc:spChg>
        <pc:spChg chg="del">
          <ac:chgData name="Manal El Bakkouri" userId="8b130982-2e3f-4164-b881-fd3a2e4b2453" providerId="ADAL" clId="{4457FA57-250B-44AC-8655-05D46C5A3D8A}" dt="2023-05-31T17:08:30.791" v="651" actId="478"/>
          <ac:spMkLst>
            <pc:docMk/>
            <pc:sldMk cId="1666637574" sldId="230717627"/>
            <ac:spMk id="59" creationId="{319F091D-9EDE-452E-964E-ED78548E6664}"/>
          </ac:spMkLst>
        </pc:spChg>
        <pc:spChg chg="add mod">
          <ac:chgData name="Manal El Bakkouri" userId="8b130982-2e3f-4164-b881-fd3a2e4b2453" providerId="ADAL" clId="{4457FA57-250B-44AC-8655-05D46C5A3D8A}" dt="2023-06-04T13:06:08.676" v="7629"/>
          <ac:spMkLst>
            <pc:docMk/>
            <pc:sldMk cId="1666637574" sldId="230717627"/>
            <ac:spMk id="65" creationId="{E4E0C098-5940-4905-A67F-22251B18D8FC}"/>
          </ac:spMkLst>
        </pc:spChg>
        <pc:spChg chg="add mod">
          <ac:chgData name="Manal El Bakkouri" userId="8b130982-2e3f-4164-b881-fd3a2e4b2453" providerId="ADAL" clId="{4457FA57-250B-44AC-8655-05D46C5A3D8A}" dt="2023-06-06T10:26:19.413" v="9654"/>
          <ac:spMkLst>
            <pc:docMk/>
            <pc:sldMk cId="1666637574" sldId="230717627"/>
            <ac:spMk id="66" creationId="{6BADDA53-4781-4F5C-BDF4-29B725BCB152}"/>
          </ac:spMkLst>
        </pc:spChg>
        <pc:spChg chg="add mod">
          <ac:chgData name="Manal El Bakkouri" userId="8b130982-2e3f-4164-b881-fd3a2e4b2453" providerId="ADAL" clId="{4457FA57-250B-44AC-8655-05D46C5A3D8A}" dt="2023-06-06T10:26:19.413" v="9654"/>
          <ac:spMkLst>
            <pc:docMk/>
            <pc:sldMk cId="1666637574" sldId="230717627"/>
            <ac:spMk id="67" creationId="{73C4CF04-6608-416E-B82D-0F1C66D2EAE9}"/>
          </ac:spMkLst>
        </pc:spChg>
        <pc:spChg chg="add del mod">
          <ac:chgData name="Manal El Bakkouri" userId="8b130982-2e3f-4164-b881-fd3a2e4b2453" providerId="ADAL" clId="{4457FA57-250B-44AC-8655-05D46C5A3D8A}" dt="2023-06-06T10:26:19.104" v="9653" actId="478"/>
          <ac:spMkLst>
            <pc:docMk/>
            <pc:sldMk cId="1666637574" sldId="230717627"/>
            <ac:spMk id="68" creationId="{9EEB78E2-1AEE-4FF7-B673-6A36A17D0DE8}"/>
          </ac:spMkLst>
        </pc:spChg>
        <pc:spChg chg="add del mod">
          <ac:chgData name="Manal El Bakkouri" userId="8b130982-2e3f-4164-b881-fd3a2e4b2453" providerId="ADAL" clId="{4457FA57-250B-44AC-8655-05D46C5A3D8A}" dt="2023-06-06T10:26:19.104" v="9653" actId="478"/>
          <ac:spMkLst>
            <pc:docMk/>
            <pc:sldMk cId="1666637574" sldId="230717627"/>
            <ac:spMk id="69" creationId="{3A475C04-55D2-4785-AF06-F36EE4F763E2}"/>
          </ac:spMkLst>
        </pc:spChg>
        <pc:spChg chg="add del mod">
          <ac:chgData name="Manal El Bakkouri" userId="8b130982-2e3f-4164-b881-fd3a2e4b2453" providerId="ADAL" clId="{4457FA57-250B-44AC-8655-05D46C5A3D8A}" dt="2023-06-06T10:26:19.104" v="9653" actId="478"/>
          <ac:spMkLst>
            <pc:docMk/>
            <pc:sldMk cId="1666637574" sldId="230717627"/>
            <ac:spMk id="70" creationId="{92542318-D66B-4D26-AB3B-6B61EF00DF95}"/>
          </ac:spMkLst>
        </pc:spChg>
        <pc:spChg chg="add del mod">
          <ac:chgData name="Manal El Bakkouri" userId="8b130982-2e3f-4164-b881-fd3a2e4b2453" providerId="ADAL" clId="{4457FA57-250B-44AC-8655-05D46C5A3D8A}" dt="2023-06-06T10:26:19.104" v="9653" actId="478"/>
          <ac:spMkLst>
            <pc:docMk/>
            <pc:sldMk cId="1666637574" sldId="230717627"/>
            <ac:spMk id="71" creationId="{2C7F6DB3-2ABF-4330-A3C8-8767DB8F0B77}"/>
          </ac:spMkLst>
        </pc:spChg>
        <pc:spChg chg="add del mod">
          <ac:chgData name="Manal El Bakkouri" userId="8b130982-2e3f-4164-b881-fd3a2e4b2453" providerId="ADAL" clId="{4457FA57-250B-44AC-8655-05D46C5A3D8A}" dt="2023-06-06T10:26:19.104" v="9653" actId="478"/>
          <ac:spMkLst>
            <pc:docMk/>
            <pc:sldMk cId="1666637574" sldId="230717627"/>
            <ac:spMk id="72" creationId="{ED130ADB-DEA5-47B8-8BF4-650B13A2C1BD}"/>
          </ac:spMkLst>
        </pc:spChg>
        <pc:spChg chg="add del mod">
          <ac:chgData name="Manal El Bakkouri" userId="8b130982-2e3f-4164-b881-fd3a2e4b2453" providerId="ADAL" clId="{4457FA57-250B-44AC-8655-05D46C5A3D8A}" dt="2023-06-06T10:26:19.104" v="9653" actId="478"/>
          <ac:spMkLst>
            <pc:docMk/>
            <pc:sldMk cId="1666637574" sldId="230717627"/>
            <ac:spMk id="73" creationId="{9B9882E5-A7E9-48B0-8E1F-89D1E754127E}"/>
          </ac:spMkLst>
        </pc:spChg>
        <pc:spChg chg="add del mod">
          <ac:chgData name="Manal El Bakkouri" userId="8b130982-2e3f-4164-b881-fd3a2e4b2453" providerId="ADAL" clId="{4457FA57-250B-44AC-8655-05D46C5A3D8A}" dt="2023-06-06T10:26:19.104" v="9653" actId="478"/>
          <ac:spMkLst>
            <pc:docMk/>
            <pc:sldMk cId="1666637574" sldId="230717627"/>
            <ac:spMk id="74" creationId="{B14CD41A-5F69-424C-8902-78032ED59413}"/>
          </ac:spMkLst>
        </pc:spChg>
        <pc:spChg chg="add mod">
          <ac:chgData name="Manal El Bakkouri" userId="8b130982-2e3f-4164-b881-fd3a2e4b2453" providerId="ADAL" clId="{4457FA57-250B-44AC-8655-05D46C5A3D8A}" dt="2023-06-06T10:26:19.413" v="9654"/>
          <ac:spMkLst>
            <pc:docMk/>
            <pc:sldMk cId="1666637574" sldId="230717627"/>
            <ac:spMk id="75" creationId="{187407CF-93D9-440D-BBC4-EC8F4EAB7C91}"/>
          </ac:spMkLst>
        </pc:spChg>
        <pc:spChg chg="add mod">
          <ac:chgData name="Manal El Bakkouri" userId="8b130982-2e3f-4164-b881-fd3a2e4b2453" providerId="ADAL" clId="{4457FA57-250B-44AC-8655-05D46C5A3D8A}" dt="2023-06-06T10:26:19.413" v="9654"/>
          <ac:spMkLst>
            <pc:docMk/>
            <pc:sldMk cId="1666637574" sldId="230717627"/>
            <ac:spMk id="76" creationId="{4693238E-FA5B-4CDA-B322-4D6EBD1DB7FB}"/>
          </ac:spMkLst>
        </pc:spChg>
        <pc:spChg chg="add mod">
          <ac:chgData name="Manal El Bakkouri" userId="8b130982-2e3f-4164-b881-fd3a2e4b2453" providerId="ADAL" clId="{4457FA57-250B-44AC-8655-05D46C5A3D8A}" dt="2023-06-06T10:26:19.413" v="9654"/>
          <ac:spMkLst>
            <pc:docMk/>
            <pc:sldMk cId="1666637574" sldId="230717627"/>
            <ac:spMk id="77" creationId="{882DB9D0-D509-4EE2-82D7-919E935A6874}"/>
          </ac:spMkLst>
        </pc:spChg>
        <pc:spChg chg="add mod">
          <ac:chgData name="Manal El Bakkouri" userId="8b130982-2e3f-4164-b881-fd3a2e4b2453" providerId="ADAL" clId="{4457FA57-250B-44AC-8655-05D46C5A3D8A}" dt="2023-06-06T10:26:19.413" v="9654"/>
          <ac:spMkLst>
            <pc:docMk/>
            <pc:sldMk cId="1666637574" sldId="230717627"/>
            <ac:spMk id="78" creationId="{F3ABEFA1-5342-4348-87A4-C547423020A9}"/>
          </ac:spMkLst>
        </pc:spChg>
        <pc:spChg chg="add mod">
          <ac:chgData name="Manal El Bakkouri" userId="8b130982-2e3f-4164-b881-fd3a2e4b2453" providerId="ADAL" clId="{4457FA57-250B-44AC-8655-05D46C5A3D8A}" dt="2023-06-06T10:26:19.413" v="9654"/>
          <ac:spMkLst>
            <pc:docMk/>
            <pc:sldMk cId="1666637574" sldId="230717627"/>
            <ac:spMk id="79" creationId="{8CB76065-9C63-489D-9120-9360CB66B110}"/>
          </ac:spMkLst>
        </pc:spChg>
        <pc:spChg chg="add mod">
          <ac:chgData name="Manal El Bakkouri" userId="8b130982-2e3f-4164-b881-fd3a2e4b2453" providerId="ADAL" clId="{4457FA57-250B-44AC-8655-05D46C5A3D8A}" dt="2023-06-06T10:26:19.413" v="9654"/>
          <ac:spMkLst>
            <pc:docMk/>
            <pc:sldMk cId="1666637574" sldId="230717627"/>
            <ac:spMk id="80" creationId="{5706DB46-EDA5-4B5B-9B31-42D663FE5554}"/>
          </ac:spMkLst>
        </pc:spChg>
        <pc:spChg chg="add mod">
          <ac:chgData name="Manal El Bakkouri" userId="8b130982-2e3f-4164-b881-fd3a2e4b2453" providerId="ADAL" clId="{4457FA57-250B-44AC-8655-05D46C5A3D8A}" dt="2023-06-06T10:26:19.413" v="9654"/>
          <ac:spMkLst>
            <pc:docMk/>
            <pc:sldMk cId="1666637574" sldId="230717627"/>
            <ac:spMk id="81" creationId="{1397AE78-9FA9-4BB4-9F65-5F8AF0B0A533}"/>
          </ac:spMkLst>
        </pc:spChg>
        <pc:spChg chg="mod">
          <ac:chgData name="Manal El Bakkouri" userId="8b130982-2e3f-4164-b881-fd3a2e4b2453" providerId="ADAL" clId="{4457FA57-250B-44AC-8655-05D46C5A3D8A}" dt="2023-06-03T17:56:07.026" v="5963" actId="14100"/>
          <ac:spMkLst>
            <pc:docMk/>
            <pc:sldMk cId="1666637574" sldId="230717627"/>
            <ac:spMk id="120" creationId="{DBA511E5-8029-4BAF-B020-F9BACBA7C36A}"/>
          </ac:spMkLst>
        </pc:spChg>
        <pc:spChg chg="mod">
          <ac:chgData name="Manal El Bakkouri" userId="8b130982-2e3f-4164-b881-fd3a2e4b2453" providerId="ADAL" clId="{4457FA57-250B-44AC-8655-05D46C5A3D8A}" dt="2023-06-03T17:55:36.199" v="5960" actId="113"/>
          <ac:spMkLst>
            <pc:docMk/>
            <pc:sldMk cId="1666637574" sldId="230717627"/>
            <ac:spMk id="167" creationId="{3DDDC167-0805-4D3B-AE2C-251C02306ACE}"/>
          </ac:spMkLst>
        </pc:spChg>
      </pc:sldChg>
      <pc:sldChg chg="addSp delSp modSp del mod modTransition modNotesTx">
        <pc:chgData name="Manal El Bakkouri" userId="8b130982-2e3f-4164-b881-fd3a2e4b2453" providerId="ADAL" clId="{4457FA57-250B-44AC-8655-05D46C5A3D8A}" dt="2023-06-07T09:21:54.174" v="17400" actId="2696"/>
        <pc:sldMkLst>
          <pc:docMk/>
          <pc:sldMk cId="593440848" sldId="230717628"/>
        </pc:sldMkLst>
        <pc:spChg chg="del">
          <ac:chgData name="Manal El Bakkouri" userId="8b130982-2e3f-4164-b881-fd3a2e4b2453" providerId="ADAL" clId="{4457FA57-250B-44AC-8655-05D46C5A3D8A}" dt="2023-05-31T17:08:35.104" v="653" actId="478"/>
          <ac:spMkLst>
            <pc:docMk/>
            <pc:sldMk cId="593440848" sldId="230717628"/>
            <ac:spMk id="50" creationId="{0D675A8C-4762-4C05-BD22-AFED6BCF2286}"/>
          </ac:spMkLst>
        </pc:spChg>
        <pc:spChg chg="del">
          <ac:chgData name="Manal El Bakkouri" userId="8b130982-2e3f-4164-b881-fd3a2e4b2453" providerId="ADAL" clId="{4457FA57-250B-44AC-8655-05D46C5A3D8A}" dt="2023-05-31T17:08:35.104" v="653" actId="478"/>
          <ac:spMkLst>
            <pc:docMk/>
            <pc:sldMk cId="593440848" sldId="230717628"/>
            <ac:spMk id="51" creationId="{5F729168-66BA-430C-BAE0-1B818C22C59B}"/>
          </ac:spMkLst>
        </pc:spChg>
        <pc:spChg chg="del">
          <ac:chgData name="Manal El Bakkouri" userId="8b130982-2e3f-4164-b881-fd3a2e4b2453" providerId="ADAL" clId="{4457FA57-250B-44AC-8655-05D46C5A3D8A}" dt="2023-05-31T17:08:35.104" v="653" actId="478"/>
          <ac:spMkLst>
            <pc:docMk/>
            <pc:sldMk cId="593440848" sldId="230717628"/>
            <ac:spMk id="52" creationId="{3AA9E2E5-19A3-42AC-974C-BECC00D4815D}"/>
          </ac:spMkLst>
        </pc:spChg>
        <pc:spChg chg="del">
          <ac:chgData name="Manal El Bakkouri" userId="8b130982-2e3f-4164-b881-fd3a2e4b2453" providerId="ADAL" clId="{4457FA57-250B-44AC-8655-05D46C5A3D8A}" dt="2023-05-31T17:08:35.104" v="653" actId="478"/>
          <ac:spMkLst>
            <pc:docMk/>
            <pc:sldMk cId="593440848" sldId="230717628"/>
            <ac:spMk id="53" creationId="{74C20459-E4F2-4CF2-9B4D-9F4C56AE4006}"/>
          </ac:spMkLst>
        </pc:spChg>
        <pc:spChg chg="del">
          <ac:chgData name="Manal El Bakkouri" userId="8b130982-2e3f-4164-b881-fd3a2e4b2453" providerId="ADAL" clId="{4457FA57-250B-44AC-8655-05D46C5A3D8A}" dt="2023-05-31T17:08:35.104" v="653" actId="478"/>
          <ac:spMkLst>
            <pc:docMk/>
            <pc:sldMk cId="593440848" sldId="230717628"/>
            <ac:spMk id="54" creationId="{FDE211B4-883D-4803-9945-BF19AC0B850E}"/>
          </ac:spMkLst>
        </pc:spChg>
        <pc:spChg chg="del">
          <ac:chgData name="Manal El Bakkouri" userId="8b130982-2e3f-4164-b881-fd3a2e4b2453" providerId="ADAL" clId="{4457FA57-250B-44AC-8655-05D46C5A3D8A}" dt="2023-05-31T17:08:35.104" v="653" actId="478"/>
          <ac:spMkLst>
            <pc:docMk/>
            <pc:sldMk cId="593440848" sldId="230717628"/>
            <ac:spMk id="55" creationId="{A4B47897-DEF0-408F-9265-0FC2E2B2492A}"/>
          </ac:spMkLst>
        </pc:spChg>
        <pc:spChg chg="del">
          <ac:chgData name="Manal El Bakkouri" userId="8b130982-2e3f-4164-b881-fd3a2e4b2453" providerId="ADAL" clId="{4457FA57-250B-44AC-8655-05D46C5A3D8A}" dt="2023-05-31T17:08:35.104" v="653" actId="478"/>
          <ac:spMkLst>
            <pc:docMk/>
            <pc:sldMk cId="593440848" sldId="230717628"/>
            <ac:spMk id="56" creationId="{7EA0729B-96F3-44FF-B1E5-AEFEDCD90A64}"/>
          </ac:spMkLst>
        </pc:spChg>
        <pc:spChg chg="del">
          <ac:chgData name="Manal El Bakkouri" userId="8b130982-2e3f-4164-b881-fd3a2e4b2453" providerId="ADAL" clId="{4457FA57-250B-44AC-8655-05D46C5A3D8A}" dt="2023-05-31T17:08:35.104" v="653" actId="478"/>
          <ac:spMkLst>
            <pc:docMk/>
            <pc:sldMk cId="593440848" sldId="230717628"/>
            <ac:spMk id="57" creationId="{AD90DEE4-BA59-409B-8702-59A9189D3128}"/>
          </ac:spMkLst>
        </pc:spChg>
        <pc:spChg chg="del">
          <ac:chgData name="Manal El Bakkouri" userId="8b130982-2e3f-4164-b881-fd3a2e4b2453" providerId="ADAL" clId="{4457FA57-250B-44AC-8655-05D46C5A3D8A}" dt="2023-05-31T17:08:35.104" v="653" actId="478"/>
          <ac:spMkLst>
            <pc:docMk/>
            <pc:sldMk cId="593440848" sldId="230717628"/>
            <ac:spMk id="58" creationId="{CC9E7F20-EADC-4392-BB8D-B237DB9EE1E1}"/>
          </ac:spMkLst>
        </pc:spChg>
        <pc:spChg chg="del">
          <ac:chgData name="Manal El Bakkouri" userId="8b130982-2e3f-4164-b881-fd3a2e4b2453" providerId="ADAL" clId="{4457FA57-250B-44AC-8655-05D46C5A3D8A}" dt="2023-05-31T17:08:35.104" v="653" actId="478"/>
          <ac:spMkLst>
            <pc:docMk/>
            <pc:sldMk cId="593440848" sldId="230717628"/>
            <ac:spMk id="59" creationId="{319F091D-9EDE-452E-964E-ED78548E6664}"/>
          </ac:spMkLst>
        </pc:spChg>
        <pc:spChg chg="add mod">
          <ac:chgData name="Manal El Bakkouri" userId="8b130982-2e3f-4164-b881-fd3a2e4b2453" providerId="ADAL" clId="{4457FA57-250B-44AC-8655-05D46C5A3D8A}" dt="2023-06-03T17:56:55.303" v="5970"/>
          <ac:spMkLst>
            <pc:docMk/>
            <pc:sldMk cId="593440848" sldId="230717628"/>
            <ac:spMk id="65" creationId="{3CB46D76-D797-4EE8-B103-02740F72EE91}"/>
          </ac:spMkLst>
        </pc:spChg>
        <pc:spChg chg="add mod">
          <ac:chgData name="Manal El Bakkouri" userId="8b130982-2e3f-4164-b881-fd3a2e4b2453" providerId="ADAL" clId="{4457FA57-250B-44AC-8655-05D46C5A3D8A}" dt="2023-06-04T13:06:10.746" v="7630"/>
          <ac:spMkLst>
            <pc:docMk/>
            <pc:sldMk cId="593440848" sldId="230717628"/>
            <ac:spMk id="66" creationId="{F0F3C8A3-DA5A-40AF-9989-21A1A0A80B9F}"/>
          </ac:spMkLst>
        </pc:spChg>
        <pc:spChg chg="add mod">
          <ac:chgData name="Manal El Bakkouri" userId="8b130982-2e3f-4164-b881-fd3a2e4b2453" providerId="ADAL" clId="{4457FA57-250B-44AC-8655-05D46C5A3D8A}" dt="2023-06-06T10:26:14.883" v="9652"/>
          <ac:spMkLst>
            <pc:docMk/>
            <pc:sldMk cId="593440848" sldId="230717628"/>
            <ac:spMk id="67" creationId="{7FAEB0E9-C5CB-4407-9729-FBAF8B61205A}"/>
          </ac:spMkLst>
        </pc:spChg>
        <pc:spChg chg="add del mod">
          <ac:chgData name="Manal El Bakkouri" userId="8b130982-2e3f-4164-b881-fd3a2e4b2453" providerId="ADAL" clId="{4457FA57-250B-44AC-8655-05D46C5A3D8A}" dt="2023-06-06T10:26:14.548" v="9651" actId="478"/>
          <ac:spMkLst>
            <pc:docMk/>
            <pc:sldMk cId="593440848" sldId="230717628"/>
            <ac:spMk id="68" creationId="{30902E4F-F4BB-440C-9A2F-928A445B09B5}"/>
          </ac:spMkLst>
        </pc:spChg>
        <pc:spChg chg="add del mod">
          <ac:chgData name="Manal El Bakkouri" userId="8b130982-2e3f-4164-b881-fd3a2e4b2453" providerId="ADAL" clId="{4457FA57-250B-44AC-8655-05D46C5A3D8A}" dt="2023-06-06T10:26:14.548" v="9651" actId="478"/>
          <ac:spMkLst>
            <pc:docMk/>
            <pc:sldMk cId="593440848" sldId="230717628"/>
            <ac:spMk id="69" creationId="{3D51DA47-A440-4945-828D-B9612A37BF37}"/>
          </ac:spMkLst>
        </pc:spChg>
        <pc:spChg chg="add del mod">
          <ac:chgData name="Manal El Bakkouri" userId="8b130982-2e3f-4164-b881-fd3a2e4b2453" providerId="ADAL" clId="{4457FA57-250B-44AC-8655-05D46C5A3D8A}" dt="2023-06-06T10:26:14.548" v="9651" actId="478"/>
          <ac:spMkLst>
            <pc:docMk/>
            <pc:sldMk cId="593440848" sldId="230717628"/>
            <ac:spMk id="70" creationId="{1907895B-D275-4707-9CB4-413A4BCDB17E}"/>
          </ac:spMkLst>
        </pc:spChg>
        <pc:spChg chg="add del mod">
          <ac:chgData name="Manal El Bakkouri" userId="8b130982-2e3f-4164-b881-fd3a2e4b2453" providerId="ADAL" clId="{4457FA57-250B-44AC-8655-05D46C5A3D8A}" dt="2023-06-06T10:26:14.548" v="9651" actId="478"/>
          <ac:spMkLst>
            <pc:docMk/>
            <pc:sldMk cId="593440848" sldId="230717628"/>
            <ac:spMk id="71" creationId="{3ADACE0D-D6B1-4B6C-BDDF-206CE3BB6AE9}"/>
          </ac:spMkLst>
        </pc:spChg>
        <pc:spChg chg="add del mod">
          <ac:chgData name="Manal El Bakkouri" userId="8b130982-2e3f-4164-b881-fd3a2e4b2453" providerId="ADAL" clId="{4457FA57-250B-44AC-8655-05D46C5A3D8A}" dt="2023-06-06T10:26:14.548" v="9651" actId="478"/>
          <ac:spMkLst>
            <pc:docMk/>
            <pc:sldMk cId="593440848" sldId="230717628"/>
            <ac:spMk id="72" creationId="{19637C17-BDEA-4283-9617-D66EE012FF1A}"/>
          </ac:spMkLst>
        </pc:spChg>
        <pc:spChg chg="add del mod">
          <ac:chgData name="Manal El Bakkouri" userId="8b130982-2e3f-4164-b881-fd3a2e4b2453" providerId="ADAL" clId="{4457FA57-250B-44AC-8655-05D46C5A3D8A}" dt="2023-06-06T10:26:14.548" v="9651" actId="478"/>
          <ac:spMkLst>
            <pc:docMk/>
            <pc:sldMk cId="593440848" sldId="230717628"/>
            <ac:spMk id="73" creationId="{EBF46B0A-6B19-4AF3-8701-FCBD567364EC}"/>
          </ac:spMkLst>
        </pc:spChg>
        <pc:spChg chg="add del mod">
          <ac:chgData name="Manal El Bakkouri" userId="8b130982-2e3f-4164-b881-fd3a2e4b2453" providerId="ADAL" clId="{4457FA57-250B-44AC-8655-05D46C5A3D8A}" dt="2023-06-06T10:26:14.548" v="9651" actId="478"/>
          <ac:spMkLst>
            <pc:docMk/>
            <pc:sldMk cId="593440848" sldId="230717628"/>
            <ac:spMk id="74" creationId="{AE59AF2F-AE21-4F5D-B265-2B54D73A2CAF}"/>
          </ac:spMkLst>
        </pc:spChg>
        <pc:spChg chg="add mod">
          <ac:chgData name="Manal El Bakkouri" userId="8b130982-2e3f-4164-b881-fd3a2e4b2453" providerId="ADAL" clId="{4457FA57-250B-44AC-8655-05D46C5A3D8A}" dt="2023-06-06T10:26:14.883" v="9652"/>
          <ac:spMkLst>
            <pc:docMk/>
            <pc:sldMk cId="593440848" sldId="230717628"/>
            <ac:spMk id="75" creationId="{EE8EC334-4EEE-4248-BB03-09C67DAFC5B0}"/>
          </ac:spMkLst>
        </pc:spChg>
        <pc:spChg chg="add mod">
          <ac:chgData name="Manal El Bakkouri" userId="8b130982-2e3f-4164-b881-fd3a2e4b2453" providerId="ADAL" clId="{4457FA57-250B-44AC-8655-05D46C5A3D8A}" dt="2023-06-06T10:26:14.883" v="9652"/>
          <ac:spMkLst>
            <pc:docMk/>
            <pc:sldMk cId="593440848" sldId="230717628"/>
            <ac:spMk id="76" creationId="{517E3F35-5FF2-421A-9AD1-87F42C8022D4}"/>
          </ac:spMkLst>
        </pc:spChg>
        <pc:spChg chg="add mod">
          <ac:chgData name="Manal El Bakkouri" userId="8b130982-2e3f-4164-b881-fd3a2e4b2453" providerId="ADAL" clId="{4457FA57-250B-44AC-8655-05D46C5A3D8A}" dt="2023-06-06T10:26:14.883" v="9652"/>
          <ac:spMkLst>
            <pc:docMk/>
            <pc:sldMk cId="593440848" sldId="230717628"/>
            <ac:spMk id="77" creationId="{A192D905-5BC9-448A-BF1D-B409065481B2}"/>
          </ac:spMkLst>
        </pc:spChg>
        <pc:spChg chg="add mod">
          <ac:chgData name="Manal El Bakkouri" userId="8b130982-2e3f-4164-b881-fd3a2e4b2453" providerId="ADAL" clId="{4457FA57-250B-44AC-8655-05D46C5A3D8A}" dt="2023-06-06T10:26:14.883" v="9652"/>
          <ac:spMkLst>
            <pc:docMk/>
            <pc:sldMk cId="593440848" sldId="230717628"/>
            <ac:spMk id="78" creationId="{0FBD8467-2E0F-4F8C-A92E-FAFDE37DBFD1}"/>
          </ac:spMkLst>
        </pc:spChg>
        <pc:spChg chg="add mod">
          <ac:chgData name="Manal El Bakkouri" userId="8b130982-2e3f-4164-b881-fd3a2e4b2453" providerId="ADAL" clId="{4457FA57-250B-44AC-8655-05D46C5A3D8A}" dt="2023-06-06T10:26:14.883" v="9652"/>
          <ac:spMkLst>
            <pc:docMk/>
            <pc:sldMk cId="593440848" sldId="230717628"/>
            <ac:spMk id="79" creationId="{7AA8938F-93C7-4696-86D1-F9E0B15F610A}"/>
          </ac:spMkLst>
        </pc:spChg>
        <pc:spChg chg="add mod">
          <ac:chgData name="Manal El Bakkouri" userId="8b130982-2e3f-4164-b881-fd3a2e4b2453" providerId="ADAL" clId="{4457FA57-250B-44AC-8655-05D46C5A3D8A}" dt="2023-06-06T10:26:14.883" v="9652"/>
          <ac:spMkLst>
            <pc:docMk/>
            <pc:sldMk cId="593440848" sldId="230717628"/>
            <ac:spMk id="80" creationId="{6213A39A-F6EF-4225-9686-C2B6881740B7}"/>
          </ac:spMkLst>
        </pc:spChg>
        <pc:spChg chg="add mod">
          <ac:chgData name="Manal El Bakkouri" userId="8b130982-2e3f-4164-b881-fd3a2e4b2453" providerId="ADAL" clId="{4457FA57-250B-44AC-8655-05D46C5A3D8A}" dt="2023-06-06T10:26:14.883" v="9652"/>
          <ac:spMkLst>
            <pc:docMk/>
            <pc:sldMk cId="593440848" sldId="230717628"/>
            <ac:spMk id="81" creationId="{8F8AE251-882A-4AF6-84C3-2AE72B273AC9}"/>
          </ac:spMkLst>
        </pc:spChg>
        <pc:spChg chg="add mod">
          <ac:chgData name="Manal El Bakkouri" userId="8b130982-2e3f-4164-b881-fd3a2e4b2453" providerId="ADAL" clId="{4457FA57-250B-44AC-8655-05D46C5A3D8A}" dt="2023-06-06T10:26:14.883" v="9652"/>
          <ac:spMkLst>
            <pc:docMk/>
            <pc:sldMk cId="593440848" sldId="230717628"/>
            <ac:spMk id="82" creationId="{F225E99D-DEF6-4368-9D6E-690157843483}"/>
          </ac:spMkLst>
        </pc:spChg>
        <pc:spChg chg="mod">
          <ac:chgData name="Manal El Bakkouri" userId="8b130982-2e3f-4164-b881-fd3a2e4b2453" providerId="ADAL" clId="{4457FA57-250B-44AC-8655-05D46C5A3D8A}" dt="2023-06-03T17:56:29.402" v="5966" actId="14100"/>
          <ac:spMkLst>
            <pc:docMk/>
            <pc:sldMk cId="593440848" sldId="230717628"/>
            <ac:spMk id="122" creationId="{4799DAD5-7EDB-4FB6-9D0D-6E4A79685091}"/>
          </ac:spMkLst>
        </pc:spChg>
        <pc:spChg chg="del">
          <ac:chgData name="Manal El Bakkouri" userId="8b130982-2e3f-4164-b881-fd3a2e4b2453" providerId="ADAL" clId="{4457FA57-250B-44AC-8655-05D46C5A3D8A}" dt="2023-06-03T17:56:54.801" v="5969" actId="478"/>
          <ac:spMkLst>
            <pc:docMk/>
            <pc:sldMk cId="593440848" sldId="230717628"/>
            <ac:spMk id="169" creationId="{9AF0E39F-EB50-4D24-84CD-CD9285E99B54}"/>
          </ac:spMkLst>
        </pc:spChg>
        <pc:spChg chg="mod">
          <ac:chgData name="Manal El Bakkouri" userId="8b130982-2e3f-4164-b881-fd3a2e4b2453" providerId="ADAL" clId="{4457FA57-250B-44AC-8655-05D46C5A3D8A}" dt="2023-06-03T17:56:32.994" v="5967" actId="113"/>
          <ac:spMkLst>
            <pc:docMk/>
            <pc:sldMk cId="593440848" sldId="230717628"/>
            <ac:spMk id="171" creationId="{D628E6C3-A266-430E-8C58-90D97AB26078}"/>
          </ac:spMkLst>
        </pc:spChg>
      </pc:sldChg>
      <pc:sldChg chg="addSp delSp modSp del mod modTransition modNotesTx">
        <pc:chgData name="Manal El Bakkouri" userId="8b130982-2e3f-4164-b881-fd3a2e4b2453" providerId="ADAL" clId="{4457FA57-250B-44AC-8655-05D46C5A3D8A}" dt="2023-06-07T09:21:54.174" v="17400" actId="2696"/>
        <pc:sldMkLst>
          <pc:docMk/>
          <pc:sldMk cId="1486000369" sldId="230717629"/>
        </pc:sldMkLst>
        <pc:spChg chg="del">
          <ac:chgData name="Manal El Bakkouri" userId="8b130982-2e3f-4164-b881-fd3a2e4b2453" providerId="ADAL" clId="{4457FA57-250B-44AC-8655-05D46C5A3D8A}" dt="2023-05-31T17:08:40.145" v="655" actId="478"/>
          <ac:spMkLst>
            <pc:docMk/>
            <pc:sldMk cId="1486000369" sldId="230717629"/>
            <ac:spMk id="50" creationId="{0D675A8C-4762-4C05-BD22-AFED6BCF2286}"/>
          </ac:spMkLst>
        </pc:spChg>
        <pc:spChg chg="del">
          <ac:chgData name="Manal El Bakkouri" userId="8b130982-2e3f-4164-b881-fd3a2e4b2453" providerId="ADAL" clId="{4457FA57-250B-44AC-8655-05D46C5A3D8A}" dt="2023-05-31T17:08:40.145" v="655" actId="478"/>
          <ac:spMkLst>
            <pc:docMk/>
            <pc:sldMk cId="1486000369" sldId="230717629"/>
            <ac:spMk id="51" creationId="{5F729168-66BA-430C-BAE0-1B818C22C59B}"/>
          </ac:spMkLst>
        </pc:spChg>
        <pc:spChg chg="del">
          <ac:chgData name="Manal El Bakkouri" userId="8b130982-2e3f-4164-b881-fd3a2e4b2453" providerId="ADAL" clId="{4457FA57-250B-44AC-8655-05D46C5A3D8A}" dt="2023-05-31T17:08:40.145" v="655" actId="478"/>
          <ac:spMkLst>
            <pc:docMk/>
            <pc:sldMk cId="1486000369" sldId="230717629"/>
            <ac:spMk id="52" creationId="{3AA9E2E5-19A3-42AC-974C-BECC00D4815D}"/>
          </ac:spMkLst>
        </pc:spChg>
        <pc:spChg chg="del">
          <ac:chgData name="Manal El Bakkouri" userId="8b130982-2e3f-4164-b881-fd3a2e4b2453" providerId="ADAL" clId="{4457FA57-250B-44AC-8655-05D46C5A3D8A}" dt="2023-05-31T17:08:40.145" v="655" actId="478"/>
          <ac:spMkLst>
            <pc:docMk/>
            <pc:sldMk cId="1486000369" sldId="230717629"/>
            <ac:spMk id="53" creationId="{74C20459-E4F2-4CF2-9B4D-9F4C56AE4006}"/>
          </ac:spMkLst>
        </pc:spChg>
        <pc:spChg chg="del">
          <ac:chgData name="Manal El Bakkouri" userId="8b130982-2e3f-4164-b881-fd3a2e4b2453" providerId="ADAL" clId="{4457FA57-250B-44AC-8655-05D46C5A3D8A}" dt="2023-05-31T17:08:40.145" v="655" actId="478"/>
          <ac:spMkLst>
            <pc:docMk/>
            <pc:sldMk cId="1486000369" sldId="230717629"/>
            <ac:spMk id="54" creationId="{FDE211B4-883D-4803-9945-BF19AC0B850E}"/>
          </ac:spMkLst>
        </pc:spChg>
        <pc:spChg chg="del">
          <ac:chgData name="Manal El Bakkouri" userId="8b130982-2e3f-4164-b881-fd3a2e4b2453" providerId="ADAL" clId="{4457FA57-250B-44AC-8655-05D46C5A3D8A}" dt="2023-05-31T17:08:40.145" v="655" actId="478"/>
          <ac:spMkLst>
            <pc:docMk/>
            <pc:sldMk cId="1486000369" sldId="230717629"/>
            <ac:spMk id="55" creationId="{A4B47897-DEF0-408F-9265-0FC2E2B2492A}"/>
          </ac:spMkLst>
        </pc:spChg>
        <pc:spChg chg="del">
          <ac:chgData name="Manal El Bakkouri" userId="8b130982-2e3f-4164-b881-fd3a2e4b2453" providerId="ADAL" clId="{4457FA57-250B-44AC-8655-05D46C5A3D8A}" dt="2023-05-31T17:08:40.145" v="655" actId="478"/>
          <ac:spMkLst>
            <pc:docMk/>
            <pc:sldMk cId="1486000369" sldId="230717629"/>
            <ac:spMk id="56" creationId="{7EA0729B-96F3-44FF-B1E5-AEFEDCD90A64}"/>
          </ac:spMkLst>
        </pc:spChg>
        <pc:spChg chg="del">
          <ac:chgData name="Manal El Bakkouri" userId="8b130982-2e3f-4164-b881-fd3a2e4b2453" providerId="ADAL" clId="{4457FA57-250B-44AC-8655-05D46C5A3D8A}" dt="2023-05-31T17:08:40.145" v="655" actId="478"/>
          <ac:spMkLst>
            <pc:docMk/>
            <pc:sldMk cId="1486000369" sldId="230717629"/>
            <ac:spMk id="57" creationId="{AD90DEE4-BA59-409B-8702-59A9189D3128}"/>
          </ac:spMkLst>
        </pc:spChg>
        <pc:spChg chg="del">
          <ac:chgData name="Manal El Bakkouri" userId="8b130982-2e3f-4164-b881-fd3a2e4b2453" providerId="ADAL" clId="{4457FA57-250B-44AC-8655-05D46C5A3D8A}" dt="2023-05-31T17:08:40.145" v="655" actId="478"/>
          <ac:spMkLst>
            <pc:docMk/>
            <pc:sldMk cId="1486000369" sldId="230717629"/>
            <ac:spMk id="58" creationId="{CC9E7F20-EADC-4392-BB8D-B237DB9EE1E1}"/>
          </ac:spMkLst>
        </pc:spChg>
        <pc:spChg chg="del">
          <ac:chgData name="Manal El Bakkouri" userId="8b130982-2e3f-4164-b881-fd3a2e4b2453" providerId="ADAL" clId="{4457FA57-250B-44AC-8655-05D46C5A3D8A}" dt="2023-05-31T17:08:40.145" v="655" actId="478"/>
          <ac:spMkLst>
            <pc:docMk/>
            <pc:sldMk cId="1486000369" sldId="230717629"/>
            <ac:spMk id="59" creationId="{319F091D-9EDE-452E-964E-ED78548E6664}"/>
          </ac:spMkLst>
        </pc:spChg>
        <pc:spChg chg="add mod">
          <ac:chgData name="Manal El Bakkouri" userId="8b130982-2e3f-4164-b881-fd3a2e4b2453" providerId="ADAL" clId="{4457FA57-250B-44AC-8655-05D46C5A3D8A}" dt="2023-06-04T13:06:14.984" v="7631"/>
          <ac:spMkLst>
            <pc:docMk/>
            <pc:sldMk cId="1486000369" sldId="230717629"/>
            <ac:spMk id="65" creationId="{418ED770-E526-4BB7-94AB-47685D2A7C49}"/>
          </ac:spMkLst>
        </pc:spChg>
        <pc:spChg chg="add del mod">
          <ac:chgData name="Manal El Bakkouri" userId="8b130982-2e3f-4164-b881-fd3a2e4b2453" providerId="ADAL" clId="{4457FA57-250B-44AC-8655-05D46C5A3D8A}" dt="2023-06-06T10:26:06.165" v="9648"/>
          <ac:spMkLst>
            <pc:docMk/>
            <pc:sldMk cId="1486000369" sldId="230717629"/>
            <ac:spMk id="66" creationId="{A49EA320-035A-4FBB-A213-D0EFE874A872}"/>
          </ac:spMkLst>
        </pc:spChg>
        <pc:spChg chg="add del mod">
          <ac:chgData name="Manal El Bakkouri" userId="8b130982-2e3f-4164-b881-fd3a2e4b2453" providerId="ADAL" clId="{4457FA57-250B-44AC-8655-05D46C5A3D8A}" dt="2023-06-06T10:26:06.165" v="9648"/>
          <ac:spMkLst>
            <pc:docMk/>
            <pc:sldMk cId="1486000369" sldId="230717629"/>
            <ac:spMk id="67" creationId="{02ECC396-6BB5-4154-8462-80341D9A1570}"/>
          </ac:spMkLst>
        </pc:spChg>
        <pc:spChg chg="add del mod">
          <ac:chgData name="Manal El Bakkouri" userId="8b130982-2e3f-4164-b881-fd3a2e4b2453" providerId="ADAL" clId="{4457FA57-250B-44AC-8655-05D46C5A3D8A}" dt="2023-06-06T10:26:06.978" v="9649" actId="478"/>
          <ac:spMkLst>
            <pc:docMk/>
            <pc:sldMk cId="1486000369" sldId="230717629"/>
            <ac:spMk id="68" creationId="{C446645C-8981-445B-9AF7-0900B7B27C97}"/>
          </ac:spMkLst>
        </pc:spChg>
        <pc:spChg chg="add del mod">
          <ac:chgData name="Manal El Bakkouri" userId="8b130982-2e3f-4164-b881-fd3a2e4b2453" providerId="ADAL" clId="{4457FA57-250B-44AC-8655-05D46C5A3D8A}" dt="2023-06-06T10:26:06.978" v="9649" actId="478"/>
          <ac:spMkLst>
            <pc:docMk/>
            <pc:sldMk cId="1486000369" sldId="230717629"/>
            <ac:spMk id="69" creationId="{4D50BC88-2F39-499A-B586-16C6C07BF3AD}"/>
          </ac:spMkLst>
        </pc:spChg>
        <pc:spChg chg="add del mod">
          <ac:chgData name="Manal El Bakkouri" userId="8b130982-2e3f-4164-b881-fd3a2e4b2453" providerId="ADAL" clId="{4457FA57-250B-44AC-8655-05D46C5A3D8A}" dt="2023-06-06T10:26:06.978" v="9649" actId="478"/>
          <ac:spMkLst>
            <pc:docMk/>
            <pc:sldMk cId="1486000369" sldId="230717629"/>
            <ac:spMk id="70" creationId="{5927362B-8244-41F2-973C-D6ECFE675ADE}"/>
          </ac:spMkLst>
        </pc:spChg>
        <pc:spChg chg="add del mod">
          <ac:chgData name="Manal El Bakkouri" userId="8b130982-2e3f-4164-b881-fd3a2e4b2453" providerId="ADAL" clId="{4457FA57-250B-44AC-8655-05D46C5A3D8A}" dt="2023-06-06T10:26:06.978" v="9649" actId="478"/>
          <ac:spMkLst>
            <pc:docMk/>
            <pc:sldMk cId="1486000369" sldId="230717629"/>
            <ac:spMk id="71" creationId="{722D2E01-5F91-44A7-9BF1-41C5C8AF8AA0}"/>
          </ac:spMkLst>
        </pc:spChg>
        <pc:spChg chg="add del mod">
          <ac:chgData name="Manal El Bakkouri" userId="8b130982-2e3f-4164-b881-fd3a2e4b2453" providerId="ADAL" clId="{4457FA57-250B-44AC-8655-05D46C5A3D8A}" dt="2023-06-06T10:26:06.978" v="9649" actId="478"/>
          <ac:spMkLst>
            <pc:docMk/>
            <pc:sldMk cId="1486000369" sldId="230717629"/>
            <ac:spMk id="72" creationId="{39D78079-50DF-4377-952D-217DA5287EAA}"/>
          </ac:spMkLst>
        </pc:spChg>
        <pc:spChg chg="add del mod">
          <ac:chgData name="Manal El Bakkouri" userId="8b130982-2e3f-4164-b881-fd3a2e4b2453" providerId="ADAL" clId="{4457FA57-250B-44AC-8655-05D46C5A3D8A}" dt="2023-06-06T10:26:06.978" v="9649" actId="478"/>
          <ac:spMkLst>
            <pc:docMk/>
            <pc:sldMk cId="1486000369" sldId="230717629"/>
            <ac:spMk id="73" creationId="{E7E55986-3AAC-4210-8A24-E280D44A3312}"/>
          </ac:spMkLst>
        </pc:spChg>
        <pc:spChg chg="add del mod">
          <ac:chgData name="Manal El Bakkouri" userId="8b130982-2e3f-4164-b881-fd3a2e4b2453" providerId="ADAL" clId="{4457FA57-250B-44AC-8655-05D46C5A3D8A}" dt="2023-06-06T10:26:06.978" v="9649" actId="478"/>
          <ac:spMkLst>
            <pc:docMk/>
            <pc:sldMk cId="1486000369" sldId="230717629"/>
            <ac:spMk id="74" creationId="{EA140699-BD72-4A70-BF15-9F7079034716}"/>
          </ac:spMkLst>
        </pc:spChg>
        <pc:spChg chg="add del mod">
          <ac:chgData name="Manal El Bakkouri" userId="8b130982-2e3f-4164-b881-fd3a2e4b2453" providerId="ADAL" clId="{4457FA57-250B-44AC-8655-05D46C5A3D8A}" dt="2023-06-06T10:26:06.165" v="9648"/>
          <ac:spMkLst>
            <pc:docMk/>
            <pc:sldMk cId="1486000369" sldId="230717629"/>
            <ac:spMk id="75" creationId="{2EBD72CA-E2F8-4FA1-9AEB-6ADF25065750}"/>
          </ac:spMkLst>
        </pc:spChg>
        <pc:spChg chg="add del mod">
          <ac:chgData name="Manal El Bakkouri" userId="8b130982-2e3f-4164-b881-fd3a2e4b2453" providerId="ADAL" clId="{4457FA57-250B-44AC-8655-05D46C5A3D8A}" dt="2023-06-06T10:26:06.165" v="9648"/>
          <ac:spMkLst>
            <pc:docMk/>
            <pc:sldMk cId="1486000369" sldId="230717629"/>
            <ac:spMk id="76" creationId="{DA9CDA01-BE84-4E24-A0E1-49FD324BCA6C}"/>
          </ac:spMkLst>
        </pc:spChg>
        <pc:spChg chg="add del mod">
          <ac:chgData name="Manal El Bakkouri" userId="8b130982-2e3f-4164-b881-fd3a2e4b2453" providerId="ADAL" clId="{4457FA57-250B-44AC-8655-05D46C5A3D8A}" dt="2023-06-06T10:26:06.165" v="9648"/>
          <ac:spMkLst>
            <pc:docMk/>
            <pc:sldMk cId="1486000369" sldId="230717629"/>
            <ac:spMk id="77" creationId="{1C4D4761-5868-4F6E-BA4F-47444737B168}"/>
          </ac:spMkLst>
        </pc:spChg>
        <pc:spChg chg="add del mod">
          <ac:chgData name="Manal El Bakkouri" userId="8b130982-2e3f-4164-b881-fd3a2e4b2453" providerId="ADAL" clId="{4457FA57-250B-44AC-8655-05D46C5A3D8A}" dt="2023-06-06T10:26:06.165" v="9648"/>
          <ac:spMkLst>
            <pc:docMk/>
            <pc:sldMk cId="1486000369" sldId="230717629"/>
            <ac:spMk id="78" creationId="{3A66D42D-CE16-42F8-9F32-D3C06856E3F7}"/>
          </ac:spMkLst>
        </pc:spChg>
        <pc:spChg chg="add del mod">
          <ac:chgData name="Manal El Bakkouri" userId="8b130982-2e3f-4164-b881-fd3a2e4b2453" providerId="ADAL" clId="{4457FA57-250B-44AC-8655-05D46C5A3D8A}" dt="2023-06-06T10:26:06.165" v="9648"/>
          <ac:spMkLst>
            <pc:docMk/>
            <pc:sldMk cId="1486000369" sldId="230717629"/>
            <ac:spMk id="79" creationId="{95319BA6-5A3D-4866-8A2E-DE4CFAD19980}"/>
          </ac:spMkLst>
        </pc:spChg>
        <pc:spChg chg="add del mod">
          <ac:chgData name="Manal El Bakkouri" userId="8b130982-2e3f-4164-b881-fd3a2e4b2453" providerId="ADAL" clId="{4457FA57-250B-44AC-8655-05D46C5A3D8A}" dt="2023-06-06T10:26:06.165" v="9648"/>
          <ac:spMkLst>
            <pc:docMk/>
            <pc:sldMk cId="1486000369" sldId="230717629"/>
            <ac:spMk id="80" creationId="{75484D41-2403-4BEE-8403-F89B1BAB587F}"/>
          </ac:spMkLst>
        </pc:spChg>
        <pc:spChg chg="add del mod">
          <ac:chgData name="Manal El Bakkouri" userId="8b130982-2e3f-4164-b881-fd3a2e4b2453" providerId="ADAL" clId="{4457FA57-250B-44AC-8655-05D46C5A3D8A}" dt="2023-06-06T10:26:06.165" v="9648"/>
          <ac:spMkLst>
            <pc:docMk/>
            <pc:sldMk cId="1486000369" sldId="230717629"/>
            <ac:spMk id="81" creationId="{003E9B8A-72BD-4781-931A-72962C7606C9}"/>
          </ac:spMkLst>
        </pc:spChg>
        <pc:spChg chg="add mod">
          <ac:chgData name="Manal El Bakkouri" userId="8b130982-2e3f-4164-b881-fd3a2e4b2453" providerId="ADAL" clId="{4457FA57-250B-44AC-8655-05D46C5A3D8A}" dt="2023-06-06T10:26:07.758" v="9650"/>
          <ac:spMkLst>
            <pc:docMk/>
            <pc:sldMk cId="1486000369" sldId="230717629"/>
            <ac:spMk id="82" creationId="{610DFE60-0401-4FCA-B6E6-38FA9870D556}"/>
          </ac:spMkLst>
        </pc:spChg>
        <pc:spChg chg="add mod">
          <ac:chgData name="Manal El Bakkouri" userId="8b130982-2e3f-4164-b881-fd3a2e4b2453" providerId="ADAL" clId="{4457FA57-250B-44AC-8655-05D46C5A3D8A}" dt="2023-06-06T10:26:07.758" v="9650"/>
          <ac:spMkLst>
            <pc:docMk/>
            <pc:sldMk cId="1486000369" sldId="230717629"/>
            <ac:spMk id="83" creationId="{A463B348-A3AE-476E-931F-65AEBADEC7A5}"/>
          </ac:spMkLst>
        </pc:spChg>
        <pc:spChg chg="add mod">
          <ac:chgData name="Manal El Bakkouri" userId="8b130982-2e3f-4164-b881-fd3a2e4b2453" providerId="ADAL" clId="{4457FA57-250B-44AC-8655-05D46C5A3D8A}" dt="2023-06-06T10:26:07.758" v="9650"/>
          <ac:spMkLst>
            <pc:docMk/>
            <pc:sldMk cId="1486000369" sldId="230717629"/>
            <ac:spMk id="84" creationId="{C66BBCF3-9D83-4942-9F53-C104EC5CA0AC}"/>
          </ac:spMkLst>
        </pc:spChg>
        <pc:spChg chg="add mod">
          <ac:chgData name="Manal El Bakkouri" userId="8b130982-2e3f-4164-b881-fd3a2e4b2453" providerId="ADAL" clId="{4457FA57-250B-44AC-8655-05D46C5A3D8A}" dt="2023-06-06T10:26:07.758" v="9650"/>
          <ac:spMkLst>
            <pc:docMk/>
            <pc:sldMk cId="1486000369" sldId="230717629"/>
            <ac:spMk id="85" creationId="{0089C939-7DEE-4315-AA11-34640511B687}"/>
          </ac:spMkLst>
        </pc:spChg>
        <pc:spChg chg="add mod">
          <ac:chgData name="Manal El Bakkouri" userId="8b130982-2e3f-4164-b881-fd3a2e4b2453" providerId="ADAL" clId="{4457FA57-250B-44AC-8655-05D46C5A3D8A}" dt="2023-06-06T10:26:07.758" v="9650"/>
          <ac:spMkLst>
            <pc:docMk/>
            <pc:sldMk cId="1486000369" sldId="230717629"/>
            <ac:spMk id="86" creationId="{7126CCF0-B330-41CA-B2A4-C778D4921C9F}"/>
          </ac:spMkLst>
        </pc:spChg>
        <pc:spChg chg="add mod">
          <ac:chgData name="Manal El Bakkouri" userId="8b130982-2e3f-4164-b881-fd3a2e4b2453" providerId="ADAL" clId="{4457FA57-250B-44AC-8655-05D46C5A3D8A}" dt="2023-06-06T10:26:07.758" v="9650"/>
          <ac:spMkLst>
            <pc:docMk/>
            <pc:sldMk cId="1486000369" sldId="230717629"/>
            <ac:spMk id="87" creationId="{32EBEDA0-DF00-4C43-921A-4FC2F9AB11A2}"/>
          </ac:spMkLst>
        </pc:spChg>
        <pc:spChg chg="add mod">
          <ac:chgData name="Manal El Bakkouri" userId="8b130982-2e3f-4164-b881-fd3a2e4b2453" providerId="ADAL" clId="{4457FA57-250B-44AC-8655-05D46C5A3D8A}" dt="2023-06-06T10:26:07.758" v="9650"/>
          <ac:spMkLst>
            <pc:docMk/>
            <pc:sldMk cId="1486000369" sldId="230717629"/>
            <ac:spMk id="88" creationId="{058FC893-D157-4096-B635-F4530FCE4CED}"/>
          </ac:spMkLst>
        </pc:spChg>
        <pc:spChg chg="add mod">
          <ac:chgData name="Manal El Bakkouri" userId="8b130982-2e3f-4164-b881-fd3a2e4b2453" providerId="ADAL" clId="{4457FA57-250B-44AC-8655-05D46C5A3D8A}" dt="2023-06-06T10:26:07.758" v="9650"/>
          <ac:spMkLst>
            <pc:docMk/>
            <pc:sldMk cId="1486000369" sldId="230717629"/>
            <ac:spMk id="89" creationId="{9D735273-07DB-40E3-ADE6-42EAC6192D91}"/>
          </ac:spMkLst>
        </pc:spChg>
        <pc:spChg chg="add mod">
          <ac:chgData name="Manal El Bakkouri" userId="8b130982-2e3f-4164-b881-fd3a2e4b2453" providerId="ADAL" clId="{4457FA57-250B-44AC-8655-05D46C5A3D8A}" dt="2023-06-06T10:26:07.758" v="9650"/>
          <ac:spMkLst>
            <pc:docMk/>
            <pc:sldMk cId="1486000369" sldId="230717629"/>
            <ac:spMk id="90" creationId="{E9C3A4A2-A4A6-412A-9FBD-BF6578786DF2}"/>
          </ac:spMkLst>
        </pc:spChg>
        <pc:spChg chg="mod">
          <ac:chgData name="Manal El Bakkouri" userId="8b130982-2e3f-4164-b881-fd3a2e4b2453" providerId="ADAL" clId="{4457FA57-250B-44AC-8655-05D46C5A3D8A}" dt="2023-06-03T17:57:02.656" v="5971" actId="14100"/>
          <ac:spMkLst>
            <pc:docMk/>
            <pc:sldMk cId="1486000369" sldId="230717629"/>
            <ac:spMk id="124" creationId="{E857176A-FBF5-4E21-8BF9-C39F31B9B9E2}"/>
          </ac:spMkLst>
        </pc:spChg>
        <pc:spChg chg="mod">
          <ac:chgData name="Manal El Bakkouri" userId="8b130982-2e3f-4164-b881-fd3a2e4b2453" providerId="ADAL" clId="{4457FA57-250B-44AC-8655-05D46C5A3D8A}" dt="2023-06-03T17:57:05.431" v="5972" actId="113"/>
          <ac:spMkLst>
            <pc:docMk/>
            <pc:sldMk cId="1486000369" sldId="230717629"/>
            <ac:spMk id="169" creationId="{9AF0E39F-EB50-4D24-84CD-CD9285E99B54}"/>
          </ac:spMkLst>
        </pc:spChg>
      </pc:sldChg>
      <pc:sldChg chg="addSp delSp modSp mod modTransition modNotesTx">
        <pc:chgData name="Manal El Bakkouri" userId="8b130982-2e3f-4164-b881-fd3a2e4b2453" providerId="ADAL" clId="{4457FA57-250B-44AC-8655-05D46C5A3D8A}" dt="2023-06-09T11:24:56.426" v="21684"/>
        <pc:sldMkLst>
          <pc:docMk/>
          <pc:sldMk cId="3911279721" sldId="230717630"/>
        </pc:sldMkLst>
        <pc:spChg chg="del">
          <ac:chgData name="Manal El Bakkouri" userId="8b130982-2e3f-4164-b881-fd3a2e4b2453" providerId="ADAL" clId="{4457FA57-250B-44AC-8655-05D46C5A3D8A}" dt="2023-05-31T17:08:46.145" v="657" actId="478"/>
          <ac:spMkLst>
            <pc:docMk/>
            <pc:sldMk cId="3911279721" sldId="230717630"/>
            <ac:spMk id="50" creationId="{0D675A8C-4762-4C05-BD22-AFED6BCF2286}"/>
          </ac:spMkLst>
        </pc:spChg>
        <pc:spChg chg="del">
          <ac:chgData name="Manal El Bakkouri" userId="8b130982-2e3f-4164-b881-fd3a2e4b2453" providerId="ADAL" clId="{4457FA57-250B-44AC-8655-05D46C5A3D8A}" dt="2023-05-31T17:08:46.145" v="657" actId="478"/>
          <ac:spMkLst>
            <pc:docMk/>
            <pc:sldMk cId="3911279721" sldId="230717630"/>
            <ac:spMk id="51" creationId="{5F729168-66BA-430C-BAE0-1B818C22C59B}"/>
          </ac:spMkLst>
        </pc:spChg>
        <pc:spChg chg="del">
          <ac:chgData name="Manal El Bakkouri" userId="8b130982-2e3f-4164-b881-fd3a2e4b2453" providerId="ADAL" clId="{4457FA57-250B-44AC-8655-05D46C5A3D8A}" dt="2023-05-31T17:08:46.145" v="657" actId="478"/>
          <ac:spMkLst>
            <pc:docMk/>
            <pc:sldMk cId="3911279721" sldId="230717630"/>
            <ac:spMk id="52" creationId="{3AA9E2E5-19A3-42AC-974C-BECC00D4815D}"/>
          </ac:spMkLst>
        </pc:spChg>
        <pc:spChg chg="del">
          <ac:chgData name="Manal El Bakkouri" userId="8b130982-2e3f-4164-b881-fd3a2e4b2453" providerId="ADAL" clId="{4457FA57-250B-44AC-8655-05D46C5A3D8A}" dt="2023-05-31T17:08:46.145" v="657" actId="478"/>
          <ac:spMkLst>
            <pc:docMk/>
            <pc:sldMk cId="3911279721" sldId="230717630"/>
            <ac:spMk id="53" creationId="{74C20459-E4F2-4CF2-9B4D-9F4C56AE4006}"/>
          </ac:spMkLst>
        </pc:spChg>
        <pc:spChg chg="del">
          <ac:chgData name="Manal El Bakkouri" userId="8b130982-2e3f-4164-b881-fd3a2e4b2453" providerId="ADAL" clId="{4457FA57-250B-44AC-8655-05D46C5A3D8A}" dt="2023-05-31T17:08:46.145" v="657" actId="478"/>
          <ac:spMkLst>
            <pc:docMk/>
            <pc:sldMk cId="3911279721" sldId="230717630"/>
            <ac:spMk id="54" creationId="{FDE211B4-883D-4803-9945-BF19AC0B850E}"/>
          </ac:spMkLst>
        </pc:spChg>
        <pc:spChg chg="del">
          <ac:chgData name="Manal El Bakkouri" userId="8b130982-2e3f-4164-b881-fd3a2e4b2453" providerId="ADAL" clId="{4457FA57-250B-44AC-8655-05D46C5A3D8A}" dt="2023-05-31T17:08:46.145" v="657" actId="478"/>
          <ac:spMkLst>
            <pc:docMk/>
            <pc:sldMk cId="3911279721" sldId="230717630"/>
            <ac:spMk id="55" creationId="{A4B47897-DEF0-408F-9265-0FC2E2B2492A}"/>
          </ac:spMkLst>
        </pc:spChg>
        <pc:spChg chg="del">
          <ac:chgData name="Manal El Bakkouri" userId="8b130982-2e3f-4164-b881-fd3a2e4b2453" providerId="ADAL" clId="{4457FA57-250B-44AC-8655-05D46C5A3D8A}" dt="2023-05-31T17:08:46.145" v="657" actId="478"/>
          <ac:spMkLst>
            <pc:docMk/>
            <pc:sldMk cId="3911279721" sldId="230717630"/>
            <ac:spMk id="56" creationId="{7EA0729B-96F3-44FF-B1E5-AEFEDCD90A64}"/>
          </ac:spMkLst>
        </pc:spChg>
        <pc:spChg chg="del">
          <ac:chgData name="Manal El Bakkouri" userId="8b130982-2e3f-4164-b881-fd3a2e4b2453" providerId="ADAL" clId="{4457FA57-250B-44AC-8655-05D46C5A3D8A}" dt="2023-05-31T17:08:46.145" v="657" actId="478"/>
          <ac:spMkLst>
            <pc:docMk/>
            <pc:sldMk cId="3911279721" sldId="230717630"/>
            <ac:spMk id="57" creationId="{AD90DEE4-BA59-409B-8702-59A9189D3128}"/>
          </ac:spMkLst>
        </pc:spChg>
        <pc:spChg chg="del">
          <ac:chgData name="Manal El Bakkouri" userId="8b130982-2e3f-4164-b881-fd3a2e4b2453" providerId="ADAL" clId="{4457FA57-250B-44AC-8655-05D46C5A3D8A}" dt="2023-05-31T17:08:46.145" v="657" actId="478"/>
          <ac:spMkLst>
            <pc:docMk/>
            <pc:sldMk cId="3911279721" sldId="230717630"/>
            <ac:spMk id="58" creationId="{CC9E7F20-EADC-4392-BB8D-B237DB9EE1E1}"/>
          </ac:spMkLst>
        </pc:spChg>
        <pc:spChg chg="del">
          <ac:chgData name="Manal El Bakkouri" userId="8b130982-2e3f-4164-b881-fd3a2e4b2453" providerId="ADAL" clId="{4457FA57-250B-44AC-8655-05D46C5A3D8A}" dt="2023-05-31T17:08:46.145" v="657" actId="478"/>
          <ac:spMkLst>
            <pc:docMk/>
            <pc:sldMk cId="3911279721" sldId="230717630"/>
            <ac:spMk id="59" creationId="{319F091D-9EDE-452E-964E-ED78548E6664}"/>
          </ac:spMkLst>
        </pc:spChg>
        <pc:spChg chg="add mod">
          <ac:chgData name="Manal El Bakkouri" userId="8b130982-2e3f-4164-b881-fd3a2e4b2453" providerId="ADAL" clId="{4457FA57-250B-44AC-8655-05D46C5A3D8A}" dt="2023-06-04T13:06:16.391" v="7632"/>
          <ac:spMkLst>
            <pc:docMk/>
            <pc:sldMk cId="3911279721" sldId="230717630"/>
            <ac:spMk id="65" creationId="{734D484A-4F6E-4414-ADCA-F3C326F314EE}"/>
          </ac:spMkLst>
        </pc:spChg>
        <pc:spChg chg="add del mod">
          <ac:chgData name="Manal El Bakkouri" userId="8b130982-2e3f-4164-b881-fd3a2e4b2453" providerId="ADAL" clId="{4457FA57-250B-44AC-8655-05D46C5A3D8A}" dt="2023-06-09T11:24:56.113" v="21683" actId="478"/>
          <ac:spMkLst>
            <pc:docMk/>
            <pc:sldMk cId="3911279721" sldId="230717630"/>
            <ac:spMk id="66" creationId="{40616B47-65E5-44AE-8CA8-B8E9BECF0A36}"/>
          </ac:spMkLst>
        </pc:spChg>
        <pc:spChg chg="add del mod">
          <ac:chgData name="Manal El Bakkouri" userId="8b130982-2e3f-4164-b881-fd3a2e4b2453" providerId="ADAL" clId="{4457FA57-250B-44AC-8655-05D46C5A3D8A}" dt="2023-06-09T11:24:56.113" v="21683" actId="478"/>
          <ac:spMkLst>
            <pc:docMk/>
            <pc:sldMk cId="3911279721" sldId="230717630"/>
            <ac:spMk id="67" creationId="{DB19165C-A0AC-4C9C-BF51-6F602AA9A843}"/>
          </ac:spMkLst>
        </pc:spChg>
        <pc:spChg chg="add del mod">
          <ac:chgData name="Manal El Bakkouri" userId="8b130982-2e3f-4164-b881-fd3a2e4b2453" providerId="ADAL" clId="{4457FA57-250B-44AC-8655-05D46C5A3D8A}" dt="2023-06-06T10:25:55.784" v="9645" actId="478"/>
          <ac:spMkLst>
            <pc:docMk/>
            <pc:sldMk cId="3911279721" sldId="230717630"/>
            <ac:spMk id="68" creationId="{1DE5C6E2-5723-4900-8E6E-6F3E12653770}"/>
          </ac:spMkLst>
        </pc:spChg>
        <pc:spChg chg="add mod">
          <ac:chgData name="Manal El Bakkouri" userId="8b130982-2e3f-4164-b881-fd3a2e4b2453" providerId="ADAL" clId="{4457FA57-250B-44AC-8655-05D46C5A3D8A}" dt="2023-06-09T11:24:56.426" v="21684"/>
          <ac:spMkLst>
            <pc:docMk/>
            <pc:sldMk cId="3911279721" sldId="230717630"/>
            <ac:spMk id="68" creationId="{FD8F25BB-D593-4C1F-981C-8909BF9597A3}"/>
          </ac:spMkLst>
        </pc:spChg>
        <pc:spChg chg="add mod">
          <ac:chgData name="Manal El Bakkouri" userId="8b130982-2e3f-4164-b881-fd3a2e4b2453" providerId="ADAL" clId="{4457FA57-250B-44AC-8655-05D46C5A3D8A}" dt="2023-06-09T11:24:56.426" v="21684"/>
          <ac:spMkLst>
            <pc:docMk/>
            <pc:sldMk cId="3911279721" sldId="230717630"/>
            <ac:spMk id="69" creationId="{0441BAA3-B9DC-4F6F-B134-357633BE5B3B}"/>
          </ac:spMkLst>
        </pc:spChg>
        <pc:spChg chg="add del mod">
          <ac:chgData name="Manal El Bakkouri" userId="8b130982-2e3f-4164-b881-fd3a2e4b2453" providerId="ADAL" clId="{4457FA57-250B-44AC-8655-05D46C5A3D8A}" dt="2023-06-06T10:25:55.784" v="9645" actId="478"/>
          <ac:spMkLst>
            <pc:docMk/>
            <pc:sldMk cId="3911279721" sldId="230717630"/>
            <ac:spMk id="69" creationId="{489BBD98-CF7C-46DE-903D-66F86CF84B99}"/>
          </ac:spMkLst>
        </pc:spChg>
        <pc:spChg chg="add mod">
          <ac:chgData name="Manal El Bakkouri" userId="8b130982-2e3f-4164-b881-fd3a2e4b2453" providerId="ADAL" clId="{4457FA57-250B-44AC-8655-05D46C5A3D8A}" dt="2023-06-09T11:24:56.426" v="21684"/>
          <ac:spMkLst>
            <pc:docMk/>
            <pc:sldMk cId="3911279721" sldId="230717630"/>
            <ac:spMk id="70" creationId="{33814CB9-B132-4B00-8F75-1E36D5C3CA63}"/>
          </ac:spMkLst>
        </pc:spChg>
        <pc:spChg chg="add del mod">
          <ac:chgData name="Manal El Bakkouri" userId="8b130982-2e3f-4164-b881-fd3a2e4b2453" providerId="ADAL" clId="{4457FA57-250B-44AC-8655-05D46C5A3D8A}" dt="2023-06-06T10:25:55.784" v="9645" actId="478"/>
          <ac:spMkLst>
            <pc:docMk/>
            <pc:sldMk cId="3911279721" sldId="230717630"/>
            <ac:spMk id="70" creationId="{C47EAFD6-E3C2-4CBF-A940-37BDB54EA883}"/>
          </ac:spMkLst>
        </pc:spChg>
        <pc:spChg chg="add del mod">
          <ac:chgData name="Manal El Bakkouri" userId="8b130982-2e3f-4164-b881-fd3a2e4b2453" providerId="ADAL" clId="{4457FA57-250B-44AC-8655-05D46C5A3D8A}" dt="2023-06-06T10:25:55.784" v="9645" actId="478"/>
          <ac:spMkLst>
            <pc:docMk/>
            <pc:sldMk cId="3911279721" sldId="230717630"/>
            <ac:spMk id="71" creationId="{21BCD5D5-9474-402B-A915-2A5BE9515823}"/>
          </ac:spMkLst>
        </pc:spChg>
        <pc:spChg chg="add mod">
          <ac:chgData name="Manal El Bakkouri" userId="8b130982-2e3f-4164-b881-fd3a2e4b2453" providerId="ADAL" clId="{4457FA57-250B-44AC-8655-05D46C5A3D8A}" dt="2023-06-09T11:24:56.426" v="21684"/>
          <ac:spMkLst>
            <pc:docMk/>
            <pc:sldMk cId="3911279721" sldId="230717630"/>
            <ac:spMk id="71" creationId="{FA210F54-AE7A-4D11-92DC-758E6B0FF2A4}"/>
          </ac:spMkLst>
        </pc:spChg>
        <pc:spChg chg="add del mod">
          <ac:chgData name="Manal El Bakkouri" userId="8b130982-2e3f-4164-b881-fd3a2e4b2453" providerId="ADAL" clId="{4457FA57-250B-44AC-8655-05D46C5A3D8A}" dt="2023-06-06T10:25:55.784" v="9645" actId="478"/>
          <ac:spMkLst>
            <pc:docMk/>
            <pc:sldMk cId="3911279721" sldId="230717630"/>
            <ac:spMk id="72" creationId="{72EE93C3-0826-46C3-A251-2A7E2ABD373A}"/>
          </ac:spMkLst>
        </pc:spChg>
        <pc:spChg chg="add del mod">
          <ac:chgData name="Manal El Bakkouri" userId="8b130982-2e3f-4164-b881-fd3a2e4b2453" providerId="ADAL" clId="{4457FA57-250B-44AC-8655-05D46C5A3D8A}" dt="2023-06-06T10:25:55.784" v="9645" actId="478"/>
          <ac:spMkLst>
            <pc:docMk/>
            <pc:sldMk cId="3911279721" sldId="230717630"/>
            <ac:spMk id="73" creationId="{E0E3D1A4-D977-452F-B53E-E86E28908F8C}"/>
          </ac:spMkLst>
        </pc:spChg>
        <pc:spChg chg="add del mod">
          <ac:chgData name="Manal El Bakkouri" userId="8b130982-2e3f-4164-b881-fd3a2e4b2453" providerId="ADAL" clId="{4457FA57-250B-44AC-8655-05D46C5A3D8A}" dt="2023-06-06T10:25:55.784" v="9645" actId="478"/>
          <ac:spMkLst>
            <pc:docMk/>
            <pc:sldMk cId="3911279721" sldId="230717630"/>
            <ac:spMk id="74" creationId="{5C0EE024-D494-491C-A706-E0C1C6E7EF28}"/>
          </ac:spMkLst>
        </pc:spChg>
        <pc:spChg chg="add mod">
          <ac:chgData name="Manal El Bakkouri" userId="8b130982-2e3f-4164-b881-fd3a2e4b2453" providerId="ADAL" clId="{4457FA57-250B-44AC-8655-05D46C5A3D8A}" dt="2023-06-06T10:25:56.054" v="9646"/>
          <ac:spMkLst>
            <pc:docMk/>
            <pc:sldMk cId="3911279721" sldId="230717630"/>
            <ac:spMk id="75" creationId="{CB4896AB-BF01-489F-9609-B12B0CCD17AC}"/>
          </ac:spMkLst>
        </pc:spChg>
        <pc:spChg chg="add mod">
          <ac:chgData name="Manal El Bakkouri" userId="8b130982-2e3f-4164-b881-fd3a2e4b2453" providerId="ADAL" clId="{4457FA57-250B-44AC-8655-05D46C5A3D8A}" dt="2023-06-06T10:25:56.054" v="9646"/>
          <ac:spMkLst>
            <pc:docMk/>
            <pc:sldMk cId="3911279721" sldId="230717630"/>
            <ac:spMk id="76" creationId="{DAA005E4-40A9-4D49-8571-24594C171603}"/>
          </ac:spMkLst>
        </pc:spChg>
        <pc:spChg chg="add del mod">
          <ac:chgData name="Manal El Bakkouri" userId="8b130982-2e3f-4164-b881-fd3a2e4b2453" providerId="ADAL" clId="{4457FA57-250B-44AC-8655-05D46C5A3D8A}" dt="2023-06-09T11:24:56.113" v="21683" actId="478"/>
          <ac:spMkLst>
            <pc:docMk/>
            <pc:sldMk cId="3911279721" sldId="230717630"/>
            <ac:spMk id="77" creationId="{AB972F49-F3D8-4170-A6F5-EC924AFC9998}"/>
          </ac:spMkLst>
        </pc:spChg>
        <pc:spChg chg="add mod">
          <ac:chgData name="Manal El Bakkouri" userId="8b130982-2e3f-4164-b881-fd3a2e4b2453" providerId="ADAL" clId="{4457FA57-250B-44AC-8655-05D46C5A3D8A}" dt="2023-06-06T10:25:56.054" v="9646"/>
          <ac:spMkLst>
            <pc:docMk/>
            <pc:sldMk cId="3911279721" sldId="230717630"/>
            <ac:spMk id="78" creationId="{B0C60EF5-3048-40DE-BF4A-65F9E4D72BCD}"/>
          </ac:spMkLst>
        </pc:spChg>
        <pc:spChg chg="add mod">
          <ac:chgData name="Manal El Bakkouri" userId="8b130982-2e3f-4164-b881-fd3a2e4b2453" providerId="ADAL" clId="{4457FA57-250B-44AC-8655-05D46C5A3D8A}" dt="2023-06-06T10:25:56.054" v="9646"/>
          <ac:spMkLst>
            <pc:docMk/>
            <pc:sldMk cId="3911279721" sldId="230717630"/>
            <ac:spMk id="79" creationId="{737529D2-E5BC-4121-84A7-D1EA515EC88A}"/>
          </ac:spMkLst>
        </pc:spChg>
        <pc:spChg chg="add mod">
          <ac:chgData name="Manal El Bakkouri" userId="8b130982-2e3f-4164-b881-fd3a2e4b2453" providerId="ADAL" clId="{4457FA57-250B-44AC-8655-05D46C5A3D8A}" dt="2023-06-06T10:25:56.054" v="9646"/>
          <ac:spMkLst>
            <pc:docMk/>
            <pc:sldMk cId="3911279721" sldId="230717630"/>
            <ac:spMk id="80" creationId="{B6248E2D-2A6B-40BD-9F3A-D2DC50C0D106}"/>
          </ac:spMkLst>
        </pc:spChg>
        <pc:spChg chg="add mod">
          <ac:chgData name="Manal El Bakkouri" userId="8b130982-2e3f-4164-b881-fd3a2e4b2453" providerId="ADAL" clId="{4457FA57-250B-44AC-8655-05D46C5A3D8A}" dt="2023-06-06T10:25:56.054" v="9646"/>
          <ac:spMkLst>
            <pc:docMk/>
            <pc:sldMk cId="3911279721" sldId="230717630"/>
            <ac:spMk id="81" creationId="{9804FF7E-BFF3-41DD-9420-17E4AFEC4386}"/>
          </ac:spMkLst>
        </pc:spChg>
        <pc:spChg chg="add mod">
          <ac:chgData name="Manal El Bakkouri" userId="8b130982-2e3f-4164-b881-fd3a2e4b2453" providerId="ADAL" clId="{4457FA57-250B-44AC-8655-05D46C5A3D8A}" dt="2023-06-07T09:17:17.137" v="17359" actId="571"/>
          <ac:spMkLst>
            <pc:docMk/>
            <pc:sldMk cId="3911279721" sldId="230717630"/>
            <ac:spMk id="82" creationId="{91FE3F92-3C8F-4E31-BE76-F88EF5689AA7}"/>
          </ac:spMkLst>
        </pc:spChg>
        <pc:spChg chg="add mod">
          <ac:chgData name="Manal El Bakkouri" userId="8b130982-2e3f-4164-b881-fd3a2e4b2453" providerId="ADAL" clId="{4457FA57-250B-44AC-8655-05D46C5A3D8A}" dt="2023-06-07T09:17:17.137" v="17359" actId="571"/>
          <ac:spMkLst>
            <pc:docMk/>
            <pc:sldMk cId="3911279721" sldId="230717630"/>
            <ac:spMk id="83" creationId="{3D0D45A2-13A2-4274-A599-F7A4F458D1CF}"/>
          </ac:spMkLst>
        </pc:spChg>
        <pc:spChg chg="mod topLvl">
          <ac:chgData name="Manal El Bakkouri" userId="8b130982-2e3f-4164-b881-fd3a2e4b2453" providerId="ADAL" clId="{4457FA57-250B-44AC-8655-05D46C5A3D8A}" dt="2023-06-07T09:34:14.548" v="17458" actId="165"/>
          <ac:spMkLst>
            <pc:docMk/>
            <pc:sldMk cId="3911279721" sldId="230717630"/>
            <ac:spMk id="117" creationId="{106CD99C-D06C-4500-8C85-1DF22392E543}"/>
          </ac:spMkLst>
        </pc:spChg>
        <pc:spChg chg="mod topLvl">
          <ac:chgData name="Manal El Bakkouri" userId="8b130982-2e3f-4164-b881-fd3a2e4b2453" providerId="ADAL" clId="{4457FA57-250B-44AC-8655-05D46C5A3D8A}" dt="2023-06-07T09:34:18.626" v="17459" actId="14100"/>
          <ac:spMkLst>
            <pc:docMk/>
            <pc:sldMk cId="3911279721" sldId="230717630"/>
            <ac:spMk id="118" creationId="{D6230F0A-3089-4FE2-8CA2-9F4872ED312A}"/>
          </ac:spMkLst>
        </pc:spChg>
        <pc:spChg chg="mod topLvl">
          <ac:chgData name="Manal El Bakkouri" userId="8b130982-2e3f-4164-b881-fd3a2e4b2453" providerId="ADAL" clId="{4457FA57-250B-44AC-8655-05D46C5A3D8A}" dt="2023-06-07T09:22:10.939" v="17402" actId="14100"/>
          <ac:spMkLst>
            <pc:docMk/>
            <pc:sldMk cId="3911279721" sldId="230717630"/>
            <ac:spMk id="119" creationId="{8BB3E113-DBDC-4943-BC20-08A1D8647163}"/>
          </ac:spMkLst>
        </pc:spChg>
        <pc:spChg chg="mod topLvl">
          <ac:chgData name="Manal El Bakkouri" userId="8b130982-2e3f-4164-b881-fd3a2e4b2453" providerId="ADAL" clId="{4457FA57-250B-44AC-8655-05D46C5A3D8A}" dt="2023-06-07T09:22:10.939" v="17402" actId="14100"/>
          <ac:spMkLst>
            <pc:docMk/>
            <pc:sldMk cId="3911279721" sldId="230717630"/>
            <ac:spMk id="120" creationId="{DBA511E5-8029-4BAF-B020-F9BACBA7C36A}"/>
          </ac:spMkLst>
        </pc:spChg>
        <pc:spChg chg="mod topLvl">
          <ac:chgData name="Manal El Bakkouri" userId="8b130982-2e3f-4164-b881-fd3a2e4b2453" providerId="ADAL" clId="{4457FA57-250B-44AC-8655-05D46C5A3D8A}" dt="2023-06-07T09:28:18.606" v="17446" actId="14100"/>
          <ac:spMkLst>
            <pc:docMk/>
            <pc:sldMk cId="3911279721" sldId="230717630"/>
            <ac:spMk id="121" creationId="{EECC24BB-F3E3-4694-B71D-CFCCEB9DDADC}"/>
          </ac:spMkLst>
        </pc:spChg>
        <pc:spChg chg="mod topLvl">
          <ac:chgData name="Manal El Bakkouri" userId="8b130982-2e3f-4164-b881-fd3a2e4b2453" providerId="ADAL" clId="{4457FA57-250B-44AC-8655-05D46C5A3D8A}" dt="2023-06-07T09:28:16.895" v="17442" actId="165"/>
          <ac:spMkLst>
            <pc:docMk/>
            <pc:sldMk cId="3911279721" sldId="230717630"/>
            <ac:spMk id="122" creationId="{4799DAD5-7EDB-4FB6-9D0D-6E4A79685091}"/>
          </ac:spMkLst>
        </pc:spChg>
        <pc:spChg chg="del">
          <ac:chgData name="Manal El Bakkouri" userId="8b130982-2e3f-4164-b881-fd3a2e4b2453" providerId="ADAL" clId="{4457FA57-250B-44AC-8655-05D46C5A3D8A}" dt="2023-06-07T09:10:40.986" v="17272" actId="478"/>
          <ac:spMkLst>
            <pc:docMk/>
            <pc:sldMk cId="3911279721" sldId="230717630"/>
            <ac:spMk id="123" creationId="{94591D08-94D5-445E-908A-53DC495E375A}"/>
          </ac:spMkLst>
        </pc:spChg>
        <pc:spChg chg="del">
          <ac:chgData name="Manal El Bakkouri" userId="8b130982-2e3f-4164-b881-fd3a2e4b2453" providerId="ADAL" clId="{4457FA57-250B-44AC-8655-05D46C5A3D8A}" dt="2023-06-07T09:10:37.324" v="17269" actId="478"/>
          <ac:spMkLst>
            <pc:docMk/>
            <pc:sldMk cId="3911279721" sldId="230717630"/>
            <ac:spMk id="124" creationId="{E857176A-FBF5-4E21-8BF9-C39F31B9B9E2}"/>
          </ac:spMkLst>
        </pc:spChg>
        <pc:spChg chg="mod">
          <ac:chgData name="Manal El Bakkouri" userId="8b130982-2e3f-4164-b881-fd3a2e4b2453" providerId="ADAL" clId="{4457FA57-250B-44AC-8655-05D46C5A3D8A}" dt="2023-06-07T09:28:12.588" v="17437" actId="14100"/>
          <ac:spMkLst>
            <pc:docMk/>
            <pc:sldMk cId="3911279721" sldId="230717630"/>
            <ac:spMk id="125" creationId="{2DAC146E-9949-4F3C-AB58-D525CB78D374}"/>
          </ac:spMkLst>
        </pc:spChg>
        <pc:spChg chg="mod">
          <ac:chgData name="Manal El Bakkouri" userId="8b130982-2e3f-4164-b881-fd3a2e4b2453" providerId="ADAL" clId="{4457FA57-250B-44AC-8655-05D46C5A3D8A}" dt="2023-06-07T09:28:12.588" v="17437" actId="14100"/>
          <ac:spMkLst>
            <pc:docMk/>
            <pc:sldMk cId="3911279721" sldId="230717630"/>
            <ac:spMk id="126" creationId="{77FC47C5-7F1B-4A3B-82CB-2BCBDE2864E8}"/>
          </ac:spMkLst>
        </pc:spChg>
        <pc:spChg chg="mod">
          <ac:chgData name="Manal El Bakkouri" userId="8b130982-2e3f-4164-b881-fd3a2e4b2453" providerId="ADAL" clId="{4457FA57-250B-44AC-8655-05D46C5A3D8A}" dt="2023-06-07T09:15:38.658" v="17322" actId="1076"/>
          <ac:spMkLst>
            <pc:docMk/>
            <pc:sldMk cId="3911279721" sldId="230717630"/>
            <ac:spMk id="127" creationId="{36D2A68F-A686-4C36-B5F1-3B7F8C1B8339}"/>
          </ac:spMkLst>
        </pc:spChg>
        <pc:spChg chg="mod">
          <ac:chgData name="Manal El Bakkouri" userId="8b130982-2e3f-4164-b881-fd3a2e4b2453" providerId="ADAL" clId="{4457FA57-250B-44AC-8655-05D46C5A3D8A}" dt="2023-06-07T09:16:22.219" v="17345" actId="1076"/>
          <ac:spMkLst>
            <pc:docMk/>
            <pc:sldMk cId="3911279721" sldId="230717630"/>
            <ac:spMk id="128" creationId="{E24EA950-C290-4C89-9F1C-40F15363E3BF}"/>
          </ac:spMkLst>
        </pc:spChg>
        <pc:spChg chg="del">
          <ac:chgData name="Manal El Bakkouri" userId="8b130982-2e3f-4164-b881-fd3a2e4b2453" providerId="ADAL" clId="{4457FA57-250B-44AC-8655-05D46C5A3D8A}" dt="2023-06-07T09:10:54.151" v="17276" actId="478"/>
          <ac:spMkLst>
            <pc:docMk/>
            <pc:sldMk cId="3911279721" sldId="230717630"/>
            <ac:spMk id="129" creationId="{8881A015-4835-479E-A042-532AD793F430}"/>
          </ac:spMkLst>
        </pc:spChg>
        <pc:spChg chg="mod">
          <ac:chgData name="Manal El Bakkouri" userId="8b130982-2e3f-4164-b881-fd3a2e4b2453" providerId="ADAL" clId="{4457FA57-250B-44AC-8655-05D46C5A3D8A}" dt="2023-06-07T09:20:05.099" v="17388" actId="1035"/>
          <ac:spMkLst>
            <pc:docMk/>
            <pc:sldMk cId="3911279721" sldId="230717630"/>
            <ac:spMk id="130" creationId="{1EEF6D97-684A-411E-8440-BB5DD08116AC}"/>
          </ac:spMkLst>
        </pc:spChg>
        <pc:spChg chg="mod">
          <ac:chgData name="Manal El Bakkouri" userId="8b130982-2e3f-4164-b881-fd3a2e4b2453" providerId="ADAL" clId="{4457FA57-250B-44AC-8655-05D46C5A3D8A}" dt="2023-06-07T09:16:56.522" v="17351" actId="1076"/>
          <ac:spMkLst>
            <pc:docMk/>
            <pc:sldMk cId="3911279721" sldId="230717630"/>
            <ac:spMk id="131" creationId="{DF8200B6-512E-499F-952E-96B34C74C71D}"/>
          </ac:spMkLst>
        </pc:spChg>
        <pc:spChg chg="mod">
          <ac:chgData name="Manal El Bakkouri" userId="8b130982-2e3f-4164-b881-fd3a2e4b2453" providerId="ADAL" clId="{4457FA57-250B-44AC-8655-05D46C5A3D8A}" dt="2023-06-07T09:17:52.354" v="17365" actId="1076"/>
          <ac:spMkLst>
            <pc:docMk/>
            <pc:sldMk cId="3911279721" sldId="230717630"/>
            <ac:spMk id="132" creationId="{4562122B-A6A5-47CA-B6C1-375FC34CF071}"/>
          </ac:spMkLst>
        </pc:spChg>
        <pc:spChg chg="mod">
          <ac:chgData name="Manal El Bakkouri" userId="8b130982-2e3f-4164-b881-fd3a2e4b2453" providerId="ADAL" clId="{4457FA57-250B-44AC-8655-05D46C5A3D8A}" dt="2023-06-07T09:21:36.880" v="17398" actId="207"/>
          <ac:spMkLst>
            <pc:docMk/>
            <pc:sldMk cId="3911279721" sldId="230717630"/>
            <ac:spMk id="133" creationId="{9009F0D8-05B2-4A33-9FA3-73A1B1C17DD4}"/>
          </ac:spMkLst>
        </pc:spChg>
        <pc:spChg chg="mod">
          <ac:chgData name="Manal El Bakkouri" userId="8b130982-2e3f-4164-b881-fd3a2e4b2453" providerId="ADAL" clId="{4457FA57-250B-44AC-8655-05D46C5A3D8A}" dt="2023-06-07T09:21:30.945" v="17397" actId="207"/>
          <ac:spMkLst>
            <pc:docMk/>
            <pc:sldMk cId="3911279721" sldId="230717630"/>
            <ac:spMk id="134" creationId="{96D4CE5B-DE4E-4185-8E77-7765B2AD0DDE}"/>
          </ac:spMkLst>
        </pc:spChg>
        <pc:spChg chg="add del mod">
          <ac:chgData name="Manal El Bakkouri" userId="8b130982-2e3f-4164-b881-fd3a2e4b2453" providerId="ADAL" clId="{4457FA57-250B-44AC-8655-05D46C5A3D8A}" dt="2023-06-07T09:21:41.424" v="17399" actId="478"/>
          <ac:spMkLst>
            <pc:docMk/>
            <pc:sldMk cId="3911279721" sldId="230717630"/>
            <ac:spMk id="135" creationId="{5F8DB2F3-8985-4CE8-AC5B-8B966B62BAAF}"/>
          </ac:spMkLst>
        </pc:spChg>
        <pc:spChg chg="mod">
          <ac:chgData name="Manal El Bakkouri" userId="8b130982-2e3f-4164-b881-fd3a2e4b2453" providerId="ADAL" clId="{4457FA57-250B-44AC-8655-05D46C5A3D8A}" dt="2023-06-07T09:21:24.880" v="17396" actId="207"/>
          <ac:spMkLst>
            <pc:docMk/>
            <pc:sldMk cId="3911279721" sldId="230717630"/>
            <ac:spMk id="136" creationId="{CD998AF5-EB20-47BD-9416-32F2C36292B6}"/>
          </ac:spMkLst>
        </pc:spChg>
        <pc:spChg chg="mod">
          <ac:chgData name="Manal El Bakkouri" userId="8b130982-2e3f-4164-b881-fd3a2e4b2453" providerId="ADAL" clId="{4457FA57-250B-44AC-8655-05D46C5A3D8A}" dt="2023-06-07T09:11:38.527" v="17280" actId="166"/>
          <ac:spMkLst>
            <pc:docMk/>
            <pc:sldMk cId="3911279721" sldId="230717630"/>
            <ac:spMk id="137" creationId="{CCDF4F6F-D84D-4041-B1F9-1A4E99D3B08C}"/>
          </ac:spMkLst>
        </pc:spChg>
        <pc:spChg chg="mod">
          <ac:chgData name="Manal El Bakkouri" userId="8b130982-2e3f-4164-b881-fd3a2e4b2453" providerId="ADAL" clId="{4457FA57-250B-44AC-8655-05D46C5A3D8A}" dt="2023-06-07T09:11:38.527" v="17280" actId="166"/>
          <ac:spMkLst>
            <pc:docMk/>
            <pc:sldMk cId="3911279721" sldId="230717630"/>
            <ac:spMk id="138" creationId="{C4279C18-DBD1-47DD-B06A-CBD3B382187D}"/>
          </ac:spMkLst>
        </pc:spChg>
        <pc:spChg chg="mod">
          <ac:chgData name="Manal El Bakkouri" userId="8b130982-2e3f-4164-b881-fd3a2e4b2453" providerId="ADAL" clId="{4457FA57-250B-44AC-8655-05D46C5A3D8A}" dt="2023-06-07T09:11:38.527" v="17280" actId="166"/>
          <ac:spMkLst>
            <pc:docMk/>
            <pc:sldMk cId="3911279721" sldId="230717630"/>
            <ac:spMk id="139" creationId="{A8359647-0C46-4769-9E91-6B7A18890B2B}"/>
          </ac:spMkLst>
        </pc:spChg>
        <pc:spChg chg="mod">
          <ac:chgData name="Manal El Bakkouri" userId="8b130982-2e3f-4164-b881-fd3a2e4b2453" providerId="ADAL" clId="{4457FA57-250B-44AC-8655-05D46C5A3D8A}" dt="2023-06-07T09:11:38.527" v="17280" actId="166"/>
          <ac:spMkLst>
            <pc:docMk/>
            <pc:sldMk cId="3911279721" sldId="230717630"/>
            <ac:spMk id="140" creationId="{CAA7ACED-407E-44A1-8A1A-69800FADEE5F}"/>
          </ac:spMkLst>
        </pc:spChg>
        <pc:spChg chg="mod">
          <ac:chgData name="Manal El Bakkouri" userId="8b130982-2e3f-4164-b881-fd3a2e4b2453" providerId="ADAL" clId="{4457FA57-250B-44AC-8655-05D46C5A3D8A}" dt="2023-06-07T09:11:38.527" v="17280" actId="166"/>
          <ac:spMkLst>
            <pc:docMk/>
            <pc:sldMk cId="3911279721" sldId="230717630"/>
            <ac:spMk id="141" creationId="{40F701DE-DC13-42E5-A750-9D2B7638CAA3}"/>
          </ac:spMkLst>
        </pc:spChg>
        <pc:spChg chg="mod">
          <ac:chgData name="Manal El Bakkouri" userId="8b130982-2e3f-4164-b881-fd3a2e4b2453" providerId="ADAL" clId="{4457FA57-250B-44AC-8655-05D46C5A3D8A}" dt="2023-06-07T09:16:22.219" v="17345" actId="1076"/>
          <ac:spMkLst>
            <pc:docMk/>
            <pc:sldMk cId="3911279721" sldId="230717630"/>
            <ac:spMk id="142" creationId="{E8725292-D9C8-45A1-BC87-5A1F18FC783A}"/>
          </ac:spMkLst>
        </pc:spChg>
        <pc:spChg chg="del">
          <ac:chgData name="Manal El Bakkouri" userId="8b130982-2e3f-4164-b881-fd3a2e4b2453" providerId="ADAL" clId="{4457FA57-250B-44AC-8655-05D46C5A3D8A}" dt="2023-06-07T09:10:52.531" v="17275" actId="478"/>
          <ac:spMkLst>
            <pc:docMk/>
            <pc:sldMk cId="3911279721" sldId="230717630"/>
            <ac:spMk id="143" creationId="{B1FBD6D6-4D0D-4865-A7A5-345DB634A4CF}"/>
          </ac:spMkLst>
        </pc:spChg>
        <pc:spChg chg="mod">
          <ac:chgData name="Manal El Bakkouri" userId="8b130982-2e3f-4164-b881-fd3a2e4b2453" providerId="ADAL" clId="{4457FA57-250B-44AC-8655-05D46C5A3D8A}" dt="2023-06-07T09:20:05.099" v="17388" actId="1035"/>
          <ac:spMkLst>
            <pc:docMk/>
            <pc:sldMk cId="3911279721" sldId="230717630"/>
            <ac:spMk id="144" creationId="{4570C6EC-9734-4697-872B-9382D48F1655}"/>
          </ac:spMkLst>
        </pc:spChg>
        <pc:spChg chg="mod">
          <ac:chgData name="Manal El Bakkouri" userId="8b130982-2e3f-4164-b881-fd3a2e4b2453" providerId="ADAL" clId="{4457FA57-250B-44AC-8655-05D46C5A3D8A}" dt="2023-06-07T09:16:56.522" v="17351" actId="1076"/>
          <ac:spMkLst>
            <pc:docMk/>
            <pc:sldMk cId="3911279721" sldId="230717630"/>
            <ac:spMk id="145" creationId="{8F7A0821-82ED-46D1-A15B-A284B2A9C669}"/>
          </ac:spMkLst>
        </pc:spChg>
        <pc:spChg chg="mod">
          <ac:chgData name="Manal El Bakkouri" userId="8b130982-2e3f-4164-b881-fd3a2e4b2453" providerId="ADAL" clId="{4457FA57-250B-44AC-8655-05D46C5A3D8A}" dt="2023-06-07T09:17:52.354" v="17365" actId="1076"/>
          <ac:spMkLst>
            <pc:docMk/>
            <pc:sldMk cId="3911279721" sldId="230717630"/>
            <ac:spMk id="146" creationId="{320A3C98-E4C7-48B6-ABCC-EB3CB87CFA10}"/>
          </ac:spMkLst>
        </pc:spChg>
        <pc:spChg chg="mod">
          <ac:chgData name="Manal El Bakkouri" userId="8b130982-2e3f-4164-b881-fd3a2e4b2453" providerId="ADAL" clId="{4457FA57-250B-44AC-8655-05D46C5A3D8A}" dt="2023-06-07T09:11:38.527" v="17280" actId="166"/>
          <ac:spMkLst>
            <pc:docMk/>
            <pc:sldMk cId="3911279721" sldId="230717630"/>
            <ac:spMk id="153" creationId="{77E05EB0-F0EF-4138-A873-30DD08732090}"/>
          </ac:spMkLst>
        </pc:spChg>
        <pc:spChg chg="mod">
          <ac:chgData name="Manal El Bakkouri" userId="8b130982-2e3f-4164-b881-fd3a2e4b2453" providerId="ADAL" clId="{4457FA57-250B-44AC-8655-05D46C5A3D8A}" dt="2023-06-07T09:11:38.527" v="17280" actId="166"/>
          <ac:spMkLst>
            <pc:docMk/>
            <pc:sldMk cId="3911279721" sldId="230717630"/>
            <ac:spMk id="154" creationId="{1D6803C8-99D6-4C22-84D9-493018A41570}"/>
          </ac:spMkLst>
        </pc:spChg>
        <pc:spChg chg="mod">
          <ac:chgData name="Manal El Bakkouri" userId="8b130982-2e3f-4164-b881-fd3a2e4b2453" providerId="ADAL" clId="{4457FA57-250B-44AC-8655-05D46C5A3D8A}" dt="2023-06-07T09:11:38.527" v="17280" actId="166"/>
          <ac:spMkLst>
            <pc:docMk/>
            <pc:sldMk cId="3911279721" sldId="230717630"/>
            <ac:spMk id="155" creationId="{9A3E178D-2130-453B-9553-ED59069037D0}"/>
          </ac:spMkLst>
        </pc:spChg>
        <pc:spChg chg="mod">
          <ac:chgData name="Manal El Bakkouri" userId="8b130982-2e3f-4164-b881-fd3a2e4b2453" providerId="ADAL" clId="{4457FA57-250B-44AC-8655-05D46C5A3D8A}" dt="2023-06-07T09:11:38.527" v="17280" actId="166"/>
          <ac:spMkLst>
            <pc:docMk/>
            <pc:sldMk cId="3911279721" sldId="230717630"/>
            <ac:spMk id="156" creationId="{9F83DFC8-7281-4EAB-A8B4-A862926D4BC8}"/>
          </ac:spMkLst>
        </pc:spChg>
        <pc:spChg chg="mod">
          <ac:chgData name="Manal El Bakkouri" userId="8b130982-2e3f-4164-b881-fd3a2e4b2453" providerId="ADAL" clId="{4457FA57-250B-44AC-8655-05D46C5A3D8A}" dt="2023-06-07T09:11:38.527" v="17280" actId="166"/>
          <ac:spMkLst>
            <pc:docMk/>
            <pc:sldMk cId="3911279721" sldId="230717630"/>
            <ac:spMk id="157" creationId="{F130C76A-AED5-4242-A5C8-E47C73884E78}"/>
          </ac:spMkLst>
        </pc:spChg>
        <pc:spChg chg="mod">
          <ac:chgData name="Manal El Bakkouri" userId="8b130982-2e3f-4164-b881-fd3a2e4b2453" providerId="ADAL" clId="{4457FA57-250B-44AC-8655-05D46C5A3D8A}" dt="2023-06-07T09:11:38.527" v="17280" actId="166"/>
          <ac:spMkLst>
            <pc:docMk/>
            <pc:sldMk cId="3911279721" sldId="230717630"/>
            <ac:spMk id="158" creationId="{AE783DF8-9A92-4299-8115-E0412D7F2F95}"/>
          </ac:spMkLst>
        </pc:spChg>
        <pc:spChg chg="mod">
          <ac:chgData name="Manal El Bakkouri" userId="8b130982-2e3f-4164-b881-fd3a2e4b2453" providerId="ADAL" clId="{4457FA57-250B-44AC-8655-05D46C5A3D8A}" dt="2023-06-07T09:11:38.527" v="17280" actId="166"/>
          <ac:spMkLst>
            <pc:docMk/>
            <pc:sldMk cId="3911279721" sldId="230717630"/>
            <ac:spMk id="159" creationId="{9F7B9A85-30FF-4FCE-AB0B-7E182D779B47}"/>
          </ac:spMkLst>
        </pc:spChg>
        <pc:spChg chg="mod">
          <ac:chgData name="Manal El Bakkouri" userId="8b130982-2e3f-4164-b881-fd3a2e4b2453" providerId="ADAL" clId="{4457FA57-250B-44AC-8655-05D46C5A3D8A}" dt="2023-06-07T09:11:38.527" v="17280" actId="166"/>
          <ac:spMkLst>
            <pc:docMk/>
            <pc:sldMk cId="3911279721" sldId="230717630"/>
            <ac:spMk id="160" creationId="{D228FAF3-16FC-44B0-A7D3-6508C4275095}"/>
          </ac:spMkLst>
        </pc:spChg>
        <pc:spChg chg="mod">
          <ac:chgData name="Manal El Bakkouri" userId="8b130982-2e3f-4164-b881-fd3a2e4b2453" providerId="ADAL" clId="{4457FA57-250B-44AC-8655-05D46C5A3D8A}" dt="2023-06-07T09:11:38.527" v="17280" actId="166"/>
          <ac:spMkLst>
            <pc:docMk/>
            <pc:sldMk cId="3911279721" sldId="230717630"/>
            <ac:spMk id="161" creationId="{F13B4A82-773E-4C38-B4BC-9FC2D1B9181A}"/>
          </ac:spMkLst>
        </pc:spChg>
        <pc:spChg chg="mod topLvl">
          <ac:chgData name="Manal El Bakkouri" userId="8b130982-2e3f-4164-b881-fd3a2e4b2453" providerId="ADAL" clId="{4457FA57-250B-44AC-8655-05D46C5A3D8A}" dt="2023-06-07T09:34:14.548" v="17458" actId="165"/>
          <ac:spMkLst>
            <pc:docMk/>
            <pc:sldMk cId="3911279721" sldId="230717630"/>
            <ac:spMk id="162" creationId="{F304A6DC-172E-4ABC-80E5-27A0DFC66EA2}"/>
          </ac:spMkLst>
        </pc:spChg>
        <pc:spChg chg="mod topLvl">
          <ac:chgData name="Manal El Bakkouri" userId="8b130982-2e3f-4164-b881-fd3a2e4b2453" providerId="ADAL" clId="{4457FA57-250B-44AC-8655-05D46C5A3D8A}" dt="2023-06-07T09:34:21.438" v="17460" actId="113"/>
          <ac:spMkLst>
            <pc:docMk/>
            <pc:sldMk cId="3911279721" sldId="230717630"/>
            <ac:spMk id="163" creationId="{85611E3E-9EA2-439F-A0D8-419697612AD8}"/>
          </ac:spMkLst>
        </pc:spChg>
        <pc:spChg chg="mod">
          <ac:chgData name="Manal El Bakkouri" userId="8b130982-2e3f-4164-b881-fd3a2e4b2453" providerId="ADAL" clId="{4457FA57-250B-44AC-8655-05D46C5A3D8A}" dt="2023-06-07T09:28:16.547" v="17440" actId="122"/>
          <ac:spMkLst>
            <pc:docMk/>
            <pc:sldMk cId="3911279721" sldId="230717630"/>
            <ac:spMk id="164" creationId="{43090170-9E86-4302-B872-1EFF239B40FB}"/>
          </ac:spMkLst>
        </pc:spChg>
        <pc:spChg chg="mod">
          <ac:chgData name="Manal El Bakkouri" userId="8b130982-2e3f-4164-b881-fd3a2e4b2453" providerId="ADAL" clId="{4457FA57-250B-44AC-8655-05D46C5A3D8A}" dt="2023-06-07T09:28:12.588" v="17437" actId="14100"/>
          <ac:spMkLst>
            <pc:docMk/>
            <pc:sldMk cId="3911279721" sldId="230717630"/>
            <ac:spMk id="165" creationId="{F413437A-2C06-42B3-A5EE-895BD0130AE9}"/>
          </ac:spMkLst>
        </pc:spChg>
        <pc:spChg chg="mod topLvl">
          <ac:chgData name="Manal El Bakkouri" userId="8b130982-2e3f-4164-b881-fd3a2e4b2453" providerId="ADAL" clId="{4457FA57-250B-44AC-8655-05D46C5A3D8A}" dt="2023-06-07T09:22:15.621" v="17403" actId="122"/>
          <ac:spMkLst>
            <pc:docMk/>
            <pc:sldMk cId="3911279721" sldId="230717630"/>
            <ac:spMk id="166" creationId="{D27B26C8-C13D-464F-B11A-DE828B22FFC3}"/>
          </ac:spMkLst>
        </pc:spChg>
        <pc:spChg chg="mod topLvl">
          <ac:chgData name="Manal El Bakkouri" userId="8b130982-2e3f-4164-b881-fd3a2e4b2453" providerId="ADAL" clId="{4457FA57-250B-44AC-8655-05D46C5A3D8A}" dt="2023-06-07T09:22:35.569" v="17407" actId="1076"/>
          <ac:spMkLst>
            <pc:docMk/>
            <pc:sldMk cId="3911279721" sldId="230717630"/>
            <ac:spMk id="167" creationId="{3DDDC167-0805-4D3B-AE2C-251C02306ACE}"/>
          </ac:spMkLst>
        </pc:spChg>
        <pc:spChg chg="del mod">
          <ac:chgData name="Manal El Bakkouri" userId="8b130982-2e3f-4164-b881-fd3a2e4b2453" providerId="ADAL" clId="{4457FA57-250B-44AC-8655-05D46C5A3D8A}" dt="2023-06-07T09:10:40.467" v="17271" actId="478"/>
          <ac:spMkLst>
            <pc:docMk/>
            <pc:sldMk cId="3911279721" sldId="230717630"/>
            <ac:spMk id="168" creationId="{9198E021-2D66-45D7-AAF5-802D59CDE8E3}"/>
          </ac:spMkLst>
        </pc:spChg>
        <pc:spChg chg="del">
          <ac:chgData name="Manal El Bakkouri" userId="8b130982-2e3f-4164-b881-fd3a2e4b2453" providerId="ADAL" clId="{4457FA57-250B-44AC-8655-05D46C5A3D8A}" dt="2023-06-07T09:10:41.834" v="17273" actId="478"/>
          <ac:spMkLst>
            <pc:docMk/>
            <pc:sldMk cId="3911279721" sldId="230717630"/>
            <ac:spMk id="169" creationId="{9AF0E39F-EB50-4D24-84CD-CD9285E99B54}"/>
          </ac:spMkLst>
        </pc:spChg>
        <pc:spChg chg="mod topLvl">
          <ac:chgData name="Manal El Bakkouri" userId="8b130982-2e3f-4164-b881-fd3a2e4b2453" providerId="ADAL" clId="{4457FA57-250B-44AC-8655-05D46C5A3D8A}" dt="2023-06-07T09:28:16.895" v="17442" actId="165"/>
          <ac:spMkLst>
            <pc:docMk/>
            <pc:sldMk cId="3911279721" sldId="230717630"/>
            <ac:spMk id="170" creationId="{19781465-D084-42C0-8F11-EA8A6B40B50B}"/>
          </ac:spMkLst>
        </pc:spChg>
        <pc:spChg chg="mod topLvl">
          <ac:chgData name="Manal El Bakkouri" userId="8b130982-2e3f-4164-b881-fd3a2e4b2453" providerId="ADAL" clId="{4457FA57-250B-44AC-8655-05D46C5A3D8A}" dt="2023-06-07T09:28:16.895" v="17442" actId="165"/>
          <ac:spMkLst>
            <pc:docMk/>
            <pc:sldMk cId="3911279721" sldId="230717630"/>
            <ac:spMk id="171" creationId="{D628E6C3-A266-430E-8C58-90D97AB26078}"/>
          </ac:spMkLst>
        </pc:spChg>
        <pc:grpChg chg="add mod">
          <ac:chgData name="Manal El Bakkouri" userId="8b130982-2e3f-4164-b881-fd3a2e4b2453" providerId="ADAL" clId="{4457FA57-250B-44AC-8655-05D46C5A3D8A}" dt="2023-06-07T09:28:12.588" v="17437" actId="14100"/>
          <ac:grpSpMkLst>
            <pc:docMk/>
            <pc:sldMk cId="3911279721" sldId="230717630"/>
            <ac:grpSpMk id="2" creationId="{AC24E6CE-6CB0-483D-B9DE-49369F158678}"/>
          </ac:grpSpMkLst>
        </pc:grpChg>
        <pc:grpChg chg="add del mod">
          <ac:chgData name="Manal El Bakkouri" userId="8b130982-2e3f-4164-b881-fd3a2e4b2453" providerId="ADAL" clId="{4457FA57-250B-44AC-8655-05D46C5A3D8A}" dt="2023-06-07T09:28:16.895" v="17442" actId="165"/>
          <ac:grpSpMkLst>
            <pc:docMk/>
            <pc:sldMk cId="3911279721" sldId="230717630"/>
            <ac:grpSpMk id="3" creationId="{9C69BDFE-8B79-461E-885D-51BCD2EE0978}"/>
          </ac:grpSpMkLst>
        </pc:grpChg>
        <pc:grpChg chg="add del mod">
          <ac:chgData name="Manal El Bakkouri" userId="8b130982-2e3f-4164-b881-fd3a2e4b2453" providerId="ADAL" clId="{4457FA57-250B-44AC-8655-05D46C5A3D8A}" dt="2023-06-07T09:12:48.576" v="17297" actId="165"/>
          <ac:grpSpMkLst>
            <pc:docMk/>
            <pc:sldMk cId="3911279721" sldId="230717630"/>
            <ac:grpSpMk id="4" creationId="{AB63A64F-166C-44CB-8ED1-3611A980265C}"/>
          </ac:grpSpMkLst>
        </pc:grpChg>
        <pc:grpChg chg="add mod">
          <ac:chgData name="Manal El Bakkouri" userId="8b130982-2e3f-4164-b881-fd3a2e4b2453" providerId="ADAL" clId="{4457FA57-250B-44AC-8655-05D46C5A3D8A}" dt="2023-06-07T09:22:10.939" v="17402" actId="14100"/>
          <ac:grpSpMkLst>
            <pc:docMk/>
            <pc:sldMk cId="3911279721" sldId="230717630"/>
            <ac:grpSpMk id="5" creationId="{B99FB03A-A3A4-48C5-9FA8-4AD4DBF1946D}"/>
          </ac:grpSpMkLst>
        </pc:grpChg>
        <pc:grpChg chg="add del mod">
          <ac:chgData name="Manal El Bakkouri" userId="8b130982-2e3f-4164-b881-fd3a2e4b2453" providerId="ADAL" clId="{4457FA57-250B-44AC-8655-05D46C5A3D8A}" dt="2023-06-07T09:34:14.548" v="17458" actId="165"/>
          <ac:grpSpMkLst>
            <pc:docMk/>
            <pc:sldMk cId="3911279721" sldId="230717630"/>
            <ac:grpSpMk id="6" creationId="{878D30EE-6415-4F2B-997F-462A6E9F98E7}"/>
          </ac:grpSpMkLst>
        </pc:grpChg>
        <pc:grpChg chg="add mod">
          <ac:chgData name="Manal El Bakkouri" userId="8b130982-2e3f-4164-b881-fd3a2e4b2453" providerId="ADAL" clId="{4457FA57-250B-44AC-8655-05D46C5A3D8A}" dt="2023-06-07T09:16:56.522" v="17351" actId="1076"/>
          <ac:grpSpMkLst>
            <pc:docMk/>
            <pc:sldMk cId="3911279721" sldId="230717630"/>
            <ac:grpSpMk id="7" creationId="{52FF8857-F7B0-4176-828A-3136C527472B}"/>
          </ac:grpSpMkLst>
        </pc:grpChg>
        <pc:grpChg chg="add mod">
          <ac:chgData name="Manal El Bakkouri" userId="8b130982-2e3f-4164-b881-fd3a2e4b2453" providerId="ADAL" clId="{4457FA57-250B-44AC-8655-05D46C5A3D8A}" dt="2023-06-07T09:20:05.099" v="17388" actId="1035"/>
          <ac:grpSpMkLst>
            <pc:docMk/>
            <pc:sldMk cId="3911279721" sldId="230717630"/>
            <ac:grpSpMk id="8" creationId="{588710C3-C70A-4830-9BFD-DFFE69E4778E}"/>
          </ac:grpSpMkLst>
        </pc:grpChg>
        <pc:grpChg chg="add mod">
          <ac:chgData name="Manal El Bakkouri" userId="8b130982-2e3f-4164-b881-fd3a2e4b2453" providerId="ADAL" clId="{4457FA57-250B-44AC-8655-05D46C5A3D8A}" dt="2023-06-07T09:17:52.354" v="17365" actId="1076"/>
          <ac:grpSpMkLst>
            <pc:docMk/>
            <pc:sldMk cId="3911279721" sldId="230717630"/>
            <ac:grpSpMk id="9" creationId="{1494306F-4324-4EF8-9B0F-A5BCCFEBCBEC}"/>
          </ac:grpSpMkLst>
        </pc:grpChg>
        <pc:picChg chg="mod">
          <ac:chgData name="Manal El Bakkouri" userId="8b130982-2e3f-4164-b881-fd3a2e4b2453" providerId="ADAL" clId="{4457FA57-250B-44AC-8655-05D46C5A3D8A}" dt="2023-06-07T09:11:38.527" v="17280" actId="166"/>
          <ac:picMkLst>
            <pc:docMk/>
            <pc:sldMk cId="3911279721" sldId="230717630"/>
            <ac:picMk id="147" creationId="{2694479C-5DC3-4DF5-8ECA-2878CAC99670}"/>
          </ac:picMkLst>
        </pc:picChg>
        <pc:picChg chg="mod">
          <ac:chgData name="Manal El Bakkouri" userId="8b130982-2e3f-4164-b881-fd3a2e4b2453" providerId="ADAL" clId="{4457FA57-250B-44AC-8655-05D46C5A3D8A}" dt="2023-06-07T09:11:38.527" v="17280" actId="166"/>
          <ac:picMkLst>
            <pc:docMk/>
            <pc:sldMk cId="3911279721" sldId="230717630"/>
            <ac:picMk id="148" creationId="{E5352050-802F-4283-8975-B73A209FF6C5}"/>
          </ac:picMkLst>
        </pc:picChg>
        <pc:picChg chg="mod">
          <ac:chgData name="Manal El Bakkouri" userId="8b130982-2e3f-4164-b881-fd3a2e4b2453" providerId="ADAL" clId="{4457FA57-250B-44AC-8655-05D46C5A3D8A}" dt="2023-06-07T09:11:38.527" v="17280" actId="166"/>
          <ac:picMkLst>
            <pc:docMk/>
            <pc:sldMk cId="3911279721" sldId="230717630"/>
            <ac:picMk id="149" creationId="{5022A6F0-FCD1-4CC4-A4A6-8D2655B26582}"/>
          </ac:picMkLst>
        </pc:picChg>
        <pc:picChg chg="mod">
          <ac:chgData name="Manal El Bakkouri" userId="8b130982-2e3f-4164-b881-fd3a2e4b2453" providerId="ADAL" clId="{4457FA57-250B-44AC-8655-05D46C5A3D8A}" dt="2023-06-07T09:11:38.527" v="17280" actId="166"/>
          <ac:picMkLst>
            <pc:docMk/>
            <pc:sldMk cId="3911279721" sldId="230717630"/>
            <ac:picMk id="150" creationId="{54F94781-CB97-41A8-AB23-4482B30B9464}"/>
          </ac:picMkLst>
        </pc:picChg>
        <pc:picChg chg="mod">
          <ac:chgData name="Manal El Bakkouri" userId="8b130982-2e3f-4164-b881-fd3a2e4b2453" providerId="ADAL" clId="{4457FA57-250B-44AC-8655-05D46C5A3D8A}" dt="2023-06-07T09:11:38.527" v="17280" actId="166"/>
          <ac:picMkLst>
            <pc:docMk/>
            <pc:sldMk cId="3911279721" sldId="230717630"/>
            <ac:picMk id="151" creationId="{1717FCCE-BE4C-413A-82B6-8EA46A261C8D}"/>
          </ac:picMkLst>
        </pc:picChg>
        <pc:picChg chg="mod">
          <ac:chgData name="Manal El Bakkouri" userId="8b130982-2e3f-4164-b881-fd3a2e4b2453" providerId="ADAL" clId="{4457FA57-250B-44AC-8655-05D46C5A3D8A}" dt="2023-06-07T09:11:38.527" v="17280" actId="166"/>
          <ac:picMkLst>
            <pc:docMk/>
            <pc:sldMk cId="3911279721" sldId="230717630"/>
            <ac:picMk id="152" creationId="{E8B9C698-6FF6-4BBB-A46D-3CE7B84BCCAA}"/>
          </ac:picMkLst>
        </pc:picChg>
      </pc:sldChg>
      <pc:sldChg chg="addSp delSp modSp mod addAnim delAnim modAnim modNotesTx">
        <pc:chgData name="Manal El Bakkouri" userId="8b130982-2e3f-4164-b881-fd3a2e4b2453" providerId="ADAL" clId="{4457FA57-250B-44AC-8655-05D46C5A3D8A}" dt="2023-06-09T11:24:43.466" v="21678"/>
        <pc:sldMkLst>
          <pc:docMk/>
          <pc:sldMk cId="4904049" sldId="230717632"/>
        </pc:sldMkLst>
        <pc:spChg chg="del">
          <ac:chgData name="Manal El Bakkouri" userId="8b130982-2e3f-4164-b881-fd3a2e4b2453" providerId="ADAL" clId="{4457FA57-250B-44AC-8655-05D46C5A3D8A}" dt="2023-05-31T16:33:53.446" v="428" actId="478"/>
          <ac:spMkLst>
            <pc:docMk/>
            <pc:sldMk cId="4904049" sldId="230717632"/>
            <ac:spMk id="2" creationId="{55346C15-3AAF-4D4F-9F35-0C3B400C8E3C}"/>
          </ac:spMkLst>
        </pc:spChg>
        <pc:spChg chg="del">
          <ac:chgData name="Manal El Bakkouri" userId="8b130982-2e3f-4164-b881-fd3a2e4b2453" providerId="ADAL" clId="{4457FA57-250B-44AC-8655-05D46C5A3D8A}" dt="2023-05-31T16:32:00.604" v="420" actId="478"/>
          <ac:spMkLst>
            <pc:docMk/>
            <pc:sldMk cId="4904049" sldId="230717632"/>
            <ac:spMk id="3" creationId="{9A7229B2-06D6-42DC-8922-145FFF951DC8}"/>
          </ac:spMkLst>
        </pc:spChg>
        <pc:spChg chg="del">
          <ac:chgData name="Manal El Bakkouri" userId="8b130982-2e3f-4164-b881-fd3a2e4b2453" providerId="ADAL" clId="{4457FA57-250B-44AC-8655-05D46C5A3D8A}" dt="2023-05-31T16:32:00.604" v="420" actId="478"/>
          <ac:spMkLst>
            <pc:docMk/>
            <pc:sldMk cId="4904049" sldId="230717632"/>
            <ac:spMk id="4" creationId="{F5F1D301-FFCB-4866-B104-3F6B17F867AF}"/>
          </ac:spMkLst>
        </pc:spChg>
        <pc:spChg chg="del">
          <ac:chgData name="Manal El Bakkouri" userId="8b130982-2e3f-4164-b881-fd3a2e4b2453" providerId="ADAL" clId="{4457FA57-250B-44AC-8655-05D46C5A3D8A}" dt="2023-05-31T16:32:00.604" v="420" actId="478"/>
          <ac:spMkLst>
            <pc:docMk/>
            <pc:sldMk cId="4904049" sldId="230717632"/>
            <ac:spMk id="5" creationId="{984C39C3-1FE4-45E7-98E6-394D31C3811E}"/>
          </ac:spMkLst>
        </pc:spChg>
        <pc:spChg chg="del">
          <ac:chgData name="Manal El Bakkouri" userId="8b130982-2e3f-4164-b881-fd3a2e4b2453" providerId="ADAL" clId="{4457FA57-250B-44AC-8655-05D46C5A3D8A}" dt="2023-05-31T16:32:00.604" v="420" actId="478"/>
          <ac:spMkLst>
            <pc:docMk/>
            <pc:sldMk cId="4904049" sldId="230717632"/>
            <ac:spMk id="6" creationId="{780191CA-8693-4BCA-A5AB-6EF35934C513}"/>
          </ac:spMkLst>
        </pc:spChg>
        <pc:spChg chg="del">
          <ac:chgData name="Manal El Bakkouri" userId="8b130982-2e3f-4164-b881-fd3a2e4b2453" providerId="ADAL" clId="{4457FA57-250B-44AC-8655-05D46C5A3D8A}" dt="2023-05-31T16:32:00.604" v="420" actId="478"/>
          <ac:spMkLst>
            <pc:docMk/>
            <pc:sldMk cId="4904049" sldId="230717632"/>
            <ac:spMk id="7" creationId="{37B82A57-1D73-4310-9B5D-A3BCC6D4083F}"/>
          </ac:spMkLst>
        </pc:spChg>
        <pc:spChg chg="del">
          <ac:chgData name="Manal El Bakkouri" userId="8b130982-2e3f-4164-b881-fd3a2e4b2453" providerId="ADAL" clId="{4457FA57-250B-44AC-8655-05D46C5A3D8A}" dt="2023-05-31T16:32:00.604" v="420" actId="478"/>
          <ac:spMkLst>
            <pc:docMk/>
            <pc:sldMk cId="4904049" sldId="230717632"/>
            <ac:spMk id="8" creationId="{B2D157D1-41DC-4FA1-B561-89AFB9AFDC39}"/>
          </ac:spMkLst>
        </pc:spChg>
        <pc:spChg chg="del">
          <ac:chgData name="Manal El Bakkouri" userId="8b130982-2e3f-4164-b881-fd3a2e4b2453" providerId="ADAL" clId="{4457FA57-250B-44AC-8655-05D46C5A3D8A}" dt="2023-05-31T16:32:00.604" v="420" actId="478"/>
          <ac:spMkLst>
            <pc:docMk/>
            <pc:sldMk cId="4904049" sldId="230717632"/>
            <ac:spMk id="9" creationId="{B21D5D09-F292-4BDD-ADB8-E2296D283887}"/>
          </ac:spMkLst>
        </pc:spChg>
        <pc:spChg chg="del">
          <ac:chgData name="Manal El Bakkouri" userId="8b130982-2e3f-4164-b881-fd3a2e4b2453" providerId="ADAL" clId="{4457FA57-250B-44AC-8655-05D46C5A3D8A}" dt="2023-05-31T16:32:00.604" v="420" actId="478"/>
          <ac:spMkLst>
            <pc:docMk/>
            <pc:sldMk cId="4904049" sldId="230717632"/>
            <ac:spMk id="10" creationId="{D8CC6B6F-D40D-4B56-8D0E-BAF67D1DDA97}"/>
          </ac:spMkLst>
        </pc:spChg>
        <pc:spChg chg="del">
          <ac:chgData name="Manal El Bakkouri" userId="8b130982-2e3f-4164-b881-fd3a2e4b2453" providerId="ADAL" clId="{4457FA57-250B-44AC-8655-05D46C5A3D8A}" dt="2023-05-31T16:32:00.604" v="420" actId="478"/>
          <ac:spMkLst>
            <pc:docMk/>
            <pc:sldMk cId="4904049" sldId="230717632"/>
            <ac:spMk id="11" creationId="{7609423A-A9C1-4F34-B46C-872D3DE8E97D}"/>
          </ac:spMkLst>
        </pc:spChg>
        <pc:spChg chg="del">
          <ac:chgData name="Manal El Bakkouri" userId="8b130982-2e3f-4164-b881-fd3a2e4b2453" providerId="ADAL" clId="{4457FA57-250B-44AC-8655-05D46C5A3D8A}" dt="2023-05-31T16:32:00.604" v="420" actId="478"/>
          <ac:spMkLst>
            <pc:docMk/>
            <pc:sldMk cId="4904049" sldId="230717632"/>
            <ac:spMk id="12" creationId="{823B0AB9-9815-4AFF-BADD-4689E04AA418}"/>
          </ac:spMkLst>
        </pc:spChg>
        <pc:spChg chg="mod">
          <ac:chgData name="Manal El Bakkouri" userId="8b130982-2e3f-4164-b881-fd3a2e4b2453" providerId="ADAL" clId="{4457FA57-250B-44AC-8655-05D46C5A3D8A}" dt="2023-06-06T13:41:01.071" v="10512" actId="113"/>
          <ac:spMkLst>
            <pc:docMk/>
            <pc:sldMk cId="4904049" sldId="230717632"/>
            <ac:spMk id="36" creationId="{7CAA98B2-BE3B-45CC-9537-E8820A07DD5F}"/>
          </ac:spMkLst>
        </pc:spChg>
        <pc:spChg chg="mod">
          <ac:chgData name="Manal El Bakkouri" userId="8b130982-2e3f-4164-b881-fd3a2e4b2453" providerId="ADAL" clId="{4457FA57-250B-44AC-8655-05D46C5A3D8A}" dt="2023-06-07T09:52:52.034" v="17547" actId="1076"/>
          <ac:spMkLst>
            <pc:docMk/>
            <pc:sldMk cId="4904049" sldId="230717632"/>
            <ac:spMk id="43" creationId="{8737B479-CBB4-469D-88A9-AC5D630D7E8D}"/>
          </ac:spMkLst>
        </pc:spChg>
        <pc:spChg chg="mod">
          <ac:chgData name="Manal El Bakkouri" userId="8b130982-2e3f-4164-b881-fd3a2e4b2453" providerId="ADAL" clId="{4457FA57-250B-44AC-8655-05D46C5A3D8A}" dt="2023-05-31T16:42:52.139" v="431" actId="1076"/>
          <ac:spMkLst>
            <pc:docMk/>
            <pc:sldMk cId="4904049" sldId="230717632"/>
            <ac:spMk id="58" creationId="{B79148E4-9412-4B9E-A7E9-EEE3C6FAB6A2}"/>
          </ac:spMkLst>
        </pc:spChg>
        <pc:spChg chg="mod">
          <ac:chgData name="Manal El Bakkouri" userId="8b130982-2e3f-4164-b881-fd3a2e4b2453" providerId="ADAL" clId="{4457FA57-250B-44AC-8655-05D46C5A3D8A}" dt="2023-05-31T16:39:19.876" v="430"/>
          <ac:spMkLst>
            <pc:docMk/>
            <pc:sldMk cId="4904049" sldId="230717632"/>
            <ac:spMk id="65" creationId="{83733ED8-6631-4E80-BA69-C2CD97A8DCFD}"/>
          </ac:spMkLst>
        </pc:spChg>
        <pc:spChg chg="add mod">
          <ac:chgData name="Manal El Bakkouri" userId="8b130982-2e3f-4164-b881-fd3a2e4b2453" providerId="ADAL" clId="{4457FA57-250B-44AC-8655-05D46C5A3D8A}" dt="2023-06-09T11:24:43.466" v="21678"/>
          <ac:spMkLst>
            <pc:docMk/>
            <pc:sldMk cId="4904049" sldId="230717632"/>
            <ac:spMk id="73" creationId="{6707E31D-9636-40E8-ABD9-0E85D9896DE4}"/>
          </ac:spMkLst>
        </pc:spChg>
        <pc:spChg chg="add mod">
          <ac:chgData name="Manal El Bakkouri" userId="8b130982-2e3f-4164-b881-fd3a2e4b2453" providerId="ADAL" clId="{4457FA57-250B-44AC-8655-05D46C5A3D8A}" dt="2023-06-09T11:24:43.466" v="21678"/>
          <ac:spMkLst>
            <pc:docMk/>
            <pc:sldMk cId="4904049" sldId="230717632"/>
            <ac:spMk id="74" creationId="{15581664-2866-4315-B853-19E21551EF0E}"/>
          </ac:spMkLst>
        </pc:spChg>
        <pc:spChg chg="add mod">
          <ac:chgData name="Manal El Bakkouri" userId="8b130982-2e3f-4164-b881-fd3a2e4b2453" providerId="ADAL" clId="{4457FA57-250B-44AC-8655-05D46C5A3D8A}" dt="2023-06-09T11:24:43.466" v="21678"/>
          <ac:spMkLst>
            <pc:docMk/>
            <pc:sldMk cId="4904049" sldId="230717632"/>
            <ac:spMk id="75" creationId="{953A7E7F-9656-4D23-9789-B6B4269C8B36}"/>
          </ac:spMkLst>
        </pc:spChg>
        <pc:spChg chg="add mod">
          <ac:chgData name="Manal El Bakkouri" userId="8b130982-2e3f-4164-b881-fd3a2e4b2453" providerId="ADAL" clId="{4457FA57-250B-44AC-8655-05D46C5A3D8A}" dt="2023-06-09T11:24:43.466" v="21678"/>
          <ac:spMkLst>
            <pc:docMk/>
            <pc:sldMk cId="4904049" sldId="230717632"/>
            <ac:spMk id="76" creationId="{A87BF8C2-72CF-43AC-B95E-D7BF11FD3C08}"/>
          </ac:spMkLst>
        </pc:spChg>
        <pc:spChg chg="add mod">
          <ac:chgData name="Manal El Bakkouri" userId="8b130982-2e3f-4164-b881-fd3a2e4b2453" providerId="ADAL" clId="{4457FA57-250B-44AC-8655-05D46C5A3D8A}" dt="2023-06-04T13:05:06.462" v="7611" actId="20577"/>
          <ac:spMkLst>
            <pc:docMk/>
            <pc:sldMk cId="4904049" sldId="230717632"/>
            <ac:spMk id="82" creationId="{8CE219CA-904A-4C57-BACD-63944EF52E5B}"/>
          </ac:spMkLst>
        </pc:spChg>
        <pc:spChg chg="add del mod">
          <ac:chgData name="Manal El Bakkouri" userId="8b130982-2e3f-4164-b881-fd3a2e4b2453" providerId="ADAL" clId="{4457FA57-250B-44AC-8655-05D46C5A3D8A}" dt="2023-06-09T11:24:43.170" v="21677" actId="478"/>
          <ac:spMkLst>
            <pc:docMk/>
            <pc:sldMk cId="4904049" sldId="230717632"/>
            <ac:spMk id="83" creationId="{906A5FA8-1973-46DC-8BEE-94F6580272B0}"/>
          </ac:spMkLst>
        </pc:spChg>
        <pc:spChg chg="add del mod">
          <ac:chgData name="Manal El Bakkouri" userId="8b130982-2e3f-4164-b881-fd3a2e4b2453" providerId="ADAL" clId="{4457FA57-250B-44AC-8655-05D46C5A3D8A}" dt="2023-06-09T11:24:43.170" v="21677" actId="478"/>
          <ac:spMkLst>
            <pc:docMk/>
            <pc:sldMk cId="4904049" sldId="230717632"/>
            <ac:spMk id="84" creationId="{726706A7-121E-413A-B2CF-6F6E18667768}"/>
          </ac:spMkLst>
        </pc:spChg>
        <pc:spChg chg="add mod">
          <ac:chgData name="Manal El Bakkouri" userId="8b130982-2e3f-4164-b881-fd3a2e4b2453" providerId="ADAL" clId="{4457FA57-250B-44AC-8655-05D46C5A3D8A}" dt="2023-06-06T10:26:39.752" v="9662"/>
          <ac:spMkLst>
            <pc:docMk/>
            <pc:sldMk cId="4904049" sldId="230717632"/>
            <ac:spMk id="85" creationId="{E537C2A7-CE28-4891-9EB3-AAE5C5D95FF3}"/>
          </ac:spMkLst>
        </pc:spChg>
        <pc:spChg chg="add mod">
          <ac:chgData name="Manal El Bakkouri" userId="8b130982-2e3f-4164-b881-fd3a2e4b2453" providerId="ADAL" clId="{4457FA57-250B-44AC-8655-05D46C5A3D8A}" dt="2023-06-06T10:26:39.752" v="9662"/>
          <ac:spMkLst>
            <pc:docMk/>
            <pc:sldMk cId="4904049" sldId="230717632"/>
            <ac:spMk id="86" creationId="{95E1A0ED-BCB7-484D-AAA3-70F8869576C5}"/>
          </ac:spMkLst>
        </pc:spChg>
        <pc:spChg chg="add del mod">
          <ac:chgData name="Manal El Bakkouri" userId="8b130982-2e3f-4164-b881-fd3a2e4b2453" providerId="ADAL" clId="{4457FA57-250B-44AC-8655-05D46C5A3D8A}" dt="2023-06-09T11:24:43.170" v="21677" actId="478"/>
          <ac:spMkLst>
            <pc:docMk/>
            <pc:sldMk cId="4904049" sldId="230717632"/>
            <ac:spMk id="87" creationId="{98523869-4712-4B4B-B17E-45A714AF284E}"/>
          </ac:spMkLst>
        </pc:spChg>
        <pc:spChg chg="add mod">
          <ac:chgData name="Manal El Bakkouri" userId="8b130982-2e3f-4164-b881-fd3a2e4b2453" providerId="ADAL" clId="{4457FA57-250B-44AC-8655-05D46C5A3D8A}" dt="2023-06-06T10:26:39.752" v="9662"/>
          <ac:spMkLst>
            <pc:docMk/>
            <pc:sldMk cId="4904049" sldId="230717632"/>
            <ac:spMk id="88" creationId="{340879CE-E927-4D1E-8AE4-A7B4DD2A8BCB}"/>
          </ac:spMkLst>
        </pc:spChg>
        <pc:spChg chg="add mod">
          <ac:chgData name="Manal El Bakkouri" userId="8b130982-2e3f-4164-b881-fd3a2e4b2453" providerId="ADAL" clId="{4457FA57-250B-44AC-8655-05D46C5A3D8A}" dt="2023-06-06T10:26:39.752" v="9662"/>
          <ac:spMkLst>
            <pc:docMk/>
            <pc:sldMk cId="4904049" sldId="230717632"/>
            <ac:spMk id="89" creationId="{4C385A1D-7B7B-42D2-851F-C89796DE135A}"/>
          </ac:spMkLst>
        </pc:spChg>
        <pc:spChg chg="add mod">
          <ac:chgData name="Manal El Bakkouri" userId="8b130982-2e3f-4164-b881-fd3a2e4b2453" providerId="ADAL" clId="{4457FA57-250B-44AC-8655-05D46C5A3D8A}" dt="2023-06-06T10:26:39.752" v="9662"/>
          <ac:spMkLst>
            <pc:docMk/>
            <pc:sldMk cId="4904049" sldId="230717632"/>
            <ac:spMk id="90" creationId="{7B349D85-575D-4FFC-9ED0-4A87A775E7D3}"/>
          </ac:spMkLst>
        </pc:spChg>
        <pc:spChg chg="add mod">
          <ac:chgData name="Manal El Bakkouri" userId="8b130982-2e3f-4164-b881-fd3a2e4b2453" providerId="ADAL" clId="{4457FA57-250B-44AC-8655-05D46C5A3D8A}" dt="2023-06-06T10:26:39.752" v="9662"/>
          <ac:spMkLst>
            <pc:docMk/>
            <pc:sldMk cId="4904049" sldId="230717632"/>
            <ac:spMk id="91" creationId="{0F498FA9-9964-4AA7-95A2-14B7B7ADC703}"/>
          </ac:spMkLst>
        </pc:spChg>
        <pc:spChg chg="add del mod">
          <ac:chgData name="Manal El Bakkouri" userId="8b130982-2e3f-4164-b881-fd3a2e4b2453" providerId="ADAL" clId="{4457FA57-250B-44AC-8655-05D46C5A3D8A}" dt="2023-06-06T10:26:38.628" v="9661" actId="478"/>
          <ac:spMkLst>
            <pc:docMk/>
            <pc:sldMk cId="4904049" sldId="230717632"/>
            <ac:spMk id="96" creationId="{CD036C3D-A24C-4838-B1F6-066E0E13C322}"/>
          </ac:spMkLst>
        </pc:spChg>
        <pc:spChg chg="add del mod">
          <ac:chgData name="Manal El Bakkouri" userId="8b130982-2e3f-4164-b881-fd3a2e4b2453" providerId="ADAL" clId="{4457FA57-250B-44AC-8655-05D46C5A3D8A}" dt="2023-06-06T10:26:38.628" v="9661" actId="478"/>
          <ac:spMkLst>
            <pc:docMk/>
            <pc:sldMk cId="4904049" sldId="230717632"/>
            <ac:spMk id="97" creationId="{1E140DB0-94B0-46A1-9603-B8F2BD9FAC5B}"/>
          </ac:spMkLst>
        </pc:spChg>
        <pc:spChg chg="add del mod">
          <ac:chgData name="Manal El Bakkouri" userId="8b130982-2e3f-4164-b881-fd3a2e4b2453" providerId="ADAL" clId="{4457FA57-250B-44AC-8655-05D46C5A3D8A}" dt="2023-06-06T10:26:38.628" v="9661" actId="478"/>
          <ac:spMkLst>
            <pc:docMk/>
            <pc:sldMk cId="4904049" sldId="230717632"/>
            <ac:spMk id="98" creationId="{9EB1F50C-2B7E-4ABE-8276-6B61A8FE13FB}"/>
          </ac:spMkLst>
        </pc:spChg>
        <pc:spChg chg="add del mod">
          <ac:chgData name="Manal El Bakkouri" userId="8b130982-2e3f-4164-b881-fd3a2e4b2453" providerId="ADAL" clId="{4457FA57-250B-44AC-8655-05D46C5A3D8A}" dt="2023-06-06T10:26:38.628" v="9661" actId="478"/>
          <ac:spMkLst>
            <pc:docMk/>
            <pc:sldMk cId="4904049" sldId="230717632"/>
            <ac:spMk id="99" creationId="{9198E912-3FEB-42D8-B188-969A9560BD8D}"/>
          </ac:spMkLst>
        </pc:spChg>
        <pc:spChg chg="add del mod">
          <ac:chgData name="Manal El Bakkouri" userId="8b130982-2e3f-4164-b881-fd3a2e4b2453" providerId="ADAL" clId="{4457FA57-250B-44AC-8655-05D46C5A3D8A}" dt="2023-06-06T10:26:38.628" v="9661" actId="478"/>
          <ac:spMkLst>
            <pc:docMk/>
            <pc:sldMk cId="4904049" sldId="230717632"/>
            <ac:spMk id="100" creationId="{FF1816AD-B285-49B7-BC33-E5DAF9C38205}"/>
          </ac:spMkLst>
        </pc:spChg>
        <pc:spChg chg="add del mod">
          <ac:chgData name="Manal El Bakkouri" userId="8b130982-2e3f-4164-b881-fd3a2e4b2453" providerId="ADAL" clId="{4457FA57-250B-44AC-8655-05D46C5A3D8A}" dt="2023-06-06T10:26:38.628" v="9661" actId="478"/>
          <ac:spMkLst>
            <pc:docMk/>
            <pc:sldMk cId="4904049" sldId="230717632"/>
            <ac:spMk id="101" creationId="{050B4D0D-926C-4A29-956F-16E5C7774459}"/>
          </ac:spMkLst>
        </pc:spChg>
        <pc:spChg chg="add del mod">
          <ac:chgData name="Manal El Bakkouri" userId="8b130982-2e3f-4164-b881-fd3a2e4b2453" providerId="ADAL" clId="{4457FA57-250B-44AC-8655-05D46C5A3D8A}" dt="2023-06-06T10:26:38.628" v="9661" actId="478"/>
          <ac:spMkLst>
            <pc:docMk/>
            <pc:sldMk cId="4904049" sldId="230717632"/>
            <ac:spMk id="102" creationId="{B4EEF82C-7151-4446-A16B-FEEEB08BEB9F}"/>
          </ac:spMkLst>
        </pc:spChg>
        <pc:spChg chg="del mod topLvl">
          <ac:chgData name="Manal El Bakkouri" userId="8b130982-2e3f-4164-b881-fd3a2e4b2453" providerId="ADAL" clId="{4457FA57-250B-44AC-8655-05D46C5A3D8A}" dt="2023-06-07T09:46:03.256" v="17487" actId="478"/>
          <ac:spMkLst>
            <pc:docMk/>
            <pc:sldMk cId="4904049" sldId="230717632"/>
            <ac:spMk id="104" creationId="{BDE95DEB-263D-44F1-9004-4D38A501CE16}"/>
          </ac:spMkLst>
        </pc:spChg>
        <pc:spChg chg="mod topLvl">
          <ac:chgData name="Manal El Bakkouri" userId="8b130982-2e3f-4164-b881-fd3a2e4b2453" providerId="ADAL" clId="{4457FA57-250B-44AC-8655-05D46C5A3D8A}" dt="2023-06-07T09:48:39.153" v="17513" actId="14100"/>
          <ac:spMkLst>
            <pc:docMk/>
            <pc:sldMk cId="4904049" sldId="230717632"/>
            <ac:spMk id="105" creationId="{F4133E08-BF12-4C38-AE71-3B35EB7C5A46}"/>
          </ac:spMkLst>
        </pc:spChg>
        <pc:spChg chg="mod topLvl">
          <ac:chgData name="Manal El Bakkouri" userId="8b130982-2e3f-4164-b881-fd3a2e4b2453" providerId="ADAL" clId="{4457FA57-250B-44AC-8655-05D46C5A3D8A}" dt="2023-06-07T09:48:39.153" v="17513" actId="14100"/>
          <ac:spMkLst>
            <pc:docMk/>
            <pc:sldMk cId="4904049" sldId="230717632"/>
            <ac:spMk id="106" creationId="{B4C099F9-2BB6-4E50-8593-6E0583F49D7B}"/>
          </ac:spMkLst>
        </pc:spChg>
        <pc:spChg chg="mod topLvl">
          <ac:chgData name="Manal El Bakkouri" userId="8b130982-2e3f-4164-b881-fd3a2e4b2453" providerId="ADAL" clId="{4457FA57-250B-44AC-8655-05D46C5A3D8A}" dt="2023-06-07T09:48:39.153" v="17513" actId="14100"/>
          <ac:spMkLst>
            <pc:docMk/>
            <pc:sldMk cId="4904049" sldId="230717632"/>
            <ac:spMk id="107" creationId="{0057AA52-DB03-46D5-8819-85211A9E9F07}"/>
          </ac:spMkLst>
        </pc:spChg>
        <pc:spChg chg="mod topLvl">
          <ac:chgData name="Manal El Bakkouri" userId="8b130982-2e3f-4164-b881-fd3a2e4b2453" providerId="ADAL" clId="{4457FA57-250B-44AC-8655-05D46C5A3D8A}" dt="2023-06-07T09:48:39.153" v="17513" actId="14100"/>
          <ac:spMkLst>
            <pc:docMk/>
            <pc:sldMk cId="4904049" sldId="230717632"/>
            <ac:spMk id="108" creationId="{774FF4F2-1048-4C78-8447-B274AEF3BB5A}"/>
          </ac:spMkLst>
        </pc:spChg>
        <pc:spChg chg="del mod topLvl">
          <ac:chgData name="Manal El Bakkouri" userId="8b130982-2e3f-4164-b881-fd3a2e4b2453" providerId="ADAL" clId="{4457FA57-250B-44AC-8655-05D46C5A3D8A}" dt="2023-06-07T09:46:00.606" v="17485" actId="478"/>
          <ac:spMkLst>
            <pc:docMk/>
            <pc:sldMk cId="4904049" sldId="230717632"/>
            <ac:spMk id="109" creationId="{1A31811B-B094-41D2-8D6E-4C98EB16DD75}"/>
          </ac:spMkLst>
        </pc:spChg>
        <pc:spChg chg="mod topLvl">
          <ac:chgData name="Manal El Bakkouri" userId="8b130982-2e3f-4164-b881-fd3a2e4b2453" providerId="ADAL" clId="{4457FA57-250B-44AC-8655-05D46C5A3D8A}" dt="2023-06-07T09:48:39.153" v="17513" actId="14100"/>
          <ac:spMkLst>
            <pc:docMk/>
            <pc:sldMk cId="4904049" sldId="230717632"/>
            <ac:spMk id="110" creationId="{8616C81F-1544-4B2F-9BE4-F48D24220EB9}"/>
          </ac:spMkLst>
        </pc:spChg>
        <pc:spChg chg="mod topLvl">
          <ac:chgData name="Manal El Bakkouri" userId="8b130982-2e3f-4164-b881-fd3a2e4b2453" providerId="ADAL" clId="{4457FA57-250B-44AC-8655-05D46C5A3D8A}" dt="2023-06-07T09:48:39.153" v="17513" actId="14100"/>
          <ac:spMkLst>
            <pc:docMk/>
            <pc:sldMk cId="4904049" sldId="230717632"/>
            <ac:spMk id="111" creationId="{C9DFB3B9-D037-4E50-84B9-BD508FBAB139}"/>
          </ac:spMkLst>
        </pc:spChg>
        <pc:spChg chg="mod topLvl">
          <ac:chgData name="Manal El Bakkouri" userId="8b130982-2e3f-4164-b881-fd3a2e4b2453" providerId="ADAL" clId="{4457FA57-250B-44AC-8655-05D46C5A3D8A}" dt="2023-06-07T09:48:39.153" v="17513" actId="14100"/>
          <ac:spMkLst>
            <pc:docMk/>
            <pc:sldMk cId="4904049" sldId="230717632"/>
            <ac:spMk id="112" creationId="{D0CE61C9-C234-4EB8-B87F-7146585B6ADD}"/>
          </ac:spMkLst>
        </pc:spChg>
        <pc:spChg chg="mod topLvl">
          <ac:chgData name="Manal El Bakkouri" userId="8b130982-2e3f-4164-b881-fd3a2e4b2453" providerId="ADAL" clId="{4457FA57-250B-44AC-8655-05D46C5A3D8A}" dt="2023-06-07T09:54:03.139" v="17552" actId="164"/>
          <ac:spMkLst>
            <pc:docMk/>
            <pc:sldMk cId="4904049" sldId="230717632"/>
            <ac:spMk id="113" creationId="{48574A36-7230-464F-98C1-792378381EA1}"/>
          </ac:spMkLst>
        </pc:spChg>
        <pc:spChg chg="mod topLvl">
          <ac:chgData name="Manal El Bakkouri" userId="8b130982-2e3f-4164-b881-fd3a2e4b2453" providerId="ADAL" clId="{4457FA57-250B-44AC-8655-05D46C5A3D8A}" dt="2023-06-07T09:54:03.139" v="17552" actId="164"/>
          <ac:spMkLst>
            <pc:docMk/>
            <pc:sldMk cId="4904049" sldId="230717632"/>
            <ac:spMk id="114" creationId="{1B35D695-CBE7-4364-82F3-B36E23CEA6F0}"/>
          </ac:spMkLst>
        </pc:spChg>
        <pc:spChg chg="mod topLvl">
          <ac:chgData name="Manal El Bakkouri" userId="8b130982-2e3f-4164-b881-fd3a2e4b2453" providerId="ADAL" clId="{4457FA57-250B-44AC-8655-05D46C5A3D8A}" dt="2023-06-07T09:54:03.139" v="17552" actId="164"/>
          <ac:spMkLst>
            <pc:docMk/>
            <pc:sldMk cId="4904049" sldId="230717632"/>
            <ac:spMk id="115" creationId="{36E63446-5EA8-4296-8166-CE9FD2E682F0}"/>
          </ac:spMkLst>
        </pc:spChg>
        <pc:spChg chg="mod topLvl">
          <ac:chgData name="Manal El Bakkouri" userId="8b130982-2e3f-4164-b881-fd3a2e4b2453" providerId="ADAL" clId="{4457FA57-250B-44AC-8655-05D46C5A3D8A}" dt="2023-06-07T09:54:03.139" v="17552" actId="164"/>
          <ac:spMkLst>
            <pc:docMk/>
            <pc:sldMk cId="4904049" sldId="230717632"/>
            <ac:spMk id="116" creationId="{84CBA130-83A2-4F0D-8BF2-5FD99DC650B6}"/>
          </ac:spMkLst>
        </pc:spChg>
        <pc:spChg chg="mod topLvl">
          <ac:chgData name="Manal El Bakkouri" userId="8b130982-2e3f-4164-b881-fd3a2e4b2453" providerId="ADAL" clId="{4457FA57-250B-44AC-8655-05D46C5A3D8A}" dt="2023-06-07T09:54:03.139" v="17552" actId="164"/>
          <ac:spMkLst>
            <pc:docMk/>
            <pc:sldMk cId="4904049" sldId="230717632"/>
            <ac:spMk id="117" creationId="{C1910484-FC3E-4E7B-BCED-0AA7E999979E}"/>
          </ac:spMkLst>
        </pc:spChg>
        <pc:spChg chg="del mod topLvl">
          <ac:chgData name="Manal El Bakkouri" userId="8b130982-2e3f-4164-b881-fd3a2e4b2453" providerId="ADAL" clId="{4457FA57-250B-44AC-8655-05D46C5A3D8A}" dt="2023-06-07T09:46:02.059" v="17486" actId="478"/>
          <ac:spMkLst>
            <pc:docMk/>
            <pc:sldMk cId="4904049" sldId="230717632"/>
            <ac:spMk id="118" creationId="{5B078A7B-91BB-4FEB-9475-B51E0D470D9A}"/>
          </ac:spMkLst>
        </pc:spChg>
        <pc:spChg chg="mod topLvl">
          <ac:chgData name="Manal El Bakkouri" userId="8b130982-2e3f-4164-b881-fd3a2e4b2453" providerId="ADAL" clId="{4457FA57-250B-44AC-8655-05D46C5A3D8A}" dt="2023-06-07T09:48:39.153" v="17513" actId="14100"/>
          <ac:spMkLst>
            <pc:docMk/>
            <pc:sldMk cId="4904049" sldId="230717632"/>
            <ac:spMk id="119" creationId="{1092CFA4-4377-4475-969D-6F99A8F3C72E}"/>
          </ac:spMkLst>
        </pc:spChg>
        <pc:spChg chg="mod topLvl">
          <ac:chgData name="Manal El Bakkouri" userId="8b130982-2e3f-4164-b881-fd3a2e4b2453" providerId="ADAL" clId="{4457FA57-250B-44AC-8655-05D46C5A3D8A}" dt="2023-06-07T09:48:39.153" v="17513" actId="14100"/>
          <ac:spMkLst>
            <pc:docMk/>
            <pc:sldMk cId="4904049" sldId="230717632"/>
            <ac:spMk id="120" creationId="{698717D8-B661-40B0-BFF9-9F945F2BD06F}"/>
          </ac:spMkLst>
        </pc:spChg>
        <pc:spChg chg="mod topLvl">
          <ac:chgData name="Manal El Bakkouri" userId="8b130982-2e3f-4164-b881-fd3a2e4b2453" providerId="ADAL" clId="{4457FA57-250B-44AC-8655-05D46C5A3D8A}" dt="2023-06-07T09:48:39.153" v="17513" actId="14100"/>
          <ac:spMkLst>
            <pc:docMk/>
            <pc:sldMk cId="4904049" sldId="230717632"/>
            <ac:spMk id="121" creationId="{672FC54A-4E07-42AF-897B-397F25E3D9DB}"/>
          </ac:spMkLst>
        </pc:spChg>
        <pc:spChg chg="mod topLvl">
          <ac:chgData name="Manal El Bakkouri" userId="8b130982-2e3f-4164-b881-fd3a2e4b2453" providerId="ADAL" clId="{4457FA57-250B-44AC-8655-05D46C5A3D8A}" dt="2023-06-07T09:48:39.153" v="17513" actId="14100"/>
          <ac:spMkLst>
            <pc:docMk/>
            <pc:sldMk cId="4904049" sldId="230717632"/>
            <ac:spMk id="122" creationId="{596F4EDC-14E1-460D-AADB-30696C9264F9}"/>
          </ac:spMkLst>
        </pc:spChg>
        <pc:spChg chg="mod topLvl">
          <ac:chgData name="Manal El Bakkouri" userId="8b130982-2e3f-4164-b881-fd3a2e4b2453" providerId="ADAL" clId="{4457FA57-250B-44AC-8655-05D46C5A3D8A}" dt="2023-05-31T17:00:20.353" v="593" actId="164"/>
          <ac:spMkLst>
            <pc:docMk/>
            <pc:sldMk cId="4904049" sldId="230717632"/>
            <ac:spMk id="123" creationId="{E05C6C89-DDD9-4A48-BA1D-AAAC39508405}"/>
          </ac:spMkLst>
        </pc:spChg>
        <pc:spChg chg="mod topLvl">
          <ac:chgData name="Manal El Bakkouri" userId="8b130982-2e3f-4164-b881-fd3a2e4b2453" providerId="ADAL" clId="{4457FA57-250B-44AC-8655-05D46C5A3D8A}" dt="2023-06-07T09:53:15.819" v="17551" actId="164"/>
          <ac:spMkLst>
            <pc:docMk/>
            <pc:sldMk cId="4904049" sldId="230717632"/>
            <ac:spMk id="124" creationId="{C6EFDAC2-1D54-4ED7-B86C-095FE89D633F}"/>
          </ac:spMkLst>
        </pc:spChg>
        <pc:spChg chg="mod topLvl">
          <ac:chgData name="Manal El Bakkouri" userId="8b130982-2e3f-4164-b881-fd3a2e4b2453" providerId="ADAL" clId="{4457FA57-250B-44AC-8655-05D46C5A3D8A}" dt="2023-06-07T09:53:11.195" v="17550" actId="164"/>
          <ac:spMkLst>
            <pc:docMk/>
            <pc:sldMk cId="4904049" sldId="230717632"/>
            <ac:spMk id="125" creationId="{1C8E9419-9C05-4E42-91EC-C8CA2B053CD8}"/>
          </ac:spMkLst>
        </pc:spChg>
        <pc:spChg chg="mod topLvl">
          <ac:chgData name="Manal El Bakkouri" userId="8b130982-2e3f-4164-b881-fd3a2e4b2453" providerId="ADAL" clId="{4457FA57-250B-44AC-8655-05D46C5A3D8A}" dt="2023-06-07T09:53:05.971" v="17549" actId="164"/>
          <ac:spMkLst>
            <pc:docMk/>
            <pc:sldMk cId="4904049" sldId="230717632"/>
            <ac:spMk id="126" creationId="{9B58E1F1-4B4D-4B29-A39E-65D8935C2EAE}"/>
          </ac:spMkLst>
        </pc:spChg>
        <pc:spChg chg="mod topLvl">
          <ac:chgData name="Manal El Bakkouri" userId="8b130982-2e3f-4164-b881-fd3a2e4b2453" providerId="ADAL" clId="{4457FA57-250B-44AC-8655-05D46C5A3D8A}" dt="2023-06-07T09:53:00.981" v="17548" actId="164"/>
          <ac:spMkLst>
            <pc:docMk/>
            <pc:sldMk cId="4904049" sldId="230717632"/>
            <ac:spMk id="127" creationId="{770717CF-D233-4474-8632-9420F9639673}"/>
          </ac:spMkLst>
        </pc:spChg>
        <pc:spChg chg="mod topLvl">
          <ac:chgData name="Manal El Bakkouri" userId="8b130982-2e3f-4164-b881-fd3a2e4b2453" providerId="ADAL" clId="{4457FA57-250B-44AC-8655-05D46C5A3D8A}" dt="2023-05-31T17:00:20.353" v="593" actId="164"/>
          <ac:spMkLst>
            <pc:docMk/>
            <pc:sldMk cId="4904049" sldId="230717632"/>
            <ac:spMk id="128" creationId="{A1C0E9BF-9E47-42AB-87E5-993E61432564}"/>
          </ac:spMkLst>
        </pc:spChg>
        <pc:spChg chg="mod topLvl">
          <ac:chgData name="Manal El Bakkouri" userId="8b130982-2e3f-4164-b881-fd3a2e4b2453" providerId="ADAL" clId="{4457FA57-250B-44AC-8655-05D46C5A3D8A}" dt="2023-05-31T17:00:20.353" v="593" actId="164"/>
          <ac:spMkLst>
            <pc:docMk/>
            <pc:sldMk cId="4904049" sldId="230717632"/>
            <ac:spMk id="129" creationId="{E6DF0C7F-FFAC-4665-9F57-4483B98F23A8}"/>
          </ac:spMkLst>
        </pc:spChg>
        <pc:spChg chg="mod topLvl">
          <ac:chgData name="Manal El Bakkouri" userId="8b130982-2e3f-4164-b881-fd3a2e4b2453" providerId="ADAL" clId="{4457FA57-250B-44AC-8655-05D46C5A3D8A}" dt="2023-06-07T09:53:15.819" v="17551" actId="164"/>
          <ac:spMkLst>
            <pc:docMk/>
            <pc:sldMk cId="4904049" sldId="230717632"/>
            <ac:spMk id="130" creationId="{0B7CB9E5-59A7-46BD-BD18-3711860F33BE}"/>
          </ac:spMkLst>
        </pc:spChg>
        <pc:spChg chg="mod topLvl">
          <ac:chgData name="Manal El Bakkouri" userId="8b130982-2e3f-4164-b881-fd3a2e4b2453" providerId="ADAL" clId="{4457FA57-250B-44AC-8655-05D46C5A3D8A}" dt="2023-06-07T09:53:15.819" v="17551" actId="164"/>
          <ac:spMkLst>
            <pc:docMk/>
            <pc:sldMk cId="4904049" sldId="230717632"/>
            <ac:spMk id="131" creationId="{F341EE4D-B8E0-483B-8ADA-5BE56F5F808B}"/>
          </ac:spMkLst>
        </pc:spChg>
        <pc:spChg chg="mod topLvl">
          <ac:chgData name="Manal El Bakkouri" userId="8b130982-2e3f-4164-b881-fd3a2e4b2453" providerId="ADAL" clId="{4457FA57-250B-44AC-8655-05D46C5A3D8A}" dt="2023-06-07T09:53:11.195" v="17550" actId="164"/>
          <ac:spMkLst>
            <pc:docMk/>
            <pc:sldMk cId="4904049" sldId="230717632"/>
            <ac:spMk id="132" creationId="{5356E86F-423D-4B61-AAB3-F53BC64B45A1}"/>
          </ac:spMkLst>
        </pc:spChg>
        <pc:spChg chg="mod topLvl">
          <ac:chgData name="Manal El Bakkouri" userId="8b130982-2e3f-4164-b881-fd3a2e4b2453" providerId="ADAL" clId="{4457FA57-250B-44AC-8655-05D46C5A3D8A}" dt="2023-06-07T09:53:11.195" v="17550" actId="164"/>
          <ac:spMkLst>
            <pc:docMk/>
            <pc:sldMk cId="4904049" sldId="230717632"/>
            <ac:spMk id="133" creationId="{AB998591-870C-4835-96B7-742AEFF0384D}"/>
          </ac:spMkLst>
        </pc:spChg>
        <pc:spChg chg="mod topLvl">
          <ac:chgData name="Manal El Bakkouri" userId="8b130982-2e3f-4164-b881-fd3a2e4b2453" providerId="ADAL" clId="{4457FA57-250B-44AC-8655-05D46C5A3D8A}" dt="2023-06-07T09:53:05.971" v="17549" actId="164"/>
          <ac:spMkLst>
            <pc:docMk/>
            <pc:sldMk cId="4904049" sldId="230717632"/>
            <ac:spMk id="134" creationId="{94D759F8-D9A4-456F-B72C-E2532018770F}"/>
          </ac:spMkLst>
        </pc:spChg>
        <pc:spChg chg="mod topLvl">
          <ac:chgData name="Manal El Bakkouri" userId="8b130982-2e3f-4164-b881-fd3a2e4b2453" providerId="ADAL" clId="{4457FA57-250B-44AC-8655-05D46C5A3D8A}" dt="2023-06-07T09:53:05.971" v="17549" actId="164"/>
          <ac:spMkLst>
            <pc:docMk/>
            <pc:sldMk cId="4904049" sldId="230717632"/>
            <ac:spMk id="135" creationId="{1A60FE1F-64DB-439B-91CA-BD3C887E9463}"/>
          </ac:spMkLst>
        </pc:spChg>
        <pc:spChg chg="mod topLvl">
          <ac:chgData name="Manal El Bakkouri" userId="8b130982-2e3f-4164-b881-fd3a2e4b2453" providerId="ADAL" clId="{4457FA57-250B-44AC-8655-05D46C5A3D8A}" dt="2023-06-07T09:53:00.981" v="17548" actId="164"/>
          <ac:spMkLst>
            <pc:docMk/>
            <pc:sldMk cId="4904049" sldId="230717632"/>
            <ac:spMk id="136" creationId="{E7FBE6AA-F62E-4E70-BD35-8A8D54932A4F}"/>
          </ac:spMkLst>
        </pc:spChg>
        <pc:spChg chg="mod topLvl">
          <ac:chgData name="Manal El Bakkouri" userId="8b130982-2e3f-4164-b881-fd3a2e4b2453" providerId="ADAL" clId="{4457FA57-250B-44AC-8655-05D46C5A3D8A}" dt="2023-06-07T09:53:00.981" v="17548" actId="164"/>
          <ac:spMkLst>
            <pc:docMk/>
            <pc:sldMk cId="4904049" sldId="230717632"/>
            <ac:spMk id="137" creationId="{16CCE0A8-AFB8-4B48-AF4D-812F7E3FA4AB}"/>
          </ac:spMkLst>
        </pc:spChg>
        <pc:spChg chg="mod topLvl">
          <ac:chgData name="Manal El Bakkouri" userId="8b130982-2e3f-4164-b881-fd3a2e4b2453" providerId="ADAL" clId="{4457FA57-250B-44AC-8655-05D46C5A3D8A}" dt="2023-06-07T09:54:03.139" v="17552" actId="164"/>
          <ac:spMkLst>
            <pc:docMk/>
            <pc:sldMk cId="4904049" sldId="230717632"/>
            <ac:spMk id="138" creationId="{49C521C4-7021-4507-9F28-212C63C2E683}"/>
          </ac:spMkLst>
        </pc:spChg>
        <pc:spChg chg="mod topLvl">
          <ac:chgData name="Manal El Bakkouri" userId="8b130982-2e3f-4164-b881-fd3a2e4b2453" providerId="ADAL" clId="{4457FA57-250B-44AC-8655-05D46C5A3D8A}" dt="2023-06-07T09:54:03.139" v="17552" actId="164"/>
          <ac:spMkLst>
            <pc:docMk/>
            <pc:sldMk cId="4904049" sldId="230717632"/>
            <ac:spMk id="139" creationId="{BE7EDFD8-1BF5-4FC3-8FBB-2F5FE28B865B}"/>
          </ac:spMkLst>
        </pc:spChg>
        <pc:spChg chg="mod topLvl">
          <ac:chgData name="Manal El Bakkouri" userId="8b130982-2e3f-4164-b881-fd3a2e4b2453" providerId="ADAL" clId="{4457FA57-250B-44AC-8655-05D46C5A3D8A}" dt="2023-06-07T09:53:00.981" v="17548" actId="164"/>
          <ac:spMkLst>
            <pc:docMk/>
            <pc:sldMk cId="4904049" sldId="230717632"/>
            <ac:spMk id="140" creationId="{33A46E08-17D9-4964-A556-3DF094D12F56}"/>
          </ac:spMkLst>
        </pc:spChg>
        <pc:spChg chg="mod topLvl">
          <ac:chgData name="Manal El Bakkouri" userId="8b130982-2e3f-4164-b881-fd3a2e4b2453" providerId="ADAL" clId="{4457FA57-250B-44AC-8655-05D46C5A3D8A}" dt="2023-06-07T09:53:05.971" v="17549" actId="164"/>
          <ac:spMkLst>
            <pc:docMk/>
            <pc:sldMk cId="4904049" sldId="230717632"/>
            <ac:spMk id="141" creationId="{7AEA8705-6D56-4C09-AEBD-F47AD9216469}"/>
          </ac:spMkLst>
        </pc:spChg>
        <pc:spChg chg="mod topLvl">
          <ac:chgData name="Manal El Bakkouri" userId="8b130982-2e3f-4164-b881-fd3a2e4b2453" providerId="ADAL" clId="{4457FA57-250B-44AC-8655-05D46C5A3D8A}" dt="2023-06-07T09:53:11.195" v="17550" actId="164"/>
          <ac:spMkLst>
            <pc:docMk/>
            <pc:sldMk cId="4904049" sldId="230717632"/>
            <ac:spMk id="142" creationId="{BBCF0632-E276-451B-819E-21A71FD5F42B}"/>
          </ac:spMkLst>
        </pc:spChg>
        <pc:spChg chg="mod topLvl">
          <ac:chgData name="Manal El Bakkouri" userId="8b130982-2e3f-4164-b881-fd3a2e4b2453" providerId="ADAL" clId="{4457FA57-250B-44AC-8655-05D46C5A3D8A}" dt="2023-06-07T09:53:15.819" v="17551" actId="164"/>
          <ac:spMkLst>
            <pc:docMk/>
            <pc:sldMk cId="4904049" sldId="230717632"/>
            <ac:spMk id="143" creationId="{CF1C28E0-82D1-4020-AFE6-DF70F9D3CB76}"/>
          </ac:spMkLst>
        </pc:spChg>
        <pc:spChg chg="mod topLvl">
          <ac:chgData name="Manal El Bakkouri" userId="8b130982-2e3f-4164-b881-fd3a2e4b2453" providerId="ADAL" clId="{4457FA57-250B-44AC-8655-05D46C5A3D8A}" dt="2023-05-31T17:00:20.353" v="593" actId="164"/>
          <ac:spMkLst>
            <pc:docMk/>
            <pc:sldMk cId="4904049" sldId="230717632"/>
            <ac:spMk id="144" creationId="{CD75613E-5A22-4516-B967-871290392329}"/>
          </ac:spMkLst>
        </pc:spChg>
        <pc:spChg chg="add mod">
          <ac:chgData name="Manal El Bakkouri" userId="8b130982-2e3f-4164-b881-fd3a2e4b2453" providerId="ADAL" clId="{4457FA57-250B-44AC-8655-05D46C5A3D8A}" dt="2023-06-07T09:49:46.318" v="17529" actId="1076"/>
          <ac:spMkLst>
            <pc:docMk/>
            <pc:sldMk cId="4904049" sldId="230717632"/>
            <ac:spMk id="145" creationId="{F136816D-9A84-4C2E-B542-53672B3A5155}"/>
          </ac:spMkLst>
        </pc:spChg>
        <pc:spChg chg="add del mod">
          <ac:chgData name="Manal El Bakkouri" userId="8b130982-2e3f-4164-b881-fd3a2e4b2453" providerId="ADAL" clId="{4457FA57-250B-44AC-8655-05D46C5A3D8A}" dt="2023-06-07T09:46:06.372" v="17489" actId="478"/>
          <ac:spMkLst>
            <pc:docMk/>
            <pc:sldMk cId="4904049" sldId="230717632"/>
            <ac:spMk id="146" creationId="{5259BC5C-F5CE-408F-A3CF-113FD4F73508}"/>
          </ac:spMkLst>
        </pc:spChg>
        <pc:spChg chg="add mod">
          <ac:chgData name="Manal El Bakkouri" userId="8b130982-2e3f-4164-b881-fd3a2e4b2453" providerId="ADAL" clId="{4457FA57-250B-44AC-8655-05D46C5A3D8A}" dt="2023-06-07T09:47:30.900" v="17502" actId="1076"/>
          <ac:spMkLst>
            <pc:docMk/>
            <pc:sldMk cId="4904049" sldId="230717632"/>
            <ac:spMk id="147" creationId="{1B4E88D6-37DC-4B59-AD77-8504DE77AEB9}"/>
          </ac:spMkLst>
        </pc:spChg>
        <pc:spChg chg="add mod">
          <ac:chgData name="Manal El Bakkouri" userId="8b130982-2e3f-4164-b881-fd3a2e4b2453" providerId="ADAL" clId="{4457FA57-250B-44AC-8655-05D46C5A3D8A}" dt="2023-06-07T09:49:40.735" v="17528" actId="1076"/>
          <ac:spMkLst>
            <pc:docMk/>
            <pc:sldMk cId="4904049" sldId="230717632"/>
            <ac:spMk id="148" creationId="{CEFD235B-8764-4EAE-8572-1527317AC2B4}"/>
          </ac:spMkLst>
        </pc:spChg>
        <pc:spChg chg="add mod">
          <ac:chgData name="Manal El Bakkouri" userId="8b130982-2e3f-4164-b881-fd3a2e4b2453" providerId="ADAL" clId="{4457FA57-250B-44AC-8655-05D46C5A3D8A}" dt="2023-06-07T09:49:20.759" v="17523" actId="1076"/>
          <ac:spMkLst>
            <pc:docMk/>
            <pc:sldMk cId="4904049" sldId="230717632"/>
            <ac:spMk id="149" creationId="{A7C51CED-F264-4F4A-87BE-21BCE075051D}"/>
          </ac:spMkLst>
        </pc:spChg>
        <pc:spChg chg="add mod topLvl">
          <ac:chgData name="Manal El Bakkouri" userId="8b130982-2e3f-4164-b881-fd3a2e4b2453" providerId="ADAL" clId="{4457FA57-250B-44AC-8655-05D46C5A3D8A}" dt="2023-06-07T09:54:03.139" v="17552" actId="164"/>
          <ac:spMkLst>
            <pc:docMk/>
            <pc:sldMk cId="4904049" sldId="230717632"/>
            <ac:spMk id="150" creationId="{E761D407-3A09-4160-9AB4-98FE9871AFE7}"/>
          </ac:spMkLst>
        </pc:spChg>
        <pc:grpChg chg="add mod">
          <ac:chgData name="Manal El Bakkouri" userId="8b130982-2e3f-4164-b881-fd3a2e4b2453" providerId="ADAL" clId="{4457FA57-250B-44AC-8655-05D46C5A3D8A}" dt="2023-06-07T09:47:21.849" v="17499" actId="164"/>
          <ac:grpSpMkLst>
            <pc:docMk/>
            <pc:sldMk cId="4904049" sldId="230717632"/>
            <ac:grpSpMk id="4" creationId="{1A66FADA-1013-4CF5-8BA2-361EE5E4702A}"/>
          </ac:grpSpMkLst>
        </pc:grpChg>
        <pc:grpChg chg="add mod">
          <ac:chgData name="Manal El Bakkouri" userId="8b130982-2e3f-4164-b881-fd3a2e4b2453" providerId="ADAL" clId="{4457FA57-250B-44AC-8655-05D46C5A3D8A}" dt="2023-06-07T09:54:03.139" v="17552" actId="164"/>
          <ac:grpSpMkLst>
            <pc:docMk/>
            <pc:sldMk cId="4904049" sldId="230717632"/>
            <ac:grpSpMk id="5" creationId="{87937DCF-D9EB-47FE-B86D-93F7E52AE6D1}"/>
          </ac:grpSpMkLst>
        </pc:grpChg>
        <pc:grpChg chg="add mod">
          <ac:chgData name="Manal El Bakkouri" userId="8b130982-2e3f-4164-b881-fd3a2e4b2453" providerId="ADAL" clId="{4457FA57-250B-44AC-8655-05D46C5A3D8A}" dt="2023-06-07T09:53:00.981" v="17548" actId="164"/>
          <ac:grpSpMkLst>
            <pc:docMk/>
            <pc:sldMk cId="4904049" sldId="230717632"/>
            <ac:grpSpMk id="6" creationId="{458D38F6-BE6E-4D56-A521-9E91581C746E}"/>
          </ac:grpSpMkLst>
        </pc:grpChg>
        <pc:grpChg chg="add mod">
          <ac:chgData name="Manal El Bakkouri" userId="8b130982-2e3f-4164-b881-fd3a2e4b2453" providerId="ADAL" clId="{4457FA57-250B-44AC-8655-05D46C5A3D8A}" dt="2023-06-07T09:53:05.971" v="17549" actId="164"/>
          <ac:grpSpMkLst>
            <pc:docMk/>
            <pc:sldMk cId="4904049" sldId="230717632"/>
            <ac:grpSpMk id="7" creationId="{FEEF3E81-AFA9-4E2B-B0CD-1775B5F377BE}"/>
          </ac:grpSpMkLst>
        </pc:grpChg>
        <pc:grpChg chg="add mod">
          <ac:chgData name="Manal El Bakkouri" userId="8b130982-2e3f-4164-b881-fd3a2e4b2453" providerId="ADAL" clId="{4457FA57-250B-44AC-8655-05D46C5A3D8A}" dt="2023-06-07T09:53:11.195" v="17550" actId="164"/>
          <ac:grpSpMkLst>
            <pc:docMk/>
            <pc:sldMk cId="4904049" sldId="230717632"/>
            <ac:grpSpMk id="8" creationId="{1D747FAF-8827-40DA-A1AB-3C97063242D4}"/>
          </ac:grpSpMkLst>
        </pc:grpChg>
        <pc:grpChg chg="add mod">
          <ac:chgData name="Manal El Bakkouri" userId="8b130982-2e3f-4164-b881-fd3a2e4b2453" providerId="ADAL" clId="{4457FA57-250B-44AC-8655-05D46C5A3D8A}" dt="2023-06-07T09:53:15.819" v="17551" actId="164"/>
          <ac:grpSpMkLst>
            <pc:docMk/>
            <pc:sldMk cId="4904049" sldId="230717632"/>
            <ac:grpSpMk id="9" creationId="{3BFA350F-2C56-4790-A8DE-5F4C37875E8D}"/>
          </ac:grpSpMkLst>
        </pc:grpChg>
        <pc:grpChg chg="add mod">
          <ac:chgData name="Manal El Bakkouri" userId="8b130982-2e3f-4164-b881-fd3a2e4b2453" providerId="ADAL" clId="{4457FA57-250B-44AC-8655-05D46C5A3D8A}" dt="2023-06-07T09:54:03.139" v="17552" actId="164"/>
          <ac:grpSpMkLst>
            <pc:docMk/>
            <pc:sldMk cId="4904049" sldId="230717632"/>
            <ac:grpSpMk id="10" creationId="{6C24A08B-F16F-4C21-BC00-D1F8E7AEC50A}"/>
          </ac:grpSpMkLst>
        </pc:grpChg>
        <pc:grpChg chg="add del mod">
          <ac:chgData name="Manal El Bakkouri" userId="8b130982-2e3f-4164-b881-fd3a2e4b2453" providerId="ADAL" clId="{4457FA57-250B-44AC-8655-05D46C5A3D8A}" dt="2023-06-07T09:49:54.330" v="17532" actId="165"/>
          <ac:grpSpMkLst>
            <pc:docMk/>
            <pc:sldMk cId="4904049" sldId="230717632"/>
            <ac:grpSpMk id="18" creationId="{687C9FC2-5F24-43BB-BEC8-51856073C276}"/>
          </ac:grpSpMkLst>
        </pc:grpChg>
        <pc:grpChg chg="add del mod">
          <ac:chgData name="Manal El Bakkouri" userId="8b130982-2e3f-4164-b881-fd3a2e4b2453" providerId="ADAL" clId="{4457FA57-250B-44AC-8655-05D46C5A3D8A}" dt="2023-06-07T09:50:20.122" v="17540" actId="165"/>
          <ac:grpSpMkLst>
            <pc:docMk/>
            <pc:sldMk cId="4904049" sldId="230717632"/>
            <ac:grpSpMk id="19" creationId="{E25A70D1-8E5B-48F0-93DB-CBFA082DB4FE}"/>
          </ac:grpSpMkLst>
        </pc:grpChg>
        <pc:grpChg chg="add del mod">
          <ac:chgData name="Manal El Bakkouri" userId="8b130982-2e3f-4164-b881-fd3a2e4b2453" providerId="ADAL" clId="{4457FA57-250B-44AC-8655-05D46C5A3D8A}" dt="2023-06-07T09:50:29.867" v="17542" actId="165"/>
          <ac:grpSpMkLst>
            <pc:docMk/>
            <pc:sldMk cId="4904049" sldId="230717632"/>
            <ac:grpSpMk id="21" creationId="{11BD05CF-B7C5-428B-83A3-354D7BBE8641}"/>
          </ac:grpSpMkLst>
        </pc:grpChg>
        <pc:grpChg chg="add del mod">
          <ac:chgData name="Manal El Bakkouri" userId="8b130982-2e3f-4164-b881-fd3a2e4b2453" providerId="ADAL" clId="{4457FA57-250B-44AC-8655-05D46C5A3D8A}" dt="2023-06-07T09:48:54.802" v="17517" actId="165"/>
          <ac:grpSpMkLst>
            <pc:docMk/>
            <pc:sldMk cId="4904049" sldId="230717632"/>
            <ac:grpSpMk id="23" creationId="{49712D0C-E93C-4015-A398-E7041F5E9B0C}"/>
          </ac:grpSpMkLst>
        </pc:grpChg>
        <pc:grpChg chg="add del mod">
          <ac:chgData name="Manal El Bakkouri" userId="8b130982-2e3f-4164-b881-fd3a2e4b2453" providerId="ADAL" clId="{4457FA57-250B-44AC-8655-05D46C5A3D8A}" dt="2023-06-07T09:46:04.035" v="17488" actId="478"/>
          <ac:grpSpMkLst>
            <pc:docMk/>
            <pc:sldMk cId="4904049" sldId="230717632"/>
            <ac:grpSpMk id="25" creationId="{49AFF0DA-CE7D-4419-BA01-7DB5D7B029BC}"/>
          </ac:grpSpMkLst>
        </pc:grpChg>
        <pc:grpChg chg="add del mod">
          <ac:chgData name="Manal El Bakkouri" userId="8b130982-2e3f-4164-b881-fd3a2e4b2453" providerId="ADAL" clId="{4457FA57-250B-44AC-8655-05D46C5A3D8A}" dt="2023-06-07T09:47:35.521" v="17504" actId="165"/>
          <ac:grpSpMkLst>
            <pc:docMk/>
            <pc:sldMk cId="4904049" sldId="230717632"/>
            <ac:grpSpMk id="27" creationId="{6E758563-164D-45D9-BC38-8A543A9B0E84}"/>
          </ac:grpSpMkLst>
        </pc:grpChg>
        <pc:grpChg chg="add del mod">
          <ac:chgData name="Manal El Bakkouri" userId="8b130982-2e3f-4164-b881-fd3a2e4b2453" providerId="ADAL" clId="{4457FA57-250B-44AC-8655-05D46C5A3D8A}" dt="2023-05-31T16:47:06.101" v="493" actId="478"/>
          <ac:grpSpMkLst>
            <pc:docMk/>
            <pc:sldMk cId="4904049" sldId="230717632"/>
            <ac:grpSpMk id="50" creationId="{222CB07E-B6DA-400D-A4FB-213459A44173}"/>
          </ac:grpSpMkLst>
        </pc:grpChg>
        <pc:grpChg chg="add del mod">
          <ac:chgData name="Manal El Bakkouri" userId="8b130982-2e3f-4164-b881-fd3a2e4b2453" providerId="ADAL" clId="{4457FA57-250B-44AC-8655-05D46C5A3D8A}" dt="2023-05-31T16:58:34.331" v="588" actId="165"/>
          <ac:grpSpMkLst>
            <pc:docMk/>
            <pc:sldMk cId="4904049" sldId="230717632"/>
            <ac:grpSpMk id="103" creationId="{1DF1AF58-0A52-4BA1-B361-F4E27E673D25}"/>
          </ac:grpSpMkLst>
        </pc:grpChg>
        <pc:cxnChg chg="add del mod">
          <ac:chgData name="Manal El Bakkouri" userId="8b130982-2e3f-4164-b881-fd3a2e4b2453" providerId="ADAL" clId="{4457FA57-250B-44AC-8655-05D46C5A3D8A}" dt="2023-06-04T12:13:23.794" v="7172" actId="478"/>
          <ac:cxnSpMkLst>
            <pc:docMk/>
            <pc:sldMk cId="4904049" sldId="230717632"/>
            <ac:cxnSpMk id="78" creationId="{BBA0D70B-EC58-41DD-B5D9-3CB500589ABB}"/>
          </ac:cxnSpMkLst>
        </pc:cxnChg>
        <pc:cxnChg chg="add mod">
          <ac:chgData name="Manal El Bakkouri" userId="8b130982-2e3f-4164-b881-fd3a2e4b2453" providerId="ADAL" clId="{4457FA57-250B-44AC-8655-05D46C5A3D8A}" dt="2023-06-04T12:13:30.661" v="7174" actId="14100"/>
          <ac:cxnSpMkLst>
            <pc:docMk/>
            <pc:sldMk cId="4904049" sldId="230717632"/>
            <ac:cxnSpMk id="80" creationId="{55D43D7C-6258-45F0-8078-2541D105E3FD}"/>
          </ac:cxnSpMkLst>
        </pc:cxnChg>
        <pc:cxnChg chg="del mod">
          <ac:chgData name="Manal El Bakkouri" userId="8b130982-2e3f-4164-b881-fd3a2e4b2453" providerId="ADAL" clId="{4457FA57-250B-44AC-8655-05D46C5A3D8A}" dt="2023-06-04T12:13:12.120" v="7169" actId="478"/>
          <ac:cxnSpMkLst>
            <pc:docMk/>
            <pc:sldMk cId="4904049" sldId="230717632"/>
            <ac:cxnSpMk id="95" creationId="{202863FA-9E99-4ED2-BA2D-06DB0828C592}"/>
          </ac:cxnSpMkLst>
        </pc:cxnChg>
      </pc:sldChg>
      <pc:sldChg chg="addSp delSp modSp mod delAnim modAnim modNotesTx">
        <pc:chgData name="Manal El Bakkouri" userId="8b130982-2e3f-4164-b881-fd3a2e4b2453" providerId="ADAL" clId="{4457FA57-250B-44AC-8655-05D46C5A3D8A}" dt="2023-06-09T11:25:20.540" v="21692"/>
        <pc:sldMkLst>
          <pc:docMk/>
          <pc:sldMk cId="3657640766" sldId="230717635"/>
        </pc:sldMkLst>
        <pc:spChg chg="del">
          <ac:chgData name="Manal El Bakkouri" userId="8b130982-2e3f-4164-b881-fd3a2e4b2453" providerId="ADAL" clId="{4457FA57-250B-44AC-8655-05D46C5A3D8A}" dt="2023-05-31T17:09:00.225" v="661" actId="478"/>
          <ac:spMkLst>
            <pc:docMk/>
            <pc:sldMk cId="3657640766" sldId="230717635"/>
            <ac:spMk id="5" creationId="{FB6137BA-8F16-4876-B5CA-4272642D7209}"/>
          </ac:spMkLst>
        </pc:spChg>
        <pc:spChg chg="del">
          <ac:chgData name="Manal El Bakkouri" userId="8b130982-2e3f-4164-b881-fd3a2e4b2453" providerId="ADAL" clId="{4457FA57-250B-44AC-8655-05D46C5A3D8A}" dt="2023-05-31T17:09:00.225" v="661" actId="478"/>
          <ac:spMkLst>
            <pc:docMk/>
            <pc:sldMk cId="3657640766" sldId="230717635"/>
            <ac:spMk id="6" creationId="{D3B2706A-D047-403A-BE7A-E6E2C96DCC98}"/>
          </ac:spMkLst>
        </pc:spChg>
        <pc:spChg chg="del">
          <ac:chgData name="Manal El Bakkouri" userId="8b130982-2e3f-4164-b881-fd3a2e4b2453" providerId="ADAL" clId="{4457FA57-250B-44AC-8655-05D46C5A3D8A}" dt="2023-05-31T17:09:00.225" v="661" actId="478"/>
          <ac:spMkLst>
            <pc:docMk/>
            <pc:sldMk cId="3657640766" sldId="230717635"/>
            <ac:spMk id="7" creationId="{FECBF124-CA5B-4215-919E-479E7D20CC62}"/>
          </ac:spMkLst>
        </pc:spChg>
        <pc:spChg chg="del">
          <ac:chgData name="Manal El Bakkouri" userId="8b130982-2e3f-4164-b881-fd3a2e4b2453" providerId="ADAL" clId="{4457FA57-250B-44AC-8655-05D46C5A3D8A}" dt="2023-05-31T17:09:00.225" v="661" actId="478"/>
          <ac:spMkLst>
            <pc:docMk/>
            <pc:sldMk cId="3657640766" sldId="230717635"/>
            <ac:spMk id="8" creationId="{35B41E9C-6D2D-40A1-9F6D-589268412AD3}"/>
          </ac:spMkLst>
        </pc:spChg>
        <pc:spChg chg="del">
          <ac:chgData name="Manal El Bakkouri" userId="8b130982-2e3f-4164-b881-fd3a2e4b2453" providerId="ADAL" clId="{4457FA57-250B-44AC-8655-05D46C5A3D8A}" dt="2023-05-31T17:09:00.225" v="661" actId="478"/>
          <ac:spMkLst>
            <pc:docMk/>
            <pc:sldMk cId="3657640766" sldId="230717635"/>
            <ac:spMk id="9" creationId="{78E6AE88-A03C-4F73-A7CF-D284D4809CEC}"/>
          </ac:spMkLst>
        </pc:spChg>
        <pc:spChg chg="del">
          <ac:chgData name="Manal El Bakkouri" userId="8b130982-2e3f-4164-b881-fd3a2e4b2453" providerId="ADAL" clId="{4457FA57-250B-44AC-8655-05D46C5A3D8A}" dt="2023-05-31T17:09:00.225" v="661" actId="478"/>
          <ac:spMkLst>
            <pc:docMk/>
            <pc:sldMk cId="3657640766" sldId="230717635"/>
            <ac:spMk id="10" creationId="{14A281EB-026E-4FE0-85CB-5B7EE1348335}"/>
          </ac:spMkLst>
        </pc:spChg>
        <pc:spChg chg="del">
          <ac:chgData name="Manal El Bakkouri" userId="8b130982-2e3f-4164-b881-fd3a2e4b2453" providerId="ADAL" clId="{4457FA57-250B-44AC-8655-05D46C5A3D8A}" dt="2023-05-31T17:09:00.225" v="661" actId="478"/>
          <ac:spMkLst>
            <pc:docMk/>
            <pc:sldMk cId="3657640766" sldId="230717635"/>
            <ac:spMk id="11" creationId="{7333E056-F87D-4FA0-8E4B-0E69ABC8192F}"/>
          </ac:spMkLst>
        </pc:spChg>
        <pc:spChg chg="del">
          <ac:chgData name="Manal El Bakkouri" userId="8b130982-2e3f-4164-b881-fd3a2e4b2453" providerId="ADAL" clId="{4457FA57-250B-44AC-8655-05D46C5A3D8A}" dt="2023-05-31T17:09:00.225" v="661" actId="478"/>
          <ac:spMkLst>
            <pc:docMk/>
            <pc:sldMk cId="3657640766" sldId="230717635"/>
            <ac:spMk id="12" creationId="{B9D4D486-9697-472E-99D4-7D31210FAF94}"/>
          </ac:spMkLst>
        </pc:spChg>
        <pc:spChg chg="del">
          <ac:chgData name="Manal El Bakkouri" userId="8b130982-2e3f-4164-b881-fd3a2e4b2453" providerId="ADAL" clId="{4457FA57-250B-44AC-8655-05D46C5A3D8A}" dt="2023-05-31T17:09:00.225" v="661" actId="478"/>
          <ac:spMkLst>
            <pc:docMk/>
            <pc:sldMk cId="3657640766" sldId="230717635"/>
            <ac:spMk id="13" creationId="{935B5F5B-0E0A-4340-A42A-434636E8672C}"/>
          </ac:spMkLst>
        </pc:spChg>
        <pc:spChg chg="del">
          <ac:chgData name="Manal El Bakkouri" userId="8b130982-2e3f-4164-b881-fd3a2e4b2453" providerId="ADAL" clId="{4457FA57-250B-44AC-8655-05D46C5A3D8A}" dt="2023-05-31T17:09:00.225" v="661" actId="478"/>
          <ac:spMkLst>
            <pc:docMk/>
            <pc:sldMk cId="3657640766" sldId="230717635"/>
            <ac:spMk id="14" creationId="{C34D3E6E-AB9E-4354-9C16-266F2DB6115C}"/>
          </ac:spMkLst>
        </pc:spChg>
        <pc:spChg chg="mod">
          <ac:chgData name="Manal El Bakkouri" userId="8b130982-2e3f-4164-b881-fd3a2e4b2453" providerId="ADAL" clId="{4457FA57-250B-44AC-8655-05D46C5A3D8A}" dt="2023-06-06T10:23:07.012" v="9610" actId="403"/>
          <ac:spMkLst>
            <pc:docMk/>
            <pc:sldMk cId="3657640766" sldId="230717635"/>
            <ac:spMk id="50" creationId="{79061608-6E99-416D-A6E8-47EC88FC25A0}"/>
          </ac:spMkLst>
        </pc:spChg>
        <pc:spChg chg="mod">
          <ac:chgData name="Manal El Bakkouri" userId="8b130982-2e3f-4164-b881-fd3a2e4b2453" providerId="ADAL" clId="{4457FA57-250B-44AC-8655-05D46C5A3D8A}" dt="2023-06-06T10:23:23.899" v="9615" actId="14100"/>
          <ac:spMkLst>
            <pc:docMk/>
            <pc:sldMk cId="3657640766" sldId="230717635"/>
            <ac:spMk id="54" creationId="{A576F5EB-7816-435F-B81D-51714B13178E}"/>
          </ac:spMkLst>
        </pc:spChg>
        <pc:spChg chg="add mod">
          <ac:chgData name="Manal El Bakkouri" userId="8b130982-2e3f-4164-b881-fd3a2e4b2453" providerId="ADAL" clId="{4457FA57-250B-44AC-8655-05D46C5A3D8A}" dt="2023-06-04T13:06:30.002" v="7635" actId="20577"/>
          <ac:spMkLst>
            <pc:docMk/>
            <pc:sldMk cId="3657640766" sldId="230717635"/>
            <ac:spMk id="59" creationId="{186459D7-D38C-4915-8E05-4C52E889C2F6}"/>
          </ac:spMkLst>
        </pc:spChg>
        <pc:spChg chg="add mod topLvl">
          <ac:chgData name="Manal El Bakkouri" userId="8b130982-2e3f-4164-b881-fd3a2e4b2453" providerId="ADAL" clId="{4457FA57-250B-44AC-8655-05D46C5A3D8A}" dt="2023-06-06T10:24:36.262" v="9630" actId="207"/>
          <ac:spMkLst>
            <pc:docMk/>
            <pc:sldMk cId="3657640766" sldId="230717635"/>
            <ac:spMk id="60" creationId="{EDF90209-7451-4B19-B687-6BBE19DC54B0}"/>
          </ac:spMkLst>
        </pc:spChg>
        <pc:spChg chg="add del mod">
          <ac:chgData name="Manal El Bakkouri" userId="8b130982-2e3f-4164-b881-fd3a2e4b2453" providerId="ADAL" clId="{4457FA57-250B-44AC-8655-05D46C5A3D8A}" dt="2023-05-31T17:08:58.619" v="660"/>
          <ac:spMkLst>
            <pc:docMk/>
            <pc:sldMk cId="3657640766" sldId="230717635"/>
            <ac:spMk id="60" creationId="{F853B643-0E88-43A1-892D-0EAA1D0AC37A}"/>
          </ac:spMkLst>
        </pc:spChg>
        <pc:spChg chg="add del mod">
          <ac:chgData name="Manal El Bakkouri" userId="8b130982-2e3f-4164-b881-fd3a2e4b2453" providerId="ADAL" clId="{4457FA57-250B-44AC-8655-05D46C5A3D8A}" dt="2023-05-31T17:08:58.619" v="660"/>
          <ac:spMkLst>
            <pc:docMk/>
            <pc:sldMk cId="3657640766" sldId="230717635"/>
            <ac:spMk id="61" creationId="{29AE2212-8D22-4840-9E01-AA695A032816}"/>
          </ac:spMkLst>
        </pc:spChg>
        <pc:spChg chg="add mod">
          <ac:chgData name="Manal El Bakkouri" userId="8b130982-2e3f-4164-b881-fd3a2e4b2453" providerId="ADAL" clId="{4457FA57-250B-44AC-8655-05D46C5A3D8A}" dt="2023-06-09T11:25:20.540" v="21692"/>
          <ac:spMkLst>
            <pc:docMk/>
            <pc:sldMk cId="3657640766" sldId="230717635"/>
            <ac:spMk id="61" creationId="{E1C5F3D3-5063-482A-877A-242808F52CF8}"/>
          </ac:spMkLst>
        </pc:spChg>
        <pc:spChg chg="add mod">
          <ac:chgData name="Manal El Bakkouri" userId="8b130982-2e3f-4164-b881-fd3a2e4b2453" providerId="ADAL" clId="{4457FA57-250B-44AC-8655-05D46C5A3D8A}" dt="2023-06-06T10:24:27.670" v="9627" actId="571"/>
          <ac:spMkLst>
            <pc:docMk/>
            <pc:sldMk cId="3657640766" sldId="230717635"/>
            <ac:spMk id="62" creationId="{844BD35F-4581-4DDF-AB83-D9EEFBB043FB}"/>
          </ac:spMkLst>
        </pc:spChg>
        <pc:spChg chg="add del mod">
          <ac:chgData name="Manal El Bakkouri" userId="8b130982-2e3f-4164-b881-fd3a2e4b2453" providerId="ADAL" clId="{4457FA57-250B-44AC-8655-05D46C5A3D8A}" dt="2023-05-31T17:08:58.619" v="660"/>
          <ac:spMkLst>
            <pc:docMk/>
            <pc:sldMk cId="3657640766" sldId="230717635"/>
            <ac:spMk id="62" creationId="{EFFF45F9-A0E8-45A7-B746-94F4CF883245}"/>
          </ac:spMkLst>
        </pc:spChg>
        <pc:spChg chg="add mod">
          <ac:chgData name="Manal El Bakkouri" userId="8b130982-2e3f-4164-b881-fd3a2e4b2453" providerId="ADAL" clId="{4457FA57-250B-44AC-8655-05D46C5A3D8A}" dt="2023-06-09T11:25:20.540" v="21692"/>
          <ac:spMkLst>
            <pc:docMk/>
            <pc:sldMk cId="3657640766" sldId="230717635"/>
            <ac:spMk id="64" creationId="{888DD502-939A-42AB-9CF8-E385E49EFA99}"/>
          </ac:spMkLst>
        </pc:spChg>
        <pc:spChg chg="add del mod">
          <ac:chgData name="Manal El Bakkouri" userId="8b130982-2e3f-4164-b881-fd3a2e4b2453" providerId="ADAL" clId="{4457FA57-250B-44AC-8655-05D46C5A3D8A}" dt="2023-05-31T17:08:58.619" v="660"/>
          <ac:spMkLst>
            <pc:docMk/>
            <pc:sldMk cId="3657640766" sldId="230717635"/>
            <ac:spMk id="64" creationId="{E342F940-F381-46C0-9B28-584641D5645C}"/>
          </ac:spMkLst>
        </pc:spChg>
        <pc:spChg chg="add mod">
          <ac:chgData name="Manal El Bakkouri" userId="8b130982-2e3f-4164-b881-fd3a2e4b2453" providerId="ADAL" clId="{4457FA57-250B-44AC-8655-05D46C5A3D8A}" dt="2023-06-09T11:25:20.540" v="21692"/>
          <ac:spMkLst>
            <pc:docMk/>
            <pc:sldMk cId="3657640766" sldId="230717635"/>
            <ac:spMk id="66" creationId="{073DE3BC-357F-4C3E-93D7-A8301A2DEE12}"/>
          </ac:spMkLst>
        </pc:spChg>
        <pc:spChg chg="add del mod">
          <ac:chgData name="Manal El Bakkouri" userId="8b130982-2e3f-4164-b881-fd3a2e4b2453" providerId="ADAL" clId="{4457FA57-250B-44AC-8655-05D46C5A3D8A}" dt="2023-05-31T17:08:58.619" v="660"/>
          <ac:spMkLst>
            <pc:docMk/>
            <pc:sldMk cId="3657640766" sldId="230717635"/>
            <ac:spMk id="66" creationId="{E99C0E99-7494-484E-A1B6-9CBBDAEA488D}"/>
          </ac:spMkLst>
        </pc:spChg>
        <pc:spChg chg="add mod">
          <ac:chgData name="Manal El Bakkouri" userId="8b130982-2e3f-4164-b881-fd3a2e4b2453" providerId="ADAL" clId="{4457FA57-250B-44AC-8655-05D46C5A3D8A}" dt="2023-06-09T11:25:20.540" v="21692"/>
          <ac:spMkLst>
            <pc:docMk/>
            <pc:sldMk cId="3657640766" sldId="230717635"/>
            <ac:spMk id="67" creationId="{39156527-3F2A-4C5A-A78F-E6237C86C752}"/>
          </ac:spMkLst>
        </pc:spChg>
        <pc:spChg chg="add del mod">
          <ac:chgData name="Manal El Bakkouri" userId="8b130982-2e3f-4164-b881-fd3a2e4b2453" providerId="ADAL" clId="{4457FA57-250B-44AC-8655-05D46C5A3D8A}" dt="2023-05-31T17:08:58.619" v="660"/>
          <ac:spMkLst>
            <pc:docMk/>
            <pc:sldMk cId="3657640766" sldId="230717635"/>
            <ac:spMk id="67" creationId="{71376DDC-F9C0-47AB-97DF-F2E805DDAF0F}"/>
          </ac:spMkLst>
        </pc:spChg>
        <pc:spChg chg="add del mod">
          <ac:chgData name="Manal El Bakkouri" userId="8b130982-2e3f-4164-b881-fd3a2e4b2453" providerId="ADAL" clId="{4457FA57-250B-44AC-8655-05D46C5A3D8A}" dt="2023-05-31T17:08:58.619" v="660"/>
          <ac:spMkLst>
            <pc:docMk/>
            <pc:sldMk cId="3657640766" sldId="230717635"/>
            <ac:spMk id="68" creationId="{8CAB5121-D605-44D8-A597-C5066089511D}"/>
          </ac:spMkLst>
        </pc:spChg>
        <pc:spChg chg="add del mod">
          <ac:chgData name="Manal El Bakkouri" userId="8b130982-2e3f-4164-b881-fd3a2e4b2453" providerId="ADAL" clId="{4457FA57-250B-44AC-8655-05D46C5A3D8A}" dt="2023-06-09T11:25:20.215" v="21691" actId="478"/>
          <ac:spMkLst>
            <pc:docMk/>
            <pc:sldMk cId="3657640766" sldId="230717635"/>
            <ac:spMk id="71" creationId="{EFE3B498-16DE-493E-9954-A3F66EA23CAF}"/>
          </ac:spMkLst>
        </pc:spChg>
        <pc:spChg chg="add del mod">
          <ac:chgData name="Manal El Bakkouri" userId="8b130982-2e3f-4164-b881-fd3a2e4b2453" providerId="ADAL" clId="{4457FA57-250B-44AC-8655-05D46C5A3D8A}" dt="2023-06-09T11:25:20.215" v="21691" actId="478"/>
          <ac:spMkLst>
            <pc:docMk/>
            <pc:sldMk cId="3657640766" sldId="230717635"/>
            <ac:spMk id="72" creationId="{6238311E-65B8-46B2-A2B9-906617B939C9}"/>
          </ac:spMkLst>
        </pc:spChg>
        <pc:spChg chg="add mod topLvl">
          <ac:chgData name="Manal El Bakkouri" userId="8b130982-2e3f-4164-b881-fd3a2e4b2453" providerId="ADAL" clId="{4457FA57-250B-44AC-8655-05D46C5A3D8A}" dt="2023-06-06T10:24:15.419" v="9624" actId="165"/>
          <ac:spMkLst>
            <pc:docMk/>
            <pc:sldMk cId="3657640766" sldId="230717635"/>
            <ac:spMk id="73" creationId="{CE14E1F1-6F1D-4986-90D4-DC44A91E5282}"/>
          </ac:spMkLst>
        </pc:spChg>
        <pc:spChg chg="add mod topLvl">
          <ac:chgData name="Manal El Bakkouri" userId="8b130982-2e3f-4164-b881-fd3a2e4b2453" providerId="ADAL" clId="{4457FA57-250B-44AC-8655-05D46C5A3D8A}" dt="2023-06-06T10:24:15.419" v="9624" actId="165"/>
          <ac:spMkLst>
            <pc:docMk/>
            <pc:sldMk cId="3657640766" sldId="230717635"/>
            <ac:spMk id="74" creationId="{24CEB69C-8E57-4C18-9F93-D3A69C667779}"/>
          </ac:spMkLst>
        </pc:spChg>
        <pc:spChg chg="add mod">
          <ac:chgData name="Manal El Bakkouri" userId="8b130982-2e3f-4164-b881-fd3a2e4b2453" providerId="ADAL" clId="{4457FA57-250B-44AC-8655-05D46C5A3D8A}" dt="2023-06-06T10:24:20.931" v="9626" actId="1076"/>
          <ac:spMkLst>
            <pc:docMk/>
            <pc:sldMk cId="3657640766" sldId="230717635"/>
            <ac:spMk id="75" creationId="{3FD4D405-12CD-4619-8EC6-39576ED8562F}"/>
          </ac:spMkLst>
        </pc:spChg>
        <pc:spChg chg="add mod">
          <ac:chgData name="Manal El Bakkouri" userId="8b130982-2e3f-4164-b881-fd3a2e4b2453" providerId="ADAL" clId="{4457FA57-250B-44AC-8655-05D46C5A3D8A}" dt="2023-06-06T10:24:30.828" v="9628" actId="1076"/>
          <ac:spMkLst>
            <pc:docMk/>
            <pc:sldMk cId="3657640766" sldId="230717635"/>
            <ac:spMk id="76" creationId="{05190E2A-948C-40BE-B67C-FD5A41C8DB1C}"/>
          </ac:spMkLst>
        </pc:spChg>
        <pc:spChg chg="add del mod">
          <ac:chgData name="Manal El Bakkouri" userId="8b130982-2e3f-4164-b881-fd3a2e4b2453" providerId="ADAL" clId="{4457FA57-250B-44AC-8655-05D46C5A3D8A}" dt="2023-06-09T11:25:20.215" v="21691" actId="478"/>
          <ac:spMkLst>
            <pc:docMk/>
            <pc:sldMk cId="3657640766" sldId="230717635"/>
            <ac:spMk id="77" creationId="{B6AE5256-8AA5-46D9-A5DE-89FD47B3A321}"/>
          </ac:spMkLst>
        </pc:spChg>
        <pc:grpChg chg="add del mod">
          <ac:chgData name="Manal El Bakkouri" userId="8b130982-2e3f-4164-b881-fd3a2e4b2453" providerId="ADAL" clId="{4457FA57-250B-44AC-8655-05D46C5A3D8A}" dt="2023-06-06T10:24:15.419" v="9624" actId="165"/>
          <ac:grpSpMkLst>
            <pc:docMk/>
            <pc:sldMk cId="3657640766" sldId="230717635"/>
            <ac:grpSpMk id="4" creationId="{B9869FC4-5299-48F4-B621-D73CE875C343}"/>
          </ac:grpSpMkLst>
        </pc:grpChg>
        <pc:cxnChg chg="del">
          <ac:chgData name="Manal El Bakkouri" userId="8b130982-2e3f-4164-b881-fd3a2e4b2453" providerId="ADAL" clId="{4457FA57-250B-44AC-8655-05D46C5A3D8A}" dt="2023-06-04T12:13:40.273" v="7175" actId="478"/>
          <ac:cxnSpMkLst>
            <pc:docMk/>
            <pc:sldMk cId="3657640766" sldId="230717635"/>
            <ac:cxnSpMk id="3" creationId="{B1675541-E1B2-4B87-A893-E65B36D4F9BB}"/>
          </ac:cxnSpMkLst>
        </pc:cxnChg>
        <pc:cxnChg chg="add mod">
          <ac:chgData name="Manal El Bakkouri" userId="8b130982-2e3f-4164-b881-fd3a2e4b2453" providerId="ADAL" clId="{4457FA57-250B-44AC-8655-05D46C5A3D8A}" dt="2023-06-04T12:13:50.325" v="7178" actId="14100"/>
          <ac:cxnSpMkLst>
            <pc:docMk/>
            <pc:sldMk cId="3657640766" sldId="230717635"/>
            <ac:cxnSpMk id="57" creationId="{C591EEEA-499D-48F2-8E7B-8DCA89096296}"/>
          </ac:cxnSpMkLst>
        </pc:cxnChg>
      </pc:sldChg>
      <pc:sldChg chg="addSp delSp modSp mod ord modTransition modNotesTx">
        <pc:chgData name="Manal El Bakkouri" userId="8b130982-2e3f-4164-b881-fd3a2e4b2453" providerId="ADAL" clId="{4457FA57-250B-44AC-8655-05D46C5A3D8A}" dt="2023-06-09T11:27:14.371" v="21722"/>
        <pc:sldMkLst>
          <pc:docMk/>
          <pc:sldMk cId="1265683070" sldId="230717642"/>
        </pc:sldMkLst>
        <pc:spChg chg="del">
          <ac:chgData name="Manal El Bakkouri" userId="8b130982-2e3f-4164-b881-fd3a2e4b2453" providerId="ADAL" clId="{4457FA57-250B-44AC-8655-05D46C5A3D8A}" dt="2023-06-01T10:59:04.811" v="857" actId="478"/>
          <ac:spMkLst>
            <pc:docMk/>
            <pc:sldMk cId="1265683070" sldId="230717642"/>
            <ac:spMk id="5" creationId="{8B56D238-1846-4411-B690-7378E7A120F8}"/>
          </ac:spMkLst>
        </pc:spChg>
        <pc:spChg chg="del">
          <ac:chgData name="Manal El Bakkouri" userId="8b130982-2e3f-4164-b881-fd3a2e4b2453" providerId="ADAL" clId="{4457FA57-250B-44AC-8655-05D46C5A3D8A}" dt="2023-06-01T10:59:04.811" v="857" actId="478"/>
          <ac:spMkLst>
            <pc:docMk/>
            <pc:sldMk cId="1265683070" sldId="230717642"/>
            <ac:spMk id="6" creationId="{DC9E6703-E213-438C-AB82-932EF7362884}"/>
          </ac:spMkLst>
        </pc:spChg>
        <pc:spChg chg="del">
          <ac:chgData name="Manal El Bakkouri" userId="8b130982-2e3f-4164-b881-fd3a2e4b2453" providerId="ADAL" clId="{4457FA57-250B-44AC-8655-05D46C5A3D8A}" dt="2023-06-01T10:59:04.811" v="857" actId="478"/>
          <ac:spMkLst>
            <pc:docMk/>
            <pc:sldMk cId="1265683070" sldId="230717642"/>
            <ac:spMk id="7" creationId="{0E5F87F5-BA96-488E-8E51-8097393B4811}"/>
          </ac:spMkLst>
        </pc:spChg>
        <pc:spChg chg="del">
          <ac:chgData name="Manal El Bakkouri" userId="8b130982-2e3f-4164-b881-fd3a2e4b2453" providerId="ADAL" clId="{4457FA57-250B-44AC-8655-05D46C5A3D8A}" dt="2023-06-01T10:59:04.811" v="857" actId="478"/>
          <ac:spMkLst>
            <pc:docMk/>
            <pc:sldMk cId="1265683070" sldId="230717642"/>
            <ac:spMk id="8" creationId="{D8ED4ADE-9192-446A-9328-0977A73C1695}"/>
          </ac:spMkLst>
        </pc:spChg>
        <pc:spChg chg="del">
          <ac:chgData name="Manal El Bakkouri" userId="8b130982-2e3f-4164-b881-fd3a2e4b2453" providerId="ADAL" clId="{4457FA57-250B-44AC-8655-05D46C5A3D8A}" dt="2023-06-01T10:59:04.811" v="857" actId="478"/>
          <ac:spMkLst>
            <pc:docMk/>
            <pc:sldMk cId="1265683070" sldId="230717642"/>
            <ac:spMk id="9" creationId="{DFE59916-8B93-4C70-A986-0F840E3BE7CF}"/>
          </ac:spMkLst>
        </pc:spChg>
        <pc:spChg chg="del">
          <ac:chgData name="Manal El Bakkouri" userId="8b130982-2e3f-4164-b881-fd3a2e4b2453" providerId="ADAL" clId="{4457FA57-250B-44AC-8655-05D46C5A3D8A}" dt="2023-06-01T10:59:04.811" v="857" actId="478"/>
          <ac:spMkLst>
            <pc:docMk/>
            <pc:sldMk cId="1265683070" sldId="230717642"/>
            <ac:spMk id="10" creationId="{78EEDC8D-14E7-45B1-AF9A-24EA248541B9}"/>
          </ac:spMkLst>
        </pc:spChg>
        <pc:spChg chg="del">
          <ac:chgData name="Manal El Bakkouri" userId="8b130982-2e3f-4164-b881-fd3a2e4b2453" providerId="ADAL" clId="{4457FA57-250B-44AC-8655-05D46C5A3D8A}" dt="2023-06-01T10:59:04.811" v="857" actId="478"/>
          <ac:spMkLst>
            <pc:docMk/>
            <pc:sldMk cId="1265683070" sldId="230717642"/>
            <ac:spMk id="11" creationId="{F395B3E6-C2DB-4972-A673-651F64ADBC9F}"/>
          </ac:spMkLst>
        </pc:spChg>
        <pc:spChg chg="del">
          <ac:chgData name="Manal El Bakkouri" userId="8b130982-2e3f-4164-b881-fd3a2e4b2453" providerId="ADAL" clId="{4457FA57-250B-44AC-8655-05D46C5A3D8A}" dt="2023-06-01T10:59:04.811" v="857" actId="478"/>
          <ac:spMkLst>
            <pc:docMk/>
            <pc:sldMk cId="1265683070" sldId="230717642"/>
            <ac:spMk id="12" creationId="{D98C71C5-3130-4E14-9CA3-DF47B2910B13}"/>
          </ac:spMkLst>
        </pc:spChg>
        <pc:spChg chg="del">
          <ac:chgData name="Manal El Bakkouri" userId="8b130982-2e3f-4164-b881-fd3a2e4b2453" providerId="ADAL" clId="{4457FA57-250B-44AC-8655-05D46C5A3D8A}" dt="2023-06-01T10:59:04.811" v="857" actId="478"/>
          <ac:spMkLst>
            <pc:docMk/>
            <pc:sldMk cId="1265683070" sldId="230717642"/>
            <ac:spMk id="13" creationId="{855872FA-3CA1-4CF9-A919-0B25F0A84CCE}"/>
          </ac:spMkLst>
        </pc:spChg>
        <pc:spChg chg="del">
          <ac:chgData name="Manal El Bakkouri" userId="8b130982-2e3f-4164-b881-fd3a2e4b2453" providerId="ADAL" clId="{4457FA57-250B-44AC-8655-05D46C5A3D8A}" dt="2023-06-01T10:59:04.811" v="857" actId="478"/>
          <ac:spMkLst>
            <pc:docMk/>
            <pc:sldMk cId="1265683070" sldId="230717642"/>
            <ac:spMk id="14" creationId="{B875EAA2-C91D-4451-B533-6F9474DA76BC}"/>
          </ac:spMkLst>
        </pc:spChg>
        <pc:spChg chg="mod">
          <ac:chgData name="Manal El Bakkouri" userId="8b130982-2e3f-4164-b881-fd3a2e4b2453" providerId="ADAL" clId="{4457FA57-250B-44AC-8655-05D46C5A3D8A}" dt="2023-06-04T12:20:19.408" v="7271" actId="1076"/>
          <ac:spMkLst>
            <pc:docMk/>
            <pc:sldMk cId="1265683070" sldId="230717642"/>
            <ac:spMk id="19" creationId="{B30F652F-B4AB-4663-B9DF-0896119C5242}"/>
          </ac:spMkLst>
        </pc:spChg>
        <pc:spChg chg="mod">
          <ac:chgData name="Manal El Bakkouri" userId="8b130982-2e3f-4164-b881-fd3a2e4b2453" providerId="ADAL" clId="{4457FA57-250B-44AC-8655-05D46C5A3D8A}" dt="2023-06-04T12:15:32.656" v="7196" actId="20577"/>
          <ac:spMkLst>
            <pc:docMk/>
            <pc:sldMk cId="1265683070" sldId="230717642"/>
            <ac:spMk id="20" creationId="{4BDC13F8-FF45-4747-82D1-66D3B6F0B152}"/>
          </ac:spMkLst>
        </pc:spChg>
        <pc:spChg chg="add del mod">
          <ac:chgData name="Manal El Bakkouri" userId="8b130982-2e3f-4164-b881-fd3a2e4b2453" providerId="ADAL" clId="{4457FA57-250B-44AC-8655-05D46C5A3D8A}" dt="2023-06-01T11:33:59.248" v="989" actId="478"/>
          <ac:spMkLst>
            <pc:docMk/>
            <pc:sldMk cId="1265683070" sldId="230717642"/>
            <ac:spMk id="57" creationId="{287155DE-9E0C-43C6-811E-69FA8C57D21B}"/>
          </ac:spMkLst>
        </pc:spChg>
        <pc:spChg chg="add del mod">
          <ac:chgData name="Manal El Bakkouri" userId="8b130982-2e3f-4164-b881-fd3a2e4b2453" providerId="ADAL" clId="{4457FA57-250B-44AC-8655-05D46C5A3D8A}" dt="2023-06-01T11:33:59.248" v="989" actId="478"/>
          <ac:spMkLst>
            <pc:docMk/>
            <pc:sldMk cId="1265683070" sldId="230717642"/>
            <ac:spMk id="59" creationId="{877E7570-8079-4937-A15F-29BD684E3031}"/>
          </ac:spMkLst>
        </pc:spChg>
        <pc:spChg chg="add del mod">
          <ac:chgData name="Manal El Bakkouri" userId="8b130982-2e3f-4164-b881-fd3a2e4b2453" providerId="ADAL" clId="{4457FA57-250B-44AC-8655-05D46C5A3D8A}" dt="2023-06-01T11:33:59.248" v="989" actId="478"/>
          <ac:spMkLst>
            <pc:docMk/>
            <pc:sldMk cId="1265683070" sldId="230717642"/>
            <ac:spMk id="60" creationId="{C61B8081-0740-4421-BD4C-05DAE3641281}"/>
          </ac:spMkLst>
        </pc:spChg>
        <pc:spChg chg="add del mod">
          <ac:chgData name="Manal El Bakkouri" userId="8b130982-2e3f-4164-b881-fd3a2e4b2453" providerId="ADAL" clId="{4457FA57-250B-44AC-8655-05D46C5A3D8A}" dt="2023-06-09T11:27:14.058" v="21721" actId="478"/>
          <ac:spMkLst>
            <pc:docMk/>
            <pc:sldMk cId="1265683070" sldId="230717642"/>
            <ac:spMk id="61" creationId="{ABEABEBF-4EB6-4899-A994-B15424A0B029}"/>
          </ac:spMkLst>
        </pc:spChg>
        <pc:spChg chg="add del mod">
          <ac:chgData name="Manal El Bakkouri" userId="8b130982-2e3f-4164-b881-fd3a2e4b2453" providerId="ADAL" clId="{4457FA57-250B-44AC-8655-05D46C5A3D8A}" dt="2023-06-01T11:33:59.248" v="989" actId="478"/>
          <ac:spMkLst>
            <pc:docMk/>
            <pc:sldMk cId="1265683070" sldId="230717642"/>
            <ac:spMk id="61" creationId="{C9B35ABF-889E-43DF-801D-5752BC01FD5A}"/>
          </ac:spMkLst>
        </pc:spChg>
        <pc:spChg chg="add del mod">
          <ac:chgData name="Manal El Bakkouri" userId="8b130982-2e3f-4164-b881-fd3a2e4b2453" providerId="ADAL" clId="{4457FA57-250B-44AC-8655-05D46C5A3D8A}" dt="2023-06-01T11:33:59.248" v="989" actId="478"/>
          <ac:spMkLst>
            <pc:docMk/>
            <pc:sldMk cId="1265683070" sldId="230717642"/>
            <ac:spMk id="70" creationId="{4E530705-AF33-49D5-97C7-8F81A256E78B}"/>
          </ac:spMkLst>
        </pc:spChg>
        <pc:spChg chg="add del mod">
          <ac:chgData name="Manal El Bakkouri" userId="8b130982-2e3f-4164-b881-fd3a2e4b2453" providerId="ADAL" clId="{4457FA57-250B-44AC-8655-05D46C5A3D8A}" dt="2023-06-09T11:27:14.058" v="21721" actId="478"/>
          <ac:spMkLst>
            <pc:docMk/>
            <pc:sldMk cId="1265683070" sldId="230717642"/>
            <ac:spMk id="70" creationId="{D343518D-A8E3-4F3D-87FF-D70875AE11AF}"/>
          </ac:spMkLst>
        </pc:spChg>
        <pc:spChg chg="add del mod">
          <ac:chgData name="Manal El Bakkouri" userId="8b130982-2e3f-4164-b881-fd3a2e4b2453" providerId="ADAL" clId="{4457FA57-250B-44AC-8655-05D46C5A3D8A}" dt="2023-06-09T11:27:14.058" v="21721" actId="478"/>
          <ac:spMkLst>
            <pc:docMk/>
            <pc:sldMk cId="1265683070" sldId="230717642"/>
            <ac:spMk id="71" creationId="{4F795B46-9233-4921-BCCD-377C02763B34}"/>
          </ac:spMkLst>
        </pc:spChg>
        <pc:spChg chg="add del mod">
          <ac:chgData name="Manal El Bakkouri" userId="8b130982-2e3f-4164-b881-fd3a2e4b2453" providerId="ADAL" clId="{4457FA57-250B-44AC-8655-05D46C5A3D8A}" dt="2023-06-01T11:33:59.248" v="989" actId="478"/>
          <ac:spMkLst>
            <pc:docMk/>
            <pc:sldMk cId="1265683070" sldId="230717642"/>
            <ac:spMk id="71" creationId="{BF352133-F260-4220-A606-67FFC3B4626C}"/>
          </ac:spMkLst>
        </pc:spChg>
        <pc:spChg chg="add del mod">
          <ac:chgData name="Manal El Bakkouri" userId="8b130982-2e3f-4164-b881-fd3a2e4b2453" providerId="ADAL" clId="{4457FA57-250B-44AC-8655-05D46C5A3D8A}" dt="2023-06-06T10:35:32.601" v="9762" actId="478"/>
          <ac:spMkLst>
            <pc:docMk/>
            <pc:sldMk cId="1265683070" sldId="230717642"/>
            <ac:spMk id="72" creationId="{0F51FDFB-B265-4590-AE3C-99B1557B3083}"/>
          </ac:spMkLst>
        </pc:spChg>
        <pc:spChg chg="add del mod">
          <ac:chgData name="Manal El Bakkouri" userId="8b130982-2e3f-4164-b881-fd3a2e4b2453" providerId="ADAL" clId="{4457FA57-250B-44AC-8655-05D46C5A3D8A}" dt="2023-06-01T11:33:59.248" v="989" actId="478"/>
          <ac:spMkLst>
            <pc:docMk/>
            <pc:sldMk cId="1265683070" sldId="230717642"/>
            <ac:spMk id="72" creationId="{B798C6E5-9187-4880-B845-1EF426EB0514}"/>
          </ac:spMkLst>
        </pc:spChg>
        <pc:spChg chg="add del mod">
          <ac:chgData name="Manal El Bakkouri" userId="8b130982-2e3f-4164-b881-fd3a2e4b2453" providerId="ADAL" clId="{4457FA57-250B-44AC-8655-05D46C5A3D8A}" dt="2023-06-06T08:37:59.982" v="8799" actId="478"/>
          <ac:spMkLst>
            <pc:docMk/>
            <pc:sldMk cId="1265683070" sldId="230717642"/>
            <ac:spMk id="76" creationId="{55F55F28-E986-4F43-9CA8-889F13DAC4C6}"/>
          </ac:spMkLst>
        </pc:spChg>
        <pc:spChg chg="add del mod">
          <ac:chgData name="Manal El Bakkouri" userId="8b130982-2e3f-4164-b881-fd3a2e4b2453" providerId="ADAL" clId="{4457FA57-250B-44AC-8655-05D46C5A3D8A}" dt="2023-06-01T11:33:59.248" v="989" actId="478"/>
          <ac:spMkLst>
            <pc:docMk/>
            <pc:sldMk cId="1265683070" sldId="230717642"/>
            <ac:spMk id="76" creationId="{59BBAAAA-4180-436C-A219-D0999E83202A}"/>
          </ac:spMkLst>
        </pc:spChg>
        <pc:spChg chg="mod">
          <ac:chgData name="Manal El Bakkouri" userId="8b130982-2e3f-4164-b881-fd3a2e4b2453" providerId="ADAL" clId="{4457FA57-250B-44AC-8655-05D46C5A3D8A}" dt="2023-06-09T11:08:09.513" v="21520"/>
          <ac:spMkLst>
            <pc:docMk/>
            <pc:sldMk cId="1265683070" sldId="230717642"/>
            <ac:spMk id="76" creationId="{BE0F3747-CC51-4BCF-A256-9C9BEF6B2193}"/>
          </ac:spMkLst>
        </pc:spChg>
        <pc:spChg chg="add del mod">
          <ac:chgData name="Manal El Bakkouri" userId="8b130982-2e3f-4164-b881-fd3a2e4b2453" providerId="ADAL" clId="{4457FA57-250B-44AC-8655-05D46C5A3D8A}" dt="2023-06-01T11:33:59.248" v="989" actId="478"/>
          <ac:spMkLst>
            <pc:docMk/>
            <pc:sldMk cId="1265683070" sldId="230717642"/>
            <ac:spMk id="77" creationId="{0493A614-EEA9-4A26-AABB-44EB237EEBCA}"/>
          </ac:spMkLst>
        </pc:spChg>
        <pc:spChg chg="add del mod">
          <ac:chgData name="Manal El Bakkouri" userId="8b130982-2e3f-4164-b881-fd3a2e4b2453" providerId="ADAL" clId="{4457FA57-250B-44AC-8655-05D46C5A3D8A}" dt="2023-06-06T10:35:32.601" v="9762" actId="478"/>
          <ac:spMkLst>
            <pc:docMk/>
            <pc:sldMk cId="1265683070" sldId="230717642"/>
            <ac:spMk id="77" creationId="{B29FD250-B7B6-4C34-A270-81C8197287D9}"/>
          </ac:spMkLst>
        </pc:spChg>
        <pc:spChg chg="mod">
          <ac:chgData name="Manal El Bakkouri" userId="8b130982-2e3f-4164-b881-fd3a2e4b2453" providerId="ADAL" clId="{4457FA57-250B-44AC-8655-05D46C5A3D8A}" dt="2023-06-09T11:08:09.513" v="21520"/>
          <ac:spMkLst>
            <pc:docMk/>
            <pc:sldMk cId="1265683070" sldId="230717642"/>
            <ac:spMk id="77" creationId="{EC1DD250-2D2B-42ED-9455-9588330AB225}"/>
          </ac:spMkLst>
        </pc:spChg>
        <pc:spChg chg="add del mod">
          <ac:chgData name="Manal El Bakkouri" userId="8b130982-2e3f-4164-b881-fd3a2e4b2453" providerId="ADAL" clId="{4457FA57-250B-44AC-8655-05D46C5A3D8A}" dt="2023-06-01T11:33:59.248" v="989" actId="478"/>
          <ac:spMkLst>
            <pc:docMk/>
            <pc:sldMk cId="1265683070" sldId="230717642"/>
            <ac:spMk id="84" creationId="{A09D8DC2-7CB7-45A7-A2ED-92F68485A2EE}"/>
          </ac:spMkLst>
        </pc:spChg>
        <pc:spChg chg="add del mod">
          <ac:chgData name="Manal El Bakkouri" userId="8b130982-2e3f-4164-b881-fd3a2e4b2453" providerId="ADAL" clId="{4457FA57-250B-44AC-8655-05D46C5A3D8A}" dt="2023-06-07T09:59:53.358" v="17586" actId="478"/>
          <ac:spMkLst>
            <pc:docMk/>
            <pc:sldMk cId="1265683070" sldId="230717642"/>
            <ac:spMk id="84" creationId="{FF8A1F31-C355-4583-B1F4-CFB5DD52AA6A}"/>
          </ac:spMkLst>
        </pc:spChg>
        <pc:spChg chg="mod">
          <ac:chgData name="Manal El Bakkouri" userId="8b130982-2e3f-4164-b881-fd3a2e4b2453" providerId="ADAL" clId="{4457FA57-250B-44AC-8655-05D46C5A3D8A}" dt="2023-06-09T11:08:09.513" v="21520"/>
          <ac:spMkLst>
            <pc:docMk/>
            <pc:sldMk cId="1265683070" sldId="230717642"/>
            <ac:spMk id="85" creationId="{0CCF732B-50BE-4439-BA33-2900760F22D2}"/>
          </ac:spMkLst>
        </pc:spChg>
        <pc:spChg chg="add del mod">
          <ac:chgData name="Manal El Bakkouri" userId="8b130982-2e3f-4164-b881-fd3a2e4b2453" providerId="ADAL" clId="{4457FA57-250B-44AC-8655-05D46C5A3D8A}" dt="2023-06-06T10:35:32.601" v="9762" actId="478"/>
          <ac:spMkLst>
            <pc:docMk/>
            <pc:sldMk cId="1265683070" sldId="230717642"/>
            <ac:spMk id="85" creationId="{44EB0CC1-5EB6-4E7C-AD58-FE62393CCF0D}"/>
          </ac:spMkLst>
        </pc:spChg>
        <pc:spChg chg="add del mod">
          <ac:chgData name="Manal El Bakkouri" userId="8b130982-2e3f-4164-b881-fd3a2e4b2453" providerId="ADAL" clId="{4457FA57-250B-44AC-8655-05D46C5A3D8A}" dt="2023-06-01T11:33:59.248" v="989" actId="478"/>
          <ac:spMkLst>
            <pc:docMk/>
            <pc:sldMk cId="1265683070" sldId="230717642"/>
            <ac:spMk id="85" creationId="{FD196987-C959-4227-82CB-7A1BE903BC8D}"/>
          </ac:spMkLst>
        </pc:spChg>
        <pc:spChg chg="add del mod">
          <ac:chgData name="Manal El Bakkouri" userId="8b130982-2e3f-4164-b881-fd3a2e4b2453" providerId="ADAL" clId="{4457FA57-250B-44AC-8655-05D46C5A3D8A}" dt="2023-06-01T11:33:59.248" v="989" actId="478"/>
          <ac:spMkLst>
            <pc:docMk/>
            <pc:sldMk cId="1265683070" sldId="230717642"/>
            <ac:spMk id="89" creationId="{0A35CBFB-16B7-47E9-885C-37D249E4DABD}"/>
          </ac:spMkLst>
        </pc:spChg>
        <pc:spChg chg="add del mod">
          <ac:chgData name="Manal El Bakkouri" userId="8b130982-2e3f-4164-b881-fd3a2e4b2453" providerId="ADAL" clId="{4457FA57-250B-44AC-8655-05D46C5A3D8A}" dt="2023-06-06T08:37:59.982" v="8799" actId="478"/>
          <ac:spMkLst>
            <pc:docMk/>
            <pc:sldMk cId="1265683070" sldId="230717642"/>
            <ac:spMk id="89" creationId="{1213BC79-B09C-4F9F-BFC7-801D94C77884}"/>
          </ac:spMkLst>
        </pc:spChg>
        <pc:spChg chg="mod">
          <ac:chgData name="Manal El Bakkouri" userId="8b130982-2e3f-4164-b881-fd3a2e4b2453" providerId="ADAL" clId="{4457FA57-250B-44AC-8655-05D46C5A3D8A}" dt="2023-06-09T11:08:09.513" v="21520"/>
          <ac:spMkLst>
            <pc:docMk/>
            <pc:sldMk cId="1265683070" sldId="230717642"/>
            <ac:spMk id="89" creationId="{4DA5F2D9-ED8C-422C-A01F-CA57E69691FC}"/>
          </ac:spMkLst>
        </pc:spChg>
        <pc:spChg chg="add del mod">
          <ac:chgData name="Manal El Bakkouri" userId="8b130982-2e3f-4164-b881-fd3a2e4b2453" providerId="ADAL" clId="{4457FA57-250B-44AC-8655-05D46C5A3D8A}" dt="2023-06-06T10:35:32.601" v="9762" actId="478"/>
          <ac:spMkLst>
            <pc:docMk/>
            <pc:sldMk cId="1265683070" sldId="230717642"/>
            <ac:spMk id="92" creationId="{057B3057-2691-4448-A25E-BD7363776CFE}"/>
          </ac:spMkLst>
        </pc:spChg>
        <pc:spChg chg="mod">
          <ac:chgData name="Manal El Bakkouri" userId="8b130982-2e3f-4164-b881-fd3a2e4b2453" providerId="ADAL" clId="{4457FA57-250B-44AC-8655-05D46C5A3D8A}" dt="2023-06-09T11:08:09.513" v="21520"/>
          <ac:spMkLst>
            <pc:docMk/>
            <pc:sldMk cId="1265683070" sldId="230717642"/>
            <ac:spMk id="92" creationId="{91DDB5DF-46EF-45A5-BDAA-C1B3D8258AEC}"/>
          </ac:spMkLst>
        </pc:spChg>
        <pc:spChg chg="add del mod">
          <ac:chgData name="Manal El Bakkouri" userId="8b130982-2e3f-4164-b881-fd3a2e4b2453" providerId="ADAL" clId="{4457FA57-250B-44AC-8655-05D46C5A3D8A}" dt="2023-06-01T11:33:59.248" v="989" actId="478"/>
          <ac:spMkLst>
            <pc:docMk/>
            <pc:sldMk cId="1265683070" sldId="230717642"/>
            <ac:spMk id="92" creationId="{BACE4C0B-C9F5-45E8-9CD4-744CFEC80C10}"/>
          </ac:spMkLst>
        </pc:spChg>
        <pc:spChg chg="mod">
          <ac:chgData name="Manal El Bakkouri" userId="8b130982-2e3f-4164-b881-fd3a2e4b2453" providerId="ADAL" clId="{4457FA57-250B-44AC-8655-05D46C5A3D8A}" dt="2023-06-09T11:08:09.513" v="21520"/>
          <ac:spMkLst>
            <pc:docMk/>
            <pc:sldMk cId="1265683070" sldId="230717642"/>
            <ac:spMk id="93" creationId="{2D2AC08B-5C77-4A07-B11F-97441F2213DB}"/>
          </ac:spMkLst>
        </pc:spChg>
        <pc:spChg chg="add del mod">
          <ac:chgData name="Manal El Bakkouri" userId="8b130982-2e3f-4164-b881-fd3a2e4b2453" providerId="ADAL" clId="{4457FA57-250B-44AC-8655-05D46C5A3D8A}" dt="2023-06-03T18:04:01.532" v="6020" actId="478"/>
          <ac:spMkLst>
            <pc:docMk/>
            <pc:sldMk cId="1265683070" sldId="230717642"/>
            <ac:spMk id="93" creationId="{6A4C93EF-88C9-418D-8501-785BD3B7C1F1}"/>
          </ac:spMkLst>
        </pc:spChg>
        <pc:spChg chg="add del mod">
          <ac:chgData name="Manal El Bakkouri" userId="8b130982-2e3f-4164-b881-fd3a2e4b2453" providerId="ADAL" clId="{4457FA57-250B-44AC-8655-05D46C5A3D8A}" dt="2023-06-03T18:04:01.532" v="6020" actId="478"/>
          <ac:spMkLst>
            <pc:docMk/>
            <pc:sldMk cId="1265683070" sldId="230717642"/>
            <ac:spMk id="94" creationId="{9F42062F-475F-4445-8438-E40B0B04C88F}"/>
          </ac:spMkLst>
        </pc:spChg>
        <pc:spChg chg="mod">
          <ac:chgData name="Manal El Bakkouri" userId="8b130982-2e3f-4164-b881-fd3a2e4b2453" providerId="ADAL" clId="{4457FA57-250B-44AC-8655-05D46C5A3D8A}" dt="2023-06-09T11:08:09.513" v="21520"/>
          <ac:spMkLst>
            <pc:docMk/>
            <pc:sldMk cId="1265683070" sldId="230717642"/>
            <ac:spMk id="95" creationId="{9D46ED9C-B4D9-424D-A26B-65DA0A8B9ADA}"/>
          </ac:spMkLst>
        </pc:spChg>
        <pc:spChg chg="add del mod">
          <ac:chgData name="Manal El Bakkouri" userId="8b130982-2e3f-4164-b881-fd3a2e4b2453" providerId="ADAL" clId="{4457FA57-250B-44AC-8655-05D46C5A3D8A}" dt="2023-06-03T18:04:01.532" v="6020" actId="478"/>
          <ac:spMkLst>
            <pc:docMk/>
            <pc:sldMk cId="1265683070" sldId="230717642"/>
            <ac:spMk id="95" creationId="{EE91E338-2037-4CDE-B7DF-25FC5F77599F}"/>
          </ac:spMkLst>
        </pc:spChg>
        <pc:spChg chg="del mod">
          <ac:chgData name="Manal El Bakkouri" userId="8b130982-2e3f-4164-b881-fd3a2e4b2453" providerId="ADAL" clId="{4457FA57-250B-44AC-8655-05D46C5A3D8A}" dt="2023-06-04T12:20:04.477" v="7268" actId="478"/>
          <ac:spMkLst>
            <pc:docMk/>
            <pc:sldMk cId="1265683070" sldId="230717642"/>
            <ac:spMk id="96" creationId="{07D4BAF4-F56E-4561-88D3-A1F7DE5E190E}"/>
          </ac:spMkLst>
        </pc:spChg>
        <pc:spChg chg="mod">
          <ac:chgData name="Manal El Bakkouri" userId="8b130982-2e3f-4164-b881-fd3a2e4b2453" providerId="ADAL" clId="{4457FA57-250B-44AC-8655-05D46C5A3D8A}" dt="2023-06-09T11:08:09.513" v="21520"/>
          <ac:spMkLst>
            <pc:docMk/>
            <pc:sldMk cId="1265683070" sldId="230717642"/>
            <ac:spMk id="96" creationId="{A6A7D476-A4ED-4011-A445-CBB19D50662A}"/>
          </ac:spMkLst>
        </pc:spChg>
        <pc:spChg chg="add del mod">
          <ac:chgData name="Manal El Bakkouri" userId="8b130982-2e3f-4164-b881-fd3a2e4b2453" providerId="ADAL" clId="{4457FA57-250B-44AC-8655-05D46C5A3D8A}" dt="2023-06-03T18:04:01.532" v="6020" actId="478"/>
          <ac:spMkLst>
            <pc:docMk/>
            <pc:sldMk cId="1265683070" sldId="230717642"/>
            <ac:spMk id="97" creationId="{4ABDDC32-7E19-4D98-B89B-FBE34F70F9E8}"/>
          </ac:spMkLst>
        </pc:spChg>
        <pc:spChg chg="add del mod">
          <ac:chgData name="Manal El Bakkouri" userId="8b130982-2e3f-4164-b881-fd3a2e4b2453" providerId="ADAL" clId="{4457FA57-250B-44AC-8655-05D46C5A3D8A}" dt="2023-06-03T18:04:01.532" v="6020" actId="478"/>
          <ac:spMkLst>
            <pc:docMk/>
            <pc:sldMk cId="1265683070" sldId="230717642"/>
            <ac:spMk id="98" creationId="{1E898AB6-F608-4192-A55F-31916B6E2E25}"/>
          </ac:spMkLst>
        </pc:spChg>
        <pc:spChg chg="mod">
          <ac:chgData name="Manal El Bakkouri" userId="8b130982-2e3f-4164-b881-fd3a2e4b2453" providerId="ADAL" clId="{4457FA57-250B-44AC-8655-05D46C5A3D8A}" dt="2023-06-09T11:08:09.513" v="21520"/>
          <ac:spMkLst>
            <pc:docMk/>
            <pc:sldMk cId="1265683070" sldId="230717642"/>
            <ac:spMk id="98" creationId="{67331F6A-3B9B-4C10-8253-876B3B5128CA}"/>
          </ac:spMkLst>
        </pc:spChg>
        <pc:spChg chg="add del mod">
          <ac:chgData name="Manal El Bakkouri" userId="8b130982-2e3f-4164-b881-fd3a2e4b2453" providerId="ADAL" clId="{4457FA57-250B-44AC-8655-05D46C5A3D8A}" dt="2023-06-03T18:04:01.532" v="6020" actId="478"/>
          <ac:spMkLst>
            <pc:docMk/>
            <pc:sldMk cId="1265683070" sldId="230717642"/>
            <ac:spMk id="99" creationId="{05B21705-1D4B-40E7-8E6D-AE4E4D3B574B}"/>
          </ac:spMkLst>
        </pc:spChg>
        <pc:spChg chg="mod">
          <ac:chgData name="Manal El Bakkouri" userId="8b130982-2e3f-4164-b881-fd3a2e4b2453" providerId="ADAL" clId="{4457FA57-250B-44AC-8655-05D46C5A3D8A}" dt="2023-06-09T11:08:09.513" v="21520"/>
          <ac:spMkLst>
            <pc:docMk/>
            <pc:sldMk cId="1265683070" sldId="230717642"/>
            <ac:spMk id="99" creationId="{3DBBB327-BBDD-43E8-9414-46FA9788D8A8}"/>
          </ac:spMkLst>
        </pc:spChg>
        <pc:spChg chg="add del mod">
          <ac:chgData name="Manal El Bakkouri" userId="8b130982-2e3f-4164-b881-fd3a2e4b2453" providerId="ADAL" clId="{4457FA57-250B-44AC-8655-05D46C5A3D8A}" dt="2023-06-03T18:04:01.532" v="6020" actId="478"/>
          <ac:spMkLst>
            <pc:docMk/>
            <pc:sldMk cId="1265683070" sldId="230717642"/>
            <ac:spMk id="100" creationId="{4CF3F610-E360-4DC9-9162-325FB8FD015D}"/>
          </ac:spMkLst>
        </pc:spChg>
        <pc:spChg chg="add mod">
          <ac:chgData name="Manal El Bakkouri" userId="8b130982-2e3f-4164-b881-fd3a2e4b2453" providerId="ADAL" clId="{4457FA57-250B-44AC-8655-05D46C5A3D8A}" dt="2023-06-09T11:27:14.371" v="21722"/>
          <ac:spMkLst>
            <pc:docMk/>
            <pc:sldMk cId="1265683070" sldId="230717642"/>
            <ac:spMk id="100" creationId="{E2F2D9B7-675D-4C34-82C7-584FCBC07C13}"/>
          </ac:spMkLst>
        </pc:spChg>
        <pc:spChg chg="add mod">
          <ac:chgData name="Manal El Bakkouri" userId="8b130982-2e3f-4164-b881-fd3a2e4b2453" providerId="ADAL" clId="{4457FA57-250B-44AC-8655-05D46C5A3D8A}" dt="2023-06-09T11:27:14.371" v="21722"/>
          <ac:spMkLst>
            <pc:docMk/>
            <pc:sldMk cId="1265683070" sldId="230717642"/>
            <ac:spMk id="101" creationId="{3FC5EAB8-D754-44BA-B8A1-2F995421C4C1}"/>
          </ac:spMkLst>
        </pc:spChg>
        <pc:spChg chg="add del mod">
          <ac:chgData name="Manal El Bakkouri" userId="8b130982-2e3f-4164-b881-fd3a2e4b2453" providerId="ADAL" clId="{4457FA57-250B-44AC-8655-05D46C5A3D8A}" dt="2023-06-03T18:04:01.532" v="6020" actId="478"/>
          <ac:spMkLst>
            <pc:docMk/>
            <pc:sldMk cId="1265683070" sldId="230717642"/>
            <ac:spMk id="101" creationId="{966B02AC-854B-4CF9-9B06-87130DD1AD85}"/>
          </ac:spMkLst>
        </pc:spChg>
        <pc:spChg chg="add del mod">
          <ac:chgData name="Manal El Bakkouri" userId="8b130982-2e3f-4164-b881-fd3a2e4b2453" providerId="ADAL" clId="{4457FA57-250B-44AC-8655-05D46C5A3D8A}" dt="2023-06-03T18:04:01.532" v="6020" actId="478"/>
          <ac:spMkLst>
            <pc:docMk/>
            <pc:sldMk cId="1265683070" sldId="230717642"/>
            <ac:spMk id="102" creationId="{A42C3928-CA74-482C-A0C1-8DDC57BA8C95}"/>
          </ac:spMkLst>
        </pc:spChg>
        <pc:spChg chg="add mod">
          <ac:chgData name="Manal El Bakkouri" userId="8b130982-2e3f-4164-b881-fd3a2e4b2453" providerId="ADAL" clId="{4457FA57-250B-44AC-8655-05D46C5A3D8A}" dt="2023-06-09T11:27:14.371" v="21722"/>
          <ac:spMkLst>
            <pc:docMk/>
            <pc:sldMk cId="1265683070" sldId="230717642"/>
            <ac:spMk id="102" creationId="{B75E897D-75B1-4153-BD26-6018D1E33FDC}"/>
          </ac:spMkLst>
        </pc:spChg>
        <pc:spChg chg="add mod">
          <ac:chgData name="Manal El Bakkouri" userId="8b130982-2e3f-4164-b881-fd3a2e4b2453" providerId="ADAL" clId="{4457FA57-250B-44AC-8655-05D46C5A3D8A}" dt="2023-06-09T11:27:14.371" v="21722"/>
          <ac:spMkLst>
            <pc:docMk/>
            <pc:sldMk cId="1265683070" sldId="230717642"/>
            <ac:spMk id="103" creationId="{C3DA2F43-7E3E-4D8C-AEEA-478DC991D77B}"/>
          </ac:spMkLst>
        </pc:spChg>
        <pc:spChg chg="add del mod">
          <ac:chgData name="Manal El Bakkouri" userId="8b130982-2e3f-4164-b881-fd3a2e4b2453" providerId="ADAL" clId="{4457FA57-250B-44AC-8655-05D46C5A3D8A}" dt="2023-06-03T18:04:01.532" v="6020" actId="478"/>
          <ac:spMkLst>
            <pc:docMk/>
            <pc:sldMk cId="1265683070" sldId="230717642"/>
            <ac:spMk id="103" creationId="{D299CC02-6233-47F8-8781-63F479E80123}"/>
          </ac:spMkLst>
        </pc:spChg>
        <pc:spChg chg="add del mod">
          <ac:chgData name="Manal El Bakkouri" userId="8b130982-2e3f-4164-b881-fd3a2e4b2453" providerId="ADAL" clId="{4457FA57-250B-44AC-8655-05D46C5A3D8A}" dt="2023-06-03T18:04:01.532" v="6020" actId="478"/>
          <ac:spMkLst>
            <pc:docMk/>
            <pc:sldMk cId="1265683070" sldId="230717642"/>
            <ac:spMk id="104" creationId="{DE365FF9-943D-4504-9186-87DD128B2CBC}"/>
          </ac:spMkLst>
        </pc:spChg>
        <pc:spChg chg="add del mod">
          <ac:chgData name="Manal El Bakkouri" userId="8b130982-2e3f-4164-b881-fd3a2e4b2453" providerId="ADAL" clId="{4457FA57-250B-44AC-8655-05D46C5A3D8A}" dt="2023-06-03T18:04:01.532" v="6020" actId="478"/>
          <ac:spMkLst>
            <pc:docMk/>
            <pc:sldMk cId="1265683070" sldId="230717642"/>
            <ac:spMk id="105" creationId="{6821A16A-1D29-4893-A864-57F63E4AF717}"/>
          </ac:spMkLst>
        </pc:spChg>
        <pc:spChg chg="add del mod">
          <ac:chgData name="Manal El Bakkouri" userId="8b130982-2e3f-4164-b881-fd3a2e4b2453" providerId="ADAL" clId="{4457FA57-250B-44AC-8655-05D46C5A3D8A}" dt="2023-06-03T18:04:01.532" v="6020" actId="478"/>
          <ac:spMkLst>
            <pc:docMk/>
            <pc:sldMk cId="1265683070" sldId="230717642"/>
            <ac:spMk id="106" creationId="{796150F1-0218-49DA-BFCD-4D5E06A748AE}"/>
          </ac:spMkLst>
        </pc:spChg>
        <pc:spChg chg="add del mod">
          <ac:chgData name="Manal El Bakkouri" userId="8b130982-2e3f-4164-b881-fd3a2e4b2453" providerId="ADAL" clId="{4457FA57-250B-44AC-8655-05D46C5A3D8A}" dt="2023-06-07T09:59:53.358" v="17586" actId="478"/>
          <ac:spMkLst>
            <pc:docMk/>
            <pc:sldMk cId="1265683070" sldId="230717642"/>
            <ac:spMk id="107" creationId="{AB2B22E7-2F90-4800-B8C7-5D610C6D4A55}"/>
          </ac:spMkLst>
        </pc:spChg>
        <pc:spChg chg="add del mod">
          <ac:chgData name="Manal El Bakkouri" userId="8b130982-2e3f-4164-b881-fd3a2e4b2453" providerId="ADAL" clId="{4457FA57-250B-44AC-8655-05D46C5A3D8A}" dt="2023-06-06T10:35:32.601" v="9762" actId="478"/>
          <ac:spMkLst>
            <pc:docMk/>
            <pc:sldMk cId="1265683070" sldId="230717642"/>
            <ac:spMk id="108" creationId="{F9ED7637-04B5-4970-87B8-820CBACC62E0}"/>
          </ac:spMkLst>
        </pc:spChg>
        <pc:spChg chg="add del mod">
          <ac:chgData name="Manal El Bakkouri" userId="8b130982-2e3f-4164-b881-fd3a2e4b2453" providerId="ADAL" clId="{4457FA57-250B-44AC-8655-05D46C5A3D8A}" dt="2023-06-06T10:35:32.601" v="9762" actId="478"/>
          <ac:spMkLst>
            <pc:docMk/>
            <pc:sldMk cId="1265683070" sldId="230717642"/>
            <ac:spMk id="109" creationId="{8DB86DC6-892E-4510-AA46-93EBE91E05AB}"/>
          </ac:spMkLst>
        </pc:spChg>
        <pc:spChg chg="add del mod">
          <ac:chgData name="Manal El Bakkouri" userId="8b130982-2e3f-4164-b881-fd3a2e4b2453" providerId="ADAL" clId="{4457FA57-250B-44AC-8655-05D46C5A3D8A}" dt="2023-06-07T09:59:53.358" v="17586" actId="478"/>
          <ac:spMkLst>
            <pc:docMk/>
            <pc:sldMk cId="1265683070" sldId="230717642"/>
            <ac:spMk id="112" creationId="{46652206-40EB-497D-924F-5960AA538251}"/>
          </ac:spMkLst>
        </pc:spChg>
        <pc:spChg chg="add del mod">
          <ac:chgData name="Manal El Bakkouri" userId="8b130982-2e3f-4164-b881-fd3a2e4b2453" providerId="ADAL" clId="{4457FA57-250B-44AC-8655-05D46C5A3D8A}" dt="2023-06-07T09:59:53.358" v="17586" actId="478"/>
          <ac:spMkLst>
            <pc:docMk/>
            <pc:sldMk cId="1265683070" sldId="230717642"/>
            <ac:spMk id="113" creationId="{14D65323-9C50-43EC-836E-04CAD9C458A6}"/>
          </ac:spMkLst>
        </pc:spChg>
        <pc:spChg chg="add del mod">
          <ac:chgData name="Manal El Bakkouri" userId="8b130982-2e3f-4164-b881-fd3a2e4b2453" providerId="ADAL" clId="{4457FA57-250B-44AC-8655-05D46C5A3D8A}" dt="2023-06-07T09:59:53.358" v="17586" actId="478"/>
          <ac:spMkLst>
            <pc:docMk/>
            <pc:sldMk cId="1265683070" sldId="230717642"/>
            <ac:spMk id="114" creationId="{D6A3DF9D-BD7D-4658-B3CB-8920CFB959DC}"/>
          </ac:spMkLst>
        </pc:spChg>
        <pc:spChg chg="add del mod">
          <ac:chgData name="Manal El Bakkouri" userId="8b130982-2e3f-4164-b881-fd3a2e4b2453" providerId="ADAL" clId="{4457FA57-250B-44AC-8655-05D46C5A3D8A}" dt="2023-06-06T10:36:03.592" v="9771" actId="478"/>
          <ac:spMkLst>
            <pc:docMk/>
            <pc:sldMk cId="1265683070" sldId="230717642"/>
            <ac:spMk id="115" creationId="{18C9BF47-A351-4F0F-91D7-FAA8E90D32E6}"/>
          </ac:spMkLst>
        </pc:spChg>
        <pc:spChg chg="add del mod">
          <ac:chgData name="Manal El Bakkouri" userId="8b130982-2e3f-4164-b881-fd3a2e4b2453" providerId="ADAL" clId="{4457FA57-250B-44AC-8655-05D46C5A3D8A}" dt="2023-06-07T09:59:53.358" v="17586" actId="478"/>
          <ac:spMkLst>
            <pc:docMk/>
            <pc:sldMk cId="1265683070" sldId="230717642"/>
            <ac:spMk id="116" creationId="{DD29E3B3-3998-4C12-95E8-3F68DA346BD5}"/>
          </ac:spMkLst>
        </pc:spChg>
        <pc:spChg chg="add del mod">
          <ac:chgData name="Manal El Bakkouri" userId="8b130982-2e3f-4164-b881-fd3a2e4b2453" providerId="ADAL" clId="{4457FA57-250B-44AC-8655-05D46C5A3D8A}" dt="2023-06-06T10:36:03.592" v="9771" actId="478"/>
          <ac:spMkLst>
            <pc:docMk/>
            <pc:sldMk cId="1265683070" sldId="230717642"/>
            <ac:spMk id="117" creationId="{CF5B5689-EE8C-41E6-9248-4ADF21BBC2F0}"/>
          </ac:spMkLst>
        </pc:spChg>
        <pc:spChg chg="add del mod">
          <ac:chgData name="Manal El Bakkouri" userId="8b130982-2e3f-4164-b881-fd3a2e4b2453" providerId="ADAL" clId="{4457FA57-250B-44AC-8655-05D46C5A3D8A}" dt="2023-06-07T09:59:53.358" v="17586" actId="478"/>
          <ac:spMkLst>
            <pc:docMk/>
            <pc:sldMk cId="1265683070" sldId="230717642"/>
            <ac:spMk id="118" creationId="{60A80F8A-56E6-4B70-A2EF-91A34AA04BCC}"/>
          </ac:spMkLst>
        </pc:spChg>
        <pc:spChg chg="add del mod">
          <ac:chgData name="Manal El Bakkouri" userId="8b130982-2e3f-4164-b881-fd3a2e4b2453" providerId="ADAL" clId="{4457FA57-250B-44AC-8655-05D46C5A3D8A}" dt="2023-06-07T09:59:53.358" v="17586" actId="478"/>
          <ac:spMkLst>
            <pc:docMk/>
            <pc:sldMk cId="1265683070" sldId="230717642"/>
            <ac:spMk id="119" creationId="{AB124737-FB19-4992-A928-EE5335F851A9}"/>
          </ac:spMkLst>
        </pc:spChg>
        <pc:spChg chg="add del mod">
          <ac:chgData name="Manal El Bakkouri" userId="8b130982-2e3f-4164-b881-fd3a2e4b2453" providerId="ADAL" clId="{4457FA57-250B-44AC-8655-05D46C5A3D8A}" dt="2023-06-07T09:59:53.358" v="17586" actId="478"/>
          <ac:spMkLst>
            <pc:docMk/>
            <pc:sldMk cId="1265683070" sldId="230717642"/>
            <ac:spMk id="120" creationId="{B796A163-B279-43AA-AAC3-00BC244106BA}"/>
          </ac:spMkLst>
        </pc:spChg>
        <pc:spChg chg="add del mod">
          <ac:chgData name="Manal El Bakkouri" userId="8b130982-2e3f-4164-b881-fd3a2e4b2453" providerId="ADAL" clId="{4457FA57-250B-44AC-8655-05D46C5A3D8A}" dt="2023-06-07T09:59:53.358" v="17586" actId="478"/>
          <ac:spMkLst>
            <pc:docMk/>
            <pc:sldMk cId="1265683070" sldId="230717642"/>
            <ac:spMk id="121" creationId="{89E1B02E-835E-41D8-86C3-92DE953D0EFC}"/>
          </ac:spMkLst>
        </pc:spChg>
        <pc:spChg chg="mod">
          <ac:chgData name="Manal El Bakkouri" userId="8b130982-2e3f-4164-b881-fd3a2e4b2453" providerId="ADAL" clId="{4457FA57-250B-44AC-8655-05D46C5A3D8A}" dt="2023-06-07T09:59:53.691" v="17587"/>
          <ac:spMkLst>
            <pc:docMk/>
            <pc:sldMk cId="1265683070" sldId="230717642"/>
            <ac:spMk id="123" creationId="{D1AD2804-9AC7-4020-A4AD-B3BE745C9B79}"/>
          </ac:spMkLst>
        </pc:spChg>
        <pc:spChg chg="mod">
          <ac:chgData name="Manal El Bakkouri" userId="8b130982-2e3f-4164-b881-fd3a2e4b2453" providerId="ADAL" clId="{4457FA57-250B-44AC-8655-05D46C5A3D8A}" dt="2023-06-07T09:59:53.691" v="17587"/>
          <ac:spMkLst>
            <pc:docMk/>
            <pc:sldMk cId="1265683070" sldId="230717642"/>
            <ac:spMk id="124" creationId="{AB9DBA08-E25A-4809-9803-E5B2CF845F32}"/>
          </ac:spMkLst>
        </pc:spChg>
        <pc:spChg chg="mod">
          <ac:chgData name="Manal El Bakkouri" userId="8b130982-2e3f-4164-b881-fd3a2e4b2453" providerId="ADAL" clId="{4457FA57-250B-44AC-8655-05D46C5A3D8A}" dt="2023-06-07T09:59:53.691" v="17587"/>
          <ac:spMkLst>
            <pc:docMk/>
            <pc:sldMk cId="1265683070" sldId="230717642"/>
            <ac:spMk id="126" creationId="{3B6A9B41-3459-4785-92EE-93DB26358B58}"/>
          </ac:spMkLst>
        </pc:spChg>
        <pc:spChg chg="mod">
          <ac:chgData name="Manal El Bakkouri" userId="8b130982-2e3f-4164-b881-fd3a2e4b2453" providerId="ADAL" clId="{4457FA57-250B-44AC-8655-05D46C5A3D8A}" dt="2023-06-07T09:59:53.691" v="17587"/>
          <ac:spMkLst>
            <pc:docMk/>
            <pc:sldMk cId="1265683070" sldId="230717642"/>
            <ac:spMk id="127" creationId="{7D08F94B-9ECF-438A-BC78-357C8C3A931A}"/>
          </ac:spMkLst>
        </pc:spChg>
        <pc:spChg chg="mod">
          <ac:chgData name="Manal El Bakkouri" userId="8b130982-2e3f-4164-b881-fd3a2e4b2453" providerId="ADAL" clId="{4457FA57-250B-44AC-8655-05D46C5A3D8A}" dt="2023-06-07T09:59:53.691" v="17587"/>
          <ac:spMkLst>
            <pc:docMk/>
            <pc:sldMk cId="1265683070" sldId="230717642"/>
            <ac:spMk id="129" creationId="{DAD6979C-613B-44E1-A8F1-8F76F42DD2AD}"/>
          </ac:spMkLst>
        </pc:spChg>
        <pc:spChg chg="mod">
          <ac:chgData name="Manal El Bakkouri" userId="8b130982-2e3f-4164-b881-fd3a2e4b2453" providerId="ADAL" clId="{4457FA57-250B-44AC-8655-05D46C5A3D8A}" dt="2023-06-07T09:59:53.691" v="17587"/>
          <ac:spMkLst>
            <pc:docMk/>
            <pc:sldMk cId="1265683070" sldId="230717642"/>
            <ac:spMk id="130" creationId="{F2E1316F-B123-48FE-B909-FFEABDC13C7E}"/>
          </ac:spMkLst>
        </pc:spChg>
        <pc:spChg chg="mod">
          <ac:chgData name="Manal El Bakkouri" userId="8b130982-2e3f-4164-b881-fd3a2e4b2453" providerId="ADAL" clId="{4457FA57-250B-44AC-8655-05D46C5A3D8A}" dt="2023-06-07T09:59:53.691" v="17587"/>
          <ac:spMkLst>
            <pc:docMk/>
            <pc:sldMk cId="1265683070" sldId="230717642"/>
            <ac:spMk id="132" creationId="{A0C45396-0A37-4AFD-967C-4A9E70CAB0D0}"/>
          </ac:spMkLst>
        </pc:spChg>
        <pc:spChg chg="mod">
          <ac:chgData name="Manal El Bakkouri" userId="8b130982-2e3f-4164-b881-fd3a2e4b2453" providerId="ADAL" clId="{4457FA57-250B-44AC-8655-05D46C5A3D8A}" dt="2023-06-07T09:59:53.691" v="17587"/>
          <ac:spMkLst>
            <pc:docMk/>
            <pc:sldMk cId="1265683070" sldId="230717642"/>
            <ac:spMk id="133" creationId="{71784BCC-D51E-4118-A927-6F4B17A440EA}"/>
          </ac:spMkLst>
        </pc:spChg>
        <pc:spChg chg="mod">
          <ac:chgData name="Manal El Bakkouri" userId="8b130982-2e3f-4164-b881-fd3a2e4b2453" providerId="ADAL" clId="{4457FA57-250B-44AC-8655-05D46C5A3D8A}" dt="2023-06-07T09:59:53.691" v="17587"/>
          <ac:spMkLst>
            <pc:docMk/>
            <pc:sldMk cId="1265683070" sldId="230717642"/>
            <ac:spMk id="135" creationId="{9F25FD58-C7E6-4664-A856-9FB7BC6A3733}"/>
          </ac:spMkLst>
        </pc:spChg>
        <pc:spChg chg="mod">
          <ac:chgData name="Manal El Bakkouri" userId="8b130982-2e3f-4164-b881-fd3a2e4b2453" providerId="ADAL" clId="{4457FA57-250B-44AC-8655-05D46C5A3D8A}" dt="2023-06-07T09:59:53.691" v="17587"/>
          <ac:spMkLst>
            <pc:docMk/>
            <pc:sldMk cId="1265683070" sldId="230717642"/>
            <ac:spMk id="136" creationId="{595BE490-982F-4F44-9650-DB30EB364711}"/>
          </ac:spMkLst>
        </pc:spChg>
        <pc:spChg chg="mod">
          <ac:chgData name="Manal El Bakkouri" userId="8b130982-2e3f-4164-b881-fd3a2e4b2453" providerId="ADAL" clId="{4457FA57-250B-44AC-8655-05D46C5A3D8A}" dt="2023-06-07T10:02:44.041" v="17611"/>
          <ac:spMkLst>
            <pc:docMk/>
            <pc:sldMk cId="1265683070" sldId="230717642"/>
            <ac:spMk id="138" creationId="{5C2C960C-ED8B-4838-BE56-AE051E1708E2}"/>
          </ac:spMkLst>
        </pc:spChg>
        <pc:spChg chg="mod">
          <ac:chgData name="Manal El Bakkouri" userId="8b130982-2e3f-4164-b881-fd3a2e4b2453" providerId="ADAL" clId="{4457FA57-250B-44AC-8655-05D46C5A3D8A}" dt="2023-06-07T10:02:44.041" v="17611"/>
          <ac:spMkLst>
            <pc:docMk/>
            <pc:sldMk cId="1265683070" sldId="230717642"/>
            <ac:spMk id="139" creationId="{76942C23-C70B-4A68-BAD8-B7B7A8EE211E}"/>
          </ac:spMkLst>
        </pc:spChg>
        <pc:spChg chg="mod">
          <ac:chgData name="Manal El Bakkouri" userId="8b130982-2e3f-4164-b881-fd3a2e4b2453" providerId="ADAL" clId="{4457FA57-250B-44AC-8655-05D46C5A3D8A}" dt="2023-06-07T10:02:44.041" v="17611"/>
          <ac:spMkLst>
            <pc:docMk/>
            <pc:sldMk cId="1265683070" sldId="230717642"/>
            <ac:spMk id="141" creationId="{FA5EDB61-7FA6-4B2A-B95B-A9A2077F6B59}"/>
          </ac:spMkLst>
        </pc:spChg>
        <pc:spChg chg="mod">
          <ac:chgData name="Manal El Bakkouri" userId="8b130982-2e3f-4164-b881-fd3a2e4b2453" providerId="ADAL" clId="{4457FA57-250B-44AC-8655-05D46C5A3D8A}" dt="2023-06-07T10:02:44.041" v="17611"/>
          <ac:spMkLst>
            <pc:docMk/>
            <pc:sldMk cId="1265683070" sldId="230717642"/>
            <ac:spMk id="142" creationId="{CFBE4B59-63A6-4518-B59C-9281F26C762E}"/>
          </ac:spMkLst>
        </pc:spChg>
        <pc:spChg chg="mod">
          <ac:chgData name="Manal El Bakkouri" userId="8b130982-2e3f-4164-b881-fd3a2e4b2453" providerId="ADAL" clId="{4457FA57-250B-44AC-8655-05D46C5A3D8A}" dt="2023-06-07T10:02:44.041" v="17611"/>
          <ac:spMkLst>
            <pc:docMk/>
            <pc:sldMk cId="1265683070" sldId="230717642"/>
            <ac:spMk id="144" creationId="{8435D4B2-4167-4294-960D-1F0B62847AD4}"/>
          </ac:spMkLst>
        </pc:spChg>
        <pc:spChg chg="mod">
          <ac:chgData name="Manal El Bakkouri" userId="8b130982-2e3f-4164-b881-fd3a2e4b2453" providerId="ADAL" clId="{4457FA57-250B-44AC-8655-05D46C5A3D8A}" dt="2023-06-07T10:02:44.041" v="17611"/>
          <ac:spMkLst>
            <pc:docMk/>
            <pc:sldMk cId="1265683070" sldId="230717642"/>
            <ac:spMk id="145" creationId="{D049A3A1-78D8-404E-9C82-D393A83DE2EC}"/>
          </ac:spMkLst>
        </pc:spChg>
        <pc:spChg chg="mod">
          <ac:chgData name="Manal El Bakkouri" userId="8b130982-2e3f-4164-b881-fd3a2e4b2453" providerId="ADAL" clId="{4457FA57-250B-44AC-8655-05D46C5A3D8A}" dt="2023-06-07T10:02:44.041" v="17611"/>
          <ac:spMkLst>
            <pc:docMk/>
            <pc:sldMk cId="1265683070" sldId="230717642"/>
            <ac:spMk id="147" creationId="{4BF7048A-CB32-4024-AD5D-781A4DA02927}"/>
          </ac:spMkLst>
        </pc:spChg>
        <pc:spChg chg="mod">
          <ac:chgData name="Manal El Bakkouri" userId="8b130982-2e3f-4164-b881-fd3a2e4b2453" providerId="ADAL" clId="{4457FA57-250B-44AC-8655-05D46C5A3D8A}" dt="2023-06-07T10:02:44.041" v="17611"/>
          <ac:spMkLst>
            <pc:docMk/>
            <pc:sldMk cId="1265683070" sldId="230717642"/>
            <ac:spMk id="148" creationId="{097DF116-E92F-405F-83BD-6DEFD9B6B70A}"/>
          </ac:spMkLst>
        </pc:spChg>
        <pc:spChg chg="mod">
          <ac:chgData name="Manal El Bakkouri" userId="8b130982-2e3f-4164-b881-fd3a2e4b2453" providerId="ADAL" clId="{4457FA57-250B-44AC-8655-05D46C5A3D8A}" dt="2023-06-07T10:02:44.041" v="17611"/>
          <ac:spMkLst>
            <pc:docMk/>
            <pc:sldMk cId="1265683070" sldId="230717642"/>
            <ac:spMk id="150" creationId="{CB33BCC2-C53F-4BC7-8255-AD07E198BAC7}"/>
          </ac:spMkLst>
        </pc:spChg>
        <pc:spChg chg="mod">
          <ac:chgData name="Manal El Bakkouri" userId="8b130982-2e3f-4164-b881-fd3a2e4b2453" providerId="ADAL" clId="{4457FA57-250B-44AC-8655-05D46C5A3D8A}" dt="2023-06-07T10:02:44.041" v="17611"/>
          <ac:spMkLst>
            <pc:docMk/>
            <pc:sldMk cId="1265683070" sldId="230717642"/>
            <ac:spMk id="151" creationId="{DFB3E371-3928-4304-91C7-A9843591808C}"/>
          </ac:spMkLst>
        </pc:spChg>
        <pc:grpChg chg="add mod">
          <ac:chgData name="Manal El Bakkouri" userId="8b130982-2e3f-4164-b881-fd3a2e4b2453" providerId="ADAL" clId="{4457FA57-250B-44AC-8655-05D46C5A3D8A}" dt="2023-06-09T11:08:09.513" v="21520"/>
          <ac:grpSpMkLst>
            <pc:docMk/>
            <pc:sldMk cId="1265683070" sldId="230717642"/>
            <ac:grpSpMk id="72" creationId="{20DA6E3F-0544-4BE7-96D3-1BC4417C6FAE}"/>
          </ac:grpSpMkLst>
        </pc:grpChg>
        <pc:grpChg chg="add mod">
          <ac:chgData name="Manal El Bakkouri" userId="8b130982-2e3f-4164-b881-fd3a2e4b2453" providerId="ADAL" clId="{4457FA57-250B-44AC-8655-05D46C5A3D8A}" dt="2023-06-09T11:08:09.513" v="21520"/>
          <ac:grpSpMkLst>
            <pc:docMk/>
            <pc:sldMk cId="1265683070" sldId="230717642"/>
            <ac:grpSpMk id="84" creationId="{C8CFA950-4025-4911-8B68-86A4A61B1099}"/>
          </ac:grpSpMkLst>
        </pc:grpChg>
        <pc:grpChg chg="add mod">
          <ac:chgData name="Manal El Bakkouri" userId="8b130982-2e3f-4164-b881-fd3a2e4b2453" providerId="ADAL" clId="{4457FA57-250B-44AC-8655-05D46C5A3D8A}" dt="2023-06-09T11:08:09.513" v="21520"/>
          <ac:grpSpMkLst>
            <pc:docMk/>
            <pc:sldMk cId="1265683070" sldId="230717642"/>
            <ac:grpSpMk id="90" creationId="{45328C5D-4D81-479D-A7A7-1B342B48CCA7}"/>
          </ac:grpSpMkLst>
        </pc:grpChg>
        <pc:grpChg chg="add mod">
          <ac:chgData name="Manal El Bakkouri" userId="8b130982-2e3f-4164-b881-fd3a2e4b2453" providerId="ADAL" clId="{4457FA57-250B-44AC-8655-05D46C5A3D8A}" dt="2023-06-09T11:08:09.513" v="21520"/>
          <ac:grpSpMkLst>
            <pc:docMk/>
            <pc:sldMk cId="1265683070" sldId="230717642"/>
            <ac:grpSpMk id="94" creationId="{F6F7D84E-A0C1-4A98-9BCC-5E0B68E564F5}"/>
          </ac:grpSpMkLst>
        </pc:grpChg>
        <pc:grpChg chg="add mod">
          <ac:chgData name="Manal El Bakkouri" userId="8b130982-2e3f-4164-b881-fd3a2e4b2453" providerId="ADAL" clId="{4457FA57-250B-44AC-8655-05D46C5A3D8A}" dt="2023-06-09T11:08:09.513" v="21520"/>
          <ac:grpSpMkLst>
            <pc:docMk/>
            <pc:sldMk cId="1265683070" sldId="230717642"/>
            <ac:grpSpMk id="97" creationId="{FEB6C661-4699-42FB-AB0D-8AF6AB3DC6DB}"/>
          </ac:grpSpMkLst>
        </pc:grpChg>
        <pc:grpChg chg="add del mod">
          <ac:chgData name="Manal El Bakkouri" userId="8b130982-2e3f-4164-b881-fd3a2e4b2453" providerId="ADAL" clId="{4457FA57-250B-44AC-8655-05D46C5A3D8A}" dt="2023-06-07T10:02:42.974" v="17610" actId="478"/>
          <ac:grpSpMkLst>
            <pc:docMk/>
            <pc:sldMk cId="1265683070" sldId="230717642"/>
            <ac:grpSpMk id="122" creationId="{FC7F295E-7B8F-44B7-B417-CB1B080DB4F2}"/>
          </ac:grpSpMkLst>
        </pc:grpChg>
        <pc:grpChg chg="add del mod">
          <ac:chgData name="Manal El Bakkouri" userId="8b130982-2e3f-4164-b881-fd3a2e4b2453" providerId="ADAL" clId="{4457FA57-250B-44AC-8655-05D46C5A3D8A}" dt="2023-06-07T10:02:42.974" v="17610" actId="478"/>
          <ac:grpSpMkLst>
            <pc:docMk/>
            <pc:sldMk cId="1265683070" sldId="230717642"/>
            <ac:grpSpMk id="125" creationId="{F9CBB027-AC0B-4C33-90D0-A637463AA616}"/>
          </ac:grpSpMkLst>
        </pc:grpChg>
        <pc:grpChg chg="add del mod">
          <ac:chgData name="Manal El Bakkouri" userId="8b130982-2e3f-4164-b881-fd3a2e4b2453" providerId="ADAL" clId="{4457FA57-250B-44AC-8655-05D46C5A3D8A}" dt="2023-06-07T10:02:42.974" v="17610" actId="478"/>
          <ac:grpSpMkLst>
            <pc:docMk/>
            <pc:sldMk cId="1265683070" sldId="230717642"/>
            <ac:grpSpMk id="128" creationId="{8BED34B0-CC5F-465B-B984-E1EB15D44DEE}"/>
          </ac:grpSpMkLst>
        </pc:grpChg>
        <pc:grpChg chg="add del mod">
          <ac:chgData name="Manal El Bakkouri" userId="8b130982-2e3f-4164-b881-fd3a2e4b2453" providerId="ADAL" clId="{4457FA57-250B-44AC-8655-05D46C5A3D8A}" dt="2023-06-07T10:02:42.974" v="17610" actId="478"/>
          <ac:grpSpMkLst>
            <pc:docMk/>
            <pc:sldMk cId="1265683070" sldId="230717642"/>
            <ac:grpSpMk id="131" creationId="{F671D460-3BEA-4805-ACA4-BFB34D67214B}"/>
          </ac:grpSpMkLst>
        </pc:grpChg>
        <pc:grpChg chg="add del mod">
          <ac:chgData name="Manal El Bakkouri" userId="8b130982-2e3f-4164-b881-fd3a2e4b2453" providerId="ADAL" clId="{4457FA57-250B-44AC-8655-05D46C5A3D8A}" dt="2023-06-07T10:02:42.974" v="17610" actId="478"/>
          <ac:grpSpMkLst>
            <pc:docMk/>
            <pc:sldMk cId="1265683070" sldId="230717642"/>
            <ac:grpSpMk id="134" creationId="{D3E7D79A-5FDB-4B45-A5E9-A055C886373B}"/>
          </ac:grpSpMkLst>
        </pc:grpChg>
        <pc:grpChg chg="add del mod">
          <ac:chgData name="Manal El Bakkouri" userId="8b130982-2e3f-4164-b881-fd3a2e4b2453" providerId="ADAL" clId="{4457FA57-250B-44AC-8655-05D46C5A3D8A}" dt="2023-06-09T11:08:08.866" v="21519" actId="478"/>
          <ac:grpSpMkLst>
            <pc:docMk/>
            <pc:sldMk cId="1265683070" sldId="230717642"/>
            <ac:grpSpMk id="137" creationId="{1DA96A03-4A88-4F3A-90F8-D8D47F057B27}"/>
          </ac:grpSpMkLst>
        </pc:grpChg>
        <pc:grpChg chg="add del mod">
          <ac:chgData name="Manal El Bakkouri" userId="8b130982-2e3f-4164-b881-fd3a2e4b2453" providerId="ADAL" clId="{4457FA57-250B-44AC-8655-05D46C5A3D8A}" dt="2023-06-09T11:08:08.866" v="21519" actId="478"/>
          <ac:grpSpMkLst>
            <pc:docMk/>
            <pc:sldMk cId="1265683070" sldId="230717642"/>
            <ac:grpSpMk id="140" creationId="{3E235B14-1F1F-4B68-9C4B-4377ACCCA8C4}"/>
          </ac:grpSpMkLst>
        </pc:grpChg>
        <pc:grpChg chg="add del mod">
          <ac:chgData name="Manal El Bakkouri" userId="8b130982-2e3f-4164-b881-fd3a2e4b2453" providerId="ADAL" clId="{4457FA57-250B-44AC-8655-05D46C5A3D8A}" dt="2023-06-09T11:08:08.866" v="21519" actId="478"/>
          <ac:grpSpMkLst>
            <pc:docMk/>
            <pc:sldMk cId="1265683070" sldId="230717642"/>
            <ac:grpSpMk id="143" creationId="{34363AE6-0506-4614-840D-93A79DF7E1A8}"/>
          </ac:grpSpMkLst>
        </pc:grpChg>
        <pc:grpChg chg="add del mod">
          <ac:chgData name="Manal El Bakkouri" userId="8b130982-2e3f-4164-b881-fd3a2e4b2453" providerId="ADAL" clId="{4457FA57-250B-44AC-8655-05D46C5A3D8A}" dt="2023-06-09T11:08:08.866" v="21519" actId="478"/>
          <ac:grpSpMkLst>
            <pc:docMk/>
            <pc:sldMk cId="1265683070" sldId="230717642"/>
            <ac:grpSpMk id="146" creationId="{EB360E34-17F1-4BC4-AB03-D4957F3C5B5C}"/>
          </ac:grpSpMkLst>
        </pc:grpChg>
        <pc:grpChg chg="add del mod">
          <ac:chgData name="Manal El Bakkouri" userId="8b130982-2e3f-4164-b881-fd3a2e4b2453" providerId="ADAL" clId="{4457FA57-250B-44AC-8655-05D46C5A3D8A}" dt="2023-06-09T11:08:08.866" v="21519" actId="478"/>
          <ac:grpSpMkLst>
            <pc:docMk/>
            <pc:sldMk cId="1265683070" sldId="230717642"/>
            <ac:grpSpMk id="149" creationId="{448C72AE-1B9E-4823-BC08-7F63E2EE271A}"/>
          </ac:grpSpMkLst>
        </pc:grpChg>
        <pc:graphicFrameChg chg="add del modGraphic">
          <ac:chgData name="Manal El Bakkouri" userId="8b130982-2e3f-4164-b881-fd3a2e4b2453" providerId="ADAL" clId="{4457FA57-250B-44AC-8655-05D46C5A3D8A}" dt="2023-06-03T17:54:22.612" v="5953" actId="27309"/>
          <ac:graphicFrameMkLst>
            <pc:docMk/>
            <pc:sldMk cId="1265683070" sldId="230717642"/>
            <ac:graphicFrameMk id="3" creationId="{5FA1FC1E-2EF2-4586-A252-D5A75EB536AF}"/>
          </ac:graphicFrameMkLst>
        </pc:graphicFrameChg>
        <pc:picChg chg="del">
          <ac:chgData name="Manal El Bakkouri" userId="8b130982-2e3f-4164-b881-fd3a2e4b2453" providerId="ADAL" clId="{4457FA57-250B-44AC-8655-05D46C5A3D8A}" dt="2023-06-04T12:19:59.934" v="7266" actId="478"/>
          <ac:picMkLst>
            <pc:docMk/>
            <pc:sldMk cId="1265683070" sldId="230717642"/>
            <ac:picMk id="34" creationId="{D564EC6A-F3F4-4B76-8AAB-763C9CFA7863}"/>
          </ac:picMkLst>
        </pc:picChg>
        <pc:picChg chg="del">
          <ac:chgData name="Manal El Bakkouri" userId="8b130982-2e3f-4164-b881-fd3a2e4b2453" providerId="ADAL" clId="{4457FA57-250B-44AC-8655-05D46C5A3D8A}" dt="2023-06-04T12:20:05.215" v="7269" actId="478"/>
          <ac:picMkLst>
            <pc:docMk/>
            <pc:sldMk cId="1265683070" sldId="230717642"/>
            <ac:picMk id="90" creationId="{E6EABDD6-2E77-487C-BDEE-E07358A7FDB8}"/>
          </ac:picMkLst>
        </pc:picChg>
        <pc:picChg chg="add mod">
          <ac:chgData name="Manal El Bakkouri" userId="8b130982-2e3f-4164-b881-fd3a2e4b2453" providerId="ADAL" clId="{4457FA57-250B-44AC-8655-05D46C5A3D8A}" dt="2023-06-04T12:15:33.599" v="7197"/>
          <ac:picMkLst>
            <pc:docMk/>
            <pc:sldMk cId="1265683070" sldId="230717642"/>
            <ac:picMk id="110" creationId="{F1ED0EA8-F7B6-4295-81C2-E134A87EE922}"/>
          </ac:picMkLst>
        </pc:picChg>
        <pc:picChg chg="add mod">
          <ac:chgData name="Manal El Bakkouri" userId="8b130982-2e3f-4164-b881-fd3a2e4b2453" providerId="ADAL" clId="{4457FA57-250B-44AC-8655-05D46C5A3D8A}" dt="2023-06-04T12:15:41.927" v="7199"/>
          <ac:picMkLst>
            <pc:docMk/>
            <pc:sldMk cId="1265683070" sldId="230717642"/>
            <ac:picMk id="111" creationId="{0A9B24F4-7D21-48BE-91F8-091F2EC87567}"/>
          </ac:picMkLst>
        </pc:picChg>
      </pc:sldChg>
      <pc:sldChg chg="addSp delSp modSp mod ord delCm modNotesTx">
        <pc:chgData name="Manal El Bakkouri" userId="8b130982-2e3f-4164-b881-fd3a2e4b2453" providerId="ADAL" clId="{4457FA57-250B-44AC-8655-05D46C5A3D8A}" dt="2023-06-09T11:27:05.771" v="21718"/>
        <pc:sldMkLst>
          <pc:docMk/>
          <pc:sldMk cId="3729411383" sldId="230717643"/>
        </pc:sldMkLst>
        <pc:spChg chg="del">
          <ac:chgData name="Manal El Bakkouri" userId="8b130982-2e3f-4164-b881-fd3a2e4b2453" providerId="ADAL" clId="{4457FA57-250B-44AC-8655-05D46C5A3D8A}" dt="2023-06-01T10:51:08.935" v="804" actId="478"/>
          <ac:spMkLst>
            <pc:docMk/>
            <pc:sldMk cId="3729411383" sldId="230717643"/>
            <ac:spMk id="5" creationId="{69C4EAFA-2974-4E37-8592-9C197CC3BBB3}"/>
          </ac:spMkLst>
        </pc:spChg>
        <pc:spChg chg="del">
          <ac:chgData name="Manal El Bakkouri" userId="8b130982-2e3f-4164-b881-fd3a2e4b2453" providerId="ADAL" clId="{4457FA57-250B-44AC-8655-05D46C5A3D8A}" dt="2023-06-01T10:51:08.935" v="804" actId="478"/>
          <ac:spMkLst>
            <pc:docMk/>
            <pc:sldMk cId="3729411383" sldId="230717643"/>
            <ac:spMk id="6" creationId="{32C48A35-5BEA-49F9-9980-2AF727EA5AA4}"/>
          </ac:spMkLst>
        </pc:spChg>
        <pc:spChg chg="del">
          <ac:chgData name="Manal El Bakkouri" userId="8b130982-2e3f-4164-b881-fd3a2e4b2453" providerId="ADAL" clId="{4457FA57-250B-44AC-8655-05D46C5A3D8A}" dt="2023-06-01T10:51:08.935" v="804" actId="478"/>
          <ac:spMkLst>
            <pc:docMk/>
            <pc:sldMk cId="3729411383" sldId="230717643"/>
            <ac:spMk id="7" creationId="{5EDEB5F4-8A38-4F74-BAF2-096E8B3744A4}"/>
          </ac:spMkLst>
        </pc:spChg>
        <pc:spChg chg="del">
          <ac:chgData name="Manal El Bakkouri" userId="8b130982-2e3f-4164-b881-fd3a2e4b2453" providerId="ADAL" clId="{4457FA57-250B-44AC-8655-05D46C5A3D8A}" dt="2023-06-01T10:51:08.935" v="804" actId="478"/>
          <ac:spMkLst>
            <pc:docMk/>
            <pc:sldMk cId="3729411383" sldId="230717643"/>
            <ac:spMk id="8" creationId="{849F1465-07BA-4664-AABF-7A5D982A674A}"/>
          </ac:spMkLst>
        </pc:spChg>
        <pc:spChg chg="del">
          <ac:chgData name="Manal El Bakkouri" userId="8b130982-2e3f-4164-b881-fd3a2e4b2453" providerId="ADAL" clId="{4457FA57-250B-44AC-8655-05D46C5A3D8A}" dt="2023-06-01T10:51:08.935" v="804" actId="478"/>
          <ac:spMkLst>
            <pc:docMk/>
            <pc:sldMk cId="3729411383" sldId="230717643"/>
            <ac:spMk id="9" creationId="{B8C3B9F3-CE16-40D7-A4D3-DFC337363359}"/>
          </ac:spMkLst>
        </pc:spChg>
        <pc:spChg chg="del">
          <ac:chgData name="Manal El Bakkouri" userId="8b130982-2e3f-4164-b881-fd3a2e4b2453" providerId="ADAL" clId="{4457FA57-250B-44AC-8655-05D46C5A3D8A}" dt="2023-06-01T10:51:08.935" v="804" actId="478"/>
          <ac:spMkLst>
            <pc:docMk/>
            <pc:sldMk cId="3729411383" sldId="230717643"/>
            <ac:spMk id="10" creationId="{519BFE4F-E47D-4D4E-8E6E-A0CAD7D6973A}"/>
          </ac:spMkLst>
        </pc:spChg>
        <pc:spChg chg="del">
          <ac:chgData name="Manal El Bakkouri" userId="8b130982-2e3f-4164-b881-fd3a2e4b2453" providerId="ADAL" clId="{4457FA57-250B-44AC-8655-05D46C5A3D8A}" dt="2023-06-01T10:51:08.935" v="804" actId="478"/>
          <ac:spMkLst>
            <pc:docMk/>
            <pc:sldMk cId="3729411383" sldId="230717643"/>
            <ac:spMk id="11" creationId="{A3EFDF1C-12A1-4743-8960-69874FE41098}"/>
          </ac:spMkLst>
        </pc:spChg>
        <pc:spChg chg="del">
          <ac:chgData name="Manal El Bakkouri" userId="8b130982-2e3f-4164-b881-fd3a2e4b2453" providerId="ADAL" clId="{4457FA57-250B-44AC-8655-05D46C5A3D8A}" dt="2023-06-01T10:51:08.935" v="804" actId="478"/>
          <ac:spMkLst>
            <pc:docMk/>
            <pc:sldMk cId="3729411383" sldId="230717643"/>
            <ac:spMk id="12" creationId="{4241D0F7-E527-4CE5-B689-DB2115B86044}"/>
          </ac:spMkLst>
        </pc:spChg>
        <pc:spChg chg="del">
          <ac:chgData name="Manal El Bakkouri" userId="8b130982-2e3f-4164-b881-fd3a2e4b2453" providerId="ADAL" clId="{4457FA57-250B-44AC-8655-05D46C5A3D8A}" dt="2023-06-01T10:51:08.935" v="804" actId="478"/>
          <ac:spMkLst>
            <pc:docMk/>
            <pc:sldMk cId="3729411383" sldId="230717643"/>
            <ac:spMk id="13" creationId="{0EDA7FA7-2C16-44E2-8669-2DDE5096F2E8}"/>
          </ac:spMkLst>
        </pc:spChg>
        <pc:spChg chg="del">
          <ac:chgData name="Manal El Bakkouri" userId="8b130982-2e3f-4164-b881-fd3a2e4b2453" providerId="ADAL" clId="{4457FA57-250B-44AC-8655-05D46C5A3D8A}" dt="2023-06-01T10:51:08.935" v="804" actId="478"/>
          <ac:spMkLst>
            <pc:docMk/>
            <pc:sldMk cId="3729411383" sldId="230717643"/>
            <ac:spMk id="14" creationId="{CEB9FA07-14B8-4CB2-BE10-700DB9E42198}"/>
          </ac:spMkLst>
        </pc:spChg>
        <pc:spChg chg="mod">
          <ac:chgData name="Manal El Bakkouri" userId="8b130982-2e3f-4164-b881-fd3a2e4b2453" providerId="ADAL" clId="{4457FA57-250B-44AC-8655-05D46C5A3D8A}" dt="2023-06-05T14:03:52.964" v="8383" actId="20577"/>
          <ac:spMkLst>
            <pc:docMk/>
            <pc:sldMk cId="3729411383" sldId="230717643"/>
            <ac:spMk id="17" creationId="{D4D4EFC9-7158-4F85-9BCE-DF6BA32427CB}"/>
          </ac:spMkLst>
        </pc:spChg>
        <pc:spChg chg="mod">
          <ac:chgData name="Manal El Bakkouri" userId="8b130982-2e3f-4164-b881-fd3a2e4b2453" providerId="ADAL" clId="{4457FA57-250B-44AC-8655-05D46C5A3D8A}" dt="2023-06-05T14:03:58.422" v="8386" actId="20577"/>
          <ac:spMkLst>
            <pc:docMk/>
            <pc:sldMk cId="3729411383" sldId="230717643"/>
            <ac:spMk id="18" creationId="{2FAE4F4F-219F-4F7D-9CD5-D6CDFFA1A22A}"/>
          </ac:spMkLst>
        </pc:spChg>
        <pc:spChg chg="mod">
          <ac:chgData name="Manal El Bakkouri" userId="8b130982-2e3f-4164-b881-fd3a2e4b2453" providerId="ADAL" clId="{4457FA57-250B-44AC-8655-05D46C5A3D8A}" dt="2023-06-05T14:04:03.931" v="8389" actId="20577"/>
          <ac:spMkLst>
            <pc:docMk/>
            <pc:sldMk cId="3729411383" sldId="230717643"/>
            <ac:spMk id="19" creationId="{D5A1B59A-AED9-4F13-A8BC-55A553C0F6C8}"/>
          </ac:spMkLst>
        </pc:spChg>
        <pc:spChg chg="mod">
          <ac:chgData name="Manal El Bakkouri" userId="8b130982-2e3f-4164-b881-fd3a2e4b2453" providerId="ADAL" clId="{4457FA57-250B-44AC-8655-05D46C5A3D8A}" dt="2023-06-05T14:04:10.775" v="8392" actId="20577"/>
          <ac:spMkLst>
            <pc:docMk/>
            <pc:sldMk cId="3729411383" sldId="230717643"/>
            <ac:spMk id="20" creationId="{C34B01CB-F757-4631-ADB8-A458A5E35F2A}"/>
          </ac:spMkLst>
        </pc:spChg>
        <pc:spChg chg="mod">
          <ac:chgData name="Manal El Bakkouri" userId="8b130982-2e3f-4164-b881-fd3a2e4b2453" providerId="ADAL" clId="{4457FA57-250B-44AC-8655-05D46C5A3D8A}" dt="2023-06-05T14:04:15.672" v="8395" actId="20577"/>
          <ac:spMkLst>
            <pc:docMk/>
            <pc:sldMk cId="3729411383" sldId="230717643"/>
            <ac:spMk id="21" creationId="{A77C1713-2DDA-4727-BEE5-CF0DE1F8B90F}"/>
          </ac:spMkLst>
        </pc:spChg>
        <pc:spChg chg="mod">
          <ac:chgData name="Manal El Bakkouri" userId="8b130982-2e3f-4164-b881-fd3a2e4b2453" providerId="ADAL" clId="{4457FA57-250B-44AC-8655-05D46C5A3D8A}" dt="2023-06-05T14:04:20.709" v="8398" actId="20577"/>
          <ac:spMkLst>
            <pc:docMk/>
            <pc:sldMk cId="3729411383" sldId="230717643"/>
            <ac:spMk id="22" creationId="{FEE672B1-F5C9-4E95-B060-9B053FE7AA61}"/>
          </ac:spMkLst>
        </pc:spChg>
        <pc:spChg chg="add del mod">
          <ac:chgData name="Manal El Bakkouri" userId="8b130982-2e3f-4164-b881-fd3a2e4b2453" providerId="ADAL" clId="{4457FA57-250B-44AC-8655-05D46C5A3D8A}" dt="2023-06-09T11:27:04.924" v="21717" actId="478"/>
          <ac:spMkLst>
            <pc:docMk/>
            <pc:sldMk cId="3729411383" sldId="230717643"/>
            <ac:spMk id="41" creationId="{F1964862-89DC-426A-BE66-F30DBE56C6DE}"/>
          </ac:spMkLst>
        </pc:spChg>
        <pc:spChg chg="add del mod">
          <ac:chgData name="Manal El Bakkouri" userId="8b130982-2e3f-4164-b881-fd3a2e4b2453" providerId="ADAL" clId="{4457FA57-250B-44AC-8655-05D46C5A3D8A}" dt="2023-06-09T11:27:04.924" v="21717" actId="478"/>
          <ac:spMkLst>
            <pc:docMk/>
            <pc:sldMk cId="3729411383" sldId="230717643"/>
            <ac:spMk id="42" creationId="{1934A803-C896-41F2-B0AB-0D0059EC6F27}"/>
          </ac:spMkLst>
        </pc:spChg>
        <pc:spChg chg="add del mod">
          <ac:chgData name="Manal El Bakkouri" userId="8b130982-2e3f-4164-b881-fd3a2e4b2453" providerId="ADAL" clId="{4457FA57-250B-44AC-8655-05D46C5A3D8A}" dt="2023-06-09T11:27:04.924" v="21717" actId="478"/>
          <ac:spMkLst>
            <pc:docMk/>
            <pc:sldMk cId="3729411383" sldId="230717643"/>
            <ac:spMk id="43" creationId="{24F6A214-70D0-4DCF-B2F5-5FE6A27702B8}"/>
          </ac:spMkLst>
        </pc:spChg>
        <pc:spChg chg="add del mod">
          <ac:chgData name="Manal El Bakkouri" userId="8b130982-2e3f-4164-b881-fd3a2e4b2453" providerId="ADAL" clId="{4457FA57-250B-44AC-8655-05D46C5A3D8A}" dt="2023-06-06T10:35:21.977" v="9758" actId="478"/>
          <ac:spMkLst>
            <pc:docMk/>
            <pc:sldMk cId="3729411383" sldId="230717643"/>
            <ac:spMk id="44" creationId="{EC106AE8-B5EB-4541-8A0A-FF22AC8FCBC6}"/>
          </ac:spMkLst>
        </pc:spChg>
        <pc:spChg chg="add del mod">
          <ac:chgData name="Manal El Bakkouri" userId="8b130982-2e3f-4164-b881-fd3a2e4b2453" providerId="ADAL" clId="{4457FA57-250B-44AC-8655-05D46C5A3D8A}" dt="2023-06-06T08:38:11.913" v="8803" actId="478"/>
          <ac:spMkLst>
            <pc:docMk/>
            <pc:sldMk cId="3729411383" sldId="230717643"/>
            <ac:spMk id="45" creationId="{A18F0D28-8A84-4533-B1F8-AB16CCEF8E43}"/>
          </ac:spMkLst>
        </pc:spChg>
        <pc:spChg chg="add del mod">
          <ac:chgData name="Manal El Bakkouri" userId="8b130982-2e3f-4164-b881-fd3a2e4b2453" providerId="ADAL" clId="{4457FA57-250B-44AC-8655-05D46C5A3D8A}" dt="2023-06-06T10:35:21.977" v="9758" actId="478"/>
          <ac:spMkLst>
            <pc:docMk/>
            <pc:sldMk cId="3729411383" sldId="230717643"/>
            <ac:spMk id="46" creationId="{7573FE7C-0941-488A-879A-86B4BBB1FCE3}"/>
          </ac:spMkLst>
        </pc:spChg>
        <pc:spChg chg="mod">
          <ac:chgData name="Manal El Bakkouri" userId="8b130982-2e3f-4164-b881-fd3a2e4b2453" providerId="ADAL" clId="{4457FA57-250B-44AC-8655-05D46C5A3D8A}" dt="2023-06-06T08:32:06.599" v="8704" actId="12788"/>
          <ac:spMkLst>
            <pc:docMk/>
            <pc:sldMk cId="3729411383" sldId="230717643"/>
            <ac:spMk id="47" creationId="{096E8A6B-283E-47FA-AF6B-B5DE189E125F}"/>
          </ac:spMkLst>
        </pc:spChg>
        <pc:spChg chg="add del mod">
          <ac:chgData name="Manal El Bakkouri" userId="8b130982-2e3f-4164-b881-fd3a2e4b2453" providerId="ADAL" clId="{4457FA57-250B-44AC-8655-05D46C5A3D8A}" dt="2023-06-07T09:59:29.641" v="17582" actId="478"/>
          <ac:spMkLst>
            <pc:docMk/>
            <pc:sldMk cId="3729411383" sldId="230717643"/>
            <ac:spMk id="49" creationId="{6ADF4873-BA5E-4B08-94DD-8F9AF8CEAB67}"/>
          </ac:spMkLst>
        </pc:spChg>
        <pc:spChg chg="mod">
          <ac:chgData name="Manal El Bakkouri" userId="8b130982-2e3f-4164-b881-fd3a2e4b2453" providerId="ADAL" clId="{4457FA57-250B-44AC-8655-05D46C5A3D8A}" dt="2023-06-09T11:06:53.247" v="21500"/>
          <ac:spMkLst>
            <pc:docMk/>
            <pc:sldMk cId="3729411383" sldId="230717643"/>
            <ac:spMk id="49" creationId="{ABA1CA62-DEFA-4364-AF47-8D893D025859}"/>
          </ac:spMkLst>
        </pc:spChg>
        <pc:spChg chg="mod">
          <ac:chgData name="Manal El Bakkouri" userId="8b130982-2e3f-4164-b881-fd3a2e4b2453" providerId="ADAL" clId="{4457FA57-250B-44AC-8655-05D46C5A3D8A}" dt="2023-06-09T11:06:53.247" v="21500"/>
          <ac:spMkLst>
            <pc:docMk/>
            <pc:sldMk cId="3729411383" sldId="230717643"/>
            <ac:spMk id="50" creationId="{79070EFE-4C7C-43C5-B0A0-6BCB203AEAD4}"/>
          </ac:spMkLst>
        </pc:spChg>
        <pc:spChg chg="add del mod">
          <ac:chgData name="Manal El Bakkouri" userId="8b130982-2e3f-4164-b881-fd3a2e4b2453" providerId="ADAL" clId="{4457FA57-250B-44AC-8655-05D46C5A3D8A}" dt="2023-06-06T10:35:21.977" v="9758" actId="478"/>
          <ac:spMkLst>
            <pc:docMk/>
            <pc:sldMk cId="3729411383" sldId="230717643"/>
            <ac:spMk id="50" creationId="{C709644C-3452-4A94-A946-01FB6AC023EE}"/>
          </ac:spMkLst>
        </pc:spChg>
        <pc:spChg chg="add del mod">
          <ac:chgData name="Manal El Bakkouri" userId="8b130982-2e3f-4164-b881-fd3a2e4b2453" providerId="ADAL" clId="{4457FA57-250B-44AC-8655-05D46C5A3D8A}" dt="2023-06-06T08:38:11.913" v="8803" actId="478"/>
          <ac:spMkLst>
            <pc:docMk/>
            <pc:sldMk cId="3729411383" sldId="230717643"/>
            <ac:spMk id="51" creationId="{2312CCB6-CB7C-43C6-ABC2-A5D5DCC77928}"/>
          </ac:spMkLst>
        </pc:spChg>
        <pc:spChg chg="mod">
          <ac:chgData name="Manal El Bakkouri" userId="8b130982-2e3f-4164-b881-fd3a2e4b2453" providerId="ADAL" clId="{4457FA57-250B-44AC-8655-05D46C5A3D8A}" dt="2023-06-09T11:06:53.247" v="21500"/>
          <ac:spMkLst>
            <pc:docMk/>
            <pc:sldMk cId="3729411383" sldId="230717643"/>
            <ac:spMk id="52" creationId="{AE65E22B-0A36-4A6C-9C11-442202CA8F63}"/>
          </ac:spMkLst>
        </pc:spChg>
        <pc:spChg chg="add del mod">
          <ac:chgData name="Manal El Bakkouri" userId="8b130982-2e3f-4164-b881-fd3a2e4b2453" providerId="ADAL" clId="{4457FA57-250B-44AC-8655-05D46C5A3D8A}" dt="2023-06-06T10:35:21.977" v="9758" actId="478"/>
          <ac:spMkLst>
            <pc:docMk/>
            <pc:sldMk cId="3729411383" sldId="230717643"/>
            <ac:spMk id="52" creationId="{C45B261C-22D0-465B-9464-A4FDB98DB22E}"/>
          </ac:spMkLst>
        </pc:spChg>
        <pc:spChg chg="add del mod">
          <ac:chgData name="Manal El Bakkouri" userId="8b130982-2e3f-4164-b881-fd3a2e4b2453" providerId="ADAL" clId="{4457FA57-250B-44AC-8655-05D46C5A3D8A}" dt="2023-06-07T09:59:29.641" v="17582" actId="478"/>
          <ac:spMkLst>
            <pc:docMk/>
            <pc:sldMk cId="3729411383" sldId="230717643"/>
            <ac:spMk id="53" creationId="{7FC5EC11-2472-454B-B4EF-83905BDD1FC6}"/>
          </ac:spMkLst>
        </pc:spChg>
        <pc:spChg chg="mod">
          <ac:chgData name="Manal El Bakkouri" userId="8b130982-2e3f-4164-b881-fd3a2e4b2453" providerId="ADAL" clId="{4457FA57-250B-44AC-8655-05D46C5A3D8A}" dt="2023-06-09T11:06:53.247" v="21500"/>
          <ac:spMkLst>
            <pc:docMk/>
            <pc:sldMk cId="3729411383" sldId="230717643"/>
            <ac:spMk id="53" creationId="{84F91566-C20B-44C0-B0FA-AE952A876320}"/>
          </ac:spMkLst>
        </pc:spChg>
        <pc:spChg chg="add del mod">
          <ac:chgData name="Manal El Bakkouri" userId="8b130982-2e3f-4164-b881-fd3a2e4b2453" providerId="ADAL" clId="{4457FA57-250B-44AC-8655-05D46C5A3D8A}" dt="2023-06-06T10:35:21.977" v="9758" actId="478"/>
          <ac:spMkLst>
            <pc:docMk/>
            <pc:sldMk cId="3729411383" sldId="230717643"/>
            <ac:spMk id="54" creationId="{5CD05A95-7C15-4025-B562-5A43E95AD737}"/>
          </ac:spMkLst>
        </pc:spChg>
        <pc:spChg chg="mod">
          <ac:chgData name="Manal El Bakkouri" userId="8b130982-2e3f-4164-b881-fd3a2e4b2453" providerId="ADAL" clId="{4457FA57-250B-44AC-8655-05D46C5A3D8A}" dt="2023-06-09T11:07:16.098" v="21505" actId="207"/>
          <ac:spMkLst>
            <pc:docMk/>
            <pc:sldMk cId="3729411383" sldId="230717643"/>
            <ac:spMk id="55" creationId="{67C73588-FA69-4A22-9471-9803A9B27819}"/>
          </ac:spMkLst>
        </pc:spChg>
        <pc:spChg chg="add del mod">
          <ac:chgData name="Manal El Bakkouri" userId="8b130982-2e3f-4164-b881-fd3a2e4b2453" providerId="ADAL" clId="{4457FA57-250B-44AC-8655-05D46C5A3D8A}" dt="2023-06-06T10:35:21.977" v="9758" actId="478"/>
          <ac:spMkLst>
            <pc:docMk/>
            <pc:sldMk cId="3729411383" sldId="230717643"/>
            <ac:spMk id="55" creationId="{FE401DBD-33D1-44A6-A798-2E577BCC78AD}"/>
          </ac:spMkLst>
        </pc:spChg>
        <pc:spChg chg="add mod">
          <ac:chgData name="Manal El Bakkouri" userId="8b130982-2e3f-4164-b881-fd3a2e4b2453" providerId="ADAL" clId="{4457FA57-250B-44AC-8655-05D46C5A3D8A}" dt="2023-06-04T13:09:57.145" v="7645" actId="20577"/>
          <ac:spMkLst>
            <pc:docMk/>
            <pc:sldMk cId="3729411383" sldId="230717643"/>
            <ac:spMk id="56" creationId="{D356383B-216F-4856-B293-B416EEDDE6E9}"/>
          </ac:spMkLst>
        </pc:spChg>
        <pc:spChg chg="mod">
          <ac:chgData name="Manal El Bakkouri" userId="8b130982-2e3f-4164-b881-fd3a2e4b2453" providerId="ADAL" clId="{4457FA57-250B-44AC-8655-05D46C5A3D8A}" dt="2023-06-09T11:07:11.285" v="21504" actId="207"/>
          <ac:spMkLst>
            <pc:docMk/>
            <pc:sldMk cId="3729411383" sldId="230717643"/>
            <ac:spMk id="57" creationId="{0182D316-7D95-49A4-B05E-EEF6E5503CB9}"/>
          </ac:spMkLst>
        </pc:spChg>
        <pc:spChg chg="add del mod">
          <ac:chgData name="Manal El Bakkouri" userId="8b130982-2e3f-4164-b881-fd3a2e4b2453" providerId="ADAL" clId="{4457FA57-250B-44AC-8655-05D46C5A3D8A}" dt="2023-06-07T09:59:29.641" v="17582" actId="478"/>
          <ac:spMkLst>
            <pc:docMk/>
            <pc:sldMk cId="3729411383" sldId="230717643"/>
            <ac:spMk id="57" creationId="{4E527DD9-5503-4CEE-97EB-A5CEB363C430}"/>
          </ac:spMkLst>
        </pc:spChg>
        <pc:spChg chg="add del mod">
          <ac:chgData name="Manal El Bakkouri" userId="8b130982-2e3f-4164-b881-fd3a2e4b2453" providerId="ADAL" clId="{4457FA57-250B-44AC-8655-05D46C5A3D8A}" dt="2023-06-07T09:59:29.641" v="17582" actId="478"/>
          <ac:spMkLst>
            <pc:docMk/>
            <pc:sldMk cId="3729411383" sldId="230717643"/>
            <ac:spMk id="58" creationId="{2FFF6A6B-88BE-457C-AB01-18F75075A260}"/>
          </ac:spMkLst>
        </pc:spChg>
        <pc:spChg chg="add del mod">
          <ac:chgData name="Manal El Bakkouri" userId="8b130982-2e3f-4164-b881-fd3a2e4b2453" providerId="ADAL" clId="{4457FA57-250B-44AC-8655-05D46C5A3D8A}" dt="2023-06-07T09:59:29.641" v="17582" actId="478"/>
          <ac:spMkLst>
            <pc:docMk/>
            <pc:sldMk cId="3729411383" sldId="230717643"/>
            <ac:spMk id="59" creationId="{216EB2F2-7A1A-4079-9700-1FF70F026830}"/>
          </ac:spMkLst>
        </pc:spChg>
        <pc:spChg chg="mod">
          <ac:chgData name="Manal El Bakkouri" userId="8b130982-2e3f-4164-b881-fd3a2e4b2453" providerId="ADAL" clId="{4457FA57-250B-44AC-8655-05D46C5A3D8A}" dt="2023-06-09T11:07:40.136" v="21511" actId="207"/>
          <ac:spMkLst>
            <pc:docMk/>
            <pc:sldMk cId="3729411383" sldId="230717643"/>
            <ac:spMk id="59" creationId="{D4C6D226-6226-40EB-BA3E-E3C27D7F5018}"/>
          </ac:spMkLst>
        </pc:spChg>
        <pc:spChg chg="mod">
          <ac:chgData name="Manal El Bakkouri" userId="8b130982-2e3f-4164-b881-fd3a2e4b2453" providerId="ADAL" clId="{4457FA57-250B-44AC-8655-05D46C5A3D8A}" dt="2023-06-09T11:06:53.247" v="21500"/>
          <ac:spMkLst>
            <pc:docMk/>
            <pc:sldMk cId="3729411383" sldId="230717643"/>
            <ac:spMk id="60" creationId="{8AEB41AE-81C7-424E-B3B3-449C0A23D980}"/>
          </ac:spMkLst>
        </pc:spChg>
        <pc:spChg chg="add del mod">
          <ac:chgData name="Manal El Bakkouri" userId="8b130982-2e3f-4164-b881-fd3a2e4b2453" providerId="ADAL" clId="{4457FA57-250B-44AC-8655-05D46C5A3D8A}" dt="2023-06-07T09:59:29.641" v="17582" actId="478"/>
          <ac:spMkLst>
            <pc:docMk/>
            <pc:sldMk cId="3729411383" sldId="230717643"/>
            <ac:spMk id="60" creationId="{C78061A8-8849-4197-BFA4-CB288C5A6983}"/>
          </ac:spMkLst>
        </pc:spChg>
        <pc:spChg chg="add del mod">
          <ac:chgData name="Manal El Bakkouri" userId="8b130982-2e3f-4164-b881-fd3a2e4b2453" providerId="ADAL" clId="{4457FA57-250B-44AC-8655-05D46C5A3D8A}" dt="2023-06-07T09:59:29.641" v="17582" actId="478"/>
          <ac:spMkLst>
            <pc:docMk/>
            <pc:sldMk cId="3729411383" sldId="230717643"/>
            <ac:spMk id="61" creationId="{ECCD57D9-2789-4F7F-AF47-563FCC84B60C}"/>
          </ac:spMkLst>
        </pc:spChg>
        <pc:spChg chg="add del mod">
          <ac:chgData name="Manal El Bakkouri" userId="8b130982-2e3f-4164-b881-fd3a2e4b2453" providerId="ADAL" clId="{4457FA57-250B-44AC-8655-05D46C5A3D8A}" dt="2023-06-07T09:59:29.641" v="17582" actId="478"/>
          <ac:spMkLst>
            <pc:docMk/>
            <pc:sldMk cId="3729411383" sldId="230717643"/>
            <ac:spMk id="62" creationId="{2FA4294F-2867-4456-8A61-E92218C7CC47}"/>
          </ac:spMkLst>
        </pc:spChg>
        <pc:spChg chg="mod">
          <ac:chgData name="Manal El Bakkouri" userId="8b130982-2e3f-4164-b881-fd3a2e4b2453" providerId="ADAL" clId="{4457FA57-250B-44AC-8655-05D46C5A3D8A}" dt="2023-06-09T11:06:53.247" v="21500"/>
          <ac:spMkLst>
            <pc:docMk/>
            <pc:sldMk cId="3729411383" sldId="230717643"/>
            <ac:spMk id="62" creationId="{81AA9868-D173-4024-9208-36D806A33B8E}"/>
          </ac:spMkLst>
        </pc:spChg>
        <pc:spChg chg="add del mod">
          <ac:chgData name="Manal El Bakkouri" userId="8b130982-2e3f-4164-b881-fd3a2e4b2453" providerId="ADAL" clId="{4457FA57-250B-44AC-8655-05D46C5A3D8A}" dt="2023-06-07T09:59:29.641" v="17582" actId="478"/>
          <ac:spMkLst>
            <pc:docMk/>
            <pc:sldMk cId="3729411383" sldId="230717643"/>
            <ac:spMk id="63" creationId="{39422D4B-58DC-434E-B174-8C5EAADB259D}"/>
          </ac:spMkLst>
        </pc:spChg>
        <pc:spChg chg="mod">
          <ac:chgData name="Manal El Bakkouri" userId="8b130982-2e3f-4164-b881-fd3a2e4b2453" providerId="ADAL" clId="{4457FA57-250B-44AC-8655-05D46C5A3D8A}" dt="2023-06-09T11:06:53.247" v="21500"/>
          <ac:spMkLst>
            <pc:docMk/>
            <pc:sldMk cId="3729411383" sldId="230717643"/>
            <ac:spMk id="63" creationId="{5CC6D0D4-6977-4750-8534-E62D1419D7B6}"/>
          </ac:spMkLst>
        </pc:spChg>
        <pc:spChg chg="add del mod">
          <ac:chgData name="Manal El Bakkouri" userId="8b130982-2e3f-4164-b881-fd3a2e4b2453" providerId="ADAL" clId="{4457FA57-250B-44AC-8655-05D46C5A3D8A}" dt="2023-06-07T09:59:29.641" v="17582" actId="478"/>
          <ac:spMkLst>
            <pc:docMk/>
            <pc:sldMk cId="3729411383" sldId="230717643"/>
            <ac:spMk id="64" creationId="{046FD39E-98C2-4C73-9397-289A6DC46E15}"/>
          </ac:spMkLst>
        </pc:spChg>
        <pc:spChg chg="mod">
          <ac:chgData name="Manal El Bakkouri" userId="8b130982-2e3f-4164-b881-fd3a2e4b2453" providerId="ADAL" clId="{4457FA57-250B-44AC-8655-05D46C5A3D8A}" dt="2023-06-07T10:00:36.892" v="17597" actId="207"/>
          <ac:spMkLst>
            <pc:docMk/>
            <pc:sldMk cId="3729411383" sldId="230717643"/>
            <ac:spMk id="66" creationId="{4598B8B1-7B40-401E-96C1-AA28B2208F9E}"/>
          </ac:spMkLst>
        </pc:spChg>
        <pc:spChg chg="mod">
          <ac:chgData name="Manal El Bakkouri" userId="8b130982-2e3f-4164-b881-fd3a2e4b2453" providerId="ADAL" clId="{4457FA57-250B-44AC-8655-05D46C5A3D8A}" dt="2023-06-07T10:00:42.438" v="17599" actId="207"/>
          <ac:spMkLst>
            <pc:docMk/>
            <pc:sldMk cId="3729411383" sldId="230717643"/>
            <ac:spMk id="67" creationId="{2C289CD7-5F17-4B4B-B3F8-A98036718D2E}"/>
          </ac:spMkLst>
        </pc:spChg>
        <pc:spChg chg="mod">
          <ac:chgData name="Manal El Bakkouri" userId="8b130982-2e3f-4164-b881-fd3a2e4b2453" providerId="ADAL" clId="{4457FA57-250B-44AC-8655-05D46C5A3D8A}" dt="2023-06-07T09:59:30.003" v="17583"/>
          <ac:spMkLst>
            <pc:docMk/>
            <pc:sldMk cId="3729411383" sldId="230717643"/>
            <ac:spMk id="69" creationId="{7E7A80E8-5B4E-431C-AE5C-F21950A5825B}"/>
          </ac:spMkLst>
        </pc:spChg>
        <pc:spChg chg="mod">
          <ac:chgData name="Manal El Bakkouri" userId="8b130982-2e3f-4164-b881-fd3a2e4b2453" providerId="ADAL" clId="{4457FA57-250B-44AC-8655-05D46C5A3D8A}" dt="2023-06-07T09:59:30.003" v="17583"/>
          <ac:spMkLst>
            <pc:docMk/>
            <pc:sldMk cId="3729411383" sldId="230717643"/>
            <ac:spMk id="70" creationId="{461C8521-63DE-4833-B8D9-095C52B8042F}"/>
          </ac:spMkLst>
        </pc:spChg>
        <pc:spChg chg="mod">
          <ac:chgData name="Manal El Bakkouri" userId="8b130982-2e3f-4164-b881-fd3a2e4b2453" providerId="ADAL" clId="{4457FA57-250B-44AC-8655-05D46C5A3D8A}" dt="2023-06-07T10:00:52.864" v="17602" actId="207"/>
          <ac:spMkLst>
            <pc:docMk/>
            <pc:sldMk cId="3729411383" sldId="230717643"/>
            <ac:spMk id="72" creationId="{7D9D482F-9E88-4DE4-AD8B-4F9AE3C5BA4A}"/>
          </ac:spMkLst>
        </pc:spChg>
        <pc:spChg chg="mod">
          <ac:chgData name="Manal El Bakkouri" userId="8b130982-2e3f-4164-b881-fd3a2e4b2453" providerId="ADAL" clId="{4457FA57-250B-44AC-8655-05D46C5A3D8A}" dt="2023-06-07T10:00:49.046" v="17601" actId="113"/>
          <ac:spMkLst>
            <pc:docMk/>
            <pc:sldMk cId="3729411383" sldId="230717643"/>
            <ac:spMk id="73" creationId="{4E6C0012-DFD4-4A06-AC38-D27C86614118}"/>
          </ac:spMkLst>
        </pc:spChg>
        <pc:spChg chg="mod">
          <ac:chgData name="Manal El Bakkouri" userId="8b130982-2e3f-4164-b881-fd3a2e4b2453" providerId="ADAL" clId="{4457FA57-250B-44AC-8655-05D46C5A3D8A}" dt="2023-06-07T09:59:30.003" v="17583"/>
          <ac:spMkLst>
            <pc:docMk/>
            <pc:sldMk cId="3729411383" sldId="230717643"/>
            <ac:spMk id="75" creationId="{B68BC5FD-903F-4789-9CBF-0B95AA167D09}"/>
          </ac:spMkLst>
        </pc:spChg>
        <pc:spChg chg="mod">
          <ac:chgData name="Manal El Bakkouri" userId="8b130982-2e3f-4164-b881-fd3a2e4b2453" providerId="ADAL" clId="{4457FA57-250B-44AC-8655-05D46C5A3D8A}" dt="2023-06-07T09:59:30.003" v="17583"/>
          <ac:spMkLst>
            <pc:docMk/>
            <pc:sldMk cId="3729411383" sldId="230717643"/>
            <ac:spMk id="76" creationId="{49D272C2-13A6-4895-8204-5A07D1DDFBED}"/>
          </ac:spMkLst>
        </pc:spChg>
        <pc:spChg chg="mod">
          <ac:chgData name="Manal El Bakkouri" userId="8b130982-2e3f-4164-b881-fd3a2e4b2453" providerId="ADAL" clId="{4457FA57-250B-44AC-8655-05D46C5A3D8A}" dt="2023-06-07T09:59:30.003" v="17583"/>
          <ac:spMkLst>
            <pc:docMk/>
            <pc:sldMk cId="3729411383" sldId="230717643"/>
            <ac:spMk id="78" creationId="{C7D6C1E4-13E7-435B-BB08-A991980C3E35}"/>
          </ac:spMkLst>
        </pc:spChg>
        <pc:spChg chg="mod">
          <ac:chgData name="Manal El Bakkouri" userId="8b130982-2e3f-4164-b881-fd3a2e4b2453" providerId="ADAL" clId="{4457FA57-250B-44AC-8655-05D46C5A3D8A}" dt="2023-06-07T09:59:30.003" v="17583"/>
          <ac:spMkLst>
            <pc:docMk/>
            <pc:sldMk cId="3729411383" sldId="230717643"/>
            <ac:spMk id="79" creationId="{9DA3EF1F-2C3B-4BA6-AA3A-CCC4687ECCAB}"/>
          </ac:spMkLst>
        </pc:spChg>
        <pc:spChg chg="mod">
          <ac:chgData name="Manal El Bakkouri" userId="8b130982-2e3f-4164-b881-fd3a2e4b2453" providerId="ADAL" clId="{4457FA57-250B-44AC-8655-05D46C5A3D8A}" dt="2023-06-09T11:07:04.270" v="21502"/>
          <ac:spMkLst>
            <pc:docMk/>
            <pc:sldMk cId="3729411383" sldId="230717643"/>
            <ac:spMk id="80" creationId="{99E35916-A16A-439A-8632-31CC31588FDF}"/>
          </ac:spMkLst>
        </pc:spChg>
        <pc:spChg chg="mod">
          <ac:chgData name="Manal El Bakkouri" userId="8b130982-2e3f-4164-b881-fd3a2e4b2453" providerId="ADAL" clId="{4457FA57-250B-44AC-8655-05D46C5A3D8A}" dt="2023-06-09T11:07:04.270" v="21502"/>
          <ac:spMkLst>
            <pc:docMk/>
            <pc:sldMk cId="3729411383" sldId="230717643"/>
            <ac:spMk id="81" creationId="{803B9675-03C5-4CCB-B610-3D07C3FB6090}"/>
          </ac:spMkLst>
        </pc:spChg>
        <pc:spChg chg="mod">
          <ac:chgData name="Manal El Bakkouri" userId="8b130982-2e3f-4164-b881-fd3a2e4b2453" providerId="ADAL" clId="{4457FA57-250B-44AC-8655-05D46C5A3D8A}" dt="2023-06-09T11:07:32.335" v="21509"/>
          <ac:spMkLst>
            <pc:docMk/>
            <pc:sldMk cId="3729411383" sldId="230717643"/>
            <ac:spMk id="83" creationId="{46907AC1-5E83-41D7-B057-2C2755366DDF}"/>
          </ac:spMkLst>
        </pc:spChg>
        <pc:spChg chg="mod">
          <ac:chgData name="Manal El Bakkouri" userId="8b130982-2e3f-4164-b881-fd3a2e4b2453" providerId="ADAL" clId="{4457FA57-250B-44AC-8655-05D46C5A3D8A}" dt="2023-06-09T11:07:32.335" v="21509"/>
          <ac:spMkLst>
            <pc:docMk/>
            <pc:sldMk cId="3729411383" sldId="230717643"/>
            <ac:spMk id="84" creationId="{B9FEC170-CF5F-474C-92B0-3FB6B41DF678}"/>
          </ac:spMkLst>
        </pc:spChg>
        <pc:spChg chg="add mod">
          <ac:chgData name="Manal El Bakkouri" userId="8b130982-2e3f-4164-b881-fd3a2e4b2453" providerId="ADAL" clId="{4457FA57-250B-44AC-8655-05D46C5A3D8A}" dt="2023-06-09T11:27:05.771" v="21718"/>
          <ac:spMkLst>
            <pc:docMk/>
            <pc:sldMk cId="3729411383" sldId="230717643"/>
            <ac:spMk id="85" creationId="{7F1944A9-D9E1-4B74-9D52-5BD0A0C15E31}"/>
          </ac:spMkLst>
        </pc:spChg>
        <pc:spChg chg="add mod">
          <ac:chgData name="Manal El Bakkouri" userId="8b130982-2e3f-4164-b881-fd3a2e4b2453" providerId="ADAL" clId="{4457FA57-250B-44AC-8655-05D46C5A3D8A}" dt="2023-06-09T11:27:05.771" v="21718"/>
          <ac:spMkLst>
            <pc:docMk/>
            <pc:sldMk cId="3729411383" sldId="230717643"/>
            <ac:spMk id="86" creationId="{FE4645E8-E5C0-48D5-BB82-66D62BE2FA13}"/>
          </ac:spMkLst>
        </pc:spChg>
        <pc:spChg chg="add mod">
          <ac:chgData name="Manal El Bakkouri" userId="8b130982-2e3f-4164-b881-fd3a2e4b2453" providerId="ADAL" clId="{4457FA57-250B-44AC-8655-05D46C5A3D8A}" dt="2023-06-09T11:27:05.771" v="21718"/>
          <ac:spMkLst>
            <pc:docMk/>
            <pc:sldMk cId="3729411383" sldId="230717643"/>
            <ac:spMk id="87" creationId="{13F673D3-76FC-4224-A59C-809436C4244D}"/>
          </ac:spMkLst>
        </pc:spChg>
        <pc:spChg chg="add mod">
          <ac:chgData name="Manal El Bakkouri" userId="8b130982-2e3f-4164-b881-fd3a2e4b2453" providerId="ADAL" clId="{4457FA57-250B-44AC-8655-05D46C5A3D8A}" dt="2023-06-09T11:27:05.771" v="21718"/>
          <ac:spMkLst>
            <pc:docMk/>
            <pc:sldMk cId="3729411383" sldId="230717643"/>
            <ac:spMk id="88" creationId="{0CB2A2EB-9E7A-4FD8-929C-4E16EB462908}"/>
          </ac:spMkLst>
        </pc:spChg>
        <pc:grpChg chg="add del mod">
          <ac:chgData name="Manal El Bakkouri" userId="8b130982-2e3f-4164-b881-fd3a2e4b2453" providerId="ADAL" clId="{4457FA57-250B-44AC-8655-05D46C5A3D8A}" dt="2023-06-09T11:07:03.928" v="21501" actId="478"/>
          <ac:grpSpMkLst>
            <pc:docMk/>
            <pc:sldMk cId="3729411383" sldId="230717643"/>
            <ac:grpSpMk id="46" creationId="{E1492DC3-B982-4EBF-A39F-0691A77843EA}"/>
          </ac:grpSpMkLst>
        </pc:grpChg>
        <pc:grpChg chg="add mod">
          <ac:chgData name="Manal El Bakkouri" userId="8b130982-2e3f-4164-b881-fd3a2e4b2453" providerId="ADAL" clId="{4457FA57-250B-44AC-8655-05D46C5A3D8A}" dt="2023-06-09T11:06:53.247" v="21500"/>
          <ac:grpSpMkLst>
            <pc:docMk/>
            <pc:sldMk cId="3729411383" sldId="230717643"/>
            <ac:grpSpMk id="51" creationId="{ADDC32A1-AF26-45F9-B517-138E86D655AA}"/>
          </ac:grpSpMkLst>
        </pc:grpChg>
        <pc:grpChg chg="add del mod">
          <ac:chgData name="Manal El Bakkouri" userId="8b130982-2e3f-4164-b881-fd3a2e4b2453" providerId="ADAL" clId="{4457FA57-250B-44AC-8655-05D46C5A3D8A}" dt="2023-06-09T11:07:41.004" v="21513" actId="478"/>
          <ac:grpSpMkLst>
            <pc:docMk/>
            <pc:sldMk cId="3729411383" sldId="230717643"/>
            <ac:grpSpMk id="54" creationId="{F7AFBD09-1C2F-488D-8C85-34C2AD9970FC}"/>
          </ac:grpSpMkLst>
        </pc:grpChg>
        <pc:grpChg chg="add mod">
          <ac:chgData name="Manal El Bakkouri" userId="8b130982-2e3f-4164-b881-fd3a2e4b2453" providerId="ADAL" clId="{4457FA57-250B-44AC-8655-05D46C5A3D8A}" dt="2023-06-09T11:06:53.247" v="21500"/>
          <ac:grpSpMkLst>
            <pc:docMk/>
            <pc:sldMk cId="3729411383" sldId="230717643"/>
            <ac:grpSpMk id="58" creationId="{B5C0B1A0-5D7C-4A52-A5BE-BE639FD8C821}"/>
          </ac:grpSpMkLst>
        </pc:grpChg>
        <pc:grpChg chg="add mod">
          <ac:chgData name="Manal El Bakkouri" userId="8b130982-2e3f-4164-b881-fd3a2e4b2453" providerId="ADAL" clId="{4457FA57-250B-44AC-8655-05D46C5A3D8A}" dt="2023-06-09T11:06:53.247" v="21500"/>
          <ac:grpSpMkLst>
            <pc:docMk/>
            <pc:sldMk cId="3729411383" sldId="230717643"/>
            <ac:grpSpMk id="61" creationId="{F19F88C1-7730-4F5B-B443-973CE9F84FF3}"/>
          </ac:grpSpMkLst>
        </pc:grpChg>
        <pc:grpChg chg="add mod">
          <ac:chgData name="Manal El Bakkouri" userId="8b130982-2e3f-4164-b881-fd3a2e4b2453" providerId="ADAL" clId="{4457FA57-250B-44AC-8655-05D46C5A3D8A}" dt="2023-06-09T11:07:04.270" v="21502"/>
          <ac:grpSpMkLst>
            <pc:docMk/>
            <pc:sldMk cId="3729411383" sldId="230717643"/>
            <ac:grpSpMk id="64" creationId="{E173BDB1-9A6C-44B1-8875-0589ECAA2FCB}"/>
          </ac:grpSpMkLst>
        </pc:grpChg>
        <pc:grpChg chg="add del mod">
          <ac:chgData name="Manal El Bakkouri" userId="8b130982-2e3f-4164-b881-fd3a2e4b2453" providerId="ADAL" clId="{4457FA57-250B-44AC-8655-05D46C5A3D8A}" dt="2023-06-09T11:06:52.700" v="21499" actId="478"/>
          <ac:grpSpMkLst>
            <pc:docMk/>
            <pc:sldMk cId="3729411383" sldId="230717643"/>
            <ac:grpSpMk id="65" creationId="{33D797E7-54AE-4FB4-BAB8-C7A6F775C399}"/>
          </ac:grpSpMkLst>
        </pc:grpChg>
        <pc:grpChg chg="add del mod">
          <ac:chgData name="Manal El Bakkouri" userId="8b130982-2e3f-4164-b881-fd3a2e4b2453" providerId="ADAL" clId="{4457FA57-250B-44AC-8655-05D46C5A3D8A}" dt="2023-06-09T11:06:52.700" v="21499" actId="478"/>
          <ac:grpSpMkLst>
            <pc:docMk/>
            <pc:sldMk cId="3729411383" sldId="230717643"/>
            <ac:grpSpMk id="68" creationId="{DB5114A2-F350-47D3-9969-EF41F96DCADA}"/>
          </ac:grpSpMkLst>
        </pc:grpChg>
        <pc:grpChg chg="add del mod">
          <ac:chgData name="Manal El Bakkouri" userId="8b130982-2e3f-4164-b881-fd3a2e4b2453" providerId="ADAL" clId="{4457FA57-250B-44AC-8655-05D46C5A3D8A}" dt="2023-06-09T11:06:52.700" v="21499" actId="478"/>
          <ac:grpSpMkLst>
            <pc:docMk/>
            <pc:sldMk cId="3729411383" sldId="230717643"/>
            <ac:grpSpMk id="71" creationId="{6C01CF62-DF3F-45FC-986E-AC1FCA014790}"/>
          </ac:grpSpMkLst>
        </pc:grpChg>
        <pc:grpChg chg="add del mod">
          <ac:chgData name="Manal El Bakkouri" userId="8b130982-2e3f-4164-b881-fd3a2e4b2453" providerId="ADAL" clId="{4457FA57-250B-44AC-8655-05D46C5A3D8A}" dt="2023-06-09T11:06:52.700" v="21499" actId="478"/>
          <ac:grpSpMkLst>
            <pc:docMk/>
            <pc:sldMk cId="3729411383" sldId="230717643"/>
            <ac:grpSpMk id="74" creationId="{C8355110-4465-4084-9876-B8A58413038F}"/>
          </ac:grpSpMkLst>
        </pc:grpChg>
        <pc:grpChg chg="add del mod">
          <ac:chgData name="Manal El Bakkouri" userId="8b130982-2e3f-4164-b881-fd3a2e4b2453" providerId="ADAL" clId="{4457FA57-250B-44AC-8655-05D46C5A3D8A}" dt="2023-06-09T11:06:52.700" v="21499" actId="478"/>
          <ac:grpSpMkLst>
            <pc:docMk/>
            <pc:sldMk cId="3729411383" sldId="230717643"/>
            <ac:grpSpMk id="77" creationId="{81AAF1DC-E7A0-400B-AF1B-46FA9A202565}"/>
          </ac:grpSpMkLst>
        </pc:grpChg>
        <pc:grpChg chg="add del mod">
          <ac:chgData name="Manal El Bakkouri" userId="8b130982-2e3f-4164-b881-fd3a2e4b2453" providerId="ADAL" clId="{4457FA57-250B-44AC-8655-05D46C5A3D8A}" dt="2023-06-09T11:07:40.548" v="21512"/>
          <ac:grpSpMkLst>
            <pc:docMk/>
            <pc:sldMk cId="3729411383" sldId="230717643"/>
            <ac:grpSpMk id="82" creationId="{6B86CBA6-7A1B-4E8A-A9F1-7D086064AEC4}"/>
          </ac:grpSpMkLst>
        </pc:grpChg>
        <pc:cxnChg chg="mod">
          <ac:chgData name="Manal El Bakkouri" userId="8b130982-2e3f-4164-b881-fd3a2e4b2453" providerId="ADAL" clId="{4457FA57-250B-44AC-8655-05D46C5A3D8A}" dt="2023-06-01T10:52:44.272" v="815" actId="14100"/>
          <ac:cxnSpMkLst>
            <pc:docMk/>
            <pc:sldMk cId="3729411383" sldId="230717643"/>
            <ac:cxnSpMk id="16" creationId="{3715D5D3-9AC2-42A9-894A-EDF973E67A08}"/>
          </ac:cxnSpMkLst>
        </pc:cxnChg>
        <pc:cxnChg chg="mod">
          <ac:chgData name="Manal El Bakkouri" userId="8b130982-2e3f-4164-b881-fd3a2e4b2453" providerId="ADAL" clId="{4457FA57-250B-44AC-8655-05D46C5A3D8A}" dt="2023-06-01T10:52:48.057" v="816" actId="14100"/>
          <ac:cxnSpMkLst>
            <pc:docMk/>
            <pc:sldMk cId="3729411383" sldId="230717643"/>
            <ac:cxnSpMk id="23" creationId="{2BE38258-7AF2-4411-BF2D-545C6933AF9B}"/>
          </ac:cxnSpMkLst>
        </pc:cxnChg>
        <pc:cxnChg chg="mod">
          <ac:chgData name="Manal El Bakkouri" userId="8b130982-2e3f-4164-b881-fd3a2e4b2453" providerId="ADAL" clId="{4457FA57-250B-44AC-8655-05D46C5A3D8A}" dt="2023-06-01T10:56:35.658" v="850" actId="14100"/>
          <ac:cxnSpMkLst>
            <pc:docMk/>
            <pc:sldMk cId="3729411383" sldId="230717643"/>
            <ac:cxnSpMk id="25" creationId="{36C33451-875C-4B71-94F9-16A220E9C04E}"/>
          </ac:cxnSpMkLst>
        </pc:cxnChg>
        <pc:cxnChg chg="mod">
          <ac:chgData name="Manal El Bakkouri" userId="8b130982-2e3f-4164-b881-fd3a2e4b2453" providerId="ADAL" clId="{4457FA57-250B-44AC-8655-05D46C5A3D8A}" dt="2023-06-01T10:56:05.014" v="844" actId="14100"/>
          <ac:cxnSpMkLst>
            <pc:docMk/>
            <pc:sldMk cId="3729411383" sldId="230717643"/>
            <ac:cxnSpMk id="26" creationId="{D9C010BA-F032-4CC3-A52B-792A8D32F214}"/>
          </ac:cxnSpMkLst>
        </pc:cxnChg>
        <pc:cxnChg chg="mod">
          <ac:chgData name="Manal El Bakkouri" userId="8b130982-2e3f-4164-b881-fd3a2e4b2453" providerId="ADAL" clId="{4457FA57-250B-44AC-8655-05D46C5A3D8A}" dt="2023-06-01T10:56:28.195" v="849" actId="1076"/>
          <ac:cxnSpMkLst>
            <pc:docMk/>
            <pc:sldMk cId="3729411383" sldId="230717643"/>
            <ac:cxnSpMk id="27" creationId="{51826EEA-2414-4990-AF19-A14C484192B9}"/>
          </ac:cxnSpMkLst>
        </pc:cxnChg>
      </pc:sldChg>
      <pc:sldChg chg="addSp delSp modSp mod modTransition">
        <pc:chgData name="Manal El Bakkouri" userId="8b130982-2e3f-4164-b881-fd3a2e4b2453" providerId="ADAL" clId="{4457FA57-250B-44AC-8655-05D46C5A3D8A}" dt="2023-06-09T11:27:30.793" v="21726"/>
        <pc:sldMkLst>
          <pc:docMk/>
          <pc:sldMk cId="1391736626" sldId="230717645"/>
        </pc:sldMkLst>
        <pc:spChg chg="add del">
          <ac:chgData name="Manal El Bakkouri" userId="8b130982-2e3f-4164-b881-fd3a2e4b2453" providerId="ADAL" clId="{4457FA57-250B-44AC-8655-05D46C5A3D8A}" dt="2023-06-04T12:22:23.113" v="7291" actId="478"/>
          <ac:spMkLst>
            <pc:docMk/>
            <pc:sldMk cId="1391736626" sldId="230717645"/>
            <ac:spMk id="3" creationId="{B2A839E4-2279-465D-BDC5-03FE0C71ECA2}"/>
          </ac:spMkLst>
        </pc:spChg>
        <pc:spChg chg="del">
          <ac:chgData name="Manal El Bakkouri" userId="8b130982-2e3f-4164-b881-fd3a2e4b2453" providerId="ADAL" clId="{4457FA57-250B-44AC-8655-05D46C5A3D8A}" dt="2023-06-01T10:59:16.869" v="861" actId="478"/>
          <ac:spMkLst>
            <pc:docMk/>
            <pc:sldMk cId="1391736626" sldId="230717645"/>
            <ac:spMk id="5" creationId="{8B56D238-1846-4411-B690-7378E7A120F8}"/>
          </ac:spMkLst>
        </pc:spChg>
        <pc:spChg chg="del">
          <ac:chgData name="Manal El Bakkouri" userId="8b130982-2e3f-4164-b881-fd3a2e4b2453" providerId="ADAL" clId="{4457FA57-250B-44AC-8655-05D46C5A3D8A}" dt="2023-06-01T10:59:16.869" v="861" actId="478"/>
          <ac:spMkLst>
            <pc:docMk/>
            <pc:sldMk cId="1391736626" sldId="230717645"/>
            <ac:spMk id="6" creationId="{DC9E6703-E213-438C-AB82-932EF7362884}"/>
          </ac:spMkLst>
        </pc:spChg>
        <pc:spChg chg="del">
          <ac:chgData name="Manal El Bakkouri" userId="8b130982-2e3f-4164-b881-fd3a2e4b2453" providerId="ADAL" clId="{4457FA57-250B-44AC-8655-05D46C5A3D8A}" dt="2023-06-01T10:59:16.869" v="861" actId="478"/>
          <ac:spMkLst>
            <pc:docMk/>
            <pc:sldMk cId="1391736626" sldId="230717645"/>
            <ac:spMk id="7" creationId="{0E5F87F5-BA96-488E-8E51-8097393B4811}"/>
          </ac:spMkLst>
        </pc:spChg>
        <pc:spChg chg="del">
          <ac:chgData name="Manal El Bakkouri" userId="8b130982-2e3f-4164-b881-fd3a2e4b2453" providerId="ADAL" clId="{4457FA57-250B-44AC-8655-05D46C5A3D8A}" dt="2023-06-01T10:59:16.869" v="861" actId="478"/>
          <ac:spMkLst>
            <pc:docMk/>
            <pc:sldMk cId="1391736626" sldId="230717645"/>
            <ac:spMk id="8" creationId="{D8ED4ADE-9192-446A-9328-0977A73C1695}"/>
          </ac:spMkLst>
        </pc:spChg>
        <pc:spChg chg="del">
          <ac:chgData name="Manal El Bakkouri" userId="8b130982-2e3f-4164-b881-fd3a2e4b2453" providerId="ADAL" clId="{4457FA57-250B-44AC-8655-05D46C5A3D8A}" dt="2023-06-01T10:59:16.869" v="861" actId="478"/>
          <ac:spMkLst>
            <pc:docMk/>
            <pc:sldMk cId="1391736626" sldId="230717645"/>
            <ac:spMk id="9" creationId="{DFE59916-8B93-4C70-A986-0F840E3BE7CF}"/>
          </ac:spMkLst>
        </pc:spChg>
        <pc:spChg chg="del">
          <ac:chgData name="Manal El Bakkouri" userId="8b130982-2e3f-4164-b881-fd3a2e4b2453" providerId="ADAL" clId="{4457FA57-250B-44AC-8655-05D46C5A3D8A}" dt="2023-06-01T10:59:16.869" v="861" actId="478"/>
          <ac:spMkLst>
            <pc:docMk/>
            <pc:sldMk cId="1391736626" sldId="230717645"/>
            <ac:spMk id="10" creationId="{78EEDC8D-14E7-45B1-AF9A-24EA248541B9}"/>
          </ac:spMkLst>
        </pc:spChg>
        <pc:spChg chg="del">
          <ac:chgData name="Manal El Bakkouri" userId="8b130982-2e3f-4164-b881-fd3a2e4b2453" providerId="ADAL" clId="{4457FA57-250B-44AC-8655-05D46C5A3D8A}" dt="2023-06-01T10:59:16.869" v="861" actId="478"/>
          <ac:spMkLst>
            <pc:docMk/>
            <pc:sldMk cId="1391736626" sldId="230717645"/>
            <ac:spMk id="11" creationId="{F395B3E6-C2DB-4972-A673-651F64ADBC9F}"/>
          </ac:spMkLst>
        </pc:spChg>
        <pc:spChg chg="del">
          <ac:chgData name="Manal El Bakkouri" userId="8b130982-2e3f-4164-b881-fd3a2e4b2453" providerId="ADAL" clId="{4457FA57-250B-44AC-8655-05D46C5A3D8A}" dt="2023-06-01T10:59:16.869" v="861" actId="478"/>
          <ac:spMkLst>
            <pc:docMk/>
            <pc:sldMk cId="1391736626" sldId="230717645"/>
            <ac:spMk id="12" creationId="{D98C71C5-3130-4E14-9CA3-DF47B2910B13}"/>
          </ac:spMkLst>
        </pc:spChg>
        <pc:spChg chg="del">
          <ac:chgData name="Manal El Bakkouri" userId="8b130982-2e3f-4164-b881-fd3a2e4b2453" providerId="ADAL" clId="{4457FA57-250B-44AC-8655-05D46C5A3D8A}" dt="2023-06-01T10:59:16.869" v="861" actId="478"/>
          <ac:spMkLst>
            <pc:docMk/>
            <pc:sldMk cId="1391736626" sldId="230717645"/>
            <ac:spMk id="13" creationId="{855872FA-3CA1-4CF9-A919-0B25F0A84CCE}"/>
          </ac:spMkLst>
        </pc:spChg>
        <pc:spChg chg="del">
          <ac:chgData name="Manal El Bakkouri" userId="8b130982-2e3f-4164-b881-fd3a2e4b2453" providerId="ADAL" clId="{4457FA57-250B-44AC-8655-05D46C5A3D8A}" dt="2023-06-01T10:59:16.869" v="861" actId="478"/>
          <ac:spMkLst>
            <pc:docMk/>
            <pc:sldMk cId="1391736626" sldId="230717645"/>
            <ac:spMk id="14" creationId="{B875EAA2-C91D-4451-B533-6F9474DA76BC}"/>
          </ac:spMkLst>
        </pc:spChg>
        <pc:spChg chg="mod">
          <ac:chgData name="Manal El Bakkouri" userId="8b130982-2e3f-4164-b881-fd3a2e4b2453" providerId="ADAL" clId="{4457FA57-250B-44AC-8655-05D46C5A3D8A}" dt="2023-06-04T12:22:32.296" v="7294" actId="1076"/>
          <ac:spMkLst>
            <pc:docMk/>
            <pc:sldMk cId="1391736626" sldId="230717645"/>
            <ac:spMk id="20" creationId="{4BDC13F8-FF45-4747-82D1-66D3B6F0B152}"/>
          </ac:spMkLst>
        </pc:spChg>
        <pc:spChg chg="mod">
          <ac:chgData name="Manal El Bakkouri" userId="8b130982-2e3f-4164-b881-fd3a2e4b2453" providerId="ADAL" clId="{4457FA57-250B-44AC-8655-05D46C5A3D8A}" dt="2023-06-06T10:34:14.566" v="9751" actId="1076"/>
          <ac:spMkLst>
            <pc:docMk/>
            <pc:sldMk cId="1391736626" sldId="230717645"/>
            <ac:spMk id="21" creationId="{22A3CDB1-151E-4AB1-AD86-3A0348E9CF8B}"/>
          </ac:spMkLst>
        </pc:spChg>
        <pc:spChg chg="del">
          <ac:chgData name="Manal El Bakkouri" userId="8b130982-2e3f-4164-b881-fd3a2e4b2453" providerId="ADAL" clId="{4457FA57-250B-44AC-8655-05D46C5A3D8A}" dt="2023-06-04T12:22:42.408" v="7299" actId="478"/>
          <ac:spMkLst>
            <pc:docMk/>
            <pc:sldMk cId="1391736626" sldId="230717645"/>
            <ac:spMk id="35" creationId="{D7F05C52-B6CD-4272-B90F-E61A2348F4CC}"/>
          </ac:spMkLst>
        </pc:spChg>
        <pc:spChg chg="mod">
          <ac:chgData name="Manal El Bakkouri" userId="8b130982-2e3f-4164-b881-fd3a2e4b2453" providerId="ADAL" clId="{4457FA57-250B-44AC-8655-05D46C5A3D8A}" dt="2023-06-09T11:08:20.052" v="21524"/>
          <ac:spMkLst>
            <pc:docMk/>
            <pc:sldMk cId="1391736626" sldId="230717645"/>
            <ac:spMk id="39" creationId="{CF190B2A-C4DC-4F5C-9195-73DEA5155A3F}"/>
          </ac:spMkLst>
        </pc:spChg>
        <pc:spChg chg="mod">
          <ac:chgData name="Manal El Bakkouri" userId="8b130982-2e3f-4164-b881-fd3a2e4b2453" providerId="ADAL" clId="{4457FA57-250B-44AC-8655-05D46C5A3D8A}" dt="2023-06-09T11:08:20.052" v="21524"/>
          <ac:spMkLst>
            <pc:docMk/>
            <pc:sldMk cId="1391736626" sldId="230717645"/>
            <ac:spMk id="40" creationId="{C11F8373-853D-4883-897D-2B3034EA2B40}"/>
          </ac:spMkLst>
        </pc:spChg>
        <pc:spChg chg="mod">
          <ac:chgData name="Manal El Bakkouri" userId="8b130982-2e3f-4164-b881-fd3a2e4b2453" providerId="ADAL" clId="{4457FA57-250B-44AC-8655-05D46C5A3D8A}" dt="2023-06-09T11:08:20.052" v="21524"/>
          <ac:spMkLst>
            <pc:docMk/>
            <pc:sldMk cId="1391736626" sldId="230717645"/>
            <ac:spMk id="42" creationId="{AA7C7BA0-51A8-4E25-8F55-6EEF68F52F07}"/>
          </ac:spMkLst>
        </pc:spChg>
        <pc:spChg chg="mod">
          <ac:chgData name="Manal El Bakkouri" userId="8b130982-2e3f-4164-b881-fd3a2e4b2453" providerId="ADAL" clId="{4457FA57-250B-44AC-8655-05D46C5A3D8A}" dt="2023-06-09T11:08:20.052" v="21524"/>
          <ac:spMkLst>
            <pc:docMk/>
            <pc:sldMk cId="1391736626" sldId="230717645"/>
            <ac:spMk id="43" creationId="{D4CCF686-D92B-41B4-9068-9D76B10FA706}"/>
          </ac:spMkLst>
        </pc:spChg>
        <pc:spChg chg="mod">
          <ac:chgData name="Manal El Bakkouri" userId="8b130982-2e3f-4164-b881-fd3a2e4b2453" providerId="ADAL" clId="{4457FA57-250B-44AC-8655-05D46C5A3D8A}" dt="2023-06-09T11:08:20.052" v="21524"/>
          <ac:spMkLst>
            <pc:docMk/>
            <pc:sldMk cId="1391736626" sldId="230717645"/>
            <ac:spMk id="45" creationId="{231165A2-2990-4CBD-B6AE-7A7F80F32AEC}"/>
          </ac:spMkLst>
        </pc:spChg>
        <pc:spChg chg="mod">
          <ac:chgData name="Manal El Bakkouri" userId="8b130982-2e3f-4164-b881-fd3a2e4b2453" providerId="ADAL" clId="{4457FA57-250B-44AC-8655-05D46C5A3D8A}" dt="2023-06-09T11:08:20.052" v="21524"/>
          <ac:spMkLst>
            <pc:docMk/>
            <pc:sldMk cId="1391736626" sldId="230717645"/>
            <ac:spMk id="46" creationId="{46030A6D-5A9A-4FF7-B870-9728AE1D4776}"/>
          </ac:spMkLst>
        </pc:spChg>
        <pc:spChg chg="mod">
          <ac:chgData name="Manal El Bakkouri" userId="8b130982-2e3f-4164-b881-fd3a2e4b2453" providerId="ADAL" clId="{4457FA57-250B-44AC-8655-05D46C5A3D8A}" dt="2023-06-09T11:08:20.052" v="21524"/>
          <ac:spMkLst>
            <pc:docMk/>
            <pc:sldMk cId="1391736626" sldId="230717645"/>
            <ac:spMk id="48" creationId="{81C4BBF1-D134-425E-84C4-44DD07A62AF9}"/>
          </ac:spMkLst>
        </pc:spChg>
        <pc:spChg chg="mod">
          <ac:chgData name="Manal El Bakkouri" userId="8b130982-2e3f-4164-b881-fd3a2e4b2453" providerId="ADAL" clId="{4457FA57-250B-44AC-8655-05D46C5A3D8A}" dt="2023-06-09T11:08:20.052" v="21524"/>
          <ac:spMkLst>
            <pc:docMk/>
            <pc:sldMk cId="1391736626" sldId="230717645"/>
            <ac:spMk id="49" creationId="{C9365E6F-F91D-4E92-B1D9-B27B3DC4D337}"/>
          </ac:spMkLst>
        </pc:spChg>
        <pc:spChg chg="mod">
          <ac:chgData name="Manal El Bakkouri" userId="8b130982-2e3f-4164-b881-fd3a2e4b2453" providerId="ADAL" clId="{4457FA57-250B-44AC-8655-05D46C5A3D8A}" dt="2023-06-09T11:08:20.052" v="21524"/>
          <ac:spMkLst>
            <pc:docMk/>
            <pc:sldMk cId="1391736626" sldId="230717645"/>
            <ac:spMk id="51" creationId="{93A45AC6-EB3E-455D-808A-ABF4DB0B8EAF}"/>
          </ac:spMkLst>
        </pc:spChg>
        <pc:spChg chg="mod">
          <ac:chgData name="Manal El Bakkouri" userId="8b130982-2e3f-4164-b881-fd3a2e4b2453" providerId="ADAL" clId="{4457FA57-250B-44AC-8655-05D46C5A3D8A}" dt="2023-06-09T11:08:20.052" v="21524"/>
          <ac:spMkLst>
            <pc:docMk/>
            <pc:sldMk cId="1391736626" sldId="230717645"/>
            <ac:spMk id="52" creationId="{0F6C05D6-AFCF-4616-88B9-90E4598A88A4}"/>
          </ac:spMkLst>
        </pc:spChg>
        <pc:spChg chg="add mod">
          <ac:chgData name="Manal El Bakkouri" userId="8b130982-2e3f-4164-b881-fd3a2e4b2453" providerId="ADAL" clId="{4457FA57-250B-44AC-8655-05D46C5A3D8A}" dt="2023-06-09T11:27:30.793" v="21726"/>
          <ac:spMkLst>
            <pc:docMk/>
            <pc:sldMk cId="1391736626" sldId="230717645"/>
            <ac:spMk id="53" creationId="{8DBE2EAE-9B6A-457E-8402-4FD2952DCF17}"/>
          </ac:spMkLst>
        </pc:spChg>
        <pc:spChg chg="add mod">
          <ac:chgData name="Manal El Bakkouri" userId="8b130982-2e3f-4164-b881-fd3a2e4b2453" providerId="ADAL" clId="{4457FA57-250B-44AC-8655-05D46C5A3D8A}" dt="2023-06-09T11:27:30.793" v="21726"/>
          <ac:spMkLst>
            <pc:docMk/>
            <pc:sldMk cId="1391736626" sldId="230717645"/>
            <ac:spMk id="54" creationId="{823CD6F8-45BF-483A-9495-DFB313CDC7B0}"/>
          </ac:spMkLst>
        </pc:spChg>
        <pc:spChg chg="add mod">
          <ac:chgData name="Manal El Bakkouri" userId="8b130982-2e3f-4164-b881-fd3a2e4b2453" providerId="ADAL" clId="{4457FA57-250B-44AC-8655-05D46C5A3D8A}" dt="2023-06-09T11:27:30.793" v="21726"/>
          <ac:spMkLst>
            <pc:docMk/>
            <pc:sldMk cId="1391736626" sldId="230717645"/>
            <ac:spMk id="55" creationId="{D7095D21-9AB8-40BE-B7DD-3E4326553076}"/>
          </ac:spMkLst>
        </pc:spChg>
        <pc:spChg chg="add mod">
          <ac:chgData name="Manal El Bakkouri" userId="8b130982-2e3f-4164-b881-fd3a2e4b2453" providerId="ADAL" clId="{4457FA57-250B-44AC-8655-05D46C5A3D8A}" dt="2023-06-09T11:27:30.793" v="21726"/>
          <ac:spMkLst>
            <pc:docMk/>
            <pc:sldMk cId="1391736626" sldId="230717645"/>
            <ac:spMk id="56" creationId="{A5F8E6EF-A362-4903-ACA5-69A04732EBEA}"/>
          </ac:spMkLst>
        </pc:spChg>
        <pc:spChg chg="del mod">
          <ac:chgData name="Manal El Bakkouri" userId="8b130982-2e3f-4164-b881-fd3a2e4b2453" providerId="ADAL" clId="{4457FA57-250B-44AC-8655-05D46C5A3D8A}" dt="2023-06-04T12:22:24.821" v="7292" actId="478"/>
          <ac:spMkLst>
            <pc:docMk/>
            <pc:sldMk cId="1391736626" sldId="230717645"/>
            <ac:spMk id="58" creationId="{E17C9726-2768-4E3A-B34F-9F094D35D113}"/>
          </ac:spMkLst>
        </pc:spChg>
        <pc:spChg chg="mod">
          <ac:chgData name="Manal El Bakkouri" userId="8b130982-2e3f-4164-b881-fd3a2e4b2453" providerId="ADAL" clId="{4457FA57-250B-44AC-8655-05D46C5A3D8A}" dt="2023-06-06T10:19:18.406" v="9565" actId="14100"/>
          <ac:spMkLst>
            <pc:docMk/>
            <pc:sldMk cId="1391736626" sldId="230717645"/>
            <ac:spMk id="60" creationId="{CCE05FA6-832E-4A78-9147-4C35F9960D54}"/>
          </ac:spMkLst>
        </pc:spChg>
        <pc:spChg chg="mod">
          <ac:chgData name="Manal El Bakkouri" userId="8b130982-2e3f-4164-b881-fd3a2e4b2453" providerId="ADAL" clId="{4457FA57-250B-44AC-8655-05D46C5A3D8A}" dt="2023-06-06T10:18:58.405" v="9559" actId="403"/>
          <ac:spMkLst>
            <pc:docMk/>
            <pc:sldMk cId="1391736626" sldId="230717645"/>
            <ac:spMk id="61" creationId="{2ECE1934-967D-4DB0-BB5E-8BD2B4B6FBA0}"/>
          </ac:spMkLst>
        </pc:spChg>
        <pc:spChg chg="mod">
          <ac:chgData name="Manal El Bakkouri" userId="8b130982-2e3f-4164-b881-fd3a2e4b2453" providerId="ADAL" clId="{4457FA57-250B-44AC-8655-05D46C5A3D8A}" dt="2023-06-06T10:19:40.870" v="9572" actId="14100"/>
          <ac:spMkLst>
            <pc:docMk/>
            <pc:sldMk cId="1391736626" sldId="230717645"/>
            <ac:spMk id="70" creationId="{7EA11F95-C1A2-4617-8FA1-0F792DF8099C}"/>
          </ac:spMkLst>
        </pc:spChg>
        <pc:spChg chg="mod">
          <ac:chgData name="Manal El Bakkouri" userId="8b130982-2e3f-4164-b881-fd3a2e4b2453" providerId="ADAL" clId="{4457FA57-250B-44AC-8655-05D46C5A3D8A}" dt="2023-06-06T10:19:02.418" v="9560" actId="403"/>
          <ac:spMkLst>
            <pc:docMk/>
            <pc:sldMk cId="1391736626" sldId="230717645"/>
            <ac:spMk id="71" creationId="{AE805E0D-F333-407A-A2B6-56DF19A529AE}"/>
          </ac:spMkLst>
        </pc:spChg>
        <pc:spChg chg="mod">
          <ac:chgData name="Manal El Bakkouri" userId="8b130982-2e3f-4164-b881-fd3a2e4b2453" providerId="ADAL" clId="{4457FA57-250B-44AC-8655-05D46C5A3D8A}" dt="2023-06-06T10:19:31.119" v="9569" actId="14100"/>
          <ac:spMkLst>
            <pc:docMk/>
            <pc:sldMk cId="1391736626" sldId="230717645"/>
            <ac:spMk id="72" creationId="{F7957419-C211-415A-AF97-50BEA730071B}"/>
          </ac:spMkLst>
        </pc:spChg>
        <pc:spChg chg="add del mod">
          <ac:chgData name="Manal El Bakkouri" userId="8b130982-2e3f-4164-b881-fd3a2e4b2453" providerId="ADAL" clId="{4457FA57-250B-44AC-8655-05D46C5A3D8A}" dt="2023-06-09T11:27:30.444" v="21725" actId="478"/>
          <ac:spMkLst>
            <pc:docMk/>
            <pc:sldMk cId="1391736626" sldId="230717645"/>
            <ac:spMk id="85" creationId="{45FCB952-56CF-4DC0-BD24-AC285C30E079}"/>
          </ac:spMkLst>
        </pc:spChg>
        <pc:spChg chg="add del mod">
          <ac:chgData name="Manal El Bakkouri" userId="8b130982-2e3f-4164-b881-fd3a2e4b2453" providerId="ADAL" clId="{4457FA57-250B-44AC-8655-05D46C5A3D8A}" dt="2023-06-09T11:27:30.444" v="21725" actId="478"/>
          <ac:spMkLst>
            <pc:docMk/>
            <pc:sldMk cId="1391736626" sldId="230717645"/>
            <ac:spMk id="89" creationId="{EB183D20-3A82-412C-93FC-5B49C93103C5}"/>
          </ac:spMkLst>
        </pc:spChg>
        <pc:spChg chg="add del mod">
          <ac:chgData name="Manal El Bakkouri" userId="8b130982-2e3f-4164-b881-fd3a2e4b2453" providerId="ADAL" clId="{4457FA57-250B-44AC-8655-05D46C5A3D8A}" dt="2023-06-09T11:27:30.444" v="21725" actId="478"/>
          <ac:spMkLst>
            <pc:docMk/>
            <pc:sldMk cId="1391736626" sldId="230717645"/>
            <ac:spMk id="90" creationId="{F3EA33C7-E3BF-4C54-A979-968FA173C5B1}"/>
          </ac:spMkLst>
        </pc:spChg>
        <pc:spChg chg="add del mod">
          <ac:chgData name="Manal El Bakkouri" userId="8b130982-2e3f-4164-b881-fd3a2e4b2453" providerId="ADAL" clId="{4457FA57-250B-44AC-8655-05D46C5A3D8A}" dt="2023-06-06T10:34:20.389" v="9752" actId="478"/>
          <ac:spMkLst>
            <pc:docMk/>
            <pc:sldMk cId="1391736626" sldId="230717645"/>
            <ac:spMk id="92" creationId="{B265FDF2-C40B-4A26-AC37-18C462688C5D}"/>
          </ac:spMkLst>
        </pc:spChg>
        <pc:spChg chg="add del mod">
          <ac:chgData name="Manal El Bakkouri" userId="8b130982-2e3f-4164-b881-fd3a2e4b2453" providerId="ADAL" clId="{4457FA57-250B-44AC-8655-05D46C5A3D8A}" dt="2023-06-06T08:37:28.337" v="8792" actId="478"/>
          <ac:spMkLst>
            <pc:docMk/>
            <pc:sldMk cId="1391736626" sldId="230717645"/>
            <ac:spMk id="93" creationId="{6E847566-08B4-4267-BB89-B6C436187C62}"/>
          </ac:spMkLst>
        </pc:spChg>
        <pc:spChg chg="add del mod">
          <ac:chgData name="Manal El Bakkouri" userId="8b130982-2e3f-4164-b881-fd3a2e4b2453" providerId="ADAL" clId="{4457FA57-250B-44AC-8655-05D46C5A3D8A}" dt="2023-06-06T10:34:20.389" v="9752" actId="478"/>
          <ac:spMkLst>
            <pc:docMk/>
            <pc:sldMk cId="1391736626" sldId="230717645"/>
            <ac:spMk id="94" creationId="{368DDEB3-27A0-4FB5-86A8-50199237F1AE}"/>
          </ac:spMkLst>
        </pc:spChg>
        <pc:spChg chg="add del mod">
          <ac:chgData name="Manal El Bakkouri" userId="8b130982-2e3f-4164-b881-fd3a2e4b2453" providerId="ADAL" clId="{4457FA57-250B-44AC-8655-05D46C5A3D8A}" dt="2023-06-07T10:02:56.718" v="17614" actId="478"/>
          <ac:spMkLst>
            <pc:docMk/>
            <pc:sldMk cId="1391736626" sldId="230717645"/>
            <ac:spMk id="95" creationId="{74CFEB00-A556-41B1-A3DF-7301B51EF73F}"/>
          </ac:spMkLst>
        </pc:spChg>
        <pc:spChg chg="mod">
          <ac:chgData name="Manal El Bakkouri" userId="8b130982-2e3f-4164-b881-fd3a2e4b2453" providerId="ADAL" clId="{4457FA57-250B-44AC-8655-05D46C5A3D8A}" dt="2023-06-06T14:42:10.253" v="13377"/>
          <ac:spMkLst>
            <pc:docMk/>
            <pc:sldMk cId="1391736626" sldId="230717645"/>
            <ac:spMk id="96" creationId="{07D4BAF4-F56E-4561-88D3-A1F7DE5E190E}"/>
          </ac:spMkLst>
        </pc:spChg>
        <pc:spChg chg="add del mod">
          <ac:chgData name="Manal El Bakkouri" userId="8b130982-2e3f-4164-b881-fd3a2e4b2453" providerId="ADAL" clId="{4457FA57-250B-44AC-8655-05D46C5A3D8A}" dt="2023-06-06T10:34:20.389" v="9752" actId="478"/>
          <ac:spMkLst>
            <pc:docMk/>
            <pc:sldMk cId="1391736626" sldId="230717645"/>
            <ac:spMk id="97" creationId="{4FED208B-150B-4EF0-B7FF-A0884F0B3013}"/>
          </ac:spMkLst>
        </pc:spChg>
        <pc:spChg chg="add del mod">
          <ac:chgData name="Manal El Bakkouri" userId="8b130982-2e3f-4164-b881-fd3a2e4b2453" providerId="ADAL" clId="{4457FA57-250B-44AC-8655-05D46C5A3D8A}" dt="2023-06-06T08:37:28.337" v="8792" actId="478"/>
          <ac:spMkLst>
            <pc:docMk/>
            <pc:sldMk cId="1391736626" sldId="230717645"/>
            <ac:spMk id="98" creationId="{B33F0F0E-762F-4CD3-ACB1-95888C96643A}"/>
          </ac:spMkLst>
        </pc:spChg>
        <pc:spChg chg="add del mod">
          <ac:chgData name="Manal El Bakkouri" userId="8b130982-2e3f-4164-b881-fd3a2e4b2453" providerId="ADAL" clId="{4457FA57-250B-44AC-8655-05D46C5A3D8A}" dt="2023-06-06T10:34:20.389" v="9752" actId="478"/>
          <ac:spMkLst>
            <pc:docMk/>
            <pc:sldMk cId="1391736626" sldId="230717645"/>
            <ac:spMk id="99" creationId="{A59B30EE-56D9-45FA-B1CD-8ECDD96923F0}"/>
          </ac:spMkLst>
        </pc:spChg>
        <pc:spChg chg="add del mod">
          <ac:chgData name="Manal El Bakkouri" userId="8b130982-2e3f-4164-b881-fd3a2e4b2453" providerId="ADAL" clId="{4457FA57-250B-44AC-8655-05D46C5A3D8A}" dt="2023-06-07T10:02:56.718" v="17614" actId="478"/>
          <ac:spMkLst>
            <pc:docMk/>
            <pc:sldMk cId="1391736626" sldId="230717645"/>
            <ac:spMk id="100" creationId="{D8322CE5-E5DE-4978-8A6E-579A004C4D61}"/>
          </ac:spMkLst>
        </pc:spChg>
        <pc:spChg chg="add del mod">
          <ac:chgData name="Manal El Bakkouri" userId="8b130982-2e3f-4164-b881-fd3a2e4b2453" providerId="ADAL" clId="{4457FA57-250B-44AC-8655-05D46C5A3D8A}" dt="2023-06-06T10:34:20.389" v="9752" actId="478"/>
          <ac:spMkLst>
            <pc:docMk/>
            <pc:sldMk cId="1391736626" sldId="230717645"/>
            <ac:spMk id="101" creationId="{048C161A-1709-4243-A61E-30145BFFD539}"/>
          </ac:spMkLst>
        </pc:spChg>
        <pc:spChg chg="add del mod">
          <ac:chgData name="Manal El Bakkouri" userId="8b130982-2e3f-4164-b881-fd3a2e4b2453" providerId="ADAL" clId="{4457FA57-250B-44AC-8655-05D46C5A3D8A}" dt="2023-06-06T10:34:20.389" v="9752" actId="478"/>
          <ac:spMkLst>
            <pc:docMk/>
            <pc:sldMk cId="1391736626" sldId="230717645"/>
            <ac:spMk id="102" creationId="{38FC5DA8-D66A-4FF9-8EAB-422C9AEC8F34}"/>
          </ac:spMkLst>
        </pc:spChg>
        <pc:spChg chg="add del mod">
          <ac:chgData name="Manal El Bakkouri" userId="8b130982-2e3f-4164-b881-fd3a2e4b2453" providerId="ADAL" clId="{4457FA57-250B-44AC-8655-05D46C5A3D8A}" dt="2023-06-07T10:02:56.718" v="17614" actId="478"/>
          <ac:spMkLst>
            <pc:docMk/>
            <pc:sldMk cId="1391736626" sldId="230717645"/>
            <ac:spMk id="105" creationId="{CFD0E2BB-FAAE-43C4-A7FD-0B82CD3524C2}"/>
          </ac:spMkLst>
        </pc:spChg>
        <pc:spChg chg="add del mod">
          <ac:chgData name="Manal El Bakkouri" userId="8b130982-2e3f-4164-b881-fd3a2e4b2453" providerId="ADAL" clId="{4457FA57-250B-44AC-8655-05D46C5A3D8A}" dt="2023-06-07T10:02:56.718" v="17614" actId="478"/>
          <ac:spMkLst>
            <pc:docMk/>
            <pc:sldMk cId="1391736626" sldId="230717645"/>
            <ac:spMk id="106" creationId="{17B1DD39-9E9E-46A3-8EC4-FF6933767B2D}"/>
          </ac:spMkLst>
        </pc:spChg>
        <pc:spChg chg="add del mod">
          <ac:chgData name="Manal El Bakkouri" userId="8b130982-2e3f-4164-b881-fd3a2e4b2453" providerId="ADAL" clId="{4457FA57-250B-44AC-8655-05D46C5A3D8A}" dt="2023-06-07T10:02:56.718" v="17614" actId="478"/>
          <ac:spMkLst>
            <pc:docMk/>
            <pc:sldMk cId="1391736626" sldId="230717645"/>
            <ac:spMk id="107" creationId="{5356F5D6-FBAC-47D5-A2DE-3B1EB155F218}"/>
          </ac:spMkLst>
        </pc:spChg>
        <pc:spChg chg="add del mod">
          <ac:chgData name="Manal El Bakkouri" userId="8b130982-2e3f-4164-b881-fd3a2e4b2453" providerId="ADAL" clId="{4457FA57-250B-44AC-8655-05D46C5A3D8A}" dt="2023-06-07T10:02:56.718" v="17614" actId="478"/>
          <ac:spMkLst>
            <pc:docMk/>
            <pc:sldMk cId="1391736626" sldId="230717645"/>
            <ac:spMk id="108" creationId="{B3BB568A-25E8-4408-8CFC-D6093FD95A6A}"/>
          </ac:spMkLst>
        </pc:spChg>
        <pc:spChg chg="add del mod">
          <ac:chgData name="Manal El Bakkouri" userId="8b130982-2e3f-4164-b881-fd3a2e4b2453" providerId="ADAL" clId="{4457FA57-250B-44AC-8655-05D46C5A3D8A}" dt="2023-06-07T10:02:56.718" v="17614" actId="478"/>
          <ac:spMkLst>
            <pc:docMk/>
            <pc:sldMk cId="1391736626" sldId="230717645"/>
            <ac:spMk id="109" creationId="{4CED0EA9-C089-4F71-BAD3-3C5AA212AD60}"/>
          </ac:spMkLst>
        </pc:spChg>
        <pc:spChg chg="add del mod">
          <ac:chgData name="Manal El Bakkouri" userId="8b130982-2e3f-4164-b881-fd3a2e4b2453" providerId="ADAL" clId="{4457FA57-250B-44AC-8655-05D46C5A3D8A}" dt="2023-06-07T10:02:56.718" v="17614" actId="478"/>
          <ac:spMkLst>
            <pc:docMk/>
            <pc:sldMk cId="1391736626" sldId="230717645"/>
            <ac:spMk id="110" creationId="{5BEB505E-58D7-4519-934D-B66A4C84450D}"/>
          </ac:spMkLst>
        </pc:spChg>
        <pc:spChg chg="add del mod">
          <ac:chgData name="Manal El Bakkouri" userId="8b130982-2e3f-4164-b881-fd3a2e4b2453" providerId="ADAL" clId="{4457FA57-250B-44AC-8655-05D46C5A3D8A}" dt="2023-06-07T10:02:56.718" v="17614" actId="478"/>
          <ac:spMkLst>
            <pc:docMk/>
            <pc:sldMk cId="1391736626" sldId="230717645"/>
            <ac:spMk id="111" creationId="{49BCE115-534F-4591-B2E0-3AB140AB0A38}"/>
          </ac:spMkLst>
        </pc:spChg>
        <pc:spChg chg="add del mod">
          <ac:chgData name="Manal El Bakkouri" userId="8b130982-2e3f-4164-b881-fd3a2e4b2453" providerId="ADAL" clId="{4457FA57-250B-44AC-8655-05D46C5A3D8A}" dt="2023-06-07T10:02:56.718" v="17614" actId="478"/>
          <ac:spMkLst>
            <pc:docMk/>
            <pc:sldMk cId="1391736626" sldId="230717645"/>
            <ac:spMk id="112" creationId="{C15ED499-A81B-4A07-87A9-34A310AC19D2}"/>
          </ac:spMkLst>
        </pc:spChg>
        <pc:spChg chg="mod">
          <ac:chgData name="Manal El Bakkouri" userId="8b130982-2e3f-4164-b881-fd3a2e4b2453" providerId="ADAL" clId="{4457FA57-250B-44AC-8655-05D46C5A3D8A}" dt="2023-06-07T10:02:57.861" v="17615"/>
          <ac:spMkLst>
            <pc:docMk/>
            <pc:sldMk cId="1391736626" sldId="230717645"/>
            <ac:spMk id="114" creationId="{E083B6E7-B0BC-4CEF-B02B-CD9BFD365F4C}"/>
          </ac:spMkLst>
        </pc:spChg>
        <pc:spChg chg="mod">
          <ac:chgData name="Manal El Bakkouri" userId="8b130982-2e3f-4164-b881-fd3a2e4b2453" providerId="ADAL" clId="{4457FA57-250B-44AC-8655-05D46C5A3D8A}" dt="2023-06-07T10:02:57.861" v="17615"/>
          <ac:spMkLst>
            <pc:docMk/>
            <pc:sldMk cId="1391736626" sldId="230717645"/>
            <ac:spMk id="115" creationId="{C48A3DFF-380E-4011-9081-66D99DDAEC57}"/>
          </ac:spMkLst>
        </pc:spChg>
        <pc:spChg chg="mod">
          <ac:chgData name="Manal El Bakkouri" userId="8b130982-2e3f-4164-b881-fd3a2e4b2453" providerId="ADAL" clId="{4457FA57-250B-44AC-8655-05D46C5A3D8A}" dt="2023-06-07T10:02:57.861" v="17615"/>
          <ac:spMkLst>
            <pc:docMk/>
            <pc:sldMk cId="1391736626" sldId="230717645"/>
            <ac:spMk id="117" creationId="{470C9256-A597-4D0B-B13B-DDF1BBEC9714}"/>
          </ac:spMkLst>
        </pc:spChg>
        <pc:spChg chg="mod">
          <ac:chgData name="Manal El Bakkouri" userId="8b130982-2e3f-4164-b881-fd3a2e4b2453" providerId="ADAL" clId="{4457FA57-250B-44AC-8655-05D46C5A3D8A}" dt="2023-06-07T10:02:57.861" v="17615"/>
          <ac:spMkLst>
            <pc:docMk/>
            <pc:sldMk cId="1391736626" sldId="230717645"/>
            <ac:spMk id="118" creationId="{188EAAF3-094C-49D5-8428-208FBE85D1F3}"/>
          </ac:spMkLst>
        </pc:spChg>
        <pc:spChg chg="mod">
          <ac:chgData name="Manal El Bakkouri" userId="8b130982-2e3f-4164-b881-fd3a2e4b2453" providerId="ADAL" clId="{4457FA57-250B-44AC-8655-05D46C5A3D8A}" dt="2023-06-07T10:02:57.861" v="17615"/>
          <ac:spMkLst>
            <pc:docMk/>
            <pc:sldMk cId="1391736626" sldId="230717645"/>
            <ac:spMk id="120" creationId="{9C85CB61-49F5-431B-B6E0-12107D98A4A1}"/>
          </ac:spMkLst>
        </pc:spChg>
        <pc:spChg chg="mod">
          <ac:chgData name="Manal El Bakkouri" userId="8b130982-2e3f-4164-b881-fd3a2e4b2453" providerId="ADAL" clId="{4457FA57-250B-44AC-8655-05D46C5A3D8A}" dt="2023-06-07T10:02:57.861" v="17615"/>
          <ac:spMkLst>
            <pc:docMk/>
            <pc:sldMk cId="1391736626" sldId="230717645"/>
            <ac:spMk id="121" creationId="{3311032B-65E9-415B-B6FD-81BAB7D2C7C6}"/>
          </ac:spMkLst>
        </pc:spChg>
        <pc:spChg chg="mod">
          <ac:chgData name="Manal El Bakkouri" userId="8b130982-2e3f-4164-b881-fd3a2e4b2453" providerId="ADAL" clId="{4457FA57-250B-44AC-8655-05D46C5A3D8A}" dt="2023-06-07T10:02:57.861" v="17615"/>
          <ac:spMkLst>
            <pc:docMk/>
            <pc:sldMk cId="1391736626" sldId="230717645"/>
            <ac:spMk id="123" creationId="{34C00516-48C4-437C-B743-62275D5716A6}"/>
          </ac:spMkLst>
        </pc:spChg>
        <pc:spChg chg="mod">
          <ac:chgData name="Manal El Bakkouri" userId="8b130982-2e3f-4164-b881-fd3a2e4b2453" providerId="ADAL" clId="{4457FA57-250B-44AC-8655-05D46C5A3D8A}" dt="2023-06-07T10:02:57.861" v="17615"/>
          <ac:spMkLst>
            <pc:docMk/>
            <pc:sldMk cId="1391736626" sldId="230717645"/>
            <ac:spMk id="124" creationId="{C6E9E089-C88A-4F8D-8B11-17F7A91A224A}"/>
          </ac:spMkLst>
        </pc:spChg>
        <pc:spChg chg="mod">
          <ac:chgData name="Manal El Bakkouri" userId="8b130982-2e3f-4164-b881-fd3a2e4b2453" providerId="ADAL" clId="{4457FA57-250B-44AC-8655-05D46C5A3D8A}" dt="2023-06-07T10:02:57.861" v="17615"/>
          <ac:spMkLst>
            <pc:docMk/>
            <pc:sldMk cId="1391736626" sldId="230717645"/>
            <ac:spMk id="126" creationId="{9F7C274E-2A52-4FE7-BEB6-C760B2A1E9AA}"/>
          </ac:spMkLst>
        </pc:spChg>
        <pc:spChg chg="mod">
          <ac:chgData name="Manal El Bakkouri" userId="8b130982-2e3f-4164-b881-fd3a2e4b2453" providerId="ADAL" clId="{4457FA57-250B-44AC-8655-05D46C5A3D8A}" dt="2023-06-07T10:02:57.861" v="17615"/>
          <ac:spMkLst>
            <pc:docMk/>
            <pc:sldMk cId="1391736626" sldId="230717645"/>
            <ac:spMk id="127" creationId="{E50788D7-BC6F-460E-9834-5113C833DC39}"/>
          </ac:spMkLst>
        </pc:spChg>
        <pc:grpChg chg="add mod">
          <ac:chgData name="Manal El Bakkouri" userId="8b130982-2e3f-4164-b881-fd3a2e4b2453" providerId="ADAL" clId="{4457FA57-250B-44AC-8655-05D46C5A3D8A}" dt="2023-06-09T11:08:20.052" v="21524"/>
          <ac:grpSpMkLst>
            <pc:docMk/>
            <pc:sldMk cId="1391736626" sldId="230717645"/>
            <ac:grpSpMk id="38" creationId="{F26CE0CC-FAB0-4BF2-B1FD-FA4DFA8E261B}"/>
          </ac:grpSpMkLst>
        </pc:grpChg>
        <pc:grpChg chg="add mod">
          <ac:chgData name="Manal El Bakkouri" userId="8b130982-2e3f-4164-b881-fd3a2e4b2453" providerId="ADAL" clId="{4457FA57-250B-44AC-8655-05D46C5A3D8A}" dt="2023-06-09T11:08:20.052" v="21524"/>
          <ac:grpSpMkLst>
            <pc:docMk/>
            <pc:sldMk cId="1391736626" sldId="230717645"/>
            <ac:grpSpMk id="41" creationId="{6B0805E8-EA41-4258-801C-C9C7A2DC87C9}"/>
          </ac:grpSpMkLst>
        </pc:grpChg>
        <pc:grpChg chg="add mod">
          <ac:chgData name="Manal El Bakkouri" userId="8b130982-2e3f-4164-b881-fd3a2e4b2453" providerId="ADAL" clId="{4457FA57-250B-44AC-8655-05D46C5A3D8A}" dt="2023-06-09T11:08:20.052" v="21524"/>
          <ac:grpSpMkLst>
            <pc:docMk/>
            <pc:sldMk cId="1391736626" sldId="230717645"/>
            <ac:grpSpMk id="44" creationId="{60655179-1AB6-4DD8-9F06-61C121E5F87F}"/>
          </ac:grpSpMkLst>
        </pc:grpChg>
        <pc:grpChg chg="add mod">
          <ac:chgData name="Manal El Bakkouri" userId="8b130982-2e3f-4164-b881-fd3a2e4b2453" providerId="ADAL" clId="{4457FA57-250B-44AC-8655-05D46C5A3D8A}" dt="2023-06-09T11:08:20.052" v="21524"/>
          <ac:grpSpMkLst>
            <pc:docMk/>
            <pc:sldMk cId="1391736626" sldId="230717645"/>
            <ac:grpSpMk id="47" creationId="{C5AA5BDB-5A61-40E2-A348-EDEA8967C6C0}"/>
          </ac:grpSpMkLst>
        </pc:grpChg>
        <pc:grpChg chg="add mod">
          <ac:chgData name="Manal El Bakkouri" userId="8b130982-2e3f-4164-b881-fd3a2e4b2453" providerId="ADAL" clId="{4457FA57-250B-44AC-8655-05D46C5A3D8A}" dt="2023-06-09T11:08:20.052" v="21524"/>
          <ac:grpSpMkLst>
            <pc:docMk/>
            <pc:sldMk cId="1391736626" sldId="230717645"/>
            <ac:grpSpMk id="50" creationId="{2A3BF06E-26D6-4BAB-8DCE-E119C9316D03}"/>
          </ac:grpSpMkLst>
        </pc:grpChg>
        <pc:grpChg chg="del">
          <ac:chgData name="Manal El Bakkouri" userId="8b130982-2e3f-4164-b881-fd3a2e4b2453" providerId="ADAL" clId="{4457FA57-250B-44AC-8655-05D46C5A3D8A}" dt="2023-06-04T12:22:43.736" v="7300" actId="478"/>
          <ac:grpSpMkLst>
            <pc:docMk/>
            <pc:sldMk cId="1391736626" sldId="230717645"/>
            <ac:grpSpMk id="54" creationId="{C2495E2B-7615-4E05-86AC-C162B4618BD5}"/>
          </ac:grpSpMkLst>
        </pc:grpChg>
        <pc:grpChg chg="del">
          <ac:chgData name="Manal El Bakkouri" userId="8b130982-2e3f-4164-b881-fd3a2e4b2453" providerId="ADAL" clId="{4457FA57-250B-44AC-8655-05D46C5A3D8A}" dt="2023-06-04T12:22:25.929" v="7293" actId="478"/>
          <ac:grpSpMkLst>
            <pc:docMk/>
            <pc:sldMk cId="1391736626" sldId="230717645"/>
            <ac:grpSpMk id="91" creationId="{24316474-87E9-4408-B0B3-B925860EDC47}"/>
          </ac:grpSpMkLst>
        </pc:grpChg>
        <pc:grpChg chg="add del mod">
          <ac:chgData name="Manal El Bakkouri" userId="8b130982-2e3f-4164-b881-fd3a2e4b2453" providerId="ADAL" clId="{4457FA57-250B-44AC-8655-05D46C5A3D8A}" dt="2023-06-09T11:08:19.712" v="21523" actId="478"/>
          <ac:grpSpMkLst>
            <pc:docMk/>
            <pc:sldMk cId="1391736626" sldId="230717645"/>
            <ac:grpSpMk id="113" creationId="{43EC2764-D419-4BAF-81D0-1C6CD2FA2A42}"/>
          </ac:grpSpMkLst>
        </pc:grpChg>
        <pc:grpChg chg="add del mod">
          <ac:chgData name="Manal El Bakkouri" userId="8b130982-2e3f-4164-b881-fd3a2e4b2453" providerId="ADAL" clId="{4457FA57-250B-44AC-8655-05D46C5A3D8A}" dt="2023-06-09T11:08:19.712" v="21523" actId="478"/>
          <ac:grpSpMkLst>
            <pc:docMk/>
            <pc:sldMk cId="1391736626" sldId="230717645"/>
            <ac:grpSpMk id="116" creationId="{B15C38B8-8D85-4DE5-9888-5DB88295547A}"/>
          </ac:grpSpMkLst>
        </pc:grpChg>
        <pc:grpChg chg="add del mod">
          <ac:chgData name="Manal El Bakkouri" userId="8b130982-2e3f-4164-b881-fd3a2e4b2453" providerId="ADAL" clId="{4457FA57-250B-44AC-8655-05D46C5A3D8A}" dt="2023-06-09T11:08:19.712" v="21523" actId="478"/>
          <ac:grpSpMkLst>
            <pc:docMk/>
            <pc:sldMk cId="1391736626" sldId="230717645"/>
            <ac:grpSpMk id="119" creationId="{BDE78C1D-87AE-4E48-80B1-83E91D6DE697}"/>
          </ac:grpSpMkLst>
        </pc:grpChg>
        <pc:grpChg chg="add del mod">
          <ac:chgData name="Manal El Bakkouri" userId="8b130982-2e3f-4164-b881-fd3a2e4b2453" providerId="ADAL" clId="{4457FA57-250B-44AC-8655-05D46C5A3D8A}" dt="2023-06-09T11:08:19.712" v="21523" actId="478"/>
          <ac:grpSpMkLst>
            <pc:docMk/>
            <pc:sldMk cId="1391736626" sldId="230717645"/>
            <ac:grpSpMk id="122" creationId="{590F8067-DBB6-47F8-A954-FB9AD579C5F1}"/>
          </ac:grpSpMkLst>
        </pc:grpChg>
        <pc:grpChg chg="add del mod">
          <ac:chgData name="Manal El Bakkouri" userId="8b130982-2e3f-4164-b881-fd3a2e4b2453" providerId="ADAL" clId="{4457FA57-250B-44AC-8655-05D46C5A3D8A}" dt="2023-06-09T11:08:19.712" v="21523" actId="478"/>
          <ac:grpSpMkLst>
            <pc:docMk/>
            <pc:sldMk cId="1391736626" sldId="230717645"/>
            <ac:grpSpMk id="125" creationId="{28C6437B-07C0-4621-8C24-F13D9EE11B7F}"/>
          </ac:grpSpMkLst>
        </pc:grpChg>
        <pc:picChg chg="del">
          <ac:chgData name="Manal El Bakkouri" userId="8b130982-2e3f-4164-b881-fd3a2e4b2453" providerId="ADAL" clId="{4457FA57-250B-44AC-8655-05D46C5A3D8A}" dt="2023-06-04T12:22:37.979" v="7296" actId="478"/>
          <ac:picMkLst>
            <pc:docMk/>
            <pc:sldMk cId="1391736626" sldId="230717645"/>
            <ac:picMk id="28" creationId="{B4D9BF0D-FA21-46A6-84F3-A7C17F817668}"/>
          </ac:picMkLst>
        </pc:picChg>
        <pc:picChg chg="del">
          <ac:chgData name="Manal El Bakkouri" userId="8b130982-2e3f-4164-b881-fd3a2e4b2453" providerId="ADAL" clId="{4457FA57-250B-44AC-8655-05D46C5A3D8A}" dt="2023-06-04T12:22:15.127" v="7286" actId="478"/>
          <ac:picMkLst>
            <pc:docMk/>
            <pc:sldMk cId="1391736626" sldId="230717645"/>
            <ac:picMk id="30" creationId="{E4EE3A98-AFF2-40BD-8BA0-FEFCD4A7176A}"/>
          </ac:picMkLst>
        </pc:picChg>
        <pc:picChg chg="add del mod">
          <ac:chgData name="Manal El Bakkouri" userId="8b130982-2e3f-4164-b881-fd3a2e4b2453" providerId="ADAL" clId="{4457FA57-250B-44AC-8655-05D46C5A3D8A}" dt="2023-06-04T12:22:16.936" v="7288" actId="478"/>
          <ac:picMkLst>
            <pc:docMk/>
            <pc:sldMk cId="1391736626" sldId="230717645"/>
            <ac:picMk id="103" creationId="{D2E21863-B995-4240-8A58-B52B9ECC5097}"/>
          </ac:picMkLst>
        </pc:picChg>
        <pc:picChg chg="add del mod">
          <ac:chgData name="Manal El Bakkouri" userId="8b130982-2e3f-4164-b881-fd3a2e4b2453" providerId="ADAL" clId="{4457FA57-250B-44AC-8655-05D46C5A3D8A}" dt="2023-06-04T12:22:40.115" v="7298" actId="478"/>
          <ac:picMkLst>
            <pc:docMk/>
            <pc:sldMk cId="1391736626" sldId="230717645"/>
            <ac:picMk id="104" creationId="{78439ED9-160F-42E0-9A78-C5572C43CB04}"/>
          </ac:picMkLst>
        </pc:picChg>
        <pc:cxnChg chg="mod">
          <ac:chgData name="Manal El Bakkouri" userId="8b130982-2e3f-4164-b881-fd3a2e4b2453" providerId="ADAL" clId="{4457FA57-250B-44AC-8655-05D46C5A3D8A}" dt="2023-06-06T10:19:40.870" v="9572" actId="14100"/>
          <ac:cxnSpMkLst>
            <pc:docMk/>
            <pc:sldMk cId="1391736626" sldId="230717645"/>
            <ac:cxnSpMk id="59" creationId="{AAAE7244-D280-4804-BFAF-38E3D337E18C}"/>
          </ac:cxnSpMkLst>
        </pc:cxnChg>
        <pc:cxnChg chg="mod">
          <ac:chgData name="Manal El Bakkouri" userId="8b130982-2e3f-4164-b881-fd3a2e4b2453" providerId="ADAL" clId="{4457FA57-250B-44AC-8655-05D46C5A3D8A}" dt="2023-06-06T10:19:18.406" v="9565" actId="14100"/>
          <ac:cxnSpMkLst>
            <pc:docMk/>
            <pc:sldMk cId="1391736626" sldId="230717645"/>
            <ac:cxnSpMk id="76" creationId="{30723106-80D5-4F43-9586-8B5C6BC0DCA2}"/>
          </ac:cxnSpMkLst>
        </pc:cxnChg>
        <pc:cxnChg chg="mod">
          <ac:chgData name="Manal El Bakkouri" userId="8b130982-2e3f-4164-b881-fd3a2e4b2453" providerId="ADAL" clId="{4457FA57-250B-44AC-8655-05D46C5A3D8A}" dt="2023-06-06T10:19:31.119" v="9569" actId="14100"/>
          <ac:cxnSpMkLst>
            <pc:docMk/>
            <pc:sldMk cId="1391736626" sldId="230717645"/>
            <ac:cxnSpMk id="77" creationId="{C90F7012-43DF-43D3-A8A9-04B64BA330D4}"/>
          </ac:cxnSpMkLst>
        </pc:cxnChg>
      </pc:sldChg>
      <pc:sldChg chg="addSp delSp modSp mod modTransition">
        <pc:chgData name="Manal El Bakkouri" userId="8b130982-2e3f-4164-b881-fd3a2e4b2453" providerId="ADAL" clId="{4457FA57-250B-44AC-8655-05D46C5A3D8A}" dt="2023-06-09T11:27:24.382" v="21724"/>
        <pc:sldMkLst>
          <pc:docMk/>
          <pc:sldMk cId="2249715770" sldId="230717646"/>
        </pc:sldMkLst>
        <pc:spChg chg="del">
          <ac:chgData name="Manal El Bakkouri" userId="8b130982-2e3f-4164-b881-fd3a2e4b2453" providerId="ADAL" clId="{4457FA57-250B-44AC-8655-05D46C5A3D8A}" dt="2023-06-01T10:59:11.208" v="859" actId="478"/>
          <ac:spMkLst>
            <pc:docMk/>
            <pc:sldMk cId="2249715770" sldId="230717646"/>
            <ac:spMk id="5" creationId="{8B56D238-1846-4411-B690-7378E7A120F8}"/>
          </ac:spMkLst>
        </pc:spChg>
        <pc:spChg chg="del">
          <ac:chgData name="Manal El Bakkouri" userId="8b130982-2e3f-4164-b881-fd3a2e4b2453" providerId="ADAL" clId="{4457FA57-250B-44AC-8655-05D46C5A3D8A}" dt="2023-06-01T10:59:11.208" v="859" actId="478"/>
          <ac:spMkLst>
            <pc:docMk/>
            <pc:sldMk cId="2249715770" sldId="230717646"/>
            <ac:spMk id="6" creationId="{DC9E6703-E213-438C-AB82-932EF7362884}"/>
          </ac:spMkLst>
        </pc:spChg>
        <pc:spChg chg="del">
          <ac:chgData name="Manal El Bakkouri" userId="8b130982-2e3f-4164-b881-fd3a2e4b2453" providerId="ADAL" clId="{4457FA57-250B-44AC-8655-05D46C5A3D8A}" dt="2023-06-01T10:59:11.208" v="859" actId="478"/>
          <ac:spMkLst>
            <pc:docMk/>
            <pc:sldMk cId="2249715770" sldId="230717646"/>
            <ac:spMk id="7" creationId="{0E5F87F5-BA96-488E-8E51-8097393B4811}"/>
          </ac:spMkLst>
        </pc:spChg>
        <pc:spChg chg="del">
          <ac:chgData name="Manal El Bakkouri" userId="8b130982-2e3f-4164-b881-fd3a2e4b2453" providerId="ADAL" clId="{4457FA57-250B-44AC-8655-05D46C5A3D8A}" dt="2023-06-01T10:59:11.208" v="859" actId="478"/>
          <ac:spMkLst>
            <pc:docMk/>
            <pc:sldMk cId="2249715770" sldId="230717646"/>
            <ac:spMk id="8" creationId="{D8ED4ADE-9192-446A-9328-0977A73C1695}"/>
          </ac:spMkLst>
        </pc:spChg>
        <pc:spChg chg="del">
          <ac:chgData name="Manal El Bakkouri" userId="8b130982-2e3f-4164-b881-fd3a2e4b2453" providerId="ADAL" clId="{4457FA57-250B-44AC-8655-05D46C5A3D8A}" dt="2023-06-01T10:59:11.208" v="859" actId="478"/>
          <ac:spMkLst>
            <pc:docMk/>
            <pc:sldMk cId="2249715770" sldId="230717646"/>
            <ac:spMk id="9" creationId="{DFE59916-8B93-4C70-A986-0F840E3BE7CF}"/>
          </ac:spMkLst>
        </pc:spChg>
        <pc:spChg chg="del">
          <ac:chgData name="Manal El Bakkouri" userId="8b130982-2e3f-4164-b881-fd3a2e4b2453" providerId="ADAL" clId="{4457FA57-250B-44AC-8655-05D46C5A3D8A}" dt="2023-06-01T10:59:11.208" v="859" actId="478"/>
          <ac:spMkLst>
            <pc:docMk/>
            <pc:sldMk cId="2249715770" sldId="230717646"/>
            <ac:spMk id="10" creationId="{78EEDC8D-14E7-45B1-AF9A-24EA248541B9}"/>
          </ac:spMkLst>
        </pc:spChg>
        <pc:spChg chg="del">
          <ac:chgData name="Manal El Bakkouri" userId="8b130982-2e3f-4164-b881-fd3a2e4b2453" providerId="ADAL" clId="{4457FA57-250B-44AC-8655-05D46C5A3D8A}" dt="2023-06-01T10:59:11.208" v="859" actId="478"/>
          <ac:spMkLst>
            <pc:docMk/>
            <pc:sldMk cId="2249715770" sldId="230717646"/>
            <ac:spMk id="11" creationId="{F395B3E6-C2DB-4972-A673-651F64ADBC9F}"/>
          </ac:spMkLst>
        </pc:spChg>
        <pc:spChg chg="del">
          <ac:chgData name="Manal El Bakkouri" userId="8b130982-2e3f-4164-b881-fd3a2e4b2453" providerId="ADAL" clId="{4457FA57-250B-44AC-8655-05D46C5A3D8A}" dt="2023-06-01T10:59:11.208" v="859" actId="478"/>
          <ac:spMkLst>
            <pc:docMk/>
            <pc:sldMk cId="2249715770" sldId="230717646"/>
            <ac:spMk id="12" creationId="{D98C71C5-3130-4E14-9CA3-DF47B2910B13}"/>
          </ac:spMkLst>
        </pc:spChg>
        <pc:spChg chg="del">
          <ac:chgData name="Manal El Bakkouri" userId="8b130982-2e3f-4164-b881-fd3a2e4b2453" providerId="ADAL" clId="{4457FA57-250B-44AC-8655-05D46C5A3D8A}" dt="2023-06-01T10:59:11.208" v="859" actId="478"/>
          <ac:spMkLst>
            <pc:docMk/>
            <pc:sldMk cId="2249715770" sldId="230717646"/>
            <ac:spMk id="13" creationId="{855872FA-3CA1-4CF9-A919-0B25F0A84CCE}"/>
          </ac:spMkLst>
        </pc:spChg>
        <pc:spChg chg="del">
          <ac:chgData name="Manal El Bakkouri" userId="8b130982-2e3f-4164-b881-fd3a2e4b2453" providerId="ADAL" clId="{4457FA57-250B-44AC-8655-05D46C5A3D8A}" dt="2023-06-01T10:59:11.208" v="859" actId="478"/>
          <ac:spMkLst>
            <pc:docMk/>
            <pc:sldMk cId="2249715770" sldId="230717646"/>
            <ac:spMk id="14" creationId="{B875EAA2-C91D-4451-B533-6F9474DA76BC}"/>
          </ac:spMkLst>
        </pc:spChg>
        <pc:spChg chg="mod">
          <ac:chgData name="Manal El Bakkouri" userId="8b130982-2e3f-4164-b881-fd3a2e4b2453" providerId="ADAL" clId="{4457FA57-250B-44AC-8655-05D46C5A3D8A}" dt="2023-06-04T12:21:12.542" v="7282" actId="1036"/>
          <ac:spMkLst>
            <pc:docMk/>
            <pc:sldMk cId="2249715770" sldId="230717646"/>
            <ac:spMk id="19" creationId="{B30F652F-B4AB-4663-B9DF-0896119C5242}"/>
          </ac:spMkLst>
        </pc:spChg>
        <pc:spChg chg="mod">
          <ac:chgData name="Manal El Bakkouri" userId="8b130982-2e3f-4164-b881-fd3a2e4b2453" providerId="ADAL" clId="{4457FA57-250B-44AC-8655-05D46C5A3D8A}" dt="2023-06-04T12:16:11.557" v="7204" actId="20577"/>
          <ac:spMkLst>
            <pc:docMk/>
            <pc:sldMk cId="2249715770" sldId="230717646"/>
            <ac:spMk id="21" creationId="{22A3CDB1-151E-4AB1-AD86-3A0348E9CF8B}"/>
          </ac:spMkLst>
        </pc:spChg>
        <pc:spChg chg="mod">
          <ac:chgData name="Manal El Bakkouri" userId="8b130982-2e3f-4164-b881-fd3a2e4b2453" providerId="ADAL" clId="{4457FA57-250B-44AC-8655-05D46C5A3D8A}" dt="2023-06-06T10:19:55.402" v="9574" actId="403"/>
          <ac:spMkLst>
            <pc:docMk/>
            <pc:sldMk cId="2249715770" sldId="230717646"/>
            <ac:spMk id="62" creationId="{1472F870-7566-4F04-814F-173BAFF6BF3C}"/>
          </ac:spMkLst>
        </pc:spChg>
        <pc:spChg chg="mod">
          <ac:chgData name="Manal El Bakkouri" userId="8b130982-2e3f-4164-b881-fd3a2e4b2453" providerId="ADAL" clId="{4457FA57-250B-44AC-8655-05D46C5A3D8A}" dt="2023-06-06T14:39:06.505" v="13362" actId="14100"/>
          <ac:spMkLst>
            <pc:docMk/>
            <pc:sldMk cId="2249715770" sldId="230717646"/>
            <ac:spMk id="66" creationId="{E22BB615-445D-4208-9AC1-9396D35C4645}"/>
          </ac:spMkLst>
        </pc:spChg>
        <pc:spChg chg="mod">
          <ac:chgData name="Manal El Bakkouri" userId="8b130982-2e3f-4164-b881-fd3a2e4b2453" providerId="ADAL" clId="{4457FA57-250B-44AC-8655-05D46C5A3D8A}" dt="2023-06-06T14:38:14.724" v="13344" actId="14100"/>
          <ac:spMkLst>
            <pc:docMk/>
            <pc:sldMk cId="2249715770" sldId="230717646"/>
            <ac:spMk id="67" creationId="{0FD5997F-3E67-4636-B82E-3F1673A023C4}"/>
          </ac:spMkLst>
        </pc:spChg>
        <pc:spChg chg="mod">
          <ac:chgData name="Manal El Bakkouri" userId="8b130982-2e3f-4164-b881-fd3a2e4b2453" providerId="ADAL" clId="{4457FA57-250B-44AC-8655-05D46C5A3D8A}" dt="2023-06-06T14:38:17.520" v="13345" actId="14100"/>
          <ac:spMkLst>
            <pc:docMk/>
            <pc:sldMk cId="2249715770" sldId="230717646"/>
            <ac:spMk id="68" creationId="{E328BE95-C5F8-4F72-B36A-05ED790C2ACE}"/>
          </ac:spMkLst>
        </pc:spChg>
        <pc:spChg chg="mod">
          <ac:chgData name="Manal El Bakkouri" userId="8b130982-2e3f-4164-b881-fd3a2e4b2453" providerId="ADAL" clId="{4457FA57-250B-44AC-8655-05D46C5A3D8A}" dt="2023-06-06T14:38:26.752" v="13349" actId="14100"/>
          <ac:spMkLst>
            <pc:docMk/>
            <pc:sldMk cId="2249715770" sldId="230717646"/>
            <ac:spMk id="69" creationId="{9F65515E-FC92-4096-8D24-8E8AD0BDEA0A}"/>
          </ac:spMkLst>
        </pc:spChg>
        <pc:spChg chg="mod">
          <ac:chgData name="Manal El Bakkouri" userId="8b130982-2e3f-4164-b881-fd3a2e4b2453" providerId="ADAL" clId="{4457FA57-250B-44AC-8655-05D46C5A3D8A}" dt="2023-06-09T11:08:14.301" v="21522"/>
          <ac:spMkLst>
            <pc:docMk/>
            <pc:sldMk cId="2249715770" sldId="230717646"/>
            <ac:spMk id="71" creationId="{C1DB94CD-F91C-47F6-AC2F-36D7286A74BB}"/>
          </ac:spMkLst>
        </pc:spChg>
        <pc:spChg chg="mod">
          <ac:chgData name="Manal El Bakkouri" userId="8b130982-2e3f-4164-b881-fd3a2e4b2453" providerId="ADAL" clId="{4457FA57-250B-44AC-8655-05D46C5A3D8A}" dt="2023-06-09T11:08:14.301" v="21522"/>
          <ac:spMkLst>
            <pc:docMk/>
            <pc:sldMk cId="2249715770" sldId="230717646"/>
            <ac:spMk id="72" creationId="{44F8BC00-8E32-4EE9-8F54-B3E1C94D2F14}"/>
          </ac:spMkLst>
        </pc:spChg>
        <pc:spChg chg="mod">
          <ac:chgData name="Manal El Bakkouri" userId="8b130982-2e3f-4164-b881-fd3a2e4b2453" providerId="ADAL" clId="{4457FA57-250B-44AC-8655-05D46C5A3D8A}" dt="2023-06-06T14:38:46.150" v="13356" actId="14100"/>
          <ac:spMkLst>
            <pc:docMk/>
            <pc:sldMk cId="2249715770" sldId="230717646"/>
            <ac:spMk id="73" creationId="{BBBF150F-D08C-491B-B94E-96BCAE1418FC}"/>
          </ac:spMkLst>
        </pc:spChg>
        <pc:spChg chg="mod">
          <ac:chgData name="Manal El Bakkouri" userId="8b130982-2e3f-4164-b881-fd3a2e4b2453" providerId="ADAL" clId="{4457FA57-250B-44AC-8655-05D46C5A3D8A}" dt="2023-06-06T14:38:59.313" v="13361" actId="14100"/>
          <ac:spMkLst>
            <pc:docMk/>
            <pc:sldMk cId="2249715770" sldId="230717646"/>
            <ac:spMk id="74" creationId="{CF745C1E-2821-4B94-9781-EC7A0DAF508E}"/>
          </ac:spMkLst>
        </pc:spChg>
        <pc:spChg chg="mod">
          <ac:chgData name="Manal El Bakkouri" userId="8b130982-2e3f-4164-b881-fd3a2e4b2453" providerId="ADAL" clId="{4457FA57-250B-44AC-8655-05D46C5A3D8A}" dt="2023-06-06T14:37:56.532" v="13339" actId="14100"/>
          <ac:spMkLst>
            <pc:docMk/>
            <pc:sldMk cId="2249715770" sldId="230717646"/>
            <ac:spMk id="75" creationId="{AA431DA0-5C43-4108-8E3C-041115FDB660}"/>
          </ac:spMkLst>
        </pc:spChg>
        <pc:spChg chg="mod">
          <ac:chgData name="Manal El Bakkouri" userId="8b130982-2e3f-4164-b881-fd3a2e4b2453" providerId="ADAL" clId="{4457FA57-250B-44AC-8655-05D46C5A3D8A}" dt="2023-06-09T11:08:14.301" v="21522"/>
          <ac:spMkLst>
            <pc:docMk/>
            <pc:sldMk cId="2249715770" sldId="230717646"/>
            <ac:spMk id="77" creationId="{D500ADD0-DD9C-4C01-837F-1BEC5400113F}"/>
          </ac:spMkLst>
        </pc:spChg>
        <pc:spChg chg="mod">
          <ac:chgData name="Manal El Bakkouri" userId="8b130982-2e3f-4164-b881-fd3a2e4b2453" providerId="ADAL" clId="{4457FA57-250B-44AC-8655-05D46C5A3D8A}" dt="2023-06-06T14:38:10.553" v="13343" actId="14100"/>
          <ac:spMkLst>
            <pc:docMk/>
            <pc:sldMk cId="2249715770" sldId="230717646"/>
            <ac:spMk id="78" creationId="{A0CE316F-CFD4-4D0E-8A57-C49B10493FA6}"/>
          </ac:spMkLst>
        </pc:spChg>
        <pc:spChg chg="mod">
          <ac:chgData name="Manal El Bakkouri" userId="8b130982-2e3f-4164-b881-fd3a2e4b2453" providerId="ADAL" clId="{4457FA57-250B-44AC-8655-05D46C5A3D8A}" dt="2023-06-06T14:38:21.963" v="13348" actId="403"/>
          <ac:spMkLst>
            <pc:docMk/>
            <pc:sldMk cId="2249715770" sldId="230717646"/>
            <ac:spMk id="79" creationId="{58DFAE7D-71D8-4231-AA3E-777181BC4BFA}"/>
          </ac:spMkLst>
        </pc:spChg>
        <pc:spChg chg="mod">
          <ac:chgData name="Manal El Bakkouri" userId="8b130982-2e3f-4164-b881-fd3a2e4b2453" providerId="ADAL" clId="{4457FA57-250B-44AC-8655-05D46C5A3D8A}" dt="2023-06-06T14:38:41.922" v="13355" actId="14100"/>
          <ac:spMkLst>
            <pc:docMk/>
            <pc:sldMk cId="2249715770" sldId="230717646"/>
            <ac:spMk id="80" creationId="{F2457589-7FF8-4C8F-9D12-339142745AC9}"/>
          </ac:spMkLst>
        </pc:spChg>
        <pc:spChg chg="mod">
          <ac:chgData name="Manal El Bakkouri" userId="8b130982-2e3f-4164-b881-fd3a2e4b2453" providerId="ADAL" clId="{4457FA57-250B-44AC-8655-05D46C5A3D8A}" dt="2023-06-06T14:38:50.267" v="13359" actId="403"/>
          <ac:spMkLst>
            <pc:docMk/>
            <pc:sldMk cId="2249715770" sldId="230717646"/>
            <ac:spMk id="81" creationId="{B3750413-4A1C-4007-BD88-DB153EC520B3}"/>
          </ac:spMkLst>
        </pc:spChg>
        <pc:spChg chg="mod">
          <ac:chgData name="Manal El Bakkouri" userId="8b130982-2e3f-4164-b881-fd3a2e4b2453" providerId="ADAL" clId="{4457FA57-250B-44AC-8655-05D46C5A3D8A}" dt="2023-06-09T11:08:14.301" v="21522"/>
          <ac:spMkLst>
            <pc:docMk/>
            <pc:sldMk cId="2249715770" sldId="230717646"/>
            <ac:spMk id="84" creationId="{0C88D310-3D9A-4203-A986-52E2A91E39C0}"/>
          </ac:spMkLst>
        </pc:spChg>
        <pc:spChg chg="add del mod">
          <ac:chgData name="Manal El Bakkouri" userId="8b130982-2e3f-4164-b881-fd3a2e4b2453" providerId="ADAL" clId="{4457FA57-250B-44AC-8655-05D46C5A3D8A}" dt="2023-06-09T11:27:24.051" v="21723" actId="478"/>
          <ac:spMkLst>
            <pc:docMk/>
            <pc:sldMk cId="2249715770" sldId="230717646"/>
            <ac:spMk id="85" creationId="{2C6A8DB4-4412-4576-B313-4D923D87B39E}"/>
          </ac:spMkLst>
        </pc:spChg>
        <pc:spChg chg="add del mod">
          <ac:chgData name="Manal El Bakkouri" userId="8b130982-2e3f-4164-b881-fd3a2e4b2453" providerId="ADAL" clId="{4457FA57-250B-44AC-8655-05D46C5A3D8A}" dt="2023-06-09T11:27:24.051" v="21723" actId="478"/>
          <ac:spMkLst>
            <pc:docMk/>
            <pc:sldMk cId="2249715770" sldId="230717646"/>
            <ac:spMk id="89" creationId="{AD73308A-6E84-4B03-83FB-5757B7EF10BA}"/>
          </ac:spMkLst>
        </pc:spChg>
        <pc:spChg chg="add del mod">
          <ac:chgData name="Manal El Bakkouri" userId="8b130982-2e3f-4164-b881-fd3a2e4b2453" providerId="ADAL" clId="{4457FA57-250B-44AC-8655-05D46C5A3D8A}" dt="2023-06-09T11:27:24.051" v="21723" actId="478"/>
          <ac:spMkLst>
            <pc:docMk/>
            <pc:sldMk cId="2249715770" sldId="230717646"/>
            <ac:spMk id="90" creationId="{B0B8F616-C048-4716-9D9D-539D16E749B1}"/>
          </ac:spMkLst>
        </pc:spChg>
        <pc:spChg chg="add del mod">
          <ac:chgData name="Manal El Bakkouri" userId="8b130982-2e3f-4164-b881-fd3a2e4b2453" providerId="ADAL" clId="{4457FA57-250B-44AC-8655-05D46C5A3D8A}" dt="2023-06-06T10:35:38.149" v="9764" actId="478"/>
          <ac:spMkLst>
            <pc:docMk/>
            <pc:sldMk cId="2249715770" sldId="230717646"/>
            <ac:spMk id="92" creationId="{050ED20D-BFC9-4D4B-A10E-B49CFEB5FC9D}"/>
          </ac:spMkLst>
        </pc:spChg>
        <pc:spChg chg="mod">
          <ac:chgData name="Manal El Bakkouri" userId="8b130982-2e3f-4164-b881-fd3a2e4b2453" providerId="ADAL" clId="{4457FA57-250B-44AC-8655-05D46C5A3D8A}" dt="2023-06-09T11:08:14.301" v="21522"/>
          <ac:spMkLst>
            <pc:docMk/>
            <pc:sldMk cId="2249715770" sldId="230717646"/>
            <ac:spMk id="93" creationId="{3181F423-F1D8-42D1-B22C-1D0759728C44}"/>
          </ac:spMkLst>
        </pc:spChg>
        <pc:spChg chg="add del mod">
          <ac:chgData name="Manal El Bakkouri" userId="8b130982-2e3f-4164-b881-fd3a2e4b2453" providerId="ADAL" clId="{4457FA57-250B-44AC-8655-05D46C5A3D8A}" dt="2023-06-06T08:37:54.388" v="8797" actId="478"/>
          <ac:spMkLst>
            <pc:docMk/>
            <pc:sldMk cId="2249715770" sldId="230717646"/>
            <ac:spMk id="93" creationId="{BD001888-2BFF-4617-9F48-C1E463B7FD08}"/>
          </ac:spMkLst>
        </pc:spChg>
        <pc:spChg chg="add del mod">
          <ac:chgData name="Manal El Bakkouri" userId="8b130982-2e3f-4164-b881-fd3a2e4b2453" providerId="ADAL" clId="{4457FA57-250B-44AC-8655-05D46C5A3D8A}" dt="2023-06-06T10:35:38.149" v="9764" actId="478"/>
          <ac:spMkLst>
            <pc:docMk/>
            <pc:sldMk cId="2249715770" sldId="230717646"/>
            <ac:spMk id="94" creationId="{07634E23-9E03-4E98-B0DA-0BA31BDE8451}"/>
          </ac:spMkLst>
        </pc:spChg>
        <pc:spChg chg="mod">
          <ac:chgData name="Manal El Bakkouri" userId="8b130982-2e3f-4164-b881-fd3a2e4b2453" providerId="ADAL" clId="{4457FA57-250B-44AC-8655-05D46C5A3D8A}" dt="2023-06-09T11:08:14.301" v="21522"/>
          <ac:spMkLst>
            <pc:docMk/>
            <pc:sldMk cId="2249715770" sldId="230717646"/>
            <ac:spMk id="94" creationId="{CC575BD0-DBC4-409A-8991-3D907E49D93D}"/>
          </ac:spMkLst>
        </pc:spChg>
        <pc:spChg chg="add del mod">
          <ac:chgData name="Manal El Bakkouri" userId="8b130982-2e3f-4164-b881-fd3a2e4b2453" providerId="ADAL" clId="{4457FA57-250B-44AC-8655-05D46C5A3D8A}" dt="2023-06-07T10:02:51.357" v="17612" actId="478"/>
          <ac:spMkLst>
            <pc:docMk/>
            <pc:sldMk cId="2249715770" sldId="230717646"/>
            <ac:spMk id="95" creationId="{C02EDEB6-BED3-415E-8ABF-F6504E131550}"/>
          </ac:spMkLst>
        </pc:spChg>
        <pc:spChg chg="del">
          <ac:chgData name="Manal El Bakkouri" userId="8b130982-2e3f-4164-b881-fd3a2e4b2453" providerId="ADAL" clId="{4457FA57-250B-44AC-8655-05D46C5A3D8A}" dt="2023-06-04T12:20:49.582" v="7277" actId="478"/>
          <ac:spMkLst>
            <pc:docMk/>
            <pc:sldMk cId="2249715770" sldId="230717646"/>
            <ac:spMk id="96" creationId="{07D4BAF4-F56E-4561-88D3-A1F7DE5E190E}"/>
          </ac:spMkLst>
        </pc:spChg>
        <pc:spChg chg="mod">
          <ac:chgData name="Manal El Bakkouri" userId="8b130982-2e3f-4164-b881-fd3a2e4b2453" providerId="ADAL" clId="{4457FA57-250B-44AC-8655-05D46C5A3D8A}" dt="2023-06-09T11:08:14.301" v="21522"/>
          <ac:spMkLst>
            <pc:docMk/>
            <pc:sldMk cId="2249715770" sldId="230717646"/>
            <ac:spMk id="96" creationId="{5C9C0F43-879B-447F-A106-047D40DF4038}"/>
          </ac:spMkLst>
        </pc:spChg>
        <pc:spChg chg="add del mod">
          <ac:chgData name="Manal El Bakkouri" userId="8b130982-2e3f-4164-b881-fd3a2e4b2453" providerId="ADAL" clId="{4457FA57-250B-44AC-8655-05D46C5A3D8A}" dt="2023-06-06T10:35:38.149" v="9764" actId="478"/>
          <ac:spMkLst>
            <pc:docMk/>
            <pc:sldMk cId="2249715770" sldId="230717646"/>
            <ac:spMk id="97" creationId="{7095FFCF-DB4C-4A73-B1BD-7CA3A200316B}"/>
          </ac:spMkLst>
        </pc:spChg>
        <pc:spChg chg="mod">
          <ac:chgData name="Manal El Bakkouri" userId="8b130982-2e3f-4164-b881-fd3a2e4b2453" providerId="ADAL" clId="{4457FA57-250B-44AC-8655-05D46C5A3D8A}" dt="2023-06-09T11:08:14.301" v="21522"/>
          <ac:spMkLst>
            <pc:docMk/>
            <pc:sldMk cId="2249715770" sldId="230717646"/>
            <ac:spMk id="97" creationId="{F460AD83-9636-47F0-A6FE-DFFC3239C71D}"/>
          </ac:spMkLst>
        </pc:spChg>
        <pc:spChg chg="add del mod">
          <ac:chgData name="Manal El Bakkouri" userId="8b130982-2e3f-4164-b881-fd3a2e4b2453" providerId="ADAL" clId="{4457FA57-250B-44AC-8655-05D46C5A3D8A}" dt="2023-06-06T08:37:54.388" v="8797" actId="478"/>
          <ac:spMkLst>
            <pc:docMk/>
            <pc:sldMk cId="2249715770" sldId="230717646"/>
            <ac:spMk id="98" creationId="{5AA874C7-9855-4607-ADA6-FA435E5094EE}"/>
          </ac:spMkLst>
        </pc:spChg>
        <pc:spChg chg="add del mod">
          <ac:chgData name="Manal El Bakkouri" userId="8b130982-2e3f-4164-b881-fd3a2e4b2453" providerId="ADAL" clId="{4457FA57-250B-44AC-8655-05D46C5A3D8A}" dt="2023-06-06T10:35:38.149" v="9764" actId="478"/>
          <ac:spMkLst>
            <pc:docMk/>
            <pc:sldMk cId="2249715770" sldId="230717646"/>
            <ac:spMk id="99" creationId="{5461D2E5-860B-4DFB-98FA-42EA16111E71}"/>
          </ac:spMkLst>
        </pc:spChg>
        <pc:spChg chg="mod">
          <ac:chgData name="Manal El Bakkouri" userId="8b130982-2e3f-4164-b881-fd3a2e4b2453" providerId="ADAL" clId="{4457FA57-250B-44AC-8655-05D46C5A3D8A}" dt="2023-06-09T11:08:14.301" v="21522"/>
          <ac:spMkLst>
            <pc:docMk/>
            <pc:sldMk cId="2249715770" sldId="230717646"/>
            <ac:spMk id="99" creationId="{99B72492-6CF3-45E7-AFBA-9B270FB6C0FE}"/>
          </ac:spMkLst>
        </pc:spChg>
        <pc:spChg chg="add del mod">
          <ac:chgData name="Manal El Bakkouri" userId="8b130982-2e3f-4164-b881-fd3a2e4b2453" providerId="ADAL" clId="{4457FA57-250B-44AC-8655-05D46C5A3D8A}" dt="2023-06-07T10:02:51.357" v="17612" actId="478"/>
          <ac:spMkLst>
            <pc:docMk/>
            <pc:sldMk cId="2249715770" sldId="230717646"/>
            <ac:spMk id="100" creationId="{5DCCCC3E-3D7A-4878-B195-7F5FD7366680}"/>
          </ac:spMkLst>
        </pc:spChg>
        <pc:spChg chg="mod">
          <ac:chgData name="Manal El Bakkouri" userId="8b130982-2e3f-4164-b881-fd3a2e4b2453" providerId="ADAL" clId="{4457FA57-250B-44AC-8655-05D46C5A3D8A}" dt="2023-06-09T11:08:14.301" v="21522"/>
          <ac:spMkLst>
            <pc:docMk/>
            <pc:sldMk cId="2249715770" sldId="230717646"/>
            <ac:spMk id="100" creationId="{67C89142-5DA7-47B4-8090-910A7BD827B8}"/>
          </ac:spMkLst>
        </pc:spChg>
        <pc:spChg chg="add del mod">
          <ac:chgData name="Manal El Bakkouri" userId="8b130982-2e3f-4164-b881-fd3a2e4b2453" providerId="ADAL" clId="{4457FA57-250B-44AC-8655-05D46C5A3D8A}" dt="2023-06-06T10:35:38.149" v="9764" actId="478"/>
          <ac:spMkLst>
            <pc:docMk/>
            <pc:sldMk cId="2249715770" sldId="230717646"/>
            <ac:spMk id="101" creationId="{6212F862-3A2A-4A70-8DDC-9EA18192CA69}"/>
          </ac:spMkLst>
        </pc:spChg>
        <pc:spChg chg="add mod">
          <ac:chgData name="Manal El Bakkouri" userId="8b130982-2e3f-4164-b881-fd3a2e4b2453" providerId="ADAL" clId="{4457FA57-250B-44AC-8655-05D46C5A3D8A}" dt="2023-06-09T11:27:24.382" v="21724"/>
          <ac:spMkLst>
            <pc:docMk/>
            <pc:sldMk cId="2249715770" sldId="230717646"/>
            <ac:spMk id="101" creationId="{D289F069-DCC8-41B0-A751-B2CDFA075984}"/>
          </ac:spMkLst>
        </pc:spChg>
        <pc:spChg chg="add del mod">
          <ac:chgData name="Manal El Bakkouri" userId="8b130982-2e3f-4164-b881-fd3a2e4b2453" providerId="ADAL" clId="{4457FA57-250B-44AC-8655-05D46C5A3D8A}" dt="2023-06-06T10:35:38.149" v="9764" actId="478"/>
          <ac:spMkLst>
            <pc:docMk/>
            <pc:sldMk cId="2249715770" sldId="230717646"/>
            <ac:spMk id="102" creationId="{4F2F5730-0766-4419-8932-5D31084F2273}"/>
          </ac:spMkLst>
        </pc:spChg>
        <pc:spChg chg="add mod">
          <ac:chgData name="Manal El Bakkouri" userId="8b130982-2e3f-4164-b881-fd3a2e4b2453" providerId="ADAL" clId="{4457FA57-250B-44AC-8655-05D46C5A3D8A}" dt="2023-06-09T11:27:24.382" v="21724"/>
          <ac:spMkLst>
            <pc:docMk/>
            <pc:sldMk cId="2249715770" sldId="230717646"/>
            <ac:spMk id="102" creationId="{CD007122-C2C1-4BFA-A826-7D607FD58AF6}"/>
          </ac:spMkLst>
        </pc:spChg>
        <pc:spChg chg="add mod">
          <ac:chgData name="Manal El Bakkouri" userId="8b130982-2e3f-4164-b881-fd3a2e4b2453" providerId="ADAL" clId="{4457FA57-250B-44AC-8655-05D46C5A3D8A}" dt="2023-06-09T11:27:24.382" v="21724"/>
          <ac:spMkLst>
            <pc:docMk/>
            <pc:sldMk cId="2249715770" sldId="230717646"/>
            <ac:spMk id="103" creationId="{B9770E73-DEBE-4BBF-9218-CF92AD41FBE3}"/>
          </ac:spMkLst>
        </pc:spChg>
        <pc:spChg chg="add del mod">
          <ac:chgData name="Manal El Bakkouri" userId="8b130982-2e3f-4164-b881-fd3a2e4b2453" providerId="ADAL" clId="{4457FA57-250B-44AC-8655-05D46C5A3D8A}" dt="2023-06-07T10:02:51.357" v="17612" actId="478"/>
          <ac:spMkLst>
            <pc:docMk/>
            <pc:sldMk cId="2249715770" sldId="230717646"/>
            <ac:spMk id="106" creationId="{A330CDB3-BC50-4AE0-A9AC-F79F621F3C1C}"/>
          </ac:spMkLst>
        </pc:spChg>
        <pc:spChg chg="add mod">
          <ac:chgData name="Manal El Bakkouri" userId="8b130982-2e3f-4164-b881-fd3a2e4b2453" providerId="ADAL" clId="{4457FA57-250B-44AC-8655-05D46C5A3D8A}" dt="2023-06-09T11:27:24.382" v="21724"/>
          <ac:spMkLst>
            <pc:docMk/>
            <pc:sldMk cId="2249715770" sldId="230717646"/>
            <ac:spMk id="106" creationId="{D35281D9-923F-429E-85CE-9007B9169B36}"/>
          </ac:spMkLst>
        </pc:spChg>
        <pc:spChg chg="add del mod">
          <ac:chgData name="Manal El Bakkouri" userId="8b130982-2e3f-4164-b881-fd3a2e4b2453" providerId="ADAL" clId="{4457FA57-250B-44AC-8655-05D46C5A3D8A}" dt="2023-06-07T10:02:51.357" v="17612" actId="478"/>
          <ac:spMkLst>
            <pc:docMk/>
            <pc:sldMk cId="2249715770" sldId="230717646"/>
            <ac:spMk id="107" creationId="{250582E9-47A5-400A-A26A-232AE249AC50}"/>
          </ac:spMkLst>
        </pc:spChg>
        <pc:spChg chg="add del mod">
          <ac:chgData name="Manal El Bakkouri" userId="8b130982-2e3f-4164-b881-fd3a2e4b2453" providerId="ADAL" clId="{4457FA57-250B-44AC-8655-05D46C5A3D8A}" dt="2023-06-07T10:02:51.357" v="17612" actId="478"/>
          <ac:spMkLst>
            <pc:docMk/>
            <pc:sldMk cId="2249715770" sldId="230717646"/>
            <ac:spMk id="108" creationId="{0C337E1B-9BA4-49F5-8264-C5025B3E330B}"/>
          </ac:spMkLst>
        </pc:spChg>
        <pc:spChg chg="add del mod">
          <ac:chgData name="Manal El Bakkouri" userId="8b130982-2e3f-4164-b881-fd3a2e4b2453" providerId="ADAL" clId="{4457FA57-250B-44AC-8655-05D46C5A3D8A}" dt="2023-06-06T10:35:59.704" v="9769" actId="478"/>
          <ac:spMkLst>
            <pc:docMk/>
            <pc:sldMk cId="2249715770" sldId="230717646"/>
            <ac:spMk id="109" creationId="{B5B66427-7B1A-418C-BE85-0BC85DDA93DD}"/>
          </ac:spMkLst>
        </pc:spChg>
        <pc:spChg chg="add del mod">
          <ac:chgData name="Manal El Bakkouri" userId="8b130982-2e3f-4164-b881-fd3a2e4b2453" providerId="ADAL" clId="{4457FA57-250B-44AC-8655-05D46C5A3D8A}" dt="2023-06-07T10:02:51.357" v="17612" actId="478"/>
          <ac:spMkLst>
            <pc:docMk/>
            <pc:sldMk cId="2249715770" sldId="230717646"/>
            <ac:spMk id="110" creationId="{DC8EE5F2-0077-42D8-817E-DEB096105C8B}"/>
          </ac:spMkLst>
        </pc:spChg>
        <pc:spChg chg="add del mod">
          <ac:chgData name="Manal El Bakkouri" userId="8b130982-2e3f-4164-b881-fd3a2e4b2453" providerId="ADAL" clId="{4457FA57-250B-44AC-8655-05D46C5A3D8A}" dt="2023-06-06T10:35:59.704" v="9769" actId="478"/>
          <ac:spMkLst>
            <pc:docMk/>
            <pc:sldMk cId="2249715770" sldId="230717646"/>
            <ac:spMk id="111" creationId="{69A1D283-321F-4170-8C7B-5696A8F39E5B}"/>
          </ac:spMkLst>
        </pc:spChg>
        <pc:spChg chg="add del mod">
          <ac:chgData name="Manal El Bakkouri" userId="8b130982-2e3f-4164-b881-fd3a2e4b2453" providerId="ADAL" clId="{4457FA57-250B-44AC-8655-05D46C5A3D8A}" dt="2023-06-07T10:02:51.357" v="17612" actId="478"/>
          <ac:spMkLst>
            <pc:docMk/>
            <pc:sldMk cId="2249715770" sldId="230717646"/>
            <ac:spMk id="112" creationId="{9D2BD40D-8F3E-4102-A780-5C39758BF0F6}"/>
          </ac:spMkLst>
        </pc:spChg>
        <pc:spChg chg="add del mod">
          <ac:chgData name="Manal El Bakkouri" userId="8b130982-2e3f-4164-b881-fd3a2e4b2453" providerId="ADAL" clId="{4457FA57-250B-44AC-8655-05D46C5A3D8A}" dt="2023-06-07T10:02:51.357" v="17612" actId="478"/>
          <ac:spMkLst>
            <pc:docMk/>
            <pc:sldMk cId="2249715770" sldId="230717646"/>
            <ac:spMk id="113" creationId="{B2FC22A3-D8B4-4F32-B115-F04B87FF72C4}"/>
          </ac:spMkLst>
        </pc:spChg>
        <pc:spChg chg="add del mod">
          <ac:chgData name="Manal El Bakkouri" userId="8b130982-2e3f-4164-b881-fd3a2e4b2453" providerId="ADAL" clId="{4457FA57-250B-44AC-8655-05D46C5A3D8A}" dt="2023-06-07T10:02:51.357" v="17612" actId="478"/>
          <ac:spMkLst>
            <pc:docMk/>
            <pc:sldMk cId="2249715770" sldId="230717646"/>
            <ac:spMk id="114" creationId="{E3CC9996-321F-4E81-BC09-534FFDDF25DF}"/>
          </ac:spMkLst>
        </pc:spChg>
        <pc:spChg chg="add del mod">
          <ac:chgData name="Manal El Bakkouri" userId="8b130982-2e3f-4164-b881-fd3a2e4b2453" providerId="ADAL" clId="{4457FA57-250B-44AC-8655-05D46C5A3D8A}" dt="2023-06-07T10:02:51.357" v="17612" actId="478"/>
          <ac:spMkLst>
            <pc:docMk/>
            <pc:sldMk cId="2249715770" sldId="230717646"/>
            <ac:spMk id="115" creationId="{14931594-8832-46F9-BE5D-A550B440A7B5}"/>
          </ac:spMkLst>
        </pc:spChg>
        <pc:spChg chg="mod">
          <ac:chgData name="Manal El Bakkouri" userId="8b130982-2e3f-4164-b881-fd3a2e4b2453" providerId="ADAL" clId="{4457FA57-250B-44AC-8655-05D46C5A3D8A}" dt="2023-06-07T10:02:52.563" v="17613"/>
          <ac:spMkLst>
            <pc:docMk/>
            <pc:sldMk cId="2249715770" sldId="230717646"/>
            <ac:spMk id="117" creationId="{ED32BF38-2414-4C03-B0DB-DB5529A4DEF6}"/>
          </ac:spMkLst>
        </pc:spChg>
        <pc:spChg chg="mod">
          <ac:chgData name="Manal El Bakkouri" userId="8b130982-2e3f-4164-b881-fd3a2e4b2453" providerId="ADAL" clId="{4457FA57-250B-44AC-8655-05D46C5A3D8A}" dt="2023-06-07T10:02:52.563" v="17613"/>
          <ac:spMkLst>
            <pc:docMk/>
            <pc:sldMk cId="2249715770" sldId="230717646"/>
            <ac:spMk id="118" creationId="{0EB3BEEC-65B0-44D9-9BAA-FA4B68EE78C5}"/>
          </ac:spMkLst>
        </pc:spChg>
        <pc:spChg chg="mod">
          <ac:chgData name="Manal El Bakkouri" userId="8b130982-2e3f-4164-b881-fd3a2e4b2453" providerId="ADAL" clId="{4457FA57-250B-44AC-8655-05D46C5A3D8A}" dt="2023-06-07T10:02:52.563" v="17613"/>
          <ac:spMkLst>
            <pc:docMk/>
            <pc:sldMk cId="2249715770" sldId="230717646"/>
            <ac:spMk id="120" creationId="{6C9F10A3-DC06-4D83-AA80-5B397A6CE15C}"/>
          </ac:spMkLst>
        </pc:spChg>
        <pc:spChg chg="mod">
          <ac:chgData name="Manal El Bakkouri" userId="8b130982-2e3f-4164-b881-fd3a2e4b2453" providerId="ADAL" clId="{4457FA57-250B-44AC-8655-05D46C5A3D8A}" dt="2023-06-07T10:02:52.563" v="17613"/>
          <ac:spMkLst>
            <pc:docMk/>
            <pc:sldMk cId="2249715770" sldId="230717646"/>
            <ac:spMk id="121" creationId="{D4A21F07-B780-4229-9738-60CE22FD2F15}"/>
          </ac:spMkLst>
        </pc:spChg>
        <pc:spChg chg="mod">
          <ac:chgData name="Manal El Bakkouri" userId="8b130982-2e3f-4164-b881-fd3a2e4b2453" providerId="ADAL" clId="{4457FA57-250B-44AC-8655-05D46C5A3D8A}" dt="2023-06-07T10:02:52.563" v="17613"/>
          <ac:spMkLst>
            <pc:docMk/>
            <pc:sldMk cId="2249715770" sldId="230717646"/>
            <ac:spMk id="123" creationId="{49C9AC81-B5D5-4EA8-B9E8-321238307596}"/>
          </ac:spMkLst>
        </pc:spChg>
        <pc:spChg chg="mod">
          <ac:chgData name="Manal El Bakkouri" userId="8b130982-2e3f-4164-b881-fd3a2e4b2453" providerId="ADAL" clId="{4457FA57-250B-44AC-8655-05D46C5A3D8A}" dt="2023-06-07T10:02:52.563" v="17613"/>
          <ac:spMkLst>
            <pc:docMk/>
            <pc:sldMk cId="2249715770" sldId="230717646"/>
            <ac:spMk id="124" creationId="{CF7D153B-C2E1-4820-8359-01C57488679E}"/>
          </ac:spMkLst>
        </pc:spChg>
        <pc:spChg chg="mod">
          <ac:chgData name="Manal El Bakkouri" userId="8b130982-2e3f-4164-b881-fd3a2e4b2453" providerId="ADAL" clId="{4457FA57-250B-44AC-8655-05D46C5A3D8A}" dt="2023-06-07T10:02:52.563" v="17613"/>
          <ac:spMkLst>
            <pc:docMk/>
            <pc:sldMk cId="2249715770" sldId="230717646"/>
            <ac:spMk id="126" creationId="{053736AB-FF56-4863-836D-C173394E2041}"/>
          </ac:spMkLst>
        </pc:spChg>
        <pc:spChg chg="mod">
          <ac:chgData name="Manal El Bakkouri" userId="8b130982-2e3f-4164-b881-fd3a2e4b2453" providerId="ADAL" clId="{4457FA57-250B-44AC-8655-05D46C5A3D8A}" dt="2023-06-07T10:02:52.563" v="17613"/>
          <ac:spMkLst>
            <pc:docMk/>
            <pc:sldMk cId="2249715770" sldId="230717646"/>
            <ac:spMk id="127" creationId="{0A372CC4-A322-4F79-8609-7FAB548F01E4}"/>
          </ac:spMkLst>
        </pc:spChg>
        <pc:spChg chg="mod">
          <ac:chgData name="Manal El Bakkouri" userId="8b130982-2e3f-4164-b881-fd3a2e4b2453" providerId="ADAL" clId="{4457FA57-250B-44AC-8655-05D46C5A3D8A}" dt="2023-06-07T10:02:52.563" v="17613"/>
          <ac:spMkLst>
            <pc:docMk/>
            <pc:sldMk cId="2249715770" sldId="230717646"/>
            <ac:spMk id="129" creationId="{D929D7E9-2D0F-43B7-9B7D-E24CAA5F8C25}"/>
          </ac:spMkLst>
        </pc:spChg>
        <pc:spChg chg="mod">
          <ac:chgData name="Manal El Bakkouri" userId="8b130982-2e3f-4164-b881-fd3a2e4b2453" providerId="ADAL" clId="{4457FA57-250B-44AC-8655-05D46C5A3D8A}" dt="2023-06-07T10:02:52.563" v="17613"/>
          <ac:spMkLst>
            <pc:docMk/>
            <pc:sldMk cId="2249715770" sldId="230717646"/>
            <ac:spMk id="130" creationId="{1011AE8E-E264-437E-AC6D-3FD7187B1836}"/>
          </ac:spMkLst>
        </pc:spChg>
        <pc:grpChg chg="del">
          <ac:chgData name="Manal El Bakkouri" userId="8b130982-2e3f-4164-b881-fd3a2e4b2453" providerId="ADAL" clId="{4457FA57-250B-44AC-8655-05D46C5A3D8A}" dt="2023-06-04T12:20:46.443" v="7274" actId="478"/>
          <ac:grpSpMkLst>
            <pc:docMk/>
            <pc:sldMk cId="2249715770" sldId="230717646"/>
            <ac:grpSpMk id="57" creationId="{2672051C-4019-46D2-897F-39F9439A5D83}"/>
          </ac:grpSpMkLst>
        </pc:grpChg>
        <pc:grpChg chg="add mod">
          <ac:chgData name="Manal El Bakkouri" userId="8b130982-2e3f-4164-b881-fd3a2e4b2453" providerId="ADAL" clId="{4457FA57-250B-44AC-8655-05D46C5A3D8A}" dt="2023-06-09T11:08:14.301" v="21522"/>
          <ac:grpSpMkLst>
            <pc:docMk/>
            <pc:sldMk cId="2249715770" sldId="230717646"/>
            <ac:grpSpMk id="70" creationId="{33B621C2-0526-4626-B5AB-57D6C929F894}"/>
          </ac:grpSpMkLst>
        </pc:grpChg>
        <pc:grpChg chg="add mod">
          <ac:chgData name="Manal El Bakkouri" userId="8b130982-2e3f-4164-b881-fd3a2e4b2453" providerId="ADAL" clId="{4457FA57-250B-44AC-8655-05D46C5A3D8A}" dt="2023-06-09T11:08:14.301" v="21522"/>
          <ac:grpSpMkLst>
            <pc:docMk/>
            <pc:sldMk cId="2249715770" sldId="230717646"/>
            <ac:grpSpMk id="76" creationId="{C1DDEA18-C471-403F-80FA-C5947BCABDD5}"/>
          </ac:grpSpMkLst>
        </pc:grpChg>
        <pc:grpChg chg="add mod">
          <ac:chgData name="Manal El Bakkouri" userId="8b130982-2e3f-4164-b881-fd3a2e4b2453" providerId="ADAL" clId="{4457FA57-250B-44AC-8655-05D46C5A3D8A}" dt="2023-06-09T11:08:14.301" v="21522"/>
          <ac:grpSpMkLst>
            <pc:docMk/>
            <pc:sldMk cId="2249715770" sldId="230717646"/>
            <ac:grpSpMk id="92" creationId="{64713931-6422-4FF2-A6FD-AE48A44C0D51}"/>
          </ac:grpSpMkLst>
        </pc:grpChg>
        <pc:grpChg chg="add mod">
          <ac:chgData name="Manal El Bakkouri" userId="8b130982-2e3f-4164-b881-fd3a2e4b2453" providerId="ADAL" clId="{4457FA57-250B-44AC-8655-05D46C5A3D8A}" dt="2023-06-09T11:08:14.301" v="21522"/>
          <ac:grpSpMkLst>
            <pc:docMk/>
            <pc:sldMk cId="2249715770" sldId="230717646"/>
            <ac:grpSpMk id="95" creationId="{74F6AAC8-A30C-4F4B-B31D-854ED1A7E6B7}"/>
          </ac:grpSpMkLst>
        </pc:grpChg>
        <pc:grpChg chg="add mod">
          <ac:chgData name="Manal El Bakkouri" userId="8b130982-2e3f-4164-b881-fd3a2e4b2453" providerId="ADAL" clId="{4457FA57-250B-44AC-8655-05D46C5A3D8A}" dt="2023-06-09T11:08:14.301" v="21522"/>
          <ac:grpSpMkLst>
            <pc:docMk/>
            <pc:sldMk cId="2249715770" sldId="230717646"/>
            <ac:grpSpMk id="98" creationId="{D9A09170-51D3-4F57-ABD2-9BF9489CACDD}"/>
          </ac:grpSpMkLst>
        </pc:grpChg>
        <pc:grpChg chg="add del mod">
          <ac:chgData name="Manal El Bakkouri" userId="8b130982-2e3f-4164-b881-fd3a2e4b2453" providerId="ADAL" clId="{4457FA57-250B-44AC-8655-05D46C5A3D8A}" dt="2023-06-09T11:08:13.922" v="21521" actId="478"/>
          <ac:grpSpMkLst>
            <pc:docMk/>
            <pc:sldMk cId="2249715770" sldId="230717646"/>
            <ac:grpSpMk id="116" creationId="{718B25C0-AE58-4F9B-9B82-0EC9765D7619}"/>
          </ac:grpSpMkLst>
        </pc:grpChg>
        <pc:grpChg chg="add del mod">
          <ac:chgData name="Manal El Bakkouri" userId="8b130982-2e3f-4164-b881-fd3a2e4b2453" providerId="ADAL" clId="{4457FA57-250B-44AC-8655-05D46C5A3D8A}" dt="2023-06-09T11:08:13.922" v="21521" actId="478"/>
          <ac:grpSpMkLst>
            <pc:docMk/>
            <pc:sldMk cId="2249715770" sldId="230717646"/>
            <ac:grpSpMk id="119" creationId="{6A32A46E-A82B-49A6-8C7A-0F627900C6D4}"/>
          </ac:grpSpMkLst>
        </pc:grpChg>
        <pc:grpChg chg="add del mod">
          <ac:chgData name="Manal El Bakkouri" userId="8b130982-2e3f-4164-b881-fd3a2e4b2453" providerId="ADAL" clId="{4457FA57-250B-44AC-8655-05D46C5A3D8A}" dt="2023-06-09T11:08:13.922" v="21521" actId="478"/>
          <ac:grpSpMkLst>
            <pc:docMk/>
            <pc:sldMk cId="2249715770" sldId="230717646"/>
            <ac:grpSpMk id="122" creationId="{C71A1296-5E20-4119-AD4B-67E089D2698A}"/>
          </ac:grpSpMkLst>
        </pc:grpChg>
        <pc:grpChg chg="add del mod">
          <ac:chgData name="Manal El Bakkouri" userId="8b130982-2e3f-4164-b881-fd3a2e4b2453" providerId="ADAL" clId="{4457FA57-250B-44AC-8655-05D46C5A3D8A}" dt="2023-06-09T11:08:13.922" v="21521" actId="478"/>
          <ac:grpSpMkLst>
            <pc:docMk/>
            <pc:sldMk cId="2249715770" sldId="230717646"/>
            <ac:grpSpMk id="125" creationId="{3CF1B682-6F68-4255-BCA3-50EA35A04B36}"/>
          </ac:grpSpMkLst>
        </pc:grpChg>
        <pc:grpChg chg="add del mod">
          <ac:chgData name="Manal El Bakkouri" userId="8b130982-2e3f-4164-b881-fd3a2e4b2453" providerId="ADAL" clId="{4457FA57-250B-44AC-8655-05D46C5A3D8A}" dt="2023-06-09T11:08:13.922" v="21521" actId="478"/>
          <ac:grpSpMkLst>
            <pc:docMk/>
            <pc:sldMk cId="2249715770" sldId="230717646"/>
            <ac:grpSpMk id="128" creationId="{7A265B74-EF58-4272-BD27-A1C56F5F4A12}"/>
          </ac:grpSpMkLst>
        </pc:grpChg>
        <pc:picChg chg="del">
          <ac:chgData name="Manal El Bakkouri" userId="8b130982-2e3f-4164-b881-fd3a2e4b2453" providerId="ADAL" clId="{4457FA57-250B-44AC-8655-05D46C5A3D8A}" dt="2023-06-04T12:20:45.704" v="7273" actId="478"/>
          <ac:picMkLst>
            <pc:docMk/>
            <pc:sldMk cId="2249715770" sldId="230717646"/>
            <ac:picMk id="34" creationId="{D564EC6A-F3F4-4B76-8AAB-763C9CFA7863}"/>
          </ac:picMkLst>
        </pc:picChg>
        <pc:picChg chg="add del mod">
          <ac:chgData name="Manal El Bakkouri" userId="8b130982-2e3f-4164-b881-fd3a2e4b2453" providerId="ADAL" clId="{4457FA57-250B-44AC-8655-05D46C5A3D8A}" dt="2023-06-04T12:14:38.475" v="7186"/>
          <ac:picMkLst>
            <pc:docMk/>
            <pc:sldMk cId="2249715770" sldId="230717646"/>
            <ac:picMk id="103" creationId="{43F1686B-9D5E-4290-8CA7-82097F9EE835}"/>
          </ac:picMkLst>
        </pc:picChg>
        <pc:picChg chg="add del mod">
          <ac:chgData name="Manal El Bakkouri" userId="8b130982-2e3f-4164-b881-fd3a2e4b2453" providerId="ADAL" clId="{4457FA57-250B-44AC-8655-05D46C5A3D8A}" dt="2023-06-04T12:20:48.568" v="7276" actId="478"/>
          <ac:picMkLst>
            <pc:docMk/>
            <pc:sldMk cId="2249715770" sldId="230717646"/>
            <ac:picMk id="104" creationId="{8E64A53E-8B21-48A4-915E-0596671D8081}"/>
          </ac:picMkLst>
        </pc:picChg>
        <pc:picChg chg="add mod">
          <ac:chgData name="Manal El Bakkouri" userId="8b130982-2e3f-4164-b881-fd3a2e4b2453" providerId="ADAL" clId="{4457FA57-250B-44AC-8655-05D46C5A3D8A}" dt="2023-06-04T12:16:12.461" v="7205"/>
          <ac:picMkLst>
            <pc:docMk/>
            <pc:sldMk cId="2249715770" sldId="230717646"/>
            <ac:picMk id="105" creationId="{32BC3B97-793A-47F3-96FD-A89FD17BC91A}"/>
          </ac:picMkLst>
        </pc:picChg>
        <pc:cxnChg chg="mod">
          <ac:chgData name="Manal El Bakkouri" userId="8b130982-2e3f-4164-b881-fd3a2e4b2453" providerId="ADAL" clId="{4457FA57-250B-44AC-8655-05D46C5A3D8A}" dt="2023-06-04T12:20:46.443" v="7274" actId="478"/>
          <ac:cxnSpMkLst>
            <pc:docMk/>
            <pc:sldMk cId="2249715770" sldId="230717646"/>
            <ac:cxnSpMk id="59" creationId="{AAAE7244-D280-4804-BFAF-38E3D337E18C}"/>
          </ac:cxnSpMkLst>
        </pc:cxnChg>
        <pc:cxnChg chg="mod">
          <ac:chgData name="Manal El Bakkouri" userId="8b130982-2e3f-4164-b881-fd3a2e4b2453" providerId="ADAL" clId="{4457FA57-250B-44AC-8655-05D46C5A3D8A}" dt="2023-06-04T12:20:46.443" v="7274" actId="478"/>
          <ac:cxnSpMkLst>
            <pc:docMk/>
            <pc:sldMk cId="2249715770" sldId="230717646"/>
            <ac:cxnSpMk id="76" creationId="{30723106-80D5-4F43-9586-8B5C6BC0DCA2}"/>
          </ac:cxnSpMkLst>
        </pc:cxnChg>
        <pc:cxnChg chg="mod">
          <ac:chgData name="Manal El Bakkouri" userId="8b130982-2e3f-4164-b881-fd3a2e4b2453" providerId="ADAL" clId="{4457FA57-250B-44AC-8655-05D46C5A3D8A}" dt="2023-06-04T12:20:46.443" v="7274" actId="478"/>
          <ac:cxnSpMkLst>
            <pc:docMk/>
            <pc:sldMk cId="2249715770" sldId="230717646"/>
            <ac:cxnSpMk id="77" creationId="{C90F7012-43DF-43D3-A8A9-04B64BA330D4}"/>
          </ac:cxnSpMkLst>
        </pc:cxnChg>
      </pc:sldChg>
      <pc:sldChg chg="addSp delSp modSp del mod modTransition">
        <pc:chgData name="Manal El Bakkouri" userId="8b130982-2e3f-4164-b881-fd3a2e4b2453" providerId="ADAL" clId="{4457FA57-250B-44AC-8655-05D46C5A3D8A}" dt="2023-06-04T12:17:14.107" v="7209" actId="2696"/>
        <pc:sldMkLst>
          <pc:docMk/>
          <pc:sldMk cId="3488563027" sldId="230717647"/>
        </pc:sldMkLst>
        <pc:spChg chg="del">
          <ac:chgData name="Manal El Bakkouri" userId="8b130982-2e3f-4164-b881-fd3a2e4b2453" providerId="ADAL" clId="{4457FA57-250B-44AC-8655-05D46C5A3D8A}" dt="2023-06-01T10:33:46.285" v="665" actId="478"/>
          <ac:spMkLst>
            <pc:docMk/>
            <pc:sldMk cId="3488563027" sldId="230717647"/>
            <ac:spMk id="5" creationId="{8B56D238-1846-4411-B690-7378E7A120F8}"/>
          </ac:spMkLst>
        </pc:spChg>
        <pc:spChg chg="del">
          <ac:chgData name="Manal El Bakkouri" userId="8b130982-2e3f-4164-b881-fd3a2e4b2453" providerId="ADAL" clId="{4457FA57-250B-44AC-8655-05D46C5A3D8A}" dt="2023-06-01T10:33:46.285" v="665" actId="478"/>
          <ac:spMkLst>
            <pc:docMk/>
            <pc:sldMk cId="3488563027" sldId="230717647"/>
            <ac:spMk id="6" creationId="{DC9E6703-E213-438C-AB82-932EF7362884}"/>
          </ac:spMkLst>
        </pc:spChg>
        <pc:spChg chg="del">
          <ac:chgData name="Manal El Bakkouri" userId="8b130982-2e3f-4164-b881-fd3a2e4b2453" providerId="ADAL" clId="{4457FA57-250B-44AC-8655-05D46C5A3D8A}" dt="2023-06-01T10:33:46.285" v="665" actId="478"/>
          <ac:spMkLst>
            <pc:docMk/>
            <pc:sldMk cId="3488563027" sldId="230717647"/>
            <ac:spMk id="7" creationId="{0E5F87F5-BA96-488E-8E51-8097393B4811}"/>
          </ac:spMkLst>
        </pc:spChg>
        <pc:spChg chg="del">
          <ac:chgData name="Manal El Bakkouri" userId="8b130982-2e3f-4164-b881-fd3a2e4b2453" providerId="ADAL" clId="{4457FA57-250B-44AC-8655-05D46C5A3D8A}" dt="2023-06-01T10:33:46.285" v="665" actId="478"/>
          <ac:spMkLst>
            <pc:docMk/>
            <pc:sldMk cId="3488563027" sldId="230717647"/>
            <ac:spMk id="8" creationId="{D8ED4ADE-9192-446A-9328-0977A73C1695}"/>
          </ac:spMkLst>
        </pc:spChg>
        <pc:spChg chg="del mod">
          <ac:chgData name="Manal El Bakkouri" userId="8b130982-2e3f-4164-b881-fd3a2e4b2453" providerId="ADAL" clId="{4457FA57-250B-44AC-8655-05D46C5A3D8A}" dt="2023-06-01T10:38:30.265" v="715" actId="478"/>
          <ac:spMkLst>
            <pc:docMk/>
            <pc:sldMk cId="3488563027" sldId="230717647"/>
            <ac:spMk id="9" creationId="{DFE59916-8B93-4C70-A986-0F840E3BE7CF}"/>
          </ac:spMkLst>
        </pc:spChg>
        <pc:spChg chg="del mod">
          <ac:chgData name="Manal El Bakkouri" userId="8b130982-2e3f-4164-b881-fd3a2e4b2453" providerId="ADAL" clId="{4457FA57-250B-44AC-8655-05D46C5A3D8A}" dt="2023-06-01T10:38:30.265" v="715" actId="478"/>
          <ac:spMkLst>
            <pc:docMk/>
            <pc:sldMk cId="3488563027" sldId="230717647"/>
            <ac:spMk id="10" creationId="{78EEDC8D-14E7-45B1-AF9A-24EA248541B9}"/>
          </ac:spMkLst>
        </pc:spChg>
        <pc:spChg chg="del mod">
          <ac:chgData name="Manal El Bakkouri" userId="8b130982-2e3f-4164-b881-fd3a2e4b2453" providerId="ADAL" clId="{4457FA57-250B-44AC-8655-05D46C5A3D8A}" dt="2023-06-01T10:38:30.265" v="715" actId="478"/>
          <ac:spMkLst>
            <pc:docMk/>
            <pc:sldMk cId="3488563027" sldId="230717647"/>
            <ac:spMk id="11" creationId="{F395B3E6-C2DB-4972-A673-651F64ADBC9F}"/>
          </ac:spMkLst>
        </pc:spChg>
        <pc:spChg chg="del">
          <ac:chgData name="Manal El Bakkouri" userId="8b130982-2e3f-4164-b881-fd3a2e4b2453" providerId="ADAL" clId="{4457FA57-250B-44AC-8655-05D46C5A3D8A}" dt="2023-06-01T10:38:30.265" v="715" actId="478"/>
          <ac:spMkLst>
            <pc:docMk/>
            <pc:sldMk cId="3488563027" sldId="230717647"/>
            <ac:spMk id="12" creationId="{D98C71C5-3130-4E14-9CA3-DF47B2910B13}"/>
          </ac:spMkLst>
        </pc:spChg>
        <pc:spChg chg="del">
          <ac:chgData name="Manal El Bakkouri" userId="8b130982-2e3f-4164-b881-fd3a2e4b2453" providerId="ADAL" clId="{4457FA57-250B-44AC-8655-05D46C5A3D8A}" dt="2023-06-01T10:38:30.265" v="715" actId="478"/>
          <ac:spMkLst>
            <pc:docMk/>
            <pc:sldMk cId="3488563027" sldId="230717647"/>
            <ac:spMk id="13" creationId="{855872FA-3CA1-4CF9-A919-0B25F0A84CCE}"/>
          </ac:spMkLst>
        </pc:spChg>
        <pc:spChg chg="del">
          <ac:chgData name="Manal El Bakkouri" userId="8b130982-2e3f-4164-b881-fd3a2e4b2453" providerId="ADAL" clId="{4457FA57-250B-44AC-8655-05D46C5A3D8A}" dt="2023-06-01T10:38:30.265" v="715" actId="478"/>
          <ac:spMkLst>
            <pc:docMk/>
            <pc:sldMk cId="3488563027" sldId="230717647"/>
            <ac:spMk id="14" creationId="{B875EAA2-C91D-4451-B533-6F9474DA76BC}"/>
          </ac:spMkLst>
        </pc:spChg>
        <pc:spChg chg="mod">
          <ac:chgData name="Manal El Bakkouri" userId="8b130982-2e3f-4164-b881-fd3a2e4b2453" providerId="ADAL" clId="{4457FA57-250B-44AC-8655-05D46C5A3D8A}" dt="2023-06-01T10:37:14.241" v="691" actId="1076"/>
          <ac:spMkLst>
            <pc:docMk/>
            <pc:sldMk cId="3488563027" sldId="230717647"/>
            <ac:spMk id="20" creationId="{4BDC13F8-FF45-4747-82D1-66D3B6F0B152}"/>
          </ac:spMkLst>
        </pc:spChg>
        <pc:spChg chg="mod">
          <ac:chgData name="Manal El Bakkouri" userId="8b130982-2e3f-4164-b881-fd3a2e4b2453" providerId="ADAL" clId="{4457FA57-250B-44AC-8655-05D46C5A3D8A}" dt="2023-06-04T12:14:11.258" v="7180" actId="20577"/>
          <ac:spMkLst>
            <pc:docMk/>
            <pc:sldMk cId="3488563027" sldId="230717647"/>
            <ac:spMk id="21" creationId="{22A3CDB1-151E-4AB1-AD86-3A0348E9CF8B}"/>
          </ac:spMkLst>
        </pc:spChg>
        <pc:spChg chg="add mod">
          <ac:chgData name="Manal El Bakkouri" userId="8b130982-2e3f-4164-b881-fd3a2e4b2453" providerId="ADAL" clId="{4457FA57-250B-44AC-8655-05D46C5A3D8A}" dt="2023-06-01T10:35:41.494" v="679" actId="20577"/>
          <ac:spMkLst>
            <pc:docMk/>
            <pc:sldMk cId="3488563027" sldId="230717647"/>
            <ac:spMk id="57" creationId="{DB9A0BAB-A307-4DBB-B42A-12FA0DC159D2}"/>
          </ac:spMkLst>
        </pc:spChg>
        <pc:spChg chg="add mod">
          <ac:chgData name="Manal El Bakkouri" userId="8b130982-2e3f-4164-b881-fd3a2e4b2453" providerId="ADAL" clId="{4457FA57-250B-44AC-8655-05D46C5A3D8A}" dt="2023-06-01T10:33:54.932" v="667" actId="1076"/>
          <ac:spMkLst>
            <pc:docMk/>
            <pc:sldMk cId="3488563027" sldId="230717647"/>
            <ac:spMk id="59" creationId="{0334DE6B-054B-4036-B646-E84099D34F56}"/>
          </ac:spMkLst>
        </pc:spChg>
        <pc:spChg chg="add mod">
          <ac:chgData name="Manal El Bakkouri" userId="8b130982-2e3f-4164-b881-fd3a2e4b2453" providerId="ADAL" clId="{4457FA57-250B-44AC-8655-05D46C5A3D8A}" dt="2023-06-01T10:34:25.427" v="672" actId="20577"/>
          <ac:spMkLst>
            <pc:docMk/>
            <pc:sldMk cId="3488563027" sldId="230717647"/>
            <ac:spMk id="60" creationId="{50B8799F-3F22-4581-8CF1-ABABDB7D10F0}"/>
          </ac:spMkLst>
        </pc:spChg>
        <pc:spChg chg="add del mod">
          <ac:chgData name="Manal El Bakkouri" userId="8b130982-2e3f-4164-b881-fd3a2e4b2453" providerId="ADAL" clId="{4457FA57-250B-44AC-8655-05D46C5A3D8A}" dt="2023-06-01T10:38:30.265" v="715" actId="478"/>
          <ac:spMkLst>
            <pc:docMk/>
            <pc:sldMk cId="3488563027" sldId="230717647"/>
            <ac:spMk id="61" creationId="{3BE78CFB-4652-4DB6-B1E6-28E3309975A8}"/>
          </ac:spMkLst>
        </pc:spChg>
        <pc:spChg chg="add del mod">
          <ac:chgData name="Manal El Bakkouri" userId="8b130982-2e3f-4164-b881-fd3a2e4b2453" providerId="ADAL" clId="{4457FA57-250B-44AC-8655-05D46C5A3D8A}" dt="2023-06-01T10:38:30.265" v="715" actId="478"/>
          <ac:spMkLst>
            <pc:docMk/>
            <pc:sldMk cId="3488563027" sldId="230717647"/>
            <ac:spMk id="70" creationId="{D2AD8275-E8FE-49E2-B4DE-29552B636337}"/>
          </ac:spMkLst>
        </pc:spChg>
        <pc:spChg chg="add mod">
          <ac:chgData name="Manal El Bakkouri" userId="8b130982-2e3f-4164-b881-fd3a2e4b2453" providerId="ADAL" clId="{4457FA57-250B-44AC-8655-05D46C5A3D8A}" dt="2023-06-01T10:36:20.871" v="686" actId="571"/>
          <ac:spMkLst>
            <pc:docMk/>
            <pc:sldMk cId="3488563027" sldId="230717647"/>
            <ac:spMk id="71" creationId="{526B8B3B-1E7C-474E-97F6-DC2A3DC98CBD}"/>
          </ac:spMkLst>
        </pc:spChg>
        <pc:spChg chg="add mod">
          <ac:chgData name="Manal El Bakkouri" userId="8b130982-2e3f-4164-b881-fd3a2e4b2453" providerId="ADAL" clId="{4457FA57-250B-44AC-8655-05D46C5A3D8A}" dt="2023-06-01T10:36:20.871" v="686" actId="571"/>
          <ac:spMkLst>
            <pc:docMk/>
            <pc:sldMk cId="3488563027" sldId="230717647"/>
            <ac:spMk id="72" creationId="{9A57E983-046D-4A45-B79E-ABBF3E43A252}"/>
          </ac:spMkLst>
        </pc:spChg>
        <pc:spChg chg="add mod">
          <ac:chgData name="Manal El Bakkouri" userId="8b130982-2e3f-4164-b881-fd3a2e4b2453" providerId="ADAL" clId="{4457FA57-250B-44AC-8655-05D46C5A3D8A}" dt="2023-06-01T10:36:20.871" v="686" actId="571"/>
          <ac:spMkLst>
            <pc:docMk/>
            <pc:sldMk cId="3488563027" sldId="230717647"/>
            <ac:spMk id="76" creationId="{F66C6704-15E7-40EE-9261-521FA227CA4E}"/>
          </ac:spMkLst>
        </pc:spChg>
        <pc:spChg chg="add mod">
          <ac:chgData name="Manal El Bakkouri" userId="8b130982-2e3f-4164-b881-fd3a2e4b2453" providerId="ADAL" clId="{4457FA57-250B-44AC-8655-05D46C5A3D8A}" dt="2023-06-01T10:37:47.479" v="714" actId="571"/>
          <ac:spMkLst>
            <pc:docMk/>
            <pc:sldMk cId="3488563027" sldId="230717647"/>
            <ac:spMk id="77" creationId="{FCFCB96A-6AF2-4AA9-BF09-7F7EB051F155}"/>
          </ac:spMkLst>
        </pc:spChg>
        <pc:spChg chg="add mod">
          <ac:chgData name="Manal El Bakkouri" userId="8b130982-2e3f-4164-b881-fd3a2e4b2453" providerId="ADAL" clId="{4457FA57-250B-44AC-8655-05D46C5A3D8A}" dt="2023-06-01T10:37:47.479" v="714" actId="571"/>
          <ac:spMkLst>
            <pc:docMk/>
            <pc:sldMk cId="3488563027" sldId="230717647"/>
            <ac:spMk id="84" creationId="{3CD131B2-CE1D-4368-9261-9991F44E9DA6}"/>
          </ac:spMkLst>
        </pc:spChg>
        <pc:spChg chg="add mod">
          <ac:chgData name="Manal El Bakkouri" userId="8b130982-2e3f-4164-b881-fd3a2e4b2453" providerId="ADAL" clId="{4457FA57-250B-44AC-8655-05D46C5A3D8A}" dt="2023-06-01T10:37:47.479" v="714" actId="571"/>
          <ac:spMkLst>
            <pc:docMk/>
            <pc:sldMk cId="3488563027" sldId="230717647"/>
            <ac:spMk id="85" creationId="{5C5E7E2C-5E78-4DA1-8E5F-60AF998F51EF}"/>
          </ac:spMkLst>
        </pc:spChg>
        <pc:spChg chg="add mod">
          <ac:chgData name="Manal El Bakkouri" userId="8b130982-2e3f-4164-b881-fd3a2e4b2453" providerId="ADAL" clId="{4457FA57-250B-44AC-8655-05D46C5A3D8A}" dt="2023-06-01T10:37:47.479" v="714" actId="571"/>
          <ac:spMkLst>
            <pc:docMk/>
            <pc:sldMk cId="3488563027" sldId="230717647"/>
            <ac:spMk id="89" creationId="{3F496CB2-1B99-4AFF-A0EC-BD507E74E186}"/>
          </ac:spMkLst>
        </pc:spChg>
        <pc:spChg chg="add mod topLvl">
          <ac:chgData name="Manal El Bakkouri" userId="8b130982-2e3f-4164-b881-fd3a2e4b2453" providerId="ADAL" clId="{4457FA57-250B-44AC-8655-05D46C5A3D8A}" dt="2023-06-01T10:43:17.873" v="789" actId="165"/>
          <ac:spMkLst>
            <pc:docMk/>
            <pc:sldMk cId="3488563027" sldId="230717647"/>
            <ac:spMk id="92" creationId="{CECFC263-7C38-4534-8474-32BEE3ACCB74}"/>
          </ac:spMkLst>
        </pc:spChg>
        <pc:spChg chg="add mod topLvl">
          <ac:chgData name="Manal El Bakkouri" userId="8b130982-2e3f-4164-b881-fd3a2e4b2453" providerId="ADAL" clId="{4457FA57-250B-44AC-8655-05D46C5A3D8A}" dt="2023-06-01T10:43:17.873" v="789" actId="165"/>
          <ac:spMkLst>
            <pc:docMk/>
            <pc:sldMk cId="3488563027" sldId="230717647"/>
            <ac:spMk id="93" creationId="{F1B911A7-4A29-4995-8029-FE29E90A9D57}"/>
          </ac:spMkLst>
        </pc:spChg>
        <pc:spChg chg="add mod">
          <ac:chgData name="Manal El Bakkouri" userId="8b130982-2e3f-4164-b881-fd3a2e4b2453" providerId="ADAL" clId="{4457FA57-250B-44AC-8655-05D46C5A3D8A}" dt="2023-06-01T10:44:01.327" v="798" actId="554"/>
          <ac:spMkLst>
            <pc:docMk/>
            <pc:sldMk cId="3488563027" sldId="230717647"/>
            <ac:spMk id="94" creationId="{4A8B57C2-DE2B-4D68-ACD5-44D191F51DF4}"/>
          </ac:spMkLst>
        </pc:spChg>
        <pc:spChg chg="add mod">
          <ac:chgData name="Manal El Bakkouri" userId="8b130982-2e3f-4164-b881-fd3a2e4b2453" providerId="ADAL" clId="{4457FA57-250B-44AC-8655-05D46C5A3D8A}" dt="2023-06-01T10:44:16.327" v="800" actId="207"/>
          <ac:spMkLst>
            <pc:docMk/>
            <pc:sldMk cId="3488563027" sldId="230717647"/>
            <ac:spMk id="95" creationId="{C6DA25DC-A35C-4358-BF19-9F364133A0E6}"/>
          </ac:spMkLst>
        </pc:spChg>
        <pc:spChg chg="add mod topLvl">
          <ac:chgData name="Manal El Bakkouri" userId="8b130982-2e3f-4164-b881-fd3a2e4b2453" providerId="ADAL" clId="{4457FA57-250B-44AC-8655-05D46C5A3D8A}" dt="2023-06-01T10:58:41.478" v="854" actId="113"/>
          <ac:spMkLst>
            <pc:docMk/>
            <pc:sldMk cId="3488563027" sldId="230717647"/>
            <ac:spMk id="97" creationId="{1B302C39-0E8D-473B-9E57-D2821450CF7D}"/>
          </ac:spMkLst>
        </pc:spChg>
        <pc:spChg chg="add mod topLvl">
          <ac:chgData name="Manal El Bakkouri" userId="8b130982-2e3f-4164-b881-fd3a2e4b2453" providerId="ADAL" clId="{4457FA57-250B-44AC-8655-05D46C5A3D8A}" dt="2023-06-01T10:43:17.873" v="789" actId="165"/>
          <ac:spMkLst>
            <pc:docMk/>
            <pc:sldMk cId="3488563027" sldId="230717647"/>
            <ac:spMk id="98" creationId="{FCD7E7E8-B648-484C-82F2-023E913130DF}"/>
          </ac:spMkLst>
        </pc:spChg>
        <pc:spChg chg="add mod">
          <ac:chgData name="Manal El Bakkouri" userId="8b130982-2e3f-4164-b881-fd3a2e4b2453" providerId="ADAL" clId="{4457FA57-250B-44AC-8655-05D46C5A3D8A}" dt="2023-06-01T10:57:16.278" v="852" actId="207"/>
          <ac:spMkLst>
            <pc:docMk/>
            <pc:sldMk cId="3488563027" sldId="230717647"/>
            <ac:spMk id="99" creationId="{BA0F92E8-C93F-450B-9FAE-D4B0B22B5F4B}"/>
          </ac:spMkLst>
        </pc:spChg>
        <pc:spChg chg="add mod">
          <ac:chgData name="Manal El Bakkouri" userId="8b130982-2e3f-4164-b881-fd3a2e4b2453" providerId="ADAL" clId="{4457FA57-250B-44AC-8655-05D46C5A3D8A}" dt="2023-06-01T10:44:19.172" v="801" actId="207"/>
          <ac:spMkLst>
            <pc:docMk/>
            <pc:sldMk cId="3488563027" sldId="230717647"/>
            <ac:spMk id="100" creationId="{714C5B84-86C9-4207-B5CF-75E39833223B}"/>
          </ac:spMkLst>
        </pc:spChg>
        <pc:spChg chg="add mod topLvl">
          <ac:chgData name="Manal El Bakkouri" userId="8b130982-2e3f-4164-b881-fd3a2e4b2453" providerId="ADAL" clId="{4457FA57-250B-44AC-8655-05D46C5A3D8A}" dt="2023-06-01T10:58:49.197" v="856" actId="207"/>
          <ac:spMkLst>
            <pc:docMk/>
            <pc:sldMk cId="3488563027" sldId="230717647"/>
            <ac:spMk id="101" creationId="{A589B8D1-EBFE-47A2-91D5-BC3070DBB14E}"/>
          </ac:spMkLst>
        </pc:spChg>
        <pc:spChg chg="add mod">
          <ac:chgData name="Manal El Bakkouri" userId="8b130982-2e3f-4164-b881-fd3a2e4b2453" providerId="ADAL" clId="{4457FA57-250B-44AC-8655-05D46C5A3D8A}" dt="2023-06-01T10:57:12.868" v="851" actId="207"/>
          <ac:spMkLst>
            <pc:docMk/>
            <pc:sldMk cId="3488563027" sldId="230717647"/>
            <ac:spMk id="102" creationId="{B106ED56-2BFD-438C-9B1B-7377BB42B768}"/>
          </ac:spMkLst>
        </pc:spChg>
        <pc:grpChg chg="add del mod">
          <ac:chgData name="Manal El Bakkouri" userId="8b130982-2e3f-4164-b881-fd3a2e4b2453" providerId="ADAL" clId="{4457FA57-250B-44AC-8655-05D46C5A3D8A}" dt="2023-06-01T10:43:17.873" v="789" actId="165"/>
          <ac:grpSpMkLst>
            <pc:docMk/>
            <pc:sldMk cId="3488563027" sldId="230717647"/>
            <ac:grpSpMk id="2" creationId="{191DEF51-8EE4-4440-8B0B-D05E79022943}"/>
          </ac:grpSpMkLst>
        </pc:grpChg>
        <pc:picChg chg="mod modCrop">
          <ac:chgData name="Manal El Bakkouri" userId="8b130982-2e3f-4164-b881-fd3a2e4b2453" providerId="ADAL" clId="{4457FA57-250B-44AC-8655-05D46C5A3D8A}" dt="2023-06-01T10:36:54.209" v="690" actId="732"/>
          <ac:picMkLst>
            <pc:docMk/>
            <pc:sldMk cId="3488563027" sldId="230717647"/>
            <ac:picMk id="30" creationId="{E4EE3A98-AFF2-40BD-8BA0-FEFCD4A7176A}"/>
          </ac:picMkLst>
        </pc:picChg>
      </pc:sldChg>
      <pc:sldChg chg="addSp delSp modSp mod ord modNotesTx">
        <pc:chgData name="Manal El Bakkouri" userId="8b130982-2e3f-4164-b881-fd3a2e4b2453" providerId="ADAL" clId="{4457FA57-250B-44AC-8655-05D46C5A3D8A}" dt="2023-06-09T11:26:49.350" v="21714" actId="20577"/>
        <pc:sldMkLst>
          <pc:docMk/>
          <pc:sldMk cId="4175492050" sldId="230717649"/>
        </pc:sldMkLst>
        <pc:spChg chg="del">
          <ac:chgData name="Manal El Bakkouri" userId="8b130982-2e3f-4164-b881-fd3a2e4b2453" providerId="ADAL" clId="{4457FA57-250B-44AC-8655-05D46C5A3D8A}" dt="2023-06-01T10:50:46.897" v="802" actId="478"/>
          <ac:spMkLst>
            <pc:docMk/>
            <pc:sldMk cId="4175492050" sldId="230717649"/>
            <ac:spMk id="5" creationId="{8C789F9E-F64F-466D-86C3-E924DB03B1E2}"/>
          </ac:spMkLst>
        </pc:spChg>
        <pc:spChg chg="del">
          <ac:chgData name="Manal El Bakkouri" userId="8b130982-2e3f-4164-b881-fd3a2e4b2453" providerId="ADAL" clId="{4457FA57-250B-44AC-8655-05D46C5A3D8A}" dt="2023-06-01T10:50:46.897" v="802" actId="478"/>
          <ac:spMkLst>
            <pc:docMk/>
            <pc:sldMk cId="4175492050" sldId="230717649"/>
            <ac:spMk id="6" creationId="{60762AD0-F8A8-48BF-A5C3-1E1EC9EB0ACA}"/>
          </ac:spMkLst>
        </pc:spChg>
        <pc:spChg chg="del">
          <ac:chgData name="Manal El Bakkouri" userId="8b130982-2e3f-4164-b881-fd3a2e4b2453" providerId="ADAL" clId="{4457FA57-250B-44AC-8655-05D46C5A3D8A}" dt="2023-06-01T10:50:46.897" v="802" actId="478"/>
          <ac:spMkLst>
            <pc:docMk/>
            <pc:sldMk cId="4175492050" sldId="230717649"/>
            <ac:spMk id="7" creationId="{480FDD5F-620D-43F6-B2EE-221371991A04}"/>
          </ac:spMkLst>
        </pc:spChg>
        <pc:spChg chg="del">
          <ac:chgData name="Manal El Bakkouri" userId="8b130982-2e3f-4164-b881-fd3a2e4b2453" providerId="ADAL" clId="{4457FA57-250B-44AC-8655-05D46C5A3D8A}" dt="2023-06-01T10:50:46.897" v="802" actId="478"/>
          <ac:spMkLst>
            <pc:docMk/>
            <pc:sldMk cId="4175492050" sldId="230717649"/>
            <ac:spMk id="8" creationId="{F8551575-2B41-4FB9-96FC-B7C459E36DCE}"/>
          </ac:spMkLst>
        </pc:spChg>
        <pc:spChg chg="del">
          <ac:chgData name="Manal El Bakkouri" userId="8b130982-2e3f-4164-b881-fd3a2e4b2453" providerId="ADAL" clId="{4457FA57-250B-44AC-8655-05D46C5A3D8A}" dt="2023-06-01T10:50:46.897" v="802" actId="478"/>
          <ac:spMkLst>
            <pc:docMk/>
            <pc:sldMk cId="4175492050" sldId="230717649"/>
            <ac:spMk id="9" creationId="{2FA6B15D-B74F-43D4-BBE3-9335F1594546}"/>
          </ac:spMkLst>
        </pc:spChg>
        <pc:spChg chg="del">
          <ac:chgData name="Manal El Bakkouri" userId="8b130982-2e3f-4164-b881-fd3a2e4b2453" providerId="ADAL" clId="{4457FA57-250B-44AC-8655-05D46C5A3D8A}" dt="2023-06-01T10:50:46.897" v="802" actId="478"/>
          <ac:spMkLst>
            <pc:docMk/>
            <pc:sldMk cId="4175492050" sldId="230717649"/>
            <ac:spMk id="10" creationId="{F2D893C2-0458-493E-8EC4-6A4DDCCCA11F}"/>
          </ac:spMkLst>
        </pc:spChg>
        <pc:spChg chg="del">
          <ac:chgData name="Manal El Bakkouri" userId="8b130982-2e3f-4164-b881-fd3a2e4b2453" providerId="ADAL" clId="{4457FA57-250B-44AC-8655-05D46C5A3D8A}" dt="2023-06-01T10:50:46.897" v="802" actId="478"/>
          <ac:spMkLst>
            <pc:docMk/>
            <pc:sldMk cId="4175492050" sldId="230717649"/>
            <ac:spMk id="11" creationId="{0CDC3864-D6BC-4ADF-8EAA-D1777AFB99C0}"/>
          </ac:spMkLst>
        </pc:spChg>
        <pc:spChg chg="del">
          <ac:chgData name="Manal El Bakkouri" userId="8b130982-2e3f-4164-b881-fd3a2e4b2453" providerId="ADAL" clId="{4457FA57-250B-44AC-8655-05D46C5A3D8A}" dt="2023-06-01T10:50:46.897" v="802" actId="478"/>
          <ac:spMkLst>
            <pc:docMk/>
            <pc:sldMk cId="4175492050" sldId="230717649"/>
            <ac:spMk id="12" creationId="{FEC0ACF8-E283-4C16-B669-DB57FD209DEA}"/>
          </ac:spMkLst>
        </pc:spChg>
        <pc:spChg chg="del">
          <ac:chgData name="Manal El Bakkouri" userId="8b130982-2e3f-4164-b881-fd3a2e4b2453" providerId="ADAL" clId="{4457FA57-250B-44AC-8655-05D46C5A3D8A}" dt="2023-06-01T10:50:46.897" v="802" actId="478"/>
          <ac:spMkLst>
            <pc:docMk/>
            <pc:sldMk cId="4175492050" sldId="230717649"/>
            <ac:spMk id="13" creationId="{AE427BC0-6F0A-49D1-BE72-960E76E03889}"/>
          </ac:spMkLst>
        </pc:spChg>
        <pc:spChg chg="del">
          <ac:chgData name="Manal El Bakkouri" userId="8b130982-2e3f-4164-b881-fd3a2e4b2453" providerId="ADAL" clId="{4457FA57-250B-44AC-8655-05D46C5A3D8A}" dt="2023-06-01T10:50:46.897" v="802" actId="478"/>
          <ac:spMkLst>
            <pc:docMk/>
            <pc:sldMk cId="4175492050" sldId="230717649"/>
            <ac:spMk id="14" creationId="{66951045-4CB3-4E21-AB9B-B7314D5139CF}"/>
          </ac:spMkLst>
        </pc:spChg>
        <pc:spChg chg="mod">
          <ac:chgData name="Manal El Bakkouri" userId="8b130982-2e3f-4164-b881-fd3a2e4b2453" providerId="ADAL" clId="{4457FA57-250B-44AC-8655-05D46C5A3D8A}" dt="2023-06-06T10:22:32.916" v="9602" actId="403"/>
          <ac:spMkLst>
            <pc:docMk/>
            <pc:sldMk cId="4175492050" sldId="230717649"/>
            <ac:spMk id="18" creationId="{9E897114-16E6-401D-B932-B6A558FA84FF}"/>
          </ac:spMkLst>
        </pc:spChg>
        <pc:spChg chg="mod">
          <ac:chgData name="Manal El Bakkouri" userId="8b130982-2e3f-4164-b881-fd3a2e4b2453" providerId="ADAL" clId="{4457FA57-250B-44AC-8655-05D46C5A3D8A}" dt="2023-06-06T10:22:01.361" v="9596" actId="1076"/>
          <ac:spMkLst>
            <pc:docMk/>
            <pc:sldMk cId="4175492050" sldId="230717649"/>
            <ac:spMk id="19" creationId="{DF141E54-C5DA-478B-9839-7C833A0845D1}"/>
          </ac:spMkLst>
        </pc:spChg>
        <pc:spChg chg="mod">
          <ac:chgData name="Manal El Bakkouri" userId="8b130982-2e3f-4164-b881-fd3a2e4b2453" providerId="ADAL" clId="{4457FA57-250B-44AC-8655-05D46C5A3D8A}" dt="2023-06-06T10:22:29.804" v="9601" actId="403"/>
          <ac:spMkLst>
            <pc:docMk/>
            <pc:sldMk cId="4175492050" sldId="230717649"/>
            <ac:spMk id="21" creationId="{F9A8089F-3C89-4BF4-B92A-0DA27414949C}"/>
          </ac:spMkLst>
        </pc:spChg>
        <pc:spChg chg="mod">
          <ac:chgData name="Manal El Bakkouri" userId="8b130982-2e3f-4164-b881-fd3a2e4b2453" providerId="ADAL" clId="{4457FA57-250B-44AC-8655-05D46C5A3D8A}" dt="2023-06-06T10:21:00.904" v="9592" actId="14100"/>
          <ac:spMkLst>
            <pc:docMk/>
            <pc:sldMk cId="4175492050" sldId="230717649"/>
            <ac:spMk id="22" creationId="{AD92E5DD-7C42-47E4-A353-AE7991721067}"/>
          </ac:spMkLst>
        </pc:spChg>
        <pc:spChg chg="mod">
          <ac:chgData name="Manal El Bakkouri" userId="8b130982-2e3f-4164-b881-fd3a2e4b2453" providerId="ADAL" clId="{4457FA57-250B-44AC-8655-05D46C5A3D8A}" dt="2023-06-06T10:22:27.005" v="9600" actId="403"/>
          <ac:spMkLst>
            <pc:docMk/>
            <pc:sldMk cId="4175492050" sldId="230717649"/>
            <ac:spMk id="24" creationId="{D017F738-0D8A-40A7-B780-85C00A0E0579}"/>
          </ac:spMkLst>
        </pc:spChg>
        <pc:spChg chg="mod">
          <ac:chgData name="Manal El Bakkouri" userId="8b130982-2e3f-4164-b881-fd3a2e4b2453" providerId="ADAL" clId="{4457FA57-250B-44AC-8655-05D46C5A3D8A}" dt="2023-06-06T10:20:55.943" v="9589" actId="1076"/>
          <ac:spMkLst>
            <pc:docMk/>
            <pc:sldMk cId="4175492050" sldId="230717649"/>
            <ac:spMk id="25" creationId="{027CDEF6-D753-4E3A-A2F2-66421587AB0A}"/>
          </ac:spMkLst>
        </pc:spChg>
        <pc:spChg chg="mod">
          <ac:chgData name="Manal El Bakkouri" userId="8b130982-2e3f-4164-b881-fd3a2e4b2453" providerId="ADAL" clId="{4457FA57-250B-44AC-8655-05D46C5A3D8A}" dt="2023-06-06T10:22:23.500" v="9599" actId="403"/>
          <ac:spMkLst>
            <pc:docMk/>
            <pc:sldMk cId="4175492050" sldId="230717649"/>
            <ac:spMk id="28" creationId="{94F1F7CB-0B21-4617-B90F-BC0E28D69DCA}"/>
          </ac:spMkLst>
        </pc:spChg>
        <pc:spChg chg="mod">
          <ac:chgData name="Manal El Bakkouri" userId="8b130982-2e3f-4164-b881-fd3a2e4b2453" providerId="ADAL" clId="{4457FA57-250B-44AC-8655-05D46C5A3D8A}" dt="2023-06-06T10:22:10.186" v="9598" actId="403"/>
          <ac:spMkLst>
            <pc:docMk/>
            <pc:sldMk cId="4175492050" sldId="230717649"/>
            <ac:spMk id="29" creationId="{FBB94542-F476-41EC-8884-6B46762304C4}"/>
          </ac:spMkLst>
        </pc:spChg>
        <pc:spChg chg="mod">
          <ac:chgData name="Manal El Bakkouri" userId="8b130982-2e3f-4164-b881-fd3a2e4b2453" providerId="ADAL" clId="{4457FA57-250B-44AC-8655-05D46C5A3D8A}" dt="2023-06-06T10:22:35.628" v="9603" actId="403"/>
          <ac:spMkLst>
            <pc:docMk/>
            <pc:sldMk cId="4175492050" sldId="230717649"/>
            <ac:spMk id="40" creationId="{F349649A-4417-42C4-9837-6EB393A324ED}"/>
          </ac:spMkLst>
        </pc:spChg>
        <pc:spChg chg="mod">
          <ac:chgData name="Manal El Bakkouri" userId="8b130982-2e3f-4164-b881-fd3a2e4b2453" providerId="ADAL" clId="{4457FA57-250B-44AC-8655-05D46C5A3D8A}" dt="2023-06-06T10:22:39.285" v="9604" actId="403"/>
          <ac:spMkLst>
            <pc:docMk/>
            <pc:sldMk cId="4175492050" sldId="230717649"/>
            <ac:spMk id="41" creationId="{5F6AA61C-232E-44DB-BFE4-55429002198D}"/>
          </ac:spMkLst>
        </pc:spChg>
        <pc:spChg chg="mod">
          <ac:chgData name="Manal El Bakkouri" userId="8b130982-2e3f-4164-b881-fd3a2e4b2453" providerId="ADAL" clId="{4457FA57-250B-44AC-8655-05D46C5A3D8A}" dt="2023-06-06T10:22:42.092" v="9605" actId="403"/>
          <ac:spMkLst>
            <pc:docMk/>
            <pc:sldMk cId="4175492050" sldId="230717649"/>
            <ac:spMk id="42" creationId="{249D6EA6-44B7-49F8-A9CC-520455186062}"/>
          </ac:spMkLst>
        </pc:spChg>
        <pc:spChg chg="mod">
          <ac:chgData name="Manal El Bakkouri" userId="8b130982-2e3f-4164-b881-fd3a2e4b2453" providerId="ADAL" clId="{4457FA57-250B-44AC-8655-05D46C5A3D8A}" dt="2023-06-06T10:22:45.037" v="9606" actId="403"/>
          <ac:spMkLst>
            <pc:docMk/>
            <pc:sldMk cId="4175492050" sldId="230717649"/>
            <ac:spMk id="43" creationId="{AE954443-7235-475C-B6EB-8F63B1642308}"/>
          </ac:spMkLst>
        </pc:spChg>
        <pc:spChg chg="mod">
          <ac:chgData name="Manal El Bakkouri" userId="8b130982-2e3f-4164-b881-fd3a2e4b2453" providerId="ADAL" clId="{4457FA57-250B-44AC-8655-05D46C5A3D8A}" dt="2023-06-06T10:20:22.951" v="9578" actId="1076"/>
          <ac:spMkLst>
            <pc:docMk/>
            <pc:sldMk cId="4175492050" sldId="230717649"/>
            <ac:spMk id="45" creationId="{18C561DE-A30F-4FB1-958D-D2F45FC43B87}"/>
          </ac:spMkLst>
        </pc:spChg>
        <pc:spChg chg="mod">
          <ac:chgData name="Manal El Bakkouri" userId="8b130982-2e3f-4164-b881-fd3a2e4b2453" providerId="ADAL" clId="{4457FA57-250B-44AC-8655-05D46C5A3D8A}" dt="2023-06-06T10:20:30.095" v="9582" actId="14100"/>
          <ac:spMkLst>
            <pc:docMk/>
            <pc:sldMk cId="4175492050" sldId="230717649"/>
            <ac:spMk id="46" creationId="{6323946B-DF9D-444C-AB38-A199BEAFADE8}"/>
          </ac:spMkLst>
        </pc:spChg>
        <pc:spChg chg="mod">
          <ac:chgData name="Manal El Bakkouri" userId="8b130982-2e3f-4164-b881-fd3a2e4b2453" providerId="ADAL" clId="{4457FA57-250B-44AC-8655-05D46C5A3D8A}" dt="2023-06-06T10:20:38.599" v="9585" actId="14100"/>
          <ac:spMkLst>
            <pc:docMk/>
            <pc:sldMk cId="4175492050" sldId="230717649"/>
            <ac:spMk id="47" creationId="{4775C403-D3B8-443F-954A-B622B7514775}"/>
          </ac:spMkLst>
        </pc:spChg>
        <pc:spChg chg="add mod">
          <ac:chgData name="Manal El Bakkouri" userId="8b130982-2e3f-4164-b881-fd3a2e4b2453" providerId="ADAL" clId="{4457FA57-250B-44AC-8655-05D46C5A3D8A}" dt="2023-06-09T11:26:43.398" v="21712" actId="408"/>
          <ac:spMkLst>
            <pc:docMk/>
            <pc:sldMk cId="4175492050" sldId="230717649"/>
            <ac:spMk id="69" creationId="{97C69D36-9FC6-4E50-A71B-E08274077504}"/>
          </ac:spMkLst>
        </pc:spChg>
        <pc:spChg chg="add mod">
          <ac:chgData name="Manal El Bakkouri" userId="8b130982-2e3f-4164-b881-fd3a2e4b2453" providerId="ADAL" clId="{4457FA57-250B-44AC-8655-05D46C5A3D8A}" dt="2023-06-09T11:26:49.350" v="21714" actId="20577"/>
          <ac:spMkLst>
            <pc:docMk/>
            <pc:sldMk cId="4175492050" sldId="230717649"/>
            <ac:spMk id="70" creationId="{04C22788-982A-495B-9CAE-614FAA2FDC27}"/>
          </ac:spMkLst>
        </pc:spChg>
        <pc:spChg chg="add mod">
          <ac:chgData name="Manal El Bakkouri" userId="8b130982-2e3f-4164-b881-fd3a2e4b2453" providerId="ADAL" clId="{4457FA57-250B-44AC-8655-05D46C5A3D8A}" dt="2023-06-09T11:25:42.383" v="21695" actId="14100"/>
          <ac:spMkLst>
            <pc:docMk/>
            <pc:sldMk cId="4175492050" sldId="230717649"/>
            <ac:spMk id="71" creationId="{A3DD28D8-B35B-465E-85D9-F0D6922239B0}"/>
          </ac:spMkLst>
        </pc:spChg>
        <pc:spChg chg="add del mod">
          <ac:chgData name="Manal El Bakkouri" userId="8b130982-2e3f-4164-b881-fd3a2e4b2453" providerId="ADAL" clId="{4457FA57-250B-44AC-8655-05D46C5A3D8A}" dt="2023-06-06T10:35:16.301" v="9756" actId="478"/>
          <ac:spMkLst>
            <pc:docMk/>
            <pc:sldMk cId="4175492050" sldId="230717649"/>
            <ac:spMk id="72" creationId="{2889576F-C8CE-400B-B9B1-DAD09A61CB53}"/>
          </ac:spMkLst>
        </pc:spChg>
        <pc:spChg chg="add del mod">
          <ac:chgData name="Manal El Bakkouri" userId="8b130982-2e3f-4164-b881-fd3a2e4b2453" providerId="ADAL" clId="{4457FA57-250B-44AC-8655-05D46C5A3D8A}" dt="2023-06-06T08:38:17.197" v="8805" actId="478"/>
          <ac:spMkLst>
            <pc:docMk/>
            <pc:sldMk cId="4175492050" sldId="230717649"/>
            <ac:spMk id="76" creationId="{EBF7671F-4923-4CC3-8A4A-9E1F3882F78A}"/>
          </ac:spMkLst>
        </pc:spChg>
        <pc:spChg chg="add del mod">
          <ac:chgData name="Manal El Bakkouri" userId="8b130982-2e3f-4164-b881-fd3a2e4b2453" providerId="ADAL" clId="{4457FA57-250B-44AC-8655-05D46C5A3D8A}" dt="2023-06-06T10:35:16.301" v="9756" actId="478"/>
          <ac:spMkLst>
            <pc:docMk/>
            <pc:sldMk cId="4175492050" sldId="230717649"/>
            <ac:spMk id="77" creationId="{7FD831BB-7647-46E1-9641-926991319039}"/>
          </ac:spMkLst>
        </pc:spChg>
        <pc:spChg chg="mod">
          <ac:chgData name="Manal El Bakkouri" userId="8b130982-2e3f-4164-b881-fd3a2e4b2453" providerId="ADAL" clId="{4457FA57-250B-44AC-8655-05D46C5A3D8A}" dt="2023-06-09T11:05:47.203" v="21486"/>
          <ac:spMkLst>
            <pc:docMk/>
            <pc:sldMk cId="4175492050" sldId="230717649"/>
            <ac:spMk id="77" creationId="{E8C327EF-08EC-49FC-99EC-CBC49E31F562}"/>
          </ac:spMkLst>
        </pc:spChg>
        <pc:spChg chg="mod">
          <ac:chgData name="Manal El Bakkouri" userId="8b130982-2e3f-4164-b881-fd3a2e4b2453" providerId="ADAL" clId="{4457FA57-250B-44AC-8655-05D46C5A3D8A}" dt="2023-06-09T11:05:47.203" v="21486"/>
          <ac:spMkLst>
            <pc:docMk/>
            <pc:sldMk cId="4175492050" sldId="230717649"/>
            <ac:spMk id="78" creationId="{4939AA97-C3E3-4EF4-9DFB-A6A3D06FD2A9}"/>
          </ac:spMkLst>
        </pc:spChg>
        <pc:spChg chg="add del mod">
          <ac:chgData name="Manal El Bakkouri" userId="8b130982-2e3f-4164-b881-fd3a2e4b2453" providerId="ADAL" clId="{4457FA57-250B-44AC-8655-05D46C5A3D8A}" dt="2023-06-07T09:59:23.459" v="17580" actId="478"/>
          <ac:spMkLst>
            <pc:docMk/>
            <pc:sldMk cId="4175492050" sldId="230717649"/>
            <ac:spMk id="78" creationId="{5EA9EF6D-EEA4-4D12-9BA9-2728D0BCD061}"/>
          </ac:spMkLst>
        </pc:spChg>
        <pc:spChg chg="add del mod">
          <ac:chgData name="Manal El Bakkouri" userId="8b130982-2e3f-4164-b881-fd3a2e4b2453" providerId="ADAL" clId="{4457FA57-250B-44AC-8655-05D46C5A3D8A}" dt="2023-06-06T10:35:16.301" v="9756" actId="478"/>
          <ac:spMkLst>
            <pc:docMk/>
            <pc:sldMk cId="4175492050" sldId="230717649"/>
            <ac:spMk id="79" creationId="{BC022103-40C5-4A02-B9F7-71F567B274D0}"/>
          </ac:spMkLst>
        </pc:spChg>
        <pc:spChg chg="add del mod">
          <ac:chgData name="Manal El Bakkouri" userId="8b130982-2e3f-4164-b881-fd3a2e4b2453" providerId="ADAL" clId="{4457FA57-250B-44AC-8655-05D46C5A3D8A}" dt="2023-06-06T08:38:17.197" v="8805" actId="478"/>
          <ac:spMkLst>
            <pc:docMk/>
            <pc:sldMk cId="4175492050" sldId="230717649"/>
            <ac:spMk id="80" creationId="{01891169-942F-4B1F-A269-C63F6F5BEA99}"/>
          </ac:spMkLst>
        </pc:spChg>
        <pc:spChg chg="mod">
          <ac:chgData name="Manal El Bakkouri" userId="8b130982-2e3f-4164-b881-fd3a2e4b2453" providerId="ADAL" clId="{4457FA57-250B-44AC-8655-05D46C5A3D8A}" dt="2023-06-09T11:06:41.538" v="21497" actId="207"/>
          <ac:spMkLst>
            <pc:docMk/>
            <pc:sldMk cId="4175492050" sldId="230717649"/>
            <ac:spMk id="80" creationId="{79AC494A-7DBA-43E8-A361-17D893CD9CEC}"/>
          </ac:spMkLst>
        </pc:spChg>
        <pc:spChg chg="mod">
          <ac:chgData name="Manal El Bakkouri" userId="8b130982-2e3f-4164-b881-fd3a2e4b2453" providerId="ADAL" clId="{4457FA57-250B-44AC-8655-05D46C5A3D8A}" dt="2023-06-09T11:06:46.291" v="21498" actId="113"/>
          <ac:spMkLst>
            <pc:docMk/>
            <pc:sldMk cId="4175492050" sldId="230717649"/>
            <ac:spMk id="81" creationId="{CC475376-771F-4E82-8087-9AE234174C34}"/>
          </ac:spMkLst>
        </pc:spChg>
        <pc:spChg chg="add del mod">
          <ac:chgData name="Manal El Bakkouri" userId="8b130982-2e3f-4164-b881-fd3a2e4b2453" providerId="ADAL" clId="{4457FA57-250B-44AC-8655-05D46C5A3D8A}" dt="2023-06-06T10:35:16.301" v="9756" actId="478"/>
          <ac:spMkLst>
            <pc:docMk/>
            <pc:sldMk cId="4175492050" sldId="230717649"/>
            <ac:spMk id="81" creationId="{FA86A918-3A95-420C-A95C-6CBA00F04691}"/>
          </ac:spMkLst>
        </pc:spChg>
        <pc:spChg chg="add del mod">
          <ac:chgData name="Manal El Bakkouri" userId="8b130982-2e3f-4164-b881-fd3a2e4b2453" providerId="ADAL" clId="{4457FA57-250B-44AC-8655-05D46C5A3D8A}" dt="2023-06-07T09:59:23.459" v="17580" actId="478"/>
          <ac:spMkLst>
            <pc:docMk/>
            <pc:sldMk cId="4175492050" sldId="230717649"/>
            <ac:spMk id="82" creationId="{887D39DC-28E8-4C34-A365-76691DBB0531}"/>
          </ac:spMkLst>
        </pc:spChg>
        <pc:spChg chg="add del mod">
          <ac:chgData name="Manal El Bakkouri" userId="8b130982-2e3f-4164-b881-fd3a2e4b2453" providerId="ADAL" clId="{4457FA57-250B-44AC-8655-05D46C5A3D8A}" dt="2023-06-06T10:35:16.301" v="9756" actId="478"/>
          <ac:spMkLst>
            <pc:docMk/>
            <pc:sldMk cId="4175492050" sldId="230717649"/>
            <ac:spMk id="83" creationId="{36BBD07E-E048-4910-986E-25DE88C832FA}"/>
          </ac:spMkLst>
        </pc:spChg>
        <pc:spChg chg="mod">
          <ac:chgData name="Manal El Bakkouri" userId="8b130982-2e3f-4164-b881-fd3a2e4b2453" providerId="ADAL" clId="{4457FA57-250B-44AC-8655-05D46C5A3D8A}" dt="2023-06-09T11:06:11.250" v="21491"/>
          <ac:spMkLst>
            <pc:docMk/>
            <pc:sldMk cId="4175492050" sldId="230717649"/>
            <ac:spMk id="83" creationId="{C1225BBE-ED90-46A5-B8CF-3EF402801FC7}"/>
          </ac:spMkLst>
        </pc:spChg>
        <pc:spChg chg="add del mod">
          <ac:chgData name="Manal El Bakkouri" userId="8b130982-2e3f-4164-b881-fd3a2e4b2453" providerId="ADAL" clId="{4457FA57-250B-44AC-8655-05D46C5A3D8A}" dt="2023-06-06T10:35:16.301" v="9756" actId="478"/>
          <ac:spMkLst>
            <pc:docMk/>
            <pc:sldMk cId="4175492050" sldId="230717649"/>
            <ac:spMk id="84" creationId="{6C7C1686-AA96-4BA5-A5BC-F643B19C8145}"/>
          </ac:spMkLst>
        </pc:spChg>
        <pc:spChg chg="mod">
          <ac:chgData name="Manal El Bakkouri" userId="8b130982-2e3f-4164-b881-fd3a2e4b2453" providerId="ADAL" clId="{4457FA57-250B-44AC-8655-05D46C5A3D8A}" dt="2023-06-09T11:06:11.250" v="21491"/>
          <ac:spMkLst>
            <pc:docMk/>
            <pc:sldMk cId="4175492050" sldId="230717649"/>
            <ac:spMk id="84" creationId="{7A2D8028-72D3-47CC-A0F8-3C54C9CE9B59}"/>
          </ac:spMkLst>
        </pc:spChg>
        <pc:spChg chg="add del mod">
          <ac:chgData name="Manal El Bakkouri" userId="8b130982-2e3f-4164-b881-fd3a2e4b2453" providerId="ADAL" clId="{4457FA57-250B-44AC-8655-05D46C5A3D8A}" dt="2023-06-07T09:59:23.459" v="17580" actId="478"/>
          <ac:spMkLst>
            <pc:docMk/>
            <pc:sldMk cId="4175492050" sldId="230717649"/>
            <ac:spMk id="85" creationId="{BE0E9FBB-53C7-4731-BAC7-6B9056A225A5}"/>
          </ac:spMkLst>
        </pc:spChg>
        <pc:spChg chg="add del mod">
          <ac:chgData name="Manal El Bakkouri" userId="8b130982-2e3f-4164-b881-fd3a2e4b2453" providerId="ADAL" clId="{4457FA57-250B-44AC-8655-05D46C5A3D8A}" dt="2023-06-04T13:09:27.504" v="7639"/>
          <ac:spMkLst>
            <pc:docMk/>
            <pc:sldMk cId="4175492050" sldId="230717649"/>
            <ac:spMk id="85" creationId="{FE3C8531-9A99-454C-A1EB-69EF050544BC}"/>
          </ac:spMkLst>
        </pc:spChg>
        <pc:spChg chg="add mod">
          <ac:chgData name="Manal El Bakkouri" userId="8b130982-2e3f-4164-b881-fd3a2e4b2453" providerId="ADAL" clId="{4457FA57-250B-44AC-8655-05D46C5A3D8A}" dt="2023-06-04T13:09:46.484" v="7642" actId="20577"/>
          <ac:spMkLst>
            <pc:docMk/>
            <pc:sldMk cId="4175492050" sldId="230717649"/>
            <ac:spMk id="86" creationId="{A7D48DAB-18FF-466B-850D-182D187247F5}"/>
          </ac:spMkLst>
        </pc:spChg>
        <pc:spChg chg="mod">
          <ac:chgData name="Manal El Bakkouri" userId="8b130982-2e3f-4164-b881-fd3a2e4b2453" providerId="ADAL" clId="{4457FA57-250B-44AC-8655-05D46C5A3D8A}" dt="2023-06-09T11:06:11.250" v="21491"/>
          <ac:spMkLst>
            <pc:docMk/>
            <pc:sldMk cId="4175492050" sldId="230717649"/>
            <ac:spMk id="87" creationId="{2A08F18B-3578-4665-B4CE-6DCACF15632C}"/>
          </ac:spMkLst>
        </pc:spChg>
        <pc:spChg chg="add del mod">
          <ac:chgData name="Manal El Bakkouri" userId="8b130982-2e3f-4164-b881-fd3a2e4b2453" providerId="ADAL" clId="{4457FA57-250B-44AC-8655-05D46C5A3D8A}" dt="2023-06-07T09:59:23.459" v="17580" actId="478"/>
          <ac:spMkLst>
            <pc:docMk/>
            <pc:sldMk cId="4175492050" sldId="230717649"/>
            <ac:spMk id="87" creationId="{563316D1-E49C-42AC-8E13-0A76C328EDF4}"/>
          </ac:spMkLst>
        </pc:spChg>
        <pc:spChg chg="mod">
          <ac:chgData name="Manal El Bakkouri" userId="8b130982-2e3f-4164-b881-fd3a2e4b2453" providerId="ADAL" clId="{4457FA57-250B-44AC-8655-05D46C5A3D8A}" dt="2023-06-09T11:06:11.250" v="21491"/>
          <ac:spMkLst>
            <pc:docMk/>
            <pc:sldMk cId="4175492050" sldId="230717649"/>
            <ac:spMk id="88" creationId="{1083F235-F6E2-4A0D-99EE-EA47E5A4F510}"/>
          </ac:spMkLst>
        </pc:spChg>
        <pc:spChg chg="add del mod">
          <ac:chgData name="Manal El Bakkouri" userId="8b130982-2e3f-4164-b881-fd3a2e4b2453" providerId="ADAL" clId="{4457FA57-250B-44AC-8655-05D46C5A3D8A}" dt="2023-06-07T09:59:23.459" v="17580" actId="478"/>
          <ac:spMkLst>
            <pc:docMk/>
            <pc:sldMk cId="4175492050" sldId="230717649"/>
            <ac:spMk id="88" creationId="{F4DA71E7-A43F-4C23-9B7B-E813FD4901C7}"/>
          </ac:spMkLst>
        </pc:spChg>
        <pc:spChg chg="add del mod">
          <ac:chgData name="Manal El Bakkouri" userId="8b130982-2e3f-4164-b881-fd3a2e4b2453" providerId="ADAL" clId="{4457FA57-250B-44AC-8655-05D46C5A3D8A}" dt="2023-06-07T09:59:23.459" v="17580" actId="478"/>
          <ac:spMkLst>
            <pc:docMk/>
            <pc:sldMk cId="4175492050" sldId="230717649"/>
            <ac:spMk id="89" creationId="{0409EE0A-257A-4F7F-9BB6-8EF440EF39A6}"/>
          </ac:spMkLst>
        </pc:spChg>
        <pc:spChg chg="mod">
          <ac:chgData name="Manal El Bakkouri" userId="8b130982-2e3f-4164-b881-fd3a2e4b2453" providerId="ADAL" clId="{4457FA57-250B-44AC-8655-05D46C5A3D8A}" dt="2023-06-09T11:06:11.250" v="21491"/>
          <ac:spMkLst>
            <pc:docMk/>
            <pc:sldMk cId="4175492050" sldId="230717649"/>
            <ac:spMk id="90" creationId="{4B2A2C46-F277-4E0D-940B-399C7CA0448A}"/>
          </ac:spMkLst>
        </pc:spChg>
        <pc:spChg chg="add del mod">
          <ac:chgData name="Manal El Bakkouri" userId="8b130982-2e3f-4164-b881-fd3a2e4b2453" providerId="ADAL" clId="{4457FA57-250B-44AC-8655-05D46C5A3D8A}" dt="2023-06-07T09:59:23.459" v="17580" actId="478"/>
          <ac:spMkLst>
            <pc:docMk/>
            <pc:sldMk cId="4175492050" sldId="230717649"/>
            <ac:spMk id="90" creationId="{A7C701FF-E43F-4D18-B8FD-D3BEE28F445E}"/>
          </ac:spMkLst>
        </pc:spChg>
        <pc:spChg chg="add del mod">
          <ac:chgData name="Manal El Bakkouri" userId="8b130982-2e3f-4164-b881-fd3a2e4b2453" providerId="ADAL" clId="{4457FA57-250B-44AC-8655-05D46C5A3D8A}" dt="2023-06-07T09:59:23.459" v="17580" actId="478"/>
          <ac:spMkLst>
            <pc:docMk/>
            <pc:sldMk cId="4175492050" sldId="230717649"/>
            <ac:spMk id="91" creationId="{60D4DC9C-FEE9-49C6-A0C2-ECACA8A61E45}"/>
          </ac:spMkLst>
        </pc:spChg>
        <pc:spChg chg="mod">
          <ac:chgData name="Manal El Bakkouri" userId="8b130982-2e3f-4164-b881-fd3a2e4b2453" providerId="ADAL" clId="{4457FA57-250B-44AC-8655-05D46C5A3D8A}" dt="2023-06-09T11:06:11.250" v="21491"/>
          <ac:spMkLst>
            <pc:docMk/>
            <pc:sldMk cId="4175492050" sldId="230717649"/>
            <ac:spMk id="91" creationId="{7E29A5F2-FE6A-4E45-A904-A8752D252144}"/>
          </ac:spMkLst>
        </pc:spChg>
        <pc:spChg chg="add del mod">
          <ac:chgData name="Manal El Bakkouri" userId="8b130982-2e3f-4164-b881-fd3a2e4b2453" providerId="ADAL" clId="{4457FA57-250B-44AC-8655-05D46C5A3D8A}" dt="2023-06-07T09:59:23.459" v="17580" actId="478"/>
          <ac:spMkLst>
            <pc:docMk/>
            <pc:sldMk cId="4175492050" sldId="230717649"/>
            <ac:spMk id="92" creationId="{55AA536A-CD1C-4346-9324-6001DB248D55}"/>
          </ac:spMkLst>
        </pc:spChg>
        <pc:spChg chg="add del mod">
          <ac:chgData name="Manal El Bakkouri" userId="8b130982-2e3f-4164-b881-fd3a2e4b2453" providerId="ADAL" clId="{4457FA57-250B-44AC-8655-05D46C5A3D8A}" dt="2023-06-07T09:59:23.459" v="17580" actId="478"/>
          <ac:spMkLst>
            <pc:docMk/>
            <pc:sldMk cId="4175492050" sldId="230717649"/>
            <ac:spMk id="94" creationId="{339CCD56-3ED5-4DA5-8BC3-701A07E3018D}"/>
          </ac:spMkLst>
        </pc:spChg>
        <pc:spChg chg="mod">
          <ac:chgData name="Manal El Bakkouri" userId="8b130982-2e3f-4164-b881-fd3a2e4b2453" providerId="ADAL" clId="{4457FA57-250B-44AC-8655-05D46C5A3D8A}" dt="2023-06-09T11:06:28.145" v="21494" actId="207"/>
          <ac:spMkLst>
            <pc:docMk/>
            <pc:sldMk cId="4175492050" sldId="230717649"/>
            <ac:spMk id="94" creationId="{C17BDFCA-C53C-443A-A025-F20A118811C8}"/>
          </ac:spMkLst>
        </pc:spChg>
        <pc:spChg chg="mod">
          <ac:chgData name="Manal El Bakkouri" userId="8b130982-2e3f-4164-b881-fd3a2e4b2453" providerId="ADAL" clId="{4457FA57-250B-44AC-8655-05D46C5A3D8A}" dt="2023-06-07T10:00:31.393" v="17596" actId="207"/>
          <ac:spMkLst>
            <pc:docMk/>
            <pc:sldMk cId="4175492050" sldId="230717649"/>
            <ac:spMk id="96" creationId="{8FEB9F0C-B230-402B-B649-E23326FC4D8A}"/>
          </ac:spMkLst>
        </pc:spChg>
        <pc:spChg chg="mod">
          <ac:chgData name="Manal El Bakkouri" userId="8b130982-2e3f-4164-b881-fd3a2e4b2453" providerId="ADAL" clId="{4457FA57-250B-44AC-8655-05D46C5A3D8A}" dt="2023-06-07T10:00:27.653" v="17595" actId="207"/>
          <ac:spMkLst>
            <pc:docMk/>
            <pc:sldMk cId="4175492050" sldId="230717649"/>
            <ac:spMk id="97" creationId="{14998E15-658B-417F-B9DB-5BFC5645554A}"/>
          </ac:spMkLst>
        </pc:spChg>
        <pc:spChg chg="mod">
          <ac:chgData name="Manal El Bakkouri" userId="8b130982-2e3f-4164-b881-fd3a2e4b2453" providerId="ADAL" clId="{4457FA57-250B-44AC-8655-05D46C5A3D8A}" dt="2023-06-07T09:59:24.519" v="17581"/>
          <ac:spMkLst>
            <pc:docMk/>
            <pc:sldMk cId="4175492050" sldId="230717649"/>
            <ac:spMk id="99" creationId="{078268CB-427B-4772-8E27-BE2331DC0047}"/>
          </ac:spMkLst>
        </pc:spChg>
        <pc:spChg chg="mod">
          <ac:chgData name="Manal El Bakkouri" userId="8b130982-2e3f-4164-b881-fd3a2e4b2453" providerId="ADAL" clId="{4457FA57-250B-44AC-8655-05D46C5A3D8A}" dt="2023-06-07T09:59:24.519" v="17581"/>
          <ac:spMkLst>
            <pc:docMk/>
            <pc:sldMk cId="4175492050" sldId="230717649"/>
            <ac:spMk id="100" creationId="{1BD3A113-6049-468A-AE5B-BCCFDE2A11FD}"/>
          </ac:spMkLst>
        </pc:spChg>
        <pc:spChg chg="mod">
          <ac:chgData name="Manal El Bakkouri" userId="8b130982-2e3f-4164-b881-fd3a2e4b2453" providerId="ADAL" clId="{4457FA57-250B-44AC-8655-05D46C5A3D8A}" dt="2023-06-07T09:59:24.519" v="17581"/>
          <ac:spMkLst>
            <pc:docMk/>
            <pc:sldMk cId="4175492050" sldId="230717649"/>
            <ac:spMk id="102" creationId="{0C2AB9B8-8F1B-4D81-B817-CE91DE70C347}"/>
          </ac:spMkLst>
        </pc:spChg>
        <pc:spChg chg="mod">
          <ac:chgData name="Manal El Bakkouri" userId="8b130982-2e3f-4164-b881-fd3a2e4b2453" providerId="ADAL" clId="{4457FA57-250B-44AC-8655-05D46C5A3D8A}" dt="2023-06-07T09:59:24.519" v="17581"/>
          <ac:spMkLst>
            <pc:docMk/>
            <pc:sldMk cId="4175492050" sldId="230717649"/>
            <ac:spMk id="103" creationId="{99195FB4-6F79-4479-A37E-D1C0B6CF457A}"/>
          </ac:spMkLst>
        </pc:spChg>
        <pc:spChg chg="mod">
          <ac:chgData name="Manal El Bakkouri" userId="8b130982-2e3f-4164-b881-fd3a2e4b2453" providerId="ADAL" clId="{4457FA57-250B-44AC-8655-05D46C5A3D8A}" dt="2023-06-07T09:59:24.519" v="17581"/>
          <ac:spMkLst>
            <pc:docMk/>
            <pc:sldMk cId="4175492050" sldId="230717649"/>
            <ac:spMk id="105" creationId="{5C454443-F69A-4A64-B8D3-F72873F9DB55}"/>
          </ac:spMkLst>
        </pc:spChg>
        <pc:spChg chg="mod">
          <ac:chgData name="Manal El Bakkouri" userId="8b130982-2e3f-4164-b881-fd3a2e4b2453" providerId="ADAL" clId="{4457FA57-250B-44AC-8655-05D46C5A3D8A}" dt="2023-06-07T09:59:24.519" v="17581"/>
          <ac:spMkLst>
            <pc:docMk/>
            <pc:sldMk cId="4175492050" sldId="230717649"/>
            <ac:spMk id="106" creationId="{98190D97-3586-4A6B-8BDF-C2341C05AA3D}"/>
          </ac:spMkLst>
        </pc:spChg>
        <pc:spChg chg="mod">
          <ac:chgData name="Manal El Bakkouri" userId="8b130982-2e3f-4164-b881-fd3a2e4b2453" providerId="ADAL" clId="{4457FA57-250B-44AC-8655-05D46C5A3D8A}" dt="2023-06-07T10:00:17.188" v="17592" actId="207"/>
          <ac:spMkLst>
            <pc:docMk/>
            <pc:sldMk cId="4175492050" sldId="230717649"/>
            <ac:spMk id="108" creationId="{B9627EBA-29BC-4BAF-BB3D-427B49394467}"/>
          </ac:spMkLst>
        </pc:spChg>
        <pc:spChg chg="mod">
          <ac:chgData name="Manal El Bakkouri" userId="8b130982-2e3f-4164-b881-fd3a2e4b2453" providerId="ADAL" clId="{4457FA57-250B-44AC-8655-05D46C5A3D8A}" dt="2023-06-07T10:00:10.958" v="17590" actId="207"/>
          <ac:spMkLst>
            <pc:docMk/>
            <pc:sldMk cId="4175492050" sldId="230717649"/>
            <ac:spMk id="109" creationId="{C578FCC3-AC40-44A1-AB4C-628D4AA1DCF1}"/>
          </ac:spMkLst>
        </pc:spChg>
        <pc:spChg chg="mod">
          <ac:chgData name="Manal El Bakkouri" userId="8b130982-2e3f-4164-b881-fd3a2e4b2453" providerId="ADAL" clId="{4457FA57-250B-44AC-8655-05D46C5A3D8A}" dt="2023-06-09T11:06:17.462" v="21492" actId="207"/>
          <ac:spMkLst>
            <pc:docMk/>
            <pc:sldMk cId="4175492050" sldId="230717649"/>
            <ac:spMk id="110" creationId="{D8A81DEA-C5AF-499D-BA54-A586D3B46740}"/>
          </ac:spMkLst>
        </pc:spChg>
        <pc:spChg chg="add mod">
          <ac:chgData name="Manal El Bakkouri" userId="8b130982-2e3f-4164-b881-fd3a2e4b2453" providerId="ADAL" clId="{4457FA57-250B-44AC-8655-05D46C5A3D8A}" dt="2023-06-09T11:26:05.215" v="21699" actId="571"/>
          <ac:spMkLst>
            <pc:docMk/>
            <pc:sldMk cId="4175492050" sldId="230717649"/>
            <ac:spMk id="111" creationId="{2D337E1A-344B-4BF6-A0D5-68771B71A39A}"/>
          </ac:spMkLst>
        </pc:spChg>
        <pc:spChg chg="add mod">
          <ac:chgData name="Manal El Bakkouri" userId="8b130982-2e3f-4164-b881-fd3a2e4b2453" providerId="ADAL" clId="{4457FA57-250B-44AC-8655-05D46C5A3D8A}" dt="2023-06-09T11:26:43.398" v="21712" actId="408"/>
          <ac:spMkLst>
            <pc:docMk/>
            <pc:sldMk cId="4175492050" sldId="230717649"/>
            <ac:spMk id="112" creationId="{275F5B9D-89B2-4C78-B0A1-4601D29F34A9}"/>
          </ac:spMkLst>
        </pc:spChg>
        <pc:grpChg chg="add del mod">
          <ac:chgData name="Manal El Bakkouri" userId="8b130982-2e3f-4164-b881-fd3a2e4b2453" providerId="ADAL" clId="{4457FA57-250B-44AC-8655-05D46C5A3D8A}" dt="2023-06-09T11:05:49.114" v="21487"/>
          <ac:grpSpMkLst>
            <pc:docMk/>
            <pc:sldMk cId="4175492050" sldId="230717649"/>
            <ac:grpSpMk id="76" creationId="{6C2C8154-15A9-4EFE-BE17-CD88D8F9D830}"/>
          </ac:grpSpMkLst>
        </pc:grpChg>
        <pc:grpChg chg="add mod">
          <ac:chgData name="Manal El Bakkouri" userId="8b130982-2e3f-4164-b881-fd3a2e4b2453" providerId="ADAL" clId="{4457FA57-250B-44AC-8655-05D46C5A3D8A}" dt="2023-06-09T11:06:11.250" v="21491"/>
          <ac:grpSpMkLst>
            <pc:docMk/>
            <pc:sldMk cId="4175492050" sldId="230717649"/>
            <ac:grpSpMk id="79" creationId="{750CA73D-5E64-4DA3-A3A3-EDDB499FE2F8}"/>
          </ac:grpSpMkLst>
        </pc:grpChg>
        <pc:grpChg chg="add mod">
          <ac:chgData name="Manal El Bakkouri" userId="8b130982-2e3f-4164-b881-fd3a2e4b2453" providerId="ADAL" clId="{4457FA57-250B-44AC-8655-05D46C5A3D8A}" dt="2023-06-09T11:06:11.250" v="21491"/>
          <ac:grpSpMkLst>
            <pc:docMk/>
            <pc:sldMk cId="4175492050" sldId="230717649"/>
            <ac:grpSpMk id="82" creationId="{A1D7960A-E237-4494-B415-A0184FC4BA16}"/>
          </ac:grpSpMkLst>
        </pc:grpChg>
        <pc:grpChg chg="add mod">
          <ac:chgData name="Manal El Bakkouri" userId="8b130982-2e3f-4164-b881-fd3a2e4b2453" providerId="ADAL" clId="{4457FA57-250B-44AC-8655-05D46C5A3D8A}" dt="2023-06-09T11:06:11.250" v="21491"/>
          <ac:grpSpMkLst>
            <pc:docMk/>
            <pc:sldMk cId="4175492050" sldId="230717649"/>
            <ac:grpSpMk id="85" creationId="{CFF478BE-4D89-455B-9CB8-AA0EDF3FE5E8}"/>
          </ac:grpSpMkLst>
        </pc:grpChg>
        <pc:grpChg chg="add mod">
          <ac:chgData name="Manal El Bakkouri" userId="8b130982-2e3f-4164-b881-fd3a2e4b2453" providerId="ADAL" clId="{4457FA57-250B-44AC-8655-05D46C5A3D8A}" dt="2023-06-09T11:06:11.250" v="21491"/>
          <ac:grpSpMkLst>
            <pc:docMk/>
            <pc:sldMk cId="4175492050" sldId="230717649"/>
            <ac:grpSpMk id="89" creationId="{26719C62-F907-4306-94C1-50454AF914D4}"/>
          </ac:grpSpMkLst>
        </pc:grpChg>
        <pc:grpChg chg="add mod">
          <ac:chgData name="Manal El Bakkouri" userId="8b130982-2e3f-4164-b881-fd3a2e4b2453" providerId="ADAL" clId="{4457FA57-250B-44AC-8655-05D46C5A3D8A}" dt="2023-06-09T11:06:11.250" v="21491"/>
          <ac:grpSpMkLst>
            <pc:docMk/>
            <pc:sldMk cId="4175492050" sldId="230717649"/>
            <ac:grpSpMk id="92" creationId="{B4C594D6-5A14-4223-8190-B8876292C24E}"/>
          </ac:grpSpMkLst>
        </pc:grpChg>
        <pc:grpChg chg="add del mod">
          <ac:chgData name="Manal El Bakkouri" userId="8b130982-2e3f-4164-b881-fd3a2e4b2453" providerId="ADAL" clId="{4457FA57-250B-44AC-8655-05D46C5A3D8A}" dt="2023-06-09T11:06:10.843" v="21490" actId="478"/>
          <ac:grpSpMkLst>
            <pc:docMk/>
            <pc:sldMk cId="4175492050" sldId="230717649"/>
            <ac:grpSpMk id="95" creationId="{42CFB543-CEE4-4F43-BD94-F9D56E1DA18A}"/>
          </ac:grpSpMkLst>
        </pc:grpChg>
        <pc:grpChg chg="add del mod">
          <ac:chgData name="Manal El Bakkouri" userId="8b130982-2e3f-4164-b881-fd3a2e4b2453" providerId="ADAL" clId="{4457FA57-250B-44AC-8655-05D46C5A3D8A}" dt="2023-06-09T11:06:10.843" v="21490" actId="478"/>
          <ac:grpSpMkLst>
            <pc:docMk/>
            <pc:sldMk cId="4175492050" sldId="230717649"/>
            <ac:grpSpMk id="98" creationId="{0E1FAD99-5D5E-4564-A7AE-56FE2C9064DC}"/>
          </ac:grpSpMkLst>
        </pc:grpChg>
        <pc:grpChg chg="add del mod">
          <ac:chgData name="Manal El Bakkouri" userId="8b130982-2e3f-4164-b881-fd3a2e4b2453" providerId="ADAL" clId="{4457FA57-250B-44AC-8655-05D46C5A3D8A}" dt="2023-06-09T11:06:10.843" v="21490" actId="478"/>
          <ac:grpSpMkLst>
            <pc:docMk/>
            <pc:sldMk cId="4175492050" sldId="230717649"/>
            <ac:grpSpMk id="101" creationId="{2FD449BB-074F-4DA5-A47D-5DA40F7F57D3}"/>
          </ac:grpSpMkLst>
        </pc:grpChg>
        <pc:grpChg chg="add del mod">
          <ac:chgData name="Manal El Bakkouri" userId="8b130982-2e3f-4164-b881-fd3a2e4b2453" providerId="ADAL" clId="{4457FA57-250B-44AC-8655-05D46C5A3D8A}" dt="2023-06-09T11:06:10.843" v="21490" actId="478"/>
          <ac:grpSpMkLst>
            <pc:docMk/>
            <pc:sldMk cId="4175492050" sldId="230717649"/>
            <ac:grpSpMk id="104" creationId="{7451295C-DED0-4BEF-8F5F-8DC8C11AAEDC}"/>
          </ac:grpSpMkLst>
        </pc:grpChg>
        <pc:grpChg chg="add del mod">
          <ac:chgData name="Manal El Bakkouri" userId="8b130982-2e3f-4164-b881-fd3a2e4b2453" providerId="ADAL" clId="{4457FA57-250B-44AC-8655-05D46C5A3D8A}" dt="2023-06-09T11:06:10.843" v="21490" actId="478"/>
          <ac:grpSpMkLst>
            <pc:docMk/>
            <pc:sldMk cId="4175492050" sldId="230717649"/>
            <ac:grpSpMk id="107" creationId="{2346A764-2A05-48E4-8370-BE60FF2987FA}"/>
          </ac:grpSpMkLst>
        </pc:grpChg>
      </pc:sldChg>
      <pc:sldChg chg="addSp delSp modSp mod ord modAnim modNotesTx">
        <pc:chgData name="Manal El Bakkouri" userId="8b130982-2e3f-4164-b881-fd3a2e4b2453" providerId="ADAL" clId="{4457FA57-250B-44AC-8655-05D46C5A3D8A}" dt="2023-06-09T15:12:35.912" v="22861" actId="478"/>
        <pc:sldMkLst>
          <pc:docMk/>
          <pc:sldMk cId="3069625997" sldId="230717651"/>
        </pc:sldMkLst>
        <pc:spChg chg="del">
          <ac:chgData name="Manal El Bakkouri" userId="8b130982-2e3f-4164-b881-fd3a2e4b2453" providerId="ADAL" clId="{4457FA57-250B-44AC-8655-05D46C5A3D8A}" dt="2023-06-01T11:00:13.945" v="868" actId="478"/>
          <ac:spMkLst>
            <pc:docMk/>
            <pc:sldMk cId="3069625997" sldId="230717651"/>
            <ac:spMk id="7" creationId="{E65646BC-C7E1-4C57-BE54-B6B004694A38}"/>
          </ac:spMkLst>
        </pc:spChg>
        <pc:spChg chg="del">
          <ac:chgData name="Manal El Bakkouri" userId="8b130982-2e3f-4164-b881-fd3a2e4b2453" providerId="ADAL" clId="{4457FA57-250B-44AC-8655-05D46C5A3D8A}" dt="2023-06-01T11:00:13.945" v="868" actId="478"/>
          <ac:spMkLst>
            <pc:docMk/>
            <pc:sldMk cId="3069625997" sldId="230717651"/>
            <ac:spMk id="8" creationId="{B4ADC545-ED7A-42CD-88BB-D1DF2709C3EB}"/>
          </ac:spMkLst>
        </pc:spChg>
        <pc:spChg chg="del">
          <ac:chgData name="Manal El Bakkouri" userId="8b130982-2e3f-4164-b881-fd3a2e4b2453" providerId="ADAL" clId="{4457FA57-250B-44AC-8655-05D46C5A3D8A}" dt="2023-06-01T11:00:13.945" v="868" actId="478"/>
          <ac:spMkLst>
            <pc:docMk/>
            <pc:sldMk cId="3069625997" sldId="230717651"/>
            <ac:spMk id="9" creationId="{639B10C4-5D9D-4A80-805B-E319BCB28C66}"/>
          </ac:spMkLst>
        </pc:spChg>
        <pc:spChg chg="del">
          <ac:chgData name="Manal El Bakkouri" userId="8b130982-2e3f-4164-b881-fd3a2e4b2453" providerId="ADAL" clId="{4457FA57-250B-44AC-8655-05D46C5A3D8A}" dt="2023-06-01T11:00:13.945" v="868" actId="478"/>
          <ac:spMkLst>
            <pc:docMk/>
            <pc:sldMk cId="3069625997" sldId="230717651"/>
            <ac:spMk id="10" creationId="{F01039EA-CF76-4C76-BFAF-9770AA13F8A9}"/>
          </ac:spMkLst>
        </pc:spChg>
        <pc:spChg chg="del">
          <ac:chgData name="Manal El Bakkouri" userId="8b130982-2e3f-4164-b881-fd3a2e4b2453" providerId="ADAL" clId="{4457FA57-250B-44AC-8655-05D46C5A3D8A}" dt="2023-06-01T11:00:13.945" v="868" actId="478"/>
          <ac:spMkLst>
            <pc:docMk/>
            <pc:sldMk cId="3069625997" sldId="230717651"/>
            <ac:spMk id="11" creationId="{A9FB814F-61FA-4106-9A25-5628E857C2D2}"/>
          </ac:spMkLst>
        </pc:spChg>
        <pc:spChg chg="del">
          <ac:chgData name="Manal El Bakkouri" userId="8b130982-2e3f-4164-b881-fd3a2e4b2453" providerId="ADAL" clId="{4457FA57-250B-44AC-8655-05D46C5A3D8A}" dt="2023-06-01T11:00:13.945" v="868" actId="478"/>
          <ac:spMkLst>
            <pc:docMk/>
            <pc:sldMk cId="3069625997" sldId="230717651"/>
            <ac:spMk id="12" creationId="{A2F08A38-7F4B-4573-BA7C-C76055022F52}"/>
          </ac:spMkLst>
        </pc:spChg>
        <pc:spChg chg="del">
          <ac:chgData name="Manal El Bakkouri" userId="8b130982-2e3f-4164-b881-fd3a2e4b2453" providerId="ADAL" clId="{4457FA57-250B-44AC-8655-05D46C5A3D8A}" dt="2023-06-01T11:00:13.945" v="868" actId="478"/>
          <ac:spMkLst>
            <pc:docMk/>
            <pc:sldMk cId="3069625997" sldId="230717651"/>
            <ac:spMk id="13" creationId="{398D9F4E-D9AB-4C7D-B1EF-C567310C402E}"/>
          </ac:spMkLst>
        </pc:spChg>
        <pc:spChg chg="del">
          <ac:chgData name="Manal El Bakkouri" userId="8b130982-2e3f-4164-b881-fd3a2e4b2453" providerId="ADAL" clId="{4457FA57-250B-44AC-8655-05D46C5A3D8A}" dt="2023-06-01T11:00:13.945" v="868" actId="478"/>
          <ac:spMkLst>
            <pc:docMk/>
            <pc:sldMk cId="3069625997" sldId="230717651"/>
            <ac:spMk id="14" creationId="{F1DA8FF4-6946-415C-B4BF-F229B6D25A07}"/>
          </ac:spMkLst>
        </pc:spChg>
        <pc:spChg chg="del">
          <ac:chgData name="Manal El Bakkouri" userId="8b130982-2e3f-4164-b881-fd3a2e4b2453" providerId="ADAL" clId="{4457FA57-250B-44AC-8655-05D46C5A3D8A}" dt="2023-06-01T11:00:13.945" v="868" actId="478"/>
          <ac:spMkLst>
            <pc:docMk/>
            <pc:sldMk cId="3069625997" sldId="230717651"/>
            <ac:spMk id="15" creationId="{302A369F-8B36-4969-89B3-D101C1B06C8A}"/>
          </ac:spMkLst>
        </pc:spChg>
        <pc:spChg chg="del">
          <ac:chgData name="Manal El Bakkouri" userId="8b130982-2e3f-4164-b881-fd3a2e4b2453" providerId="ADAL" clId="{4457FA57-250B-44AC-8655-05D46C5A3D8A}" dt="2023-06-01T11:00:13.945" v="868" actId="478"/>
          <ac:spMkLst>
            <pc:docMk/>
            <pc:sldMk cId="3069625997" sldId="230717651"/>
            <ac:spMk id="16" creationId="{AD636E5F-BB95-4C8E-9C82-9A5E48C90264}"/>
          </ac:spMkLst>
        </pc:spChg>
        <pc:spChg chg="add del mod">
          <ac:chgData name="Manal El Bakkouri" userId="8b130982-2e3f-4164-b881-fd3a2e4b2453" providerId="ADAL" clId="{4457FA57-250B-44AC-8655-05D46C5A3D8A}" dt="2023-06-09T11:26:58.204" v="21715" actId="478"/>
          <ac:spMkLst>
            <pc:docMk/>
            <pc:sldMk cId="3069625997" sldId="230717651"/>
            <ac:spMk id="87" creationId="{4A044CE2-0DC7-45B2-BA57-D38F93ECA93C}"/>
          </ac:spMkLst>
        </pc:spChg>
        <pc:spChg chg="add del mod">
          <ac:chgData name="Manal El Bakkouri" userId="8b130982-2e3f-4164-b881-fd3a2e4b2453" providerId="ADAL" clId="{4457FA57-250B-44AC-8655-05D46C5A3D8A}" dt="2023-06-09T11:26:58.204" v="21715" actId="478"/>
          <ac:spMkLst>
            <pc:docMk/>
            <pc:sldMk cId="3069625997" sldId="230717651"/>
            <ac:spMk id="88" creationId="{BDFEBBF0-43A4-45E7-B4ED-DABE7D338800}"/>
          </ac:spMkLst>
        </pc:spChg>
        <pc:spChg chg="add del mod">
          <ac:chgData name="Manal El Bakkouri" userId="8b130982-2e3f-4164-b881-fd3a2e4b2453" providerId="ADAL" clId="{4457FA57-250B-44AC-8655-05D46C5A3D8A}" dt="2023-06-09T11:26:58.204" v="21715" actId="478"/>
          <ac:spMkLst>
            <pc:docMk/>
            <pc:sldMk cId="3069625997" sldId="230717651"/>
            <ac:spMk id="89" creationId="{353E1195-70CE-407F-826F-ECC718F08B64}"/>
          </ac:spMkLst>
        </pc:spChg>
        <pc:spChg chg="add del mod">
          <ac:chgData name="Manal El Bakkouri" userId="8b130982-2e3f-4164-b881-fd3a2e4b2453" providerId="ADAL" clId="{4457FA57-250B-44AC-8655-05D46C5A3D8A}" dt="2023-06-06T10:34:45.122" v="9754" actId="478"/>
          <ac:spMkLst>
            <pc:docMk/>
            <pc:sldMk cId="3069625997" sldId="230717651"/>
            <ac:spMk id="90" creationId="{81F6C6A6-32E3-48FE-AD0B-13587043F704}"/>
          </ac:spMkLst>
        </pc:spChg>
        <pc:spChg chg="add del mod">
          <ac:chgData name="Manal El Bakkouri" userId="8b130982-2e3f-4164-b881-fd3a2e4b2453" providerId="ADAL" clId="{4457FA57-250B-44AC-8655-05D46C5A3D8A}" dt="2023-06-07T09:58:43.904" v="17573" actId="164"/>
          <ac:spMkLst>
            <pc:docMk/>
            <pc:sldMk cId="3069625997" sldId="230717651"/>
            <ac:spMk id="91" creationId="{55CB25D3-D7D9-460A-8DF3-88EDC0259AC7}"/>
          </ac:spMkLst>
        </pc:spChg>
        <pc:spChg chg="add del mod">
          <ac:chgData name="Manal El Bakkouri" userId="8b130982-2e3f-4164-b881-fd3a2e4b2453" providerId="ADAL" clId="{4457FA57-250B-44AC-8655-05D46C5A3D8A}" dt="2023-06-06T10:34:45.122" v="9754" actId="478"/>
          <ac:spMkLst>
            <pc:docMk/>
            <pc:sldMk cId="3069625997" sldId="230717651"/>
            <ac:spMk id="92" creationId="{64D40C61-9412-4BE7-8EED-2283F5145379}"/>
          </ac:spMkLst>
        </pc:spChg>
        <pc:spChg chg="add del mod">
          <ac:chgData name="Manal El Bakkouri" userId="8b130982-2e3f-4164-b881-fd3a2e4b2453" providerId="ADAL" clId="{4457FA57-250B-44AC-8655-05D46C5A3D8A}" dt="2023-06-07T09:58:46.494" v="17574" actId="164"/>
          <ac:spMkLst>
            <pc:docMk/>
            <pc:sldMk cId="3069625997" sldId="230717651"/>
            <ac:spMk id="93" creationId="{640CA422-2F34-4744-B13E-466F5B7A02CA}"/>
          </ac:spMkLst>
        </pc:spChg>
        <pc:spChg chg="add del mod">
          <ac:chgData name="Manal El Bakkouri" userId="8b130982-2e3f-4164-b881-fd3a2e4b2453" providerId="ADAL" clId="{4457FA57-250B-44AC-8655-05D46C5A3D8A}" dt="2023-06-06T10:34:45.122" v="9754" actId="478"/>
          <ac:spMkLst>
            <pc:docMk/>
            <pc:sldMk cId="3069625997" sldId="230717651"/>
            <ac:spMk id="94" creationId="{68F16F7F-0387-45BB-9CFB-C9455C59C453}"/>
          </ac:spMkLst>
        </pc:spChg>
        <pc:spChg chg="add del mod">
          <ac:chgData name="Manal El Bakkouri" userId="8b130982-2e3f-4164-b881-fd3a2e4b2453" providerId="ADAL" clId="{4457FA57-250B-44AC-8655-05D46C5A3D8A}" dt="2023-06-07T09:58:43.904" v="17573" actId="164"/>
          <ac:spMkLst>
            <pc:docMk/>
            <pc:sldMk cId="3069625997" sldId="230717651"/>
            <ac:spMk id="95" creationId="{8D4FAAF9-9C72-4D26-A2C7-1E0EED269558}"/>
          </ac:spMkLst>
        </pc:spChg>
        <pc:spChg chg="add del mod">
          <ac:chgData name="Manal El Bakkouri" userId="8b130982-2e3f-4164-b881-fd3a2e4b2453" providerId="ADAL" clId="{4457FA57-250B-44AC-8655-05D46C5A3D8A}" dt="2023-06-06T10:34:45.122" v="9754" actId="478"/>
          <ac:spMkLst>
            <pc:docMk/>
            <pc:sldMk cId="3069625997" sldId="230717651"/>
            <ac:spMk id="96" creationId="{899DF666-E846-4FAA-9442-C22CFDBD107E}"/>
          </ac:spMkLst>
        </pc:spChg>
        <pc:spChg chg="add mod">
          <ac:chgData name="Manal El Bakkouri" userId="8b130982-2e3f-4164-b881-fd3a2e4b2453" providerId="ADAL" clId="{4457FA57-250B-44AC-8655-05D46C5A3D8A}" dt="2023-06-09T11:26:58.685" v="21716"/>
          <ac:spMkLst>
            <pc:docMk/>
            <pc:sldMk cId="3069625997" sldId="230717651"/>
            <ac:spMk id="96" creationId="{CA95E5DD-1091-4669-9243-4E12407274E1}"/>
          </ac:spMkLst>
        </pc:spChg>
        <pc:spChg chg="mod topLvl">
          <ac:chgData name="Manal El Bakkouri" userId="8b130982-2e3f-4164-b881-fd3a2e4b2453" providerId="ADAL" clId="{4457FA57-250B-44AC-8655-05D46C5A3D8A}" dt="2023-06-06T14:45:50.428" v="13380" actId="165"/>
          <ac:spMkLst>
            <pc:docMk/>
            <pc:sldMk cId="3069625997" sldId="230717651"/>
            <ac:spMk id="97" creationId="{D05313CC-4710-4962-92AA-A4B7C6652B6D}"/>
          </ac:spMkLst>
        </pc:spChg>
        <pc:spChg chg="mod topLvl">
          <ac:chgData name="Manal El Bakkouri" userId="8b130982-2e3f-4164-b881-fd3a2e4b2453" providerId="ADAL" clId="{4457FA57-250B-44AC-8655-05D46C5A3D8A}" dt="2023-06-06T14:45:50.428" v="13380" actId="165"/>
          <ac:spMkLst>
            <pc:docMk/>
            <pc:sldMk cId="3069625997" sldId="230717651"/>
            <ac:spMk id="98" creationId="{D37ECEF6-85BD-4182-B793-994D3688BECD}"/>
          </ac:spMkLst>
        </pc:spChg>
        <pc:spChg chg="mod topLvl">
          <ac:chgData name="Manal El Bakkouri" userId="8b130982-2e3f-4164-b881-fd3a2e4b2453" providerId="ADAL" clId="{4457FA57-250B-44AC-8655-05D46C5A3D8A}" dt="2023-06-06T14:45:50.428" v="13380" actId="165"/>
          <ac:spMkLst>
            <pc:docMk/>
            <pc:sldMk cId="3069625997" sldId="230717651"/>
            <ac:spMk id="99" creationId="{BD72F142-11B0-40E4-AD73-9F834CB606B5}"/>
          </ac:spMkLst>
        </pc:spChg>
        <pc:spChg chg="mod topLvl">
          <ac:chgData name="Manal El Bakkouri" userId="8b130982-2e3f-4164-b881-fd3a2e4b2453" providerId="ADAL" clId="{4457FA57-250B-44AC-8655-05D46C5A3D8A}" dt="2023-06-06T14:45:50.428" v="13380" actId="165"/>
          <ac:spMkLst>
            <pc:docMk/>
            <pc:sldMk cId="3069625997" sldId="230717651"/>
            <ac:spMk id="100" creationId="{AD4D5844-C9D9-4333-8AB6-25E8CD2EBFEA}"/>
          </ac:spMkLst>
        </pc:spChg>
        <pc:spChg chg="mod topLvl">
          <ac:chgData name="Manal El Bakkouri" userId="8b130982-2e3f-4164-b881-fd3a2e4b2453" providerId="ADAL" clId="{4457FA57-250B-44AC-8655-05D46C5A3D8A}" dt="2023-06-06T14:45:50.428" v="13380" actId="165"/>
          <ac:spMkLst>
            <pc:docMk/>
            <pc:sldMk cId="3069625997" sldId="230717651"/>
            <ac:spMk id="101" creationId="{61C0C6D2-3225-4ECE-A146-B6C396F6F1B5}"/>
          </ac:spMkLst>
        </pc:spChg>
        <pc:spChg chg="mod topLvl">
          <ac:chgData name="Manal El Bakkouri" userId="8b130982-2e3f-4164-b881-fd3a2e4b2453" providerId="ADAL" clId="{4457FA57-250B-44AC-8655-05D46C5A3D8A}" dt="2023-06-06T14:45:50.428" v="13380" actId="165"/>
          <ac:spMkLst>
            <pc:docMk/>
            <pc:sldMk cId="3069625997" sldId="230717651"/>
            <ac:spMk id="102" creationId="{8CF9F09D-B251-4877-B939-51EEC00267F2}"/>
          </ac:spMkLst>
        </pc:spChg>
        <pc:spChg chg="add del mod">
          <ac:chgData name="Manal El Bakkouri" userId="8b130982-2e3f-4164-b881-fd3a2e4b2453" providerId="ADAL" clId="{4457FA57-250B-44AC-8655-05D46C5A3D8A}" dt="2023-06-07T09:58:46.494" v="17574" actId="164"/>
          <ac:spMkLst>
            <pc:docMk/>
            <pc:sldMk cId="3069625997" sldId="230717651"/>
            <ac:spMk id="103" creationId="{3DB44DA8-F006-42B9-8C1B-5DA9646562DA}"/>
          </ac:spMkLst>
        </pc:spChg>
        <pc:spChg chg="add del mod">
          <ac:chgData name="Manal El Bakkouri" userId="8b130982-2e3f-4164-b881-fd3a2e4b2453" providerId="ADAL" clId="{4457FA57-250B-44AC-8655-05D46C5A3D8A}" dt="2023-06-06T10:34:45.122" v="9754" actId="478"/>
          <ac:spMkLst>
            <pc:docMk/>
            <pc:sldMk cId="3069625997" sldId="230717651"/>
            <ac:spMk id="104" creationId="{50E4073A-D141-41F2-8DE6-5FDE55E867AA}"/>
          </ac:spMkLst>
        </pc:spChg>
        <pc:spChg chg="add mod">
          <ac:chgData name="Manal El Bakkouri" userId="8b130982-2e3f-4164-b881-fd3a2e4b2453" providerId="ADAL" clId="{4457FA57-250B-44AC-8655-05D46C5A3D8A}" dt="2023-06-09T11:26:58.685" v="21716"/>
          <ac:spMkLst>
            <pc:docMk/>
            <pc:sldMk cId="3069625997" sldId="230717651"/>
            <ac:spMk id="104" creationId="{6D245B66-390B-42C2-97F2-BB750BE99A99}"/>
          </ac:spMkLst>
        </pc:spChg>
        <pc:spChg chg="add del mod">
          <ac:chgData name="Manal El Bakkouri" userId="8b130982-2e3f-4164-b881-fd3a2e4b2453" providerId="ADAL" clId="{4457FA57-250B-44AC-8655-05D46C5A3D8A}" dt="2023-06-06T10:34:45.122" v="9754" actId="478"/>
          <ac:spMkLst>
            <pc:docMk/>
            <pc:sldMk cId="3069625997" sldId="230717651"/>
            <ac:spMk id="105" creationId="{226C429E-0FE8-4186-B1C8-66DEDA52EE55}"/>
          </ac:spMkLst>
        </pc:spChg>
        <pc:spChg chg="add mod">
          <ac:chgData name="Manal El Bakkouri" userId="8b130982-2e3f-4164-b881-fd3a2e4b2453" providerId="ADAL" clId="{4457FA57-250B-44AC-8655-05D46C5A3D8A}" dt="2023-06-09T11:26:58.685" v="21716"/>
          <ac:spMkLst>
            <pc:docMk/>
            <pc:sldMk cId="3069625997" sldId="230717651"/>
            <ac:spMk id="105" creationId="{D8BF6B3A-7035-49C5-80B8-76D1DC8639AA}"/>
          </ac:spMkLst>
        </pc:spChg>
        <pc:spChg chg="add mod">
          <ac:chgData name="Manal El Bakkouri" userId="8b130982-2e3f-4164-b881-fd3a2e4b2453" providerId="ADAL" clId="{4457FA57-250B-44AC-8655-05D46C5A3D8A}" dt="2023-06-04T13:10:14.044" v="7649" actId="20577"/>
          <ac:spMkLst>
            <pc:docMk/>
            <pc:sldMk cId="3069625997" sldId="230717651"/>
            <ac:spMk id="106" creationId="{FEE791AD-A6C7-44B5-AE27-84459C6A99E9}"/>
          </ac:spMkLst>
        </pc:spChg>
        <pc:spChg chg="add mod">
          <ac:chgData name="Manal El Bakkouri" userId="8b130982-2e3f-4164-b881-fd3a2e4b2453" providerId="ADAL" clId="{4457FA57-250B-44AC-8655-05D46C5A3D8A}" dt="2023-06-07T09:58:31.277" v="17568" actId="164"/>
          <ac:spMkLst>
            <pc:docMk/>
            <pc:sldMk cId="3069625997" sldId="230717651"/>
            <ac:spMk id="107" creationId="{811B5071-BA95-48FD-ADDC-BCF3A6108A9E}"/>
          </ac:spMkLst>
        </pc:spChg>
        <pc:spChg chg="mod topLvl">
          <ac:chgData name="Manal El Bakkouri" userId="8b130982-2e3f-4164-b881-fd3a2e4b2453" providerId="ADAL" clId="{4457FA57-250B-44AC-8655-05D46C5A3D8A}" dt="2023-06-06T14:45:50.428" v="13380" actId="165"/>
          <ac:spMkLst>
            <pc:docMk/>
            <pc:sldMk cId="3069625997" sldId="230717651"/>
            <ac:spMk id="108" creationId="{782C5281-52E4-4F4E-86B4-1C2A1F96FE68}"/>
          </ac:spMkLst>
        </pc:spChg>
        <pc:spChg chg="mod topLvl">
          <ac:chgData name="Manal El Bakkouri" userId="8b130982-2e3f-4164-b881-fd3a2e4b2453" providerId="ADAL" clId="{4457FA57-250B-44AC-8655-05D46C5A3D8A}" dt="2023-06-06T14:45:50.428" v="13380" actId="165"/>
          <ac:spMkLst>
            <pc:docMk/>
            <pc:sldMk cId="3069625997" sldId="230717651"/>
            <ac:spMk id="109" creationId="{9EB7303C-DB95-48B4-AC44-2E6328845BD1}"/>
          </ac:spMkLst>
        </pc:spChg>
        <pc:spChg chg="mod topLvl">
          <ac:chgData name="Manal El Bakkouri" userId="8b130982-2e3f-4164-b881-fd3a2e4b2453" providerId="ADAL" clId="{4457FA57-250B-44AC-8655-05D46C5A3D8A}" dt="2023-06-06T14:45:50.428" v="13380" actId="165"/>
          <ac:spMkLst>
            <pc:docMk/>
            <pc:sldMk cId="3069625997" sldId="230717651"/>
            <ac:spMk id="110" creationId="{A8E66BC6-1DA6-445C-8832-6ECD5CA4C987}"/>
          </ac:spMkLst>
        </pc:spChg>
        <pc:spChg chg="mod topLvl">
          <ac:chgData name="Manal El Bakkouri" userId="8b130982-2e3f-4164-b881-fd3a2e4b2453" providerId="ADAL" clId="{4457FA57-250B-44AC-8655-05D46C5A3D8A}" dt="2023-06-06T14:45:50.428" v="13380" actId="165"/>
          <ac:spMkLst>
            <pc:docMk/>
            <pc:sldMk cId="3069625997" sldId="230717651"/>
            <ac:spMk id="111" creationId="{CE24A784-8CB6-45E0-B9FB-6BC03987C927}"/>
          </ac:spMkLst>
        </pc:spChg>
        <pc:spChg chg="mod topLvl">
          <ac:chgData name="Manal El Bakkouri" userId="8b130982-2e3f-4164-b881-fd3a2e4b2453" providerId="ADAL" clId="{4457FA57-250B-44AC-8655-05D46C5A3D8A}" dt="2023-06-06T14:45:50.428" v="13380" actId="165"/>
          <ac:spMkLst>
            <pc:docMk/>
            <pc:sldMk cId="3069625997" sldId="230717651"/>
            <ac:spMk id="112" creationId="{76152915-D530-4588-9347-19B30FFDA3F5}"/>
          </ac:spMkLst>
        </pc:spChg>
        <pc:spChg chg="mod">
          <ac:chgData name="Manal El Bakkouri" userId="8b130982-2e3f-4164-b881-fd3a2e4b2453" providerId="ADAL" clId="{4457FA57-250B-44AC-8655-05D46C5A3D8A}" dt="2023-06-06T14:45:50.428" v="13380" actId="165"/>
          <ac:spMkLst>
            <pc:docMk/>
            <pc:sldMk cId="3069625997" sldId="230717651"/>
            <ac:spMk id="118" creationId="{5DE3C119-3C90-4CD2-976D-C065BA615C23}"/>
          </ac:spMkLst>
        </pc:spChg>
        <pc:spChg chg="mod">
          <ac:chgData name="Manal El Bakkouri" userId="8b130982-2e3f-4164-b881-fd3a2e4b2453" providerId="ADAL" clId="{4457FA57-250B-44AC-8655-05D46C5A3D8A}" dt="2023-06-06T14:45:50.428" v="13380" actId="165"/>
          <ac:spMkLst>
            <pc:docMk/>
            <pc:sldMk cId="3069625997" sldId="230717651"/>
            <ac:spMk id="119" creationId="{CF82DFE9-E8DA-4642-90F1-8C5474E51AC3}"/>
          </ac:spMkLst>
        </pc:spChg>
        <pc:spChg chg="mod">
          <ac:chgData name="Manal El Bakkouri" userId="8b130982-2e3f-4164-b881-fd3a2e4b2453" providerId="ADAL" clId="{4457FA57-250B-44AC-8655-05D46C5A3D8A}" dt="2023-06-06T14:45:50.428" v="13380" actId="165"/>
          <ac:spMkLst>
            <pc:docMk/>
            <pc:sldMk cId="3069625997" sldId="230717651"/>
            <ac:spMk id="120" creationId="{2E3412C4-27FE-4039-9100-F18164DAB203}"/>
          </ac:spMkLst>
        </pc:spChg>
        <pc:spChg chg="mod">
          <ac:chgData name="Manal El Bakkouri" userId="8b130982-2e3f-4164-b881-fd3a2e4b2453" providerId="ADAL" clId="{4457FA57-250B-44AC-8655-05D46C5A3D8A}" dt="2023-06-06T14:45:50.428" v="13380" actId="165"/>
          <ac:spMkLst>
            <pc:docMk/>
            <pc:sldMk cId="3069625997" sldId="230717651"/>
            <ac:spMk id="121" creationId="{1A68188F-BFC6-42DC-8691-DC386894C9C2}"/>
          </ac:spMkLst>
        </pc:spChg>
        <pc:spChg chg="mod">
          <ac:chgData name="Manal El Bakkouri" userId="8b130982-2e3f-4164-b881-fd3a2e4b2453" providerId="ADAL" clId="{4457FA57-250B-44AC-8655-05D46C5A3D8A}" dt="2023-06-06T14:45:50.428" v="13380" actId="165"/>
          <ac:spMkLst>
            <pc:docMk/>
            <pc:sldMk cId="3069625997" sldId="230717651"/>
            <ac:spMk id="122" creationId="{07B143DD-7436-4D80-AF88-2E1E52643819}"/>
          </ac:spMkLst>
        </pc:spChg>
        <pc:spChg chg="mod">
          <ac:chgData name="Manal El Bakkouri" userId="8b130982-2e3f-4164-b881-fd3a2e4b2453" providerId="ADAL" clId="{4457FA57-250B-44AC-8655-05D46C5A3D8A}" dt="2023-06-06T14:45:50.428" v="13380" actId="165"/>
          <ac:spMkLst>
            <pc:docMk/>
            <pc:sldMk cId="3069625997" sldId="230717651"/>
            <ac:spMk id="123" creationId="{18026A77-140F-43AA-B841-6C02B5EC7121}"/>
          </ac:spMkLst>
        </pc:spChg>
        <pc:spChg chg="mod">
          <ac:chgData name="Manal El Bakkouri" userId="8b130982-2e3f-4164-b881-fd3a2e4b2453" providerId="ADAL" clId="{4457FA57-250B-44AC-8655-05D46C5A3D8A}" dt="2023-06-06T14:45:50.428" v="13380" actId="165"/>
          <ac:spMkLst>
            <pc:docMk/>
            <pc:sldMk cId="3069625997" sldId="230717651"/>
            <ac:spMk id="124" creationId="{699EC536-746D-469D-883D-222B9150E008}"/>
          </ac:spMkLst>
        </pc:spChg>
        <pc:spChg chg="mod">
          <ac:chgData name="Manal El Bakkouri" userId="8b130982-2e3f-4164-b881-fd3a2e4b2453" providerId="ADAL" clId="{4457FA57-250B-44AC-8655-05D46C5A3D8A}" dt="2023-06-06T14:45:50.428" v="13380" actId="165"/>
          <ac:spMkLst>
            <pc:docMk/>
            <pc:sldMk cId="3069625997" sldId="230717651"/>
            <ac:spMk id="125" creationId="{5E2CCF00-8812-4FCE-ABD0-1883CE52EACB}"/>
          </ac:spMkLst>
        </pc:spChg>
        <pc:spChg chg="mod">
          <ac:chgData name="Manal El Bakkouri" userId="8b130982-2e3f-4164-b881-fd3a2e4b2453" providerId="ADAL" clId="{4457FA57-250B-44AC-8655-05D46C5A3D8A}" dt="2023-06-06T14:45:50.428" v="13380" actId="165"/>
          <ac:spMkLst>
            <pc:docMk/>
            <pc:sldMk cId="3069625997" sldId="230717651"/>
            <ac:spMk id="126" creationId="{9307248B-03E6-4011-B10E-5C12BFCF8C59}"/>
          </ac:spMkLst>
        </pc:spChg>
        <pc:spChg chg="mod">
          <ac:chgData name="Manal El Bakkouri" userId="8b130982-2e3f-4164-b881-fd3a2e4b2453" providerId="ADAL" clId="{4457FA57-250B-44AC-8655-05D46C5A3D8A}" dt="2023-06-06T14:45:50.428" v="13380" actId="165"/>
          <ac:spMkLst>
            <pc:docMk/>
            <pc:sldMk cId="3069625997" sldId="230717651"/>
            <ac:spMk id="127" creationId="{AED5C182-EB74-447A-81D2-304C33ADF6B0}"/>
          </ac:spMkLst>
        </pc:spChg>
        <pc:spChg chg="mod">
          <ac:chgData name="Manal El Bakkouri" userId="8b130982-2e3f-4164-b881-fd3a2e4b2453" providerId="ADAL" clId="{4457FA57-250B-44AC-8655-05D46C5A3D8A}" dt="2023-06-06T14:45:50.428" v="13380" actId="165"/>
          <ac:spMkLst>
            <pc:docMk/>
            <pc:sldMk cId="3069625997" sldId="230717651"/>
            <ac:spMk id="128" creationId="{52206205-25DF-4682-ACB7-677EA3892B97}"/>
          </ac:spMkLst>
        </pc:spChg>
        <pc:spChg chg="mod">
          <ac:chgData name="Manal El Bakkouri" userId="8b130982-2e3f-4164-b881-fd3a2e4b2453" providerId="ADAL" clId="{4457FA57-250B-44AC-8655-05D46C5A3D8A}" dt="2023-06-06T14:45:50.428" v="13380" actId="165"/>
          <ac:spMkLst>
            <pc:docMk/>
            <pc:sldMk cId="3069625997" sldId="230717651"/>
            <ac:spMk id="129" creationId="{83326B29-A916-443D-92C7-73BF0F98DBD9}"/>
          </ac:spMkLst>
        </pc:spChg>
        <pc:spChg chg="add mod">
          <ac:chgData name="Manal El Bakkouri" userId="8b130982-2e3f-4164-b881-fd3a2e4b2453" providerId="ADAL" clId="{4457FA57-250B-44AC-8655-05D46C5A3D8A}" dt="2023-06-07T09:58:36.888" v="17569" actId="164"/>
          <ac:spMkLst>
            <pc:docMk/>
            <pc:sldMk cId="3069625997" sldId="230717651"/>
            <ac:spMk id="139" creationId="{969D7887-140C-4C4E-B2A4-4B3C140BBD88}"/>
          </ac:spMkLst>
        </pc:spChg>
        <pc:spChg chg="add mod">
          <ac:chgData name="Manal El Bakkouri" userId="8b130982-2e3f-4164-b881-fd3a2e4b2453" providerId="ADAL" clId="{4457FA57-250B-44AC-8655-05D46C5A3D8A}" dt="2023-06-07T09:58:31.277" v="17568" actId="164"/>
          <ac:spMkLst>
            <pc:docMk/>
            <pc:sldMk cId="3069625997" sldId="230717651"/>
            <ac:spMk id="140" creationId="{B5552091-D634-42CA-8502-6BF17E90B9D7}"/>
          </ac:spMkLst>
        </pc:spChg>
        <pc:spChg chg="add mod">
          <ac:chgData name="Manal El Bakkouri" userId="8b130982-2e3f-4164-b881-fd3a2e4b2453" providerId="ADAL" clId="{4457FA57-250B-44AC-8655-05D46C5A3D8A}" dt="2023-06-07T09:58:36.888" v="17569" actId="164"/>
          <ac:spMkLst>
            <pc:docMk/>
            <pc:sldMk cId="3069625997" sldId="230717651"/>
            <ac:spMk id="141" creationId="{B7868559-DDF1-45B3-974A-B2FB608A8C1C}"/>
          </ac:spMkLst>
        </pc:spChg>
        <pc:spChg chg="mod">
          <ac:chgData name="Manal El Bakkouri" userId="8b130982-2e3f-4164-b881-fd3a2e4b2453" providerId="ADAL" clId="{4457FA57-250B-44AC-8655-05D46C5A3D8A}" dt="2023-06-06T14:45:50.428" v="13380" actId="165"/>
          <ac:spMkLst>
            <pc:docMk/>
            <pc:sldMk cId="3069625997" sldId="230717651"/>
            <ac:spMk id="143" creationId="{686D01E9-0E77-4B75-AB5E-7573C181D552}"/>
          </ac:spMkLst>
        </pc:spChg>
        <pc:spChg chg="mod">
          <ac:chgData name="Manal El Bakkouri" userId="8b130982-2e3f-4164-b881-fd3a2e4b2453" providerId="ADAL" clId="{4457FA57-250B-44AC-8655-05D46C5A3D8A}" dt="2023-06-06T14:45:50.428" v="13380" actId="165"/>
          <ac:spMkLst>
            <pc:docMk/>
            <pc:sldMk cId="3069625997" sldId="230717651"/>
            <ac:spMk id="144" creationId="{BE3ADAFC-275A-4691-94EC-0421150E170F}"/>
          </ac:spMkLst>
        </pc:spChg>
        <pc:spChg chg="mod">
          <ac:chgData name="Manal El Bakkouri" userId="8b130982-2e3f-4164-b881-fd3a2e4b2453" providerId="ADAL" clId="{4457FA57-250B-44AC-8655-05D46C5A3D8A}" dt="2023-06-06T14:45:50.428" v="13380" actId="165"/>
          <ac:spMkLst>
            <pc:docMk/>
            <pc:sldMk cId="3069625997" sldId="230717651"/>
            <ac:spMk id="145" creationId="{AC307DEC-C114-4FD2-8C67-83F661B82F41}"/>
          </ac:spMkLst>
        </pc:spChg>
        <pc:spChg chg="mod">
          <ac:chgData name="Manal El Bakkouri" userId="8b130982-2e3f-4164-b881-fd3a2e4b2453" providerId="ADAL" clId="{4457FA57-250B-44AC-8655-05D46C5A3D8A}" dt="2023-06-06T14:45:50.428" v="13380" actId="165"/>
          <ac:spMkLst>
            <pc:docMk/>
            <pc:sldMk cId="3069625997" sldId="230717651"/>
            <ac:spMk id="146" creationId="{54496EF0-2E9A-45C0-8E6C-21B8D2F6B5A9}"/>
          </ac:spMkLst>
        </pc:spChg>
        <pc:spChg chg="mod">
          <ac:chgData name="Manal El Bakkouri" userId="8b130982-2e3f-4164-b881-fd3a2e4b2453" providerId="ADAL" clId="{4457FA57-250B-44AC-8655-05D46C5A3D8A}" dt="2023-06-06T14:45:50.428" v="13380" actId="165"/>
          <ac:spMkLst>
            <pc:docMk/>
            <pc:sldMk cId="3069625997" sldId="230717651"/>
            <ac:spMk id="148" creationId="{F1D00424-9599-4277-B00A-F7805A7B5A17}"/>
          </ac:spMkLst>
        </pc:spChg>
        <pc:spChg chg="mod">
          <ac:chgData name="Manal El Bakkouri" userId="8b130982-2e3f-4164-b881-fd3a2e4b2453" providerId="ADAL" clId="{4457FA57-250B-44AC-8655-05D46C5A3D8A}" dt="2023-06-06T14:45:50.428" v="13380" actId="165"/>
          <ac:spMkLst>
            <pc:docMk/>
            <pc:sldMk cId="3069625997" sldId="230717651"/>
            <ac:spMk id="149" creationId="{874099DE-AB52-4827-9E47-A170B336B474}"/>
          </ac:spMkLst>
        </pc:spChg>
        <pc:spChg chg="mod">
          <ac:chgData name="Manal El Bakkouri" userId="8b130982-2e3f-4164-b881-fd3a2e4b2453" providerId="ADAL" clId="{4457FA57-250B-44AC-8655-05D46C5A3D8A}" dt="2023-06-06T14:45:50.428" v="13380" actId="165"/>
          <ac:spMkLst>
            <pc:docMk/>
            <pc:sldMk cId="3069625997" sldId="230717651"/>
            <ac:spMk id="150" creationId="{98A83711-F7C2-4B27-B794-650B1CF427AF}"/>
          </ac:spMkLst>
        </pc:spChg>
        <pc:spChg chg="mod">
          <ac:chgData name="Manal El Bakkouri" userId="8b130982-2e3f-4164-b881-fd3a2e4b2453" providerId="ADAL" clId="{4457FA57-250B-44AC-8655-05D46C5A3D8A}" dt="2023-06-06T14:45:50.428" v="13380" actId="165"/>
          <ac:spMkLst>
            <pc:docMk/>
            <pc:sldMk cId="3069625997" sldId="230717651"/>
            <ac:spMk id="151" creationId="{6E21E930-2F57-40F5-A848-FD7458518AF6}"/>
          </ac:spMkLst>
        </pc:spChg>
        <pc:spChg chg="mod">
          <ac:chgData name="Manal El Bakkouri" userId="8b130982-2e3f-4164-b881-fd3a2e4b2453" providerId="ADAL" clId="{4457FA57-250B-44AC-8655-05D46C5A3D8A}" dt="2023-06-06T14:45:50.428" v="13380" actId="165"/>
          <ac:spMkLst>
            <pc:docMk/>
            <pc:sldMk cId="3069625997" sldId="230717651"/>
            <ac:spMk id="152" creationId="{D1743A77-9F2C-49D1-8DC7-CC923C592DAD}"/>
          </ac:spMkLst>
        </pc:spChg>
        <pc:spChg chg="mod">
          <ac:chgData name="Manal El Bakkouri" userId="8b130982-2e3f-4164-b881-fd3a2e4b2453" providerId="ADAL" clId="{4457FA57-250B-44AC-8655-05D46C5A3D8A}" dt="2023-06-06T14:45:50.428" v="13380" actId="165"/>
          <ac:spMkLst>
            <pc:docMk/>
            <pc:sldMk cId="3069625997" sldId="230717651"/>
            <ac:spMk id="153" creationId="{6E41E943-1485-4837-8AB2-52206AB2CF57}"/>
          </ac:spMkLst>
        </pc:spChg>
        <pc:spChg chg="mod">
          <ac:chgData name="Manal El Bakkouri" userId="8b130982-2e3f-4164-b881-fd3a2e4b2453" providerId="ADAL" clId="{4457FA57-250B-44AC-8655-05D46C5A3D8A}" dt="2023-06-06T14:45:50.428" v="13380" actId="165"/>
          <ac:spMkLst>
            <pc:docMk/>
            <pc:sldMk cId="3069625997" sldId="230717651"/>
            <ac:spMk id="154" creationId="{2977AE0A-C025-4E30-9C68-7BB900059D11}"/>
          </ac:spMkLst>
        </pc:spChg>
        <pc:spChg chg="mod">
          <ac:chgData name="Manal El Bakkouri" userId="8b130982-2e3f-4164-b881-fd3a2e4b2453" providerId="ADAL" clId="{4457FA57-250B-44AC-8655-05D46C5A3D8A}" dt="2023-06-06T14:45:50.428" v="13380" actId="165"/>
          <ac:spMkLst>
            <pc:docMk/>
            <pc:sldMk cId="3069625997" sldId="230717651"/>
            <ac:spMk id="155" creationId="{73A0AD5B-7B8B-4783-BAA9-AD321E4A009B}"/>
          </ac:spMkLst>
        </pc:spChg>
        <pc:spChg chg="mod">
          <ac:chgData name="Manal El Bakkouri" userId="8b130982-2e3f-4164-b881-fd3a2e4b2453" providerId="ADAL" clId="{4457FA57-250B-44AC-8655-05D46C5A3D8A}" dt="2023-06-06T14:45:50.428" v="13380" actId="165"/>
          <ac:spMkLst>
            <pc:docMk/>
            <pc:sldMk cId="3069625997" sldId="230717651"/>
            <ac:spMk id="156" creationId="{68E8E546-5395-481E-8E1D-961459AC6B2F}"/>
          </ac:spMkLst>
        </pc:spChg>
        <pc:spChg chg="mod">
          <ac:chgData name="Manal El Bakkouri" userId="8b130982-2e3f-4164-b881-fd3a2e4b2453" providerId="ADAL" clId="{4457FA57-250B-44AC-8655-05D46C5A3D8A}" dt="2023-06-06T14:45:50.428" v="13380" actId="165"/>
          <ac:spMkLst>
            <pc:docMk/>
            <pc:sldMk cId="3069625997" sldId="230717651"/>
            <ac:spMk id="157" creationId="{EE40AB5A-5C86-4144-B188-2B2CD881FF85}"/>
          </ac:spMkLst>
        </pc:spChg>
        <pc:spChg chg="mod">
          <ac:chgData name="Manal El Bakkouri" userId="8b130982-2e3f-4164-b881-fd3a2e4b2453" providerId="ADAL" clId="{4457FA57-250B-44AC-8655-05D46C5A3D8A}" dt="2023-06-06T14:45:50.428" v="13380" actId="165"/>
          <ac:spMkLst>
            <pc:docMk/>
            <pc:sldMk cId="3069625997" sldId="230717651"/>
            <ac:spMk id="158" creationId="{90A9E827-AAB5-458D-9E9D-B89EB8513BDE}"/>
          </ac:spMkLst>
        </pc:spChg>
        <pc:spChg chg="mod topLvl">
          <ac:chgData name="Manal El Bakkouri" userId="8b130982-2e3f-4164-b881-fd3a2e4b2453" providerId="ADAL" clId="{4457FA57-250B-44AC-8655-05D46C5A3D8A}" dt="2023-06-06T14:45:50.428" v="13380" actId="165"/>
          <ac:spMkLst>
            <pc:docMk/>
            <pc:sldMk cId="3069625997" sldId="230717651"/>
            <ac:spMk id="159" creationId="{6E646E4A-E37D-4FCD-A6C3-3573160DBBA5}"/>
          </ac:spMkLst>
        </pc:spChg>
        <pc:spChg chg="mod topLvl">
          <ac:chgData name="Manal El Bakkouri" userId="8b130982-2e3f-4164-b881-fd3a2e4b2453" providerId="ADAL" clId="{4457FA57-250B-44AC-8655-05D46C5A3D8A}" dt="2023-06-06T14:45:50.428" v="13380" actId="165"/>
          <ac:spMkLst>
            <pc:docMk/>
            <pc:sldMk cId="3069625997" sldId="230717651"/>
            <ac:spMk id="163" creationId="{04EA910B-941F-47A3-ADE3-338B76E175C4}"/>
          </ac:spMkLst>
        </pc:spChg>
        <pc:spChg chg="mod topLvl">
          <ac:chgData name="Manal El Bakkouri" userId="8b130982-2e3f-4164-b881-fd3a2e4b2453" providerId="ADAL" clId="{4457FA57-250B-44AC-8655-05D46C5A3D8A}" dt="2023-06-06T14:45:50.428" v="13380" actId="165"/>
          <ac:spMkLst>
            <pc:docMk/>
            <pc:sldMk cId="3069625997" sldId="230717651"/>
            <ac:spMk id="164" creationId="{56CF9B32-396B-48F3-9F1A-5E79C2C4A3D1}"/>
          </ac:spMkLst>
        </pc:spChg>
        <pc:spChg chg="mod topLvl">
          <ac:chgData name="Manal El Bakkouri" userId="8b130982-2e3f-4164-b881-fd3a2e4b2453" providerId="ADAL" clId="{4457FA57-250B-44AC-8655-05D46C5A3D8A}" dt="2023-06-06T14:45:50.428" v="13380" actId="165"/>
          <ac:spMkLst>
            <pc:docMk/>
            <pc:sldMk cId="3069625997" sldId="230717651"/>
            <ac:spMk id="165" creationId="{B6250C8E-C29A-45A2-ADC8-FA936E09D285}"/>
          </ac:spMkLst>
        </pc:spChg>
        <pc:spChg chg="mod topLvl">
          <ac:chgData name="Manal El Bakkouri" userId="8b130982-2e3f-4164-b881-fd3a2e4b2453" providerId="ADAL" clId="{4457FA57-250B-44AC-8655-05D46C5A3D8A}" dt="2023-06-06T14:45:50.428" v="13380" actId="165"/>
          <ac:spMkLst>
            <pc:docMk/>
            <pc:sldMk cId="3069625997" sldId="230717651"/>
            <ac:spMk id="166" creationId="{7F408942-2022-46A3-B5A8-6EF2880A7DFF}"/>
          </ac:spMkLst>
        </pc:spChg>
        <pc:spChg chg="add mod">
          <ac:chgData name="Manal El Bakkouri" userId="8b130982-2e3f-4164-b881-fd3a2e4b2453" providerId="ADAL" clId="{4457FA57-250B-44AC-8655-05D46C5A3D8A}" dt="2023-06-07T09:58:28.147" v="17567" actId="164"/>
          <ac:spMkLst>
            <pc:docMk/>
            <pc:sldMk cId="3069625997" sldId="230717651"/>
            <ac:spMk id="177" creationId="{5E0767A9-18ED-40D0-AD6F-FA436B3C4563}"/>
          </ac:spMkLst>
        </pc:spChg>
        <pc:spChg chg="add mod">
          <ac:chgData name="Manal El Bakkouri" userId="8b130982-2e3f-4164-b881-fd3a2e4b2453" providerId="ADAL" clId="{4457FA57-250B-44AC-8655-05D46C5A3D8A}" dt="2023-06-07T09:58:28.147" v="17567" actId="164"/>
          <ac:spMkLst>
            <pc:docMk/>
            <pc:sldMk cId="3069625997" sldId="230717651"/>
            <ac:spMk id="178" creationId="{40698061-C09C-4FDF-A24C-051559BB858B}"/>
          </ac:spMkLst>
        </pc:spChg>
        <pc:spChg chg="add mod">
          <ac:chgData name="Manal El Bakkouri" userId="8b130982-2e3f-4164-b881-fd3a2e4b2453" providerId="ADAL" clId="{4457FA57-250B-44AC-8655-05D46C5A3D8A}" dt="2023-06-09T11:26:58.685" v="21716"/>
          <ac:spMkLst>
            <pc:docMk/>
            <pc:sldMk cId="3069625997" sldId="230717651"/>
            <ac:spMk id="179" creationId="{6B9396BD-D90D-4D8C-AB16-E21BE9BF2CE3}"/>
          </ac:spMkLst>
        </pc:spChg>
        <pc:grpChg chg="add del mod">
          <ac:chgData name="Manal El Bakkouri" userId="8b130982-2e3f-4164-b881-fd3a2e4b2453" providerId="ADAL" clId="{4457FA57-250B-44AC-8655-05D46C5A3D8A}" dt="2023-06-06T14:45:50.428" v="13380" actId="165"/>
          <ac:grpSpMkLst>
            <pc:docMk/>
            <pc:sldMk cId="3069625997" sldId="230717651"/>
            <ac:grpSpMk id="2" creationId="{58B6980A-04D5-4E7F-84A0-E40444A4BF3E}"/>
          </ac:grpSpMkLst>
        </pc:grpChg>
        <pc:grpChg chg="add del mod">
          <ac:chgData name="Manal El Bakkouri" userId="8b130982-2e3f-4164-b881-fd3a2e4b2453" providerId="ADAL" clId="{4457FA57-250B-44AC-8655-05D46C5A3D8A}" dt="2023-06-09T11:05:55.694" v="21489" actId="478"/>
          <ac:grpSpMkLst>
            <pc:docMk/>
            <pc:sldMk cId="3069625997" sldId="230717651"/>
            <ac:grpSpMk id="8" creationId="{C170B23B-D3ED-4CED-B508-1323F4A89BD9}"/>
          </ac:grpSpMkLst>
        </pc:grpChg>
        <pc:grpChg chg="add mod">
          <ac:chgData name="Manal El Bakkouri" userId="8b130982-2e3f-4164-b881-fd3a2e4b2453" providerId="ADAL" clId="{4457FA57-250B-44AC-8655-05D46C5A3D8A}" dt="2023-06-09T11:05:23.725" v="21483" actId="554"/>
          <ac:grpSpMkLst>
            <pc:docMk/>
            <pc:sldMk cId="3069625997" sldId="230717651"/>
            <ac:grpSpMk id="9" creationId="{07D9E06F-A5EC-4CCF-AA2B-4ADB82A68C24}"/>
          </ac:grpSpMkLst>
        </pc:grpChg>
        <pc:grpChg chg="add mod">
          <ac:chgData name="Manal El Bakkouri" userId="8b130982-2e3f-4164-b881-fd3a2e4b2453" providerId="ADAL" clId="{4457FA57-250B-44AC-8655-05D46C5A3D8A}" dt="2023-06-09T11:05:23.725" v="21483" actId="554"/>
          <ac:grpSpMkLst>
            <pc:docMk/>
            <pc:sldMk cId="3069625997" sldId="230717651"/>
            <ac:grpSpMk id="10" creationId="{F072AE2B-AC85-403C-979D-15318FC96A47}"/>
          </ac:grpSpMkLst>
        </pc:grpChg>
        <pc:grpChg chg="add mod">
          <ac:chgData name="Manal El Bakkouri" userId="8b130982-2e3f-4164-b881-fd3a2e4b2453" providerId="ADAL" clId="{4457FA57-250B-44AC-8655-05D46C5A3D8A}" dt="2023-06-09T11:05:23.725" v="21483" actId="554"/>
          <ac:grpSpMkLst>
            <pc:docMk/>
            <pc:sldMk cId="3069625997" sldId="230717651"/>
            <ac:grpSpMk id="11" creationId="{A98EF6ED-69CB-4E39-9505-91621956D677}"/>
          </ac:grpSpMkLst>
        </pc:grpChg>
        <pc:grpChg chg="add mod">
          <ac:chgData name="Manal El Bakkouri" userId="8b130982-2e3f-4164-b881-fd3a2e4b2453" providerId="ADAL" clId="{4457FA57-250B-44AC-8655-05D46C5A3D8A}" dt="2023-06-09T11:05:23.725" v="21483" actId="554"/>
          <ac:grpSpMkLst>
            <pc:docMk/>
            <pc:sldMk cId="3069625997" sldId="230717651"/>
            <ac:grpSpMk id="12" creationId="{DECB1828-AE99-4E00-9BA3-15F93521C09A}"/>
          </ac:grpSpMkLst>
        </pc:grpChg>
        <pc:grpChg chg="mod topLvl">
          <ac:chgData name="Manal El Bakkouri" userId="8b130982-2e3f-4164-b881-fd3a2e4b2453" providerId="ADAL" clId="{4457FA57-250B-44AC-8655-05D46C5A3D8A}" dt="2023-06-06T14:45:50.428" v="13380" actId="165"/>
          <ac:grpSpMkLst>
            <pc:docMk/>
            <pc:sldMk cId="3069625997" sldId="230717651"/>
            <ac:grpSpMk id="117" creationId="{8A30DC2E-D851-465E-986D-E798BE546B6E}"/>
          </ac:grpSpMkLst>
        </pc:grpChg>
        <pc:grpChg chg="mod topLvl">
          <ac:chgData name="Manal El Bakkouri" userId="8b130982-2e3f-4164-b881-fd3a2e4b2453" providerId="ADAL" clId="{4457FA57-250B-44AC-8655-05D46C5A3D8A}" dt="2023-06-06T14:45:50.428" v="13380" actId="165"/>
          <ac:grpSpMkLst>
            <pc:docMk/>
            <pc:sldMk cId="3069625997" sldId="230717651"/>
            <ac:grpSpMk id="130" creationId="{D191C6BE-07B7-470D-9C18-1D35E0AF0956}"/>
          </ac:grpSpMkLst>
        </pc:grpChg>
        <pc:grpChg chg="mod topLvl">
          <ac:chgData name="Manal El Bakkouri" userId="8b130982-2e3f-4164-b881-fd3a2e4b2453" providerId="ADAL" clId="{4457FA57-250B-44AC-8655-05D46C5A3D8A}" dt="2023-06-06T14:45:50.428" v="13380" actId="165"/>
          <ac:grpSpMkLst>
            <pc:docMk/>
            <pc:sldMk cId="3069625997" sldId="230717651"/>
            <ac:grpSpMk id="142" creationId="{CB89175E-DCC1-4ACE-8BD3-848334B10A1E}"/>
          </ac:grpSpMkLst>
        </pc:grpChg>
        <pc:grpChg chg="mod topLvl">
          <ac:chgData name="Manal El Bakkouri" userId="8b130982-2e3f-4164-b881-fd3a2e4b2453" providerId="ADAL" clId="{4457FA57-250B-44AC-8655-05D46C5A3D8A}" dt="2023-06-06T14:45:50.428" v="13380" actId="165"/>
          <ac:grpSpMkLst>
            <pc:docMk/>
            <pc:sldMk cId="3069625997" sldId="230717651"/>
            <ac:grpSpMk id="147" creationId="{B2DC2AE0-A730-4534-B904-0F9C30D284B2}"/>
          </ac:grpSpMkLst>
        </pc:grpChg>
        <pc:grpChg chg="mod topLvl">
          <ac:chgData name="Manal El Bakkouri" userId="8b130982-2e3f-4164-b881-fd3a2e4b2453" providerId="ADAL" clId="{4457FA57-250B-44AC-8655-05D46C5A3D8A}" dt="2023-06-06T14:45:50.428" v="13380" actId="165"/>
          <ac:grpSpMkLst>
            <pc:docMk/>
            <pc:sldMk cId="3069625997" sldId="230717651"/>
            <ac:grpSpMk id="160" creationId="{650A6878-D095-4EEC-B532-2318EBCFAE48}"/>
          </ac:grpSpMkLst>
        </pc:grpChg>
        <pc:grpChg chg="mod topLvl">
          <ac:chgData name="Manal El Bakkouri" userId="8b130982-2e3f-4164-b881-fd3a2e4b2453" providerId="ADAL" clId="{4457FA57-250B-44AC-8655-05D46C5A3D8A}" dt="2023-06-06T14:45:50.428" v="13380" actId="165"/>
          <ac:grpSpMkLst>
            <pc:docMk/>
            <pc:sldMk cId="3069625997" sldId="230717651"/>
            <ac:grpSpMk id="168" creationId="{117E9269-4352-41AD-B04F-824F08C6D6A0}"/>
          </ac:grpSpMkLst>
        </pc:grpChg>
        <pc:grpChg chg="mod topLvl">
          <ac:chgData name="Manal El Bakkouri" userId="8b130982-2e3f-4164-b881-fd3a2e4b2453" providerId="ADAL" clId="{4457FA57-250B-44AC-8655-05D46C5A3D8A}" dt="2023-06-06T14:45:50.428" v="13380" actId="165"/>
          <ac:grpSpMkLst>
            <pc:docMk/>
            <pc:sldMk cId="3069625997" sldId="230717651"/>
            <ac:grpSpMk id="171" creationId="{D648C0DC-B2C0-4D58-964A-B217B2703815}"/>
          </ac:grpSpMkLst>
        </pc:grpChg>
        <pc:grpChg chg="mod topLvl">
          <ac:chgData name="Manal El Bakkouri" userId="8b130982-2e3f-4164-b881-fd3a2e4b2453" providerId="ADAL" clId="{4457FA57-250B-44AC-8655-05D46C5A3D8A}" dt="2023-06-06T14:45:50.428" v="13380" actId="165"/>
          <ac:grpSpMkLst>
            <pc:docMk/>
            <pc:sldMk cId="3069625997" sldId="230717651"/>
            <ac:grpSpMk id="174" creationId="{2BA72605-7A28-4F18-AA66-75A869AB58BC}"/>
          </ac:grpSpMkLst>
        </pc:grpChg>
        <pc:picChg chg="add del mod">
          <ac:chgData name="Manal El Bakkouri" userId="8b130982-2e3f-4164-b881-fd3a2e4b2453" providerId="ADAL" clId="{4457FA57-250B-44AC-8655-05D46C5A3D8A}" dt="2023-06-09T15:12:35.912" v="22861" actId="478"/>
          <ac:picMkLst>
            <pc:docMk/>
            <pc:sldMk cId="3069625997" sldId="230717651"/>
            <ac:picMk id="3" creationId="{91D4EFBD-ACBB-425E-BDCF-E7CF52AEE4DF}"/>
          </ac:picMkLst>
        </pc:picChg>
        <pc:picChg chg="mod topLvl">
          <ac:chgData name="Manal El Bakkouri" userId="8b130982-2e3f-4164-b881-fd3a2e4b2453" providerId="ADAL" clId="{4457FA57-250B-44AC-8655-05D46C5A3D8A}" dt="2023-06-06T14:45:50.428" v="13380" actId="165"/>
          <ac:picMkLst>
            <pc:docMk/>
            <pc:sldMk cId="3069625997" sldId="230717651"/>
            <ac:picMk id="192" creationId="{39C36B60-F718-409D-B01B-67D88AC66C4B}"/>
          </ac:picMkLst>
        </pc:picChg>
        <pc:picChg chg="mod topLvl">
          <ac:chgData name="Manal El Bakkouri" userId="8b130982-2e3f-4164-b881-fd3a2e4b2453" providerId="ADAL" clId="{4457FA57-250B-44AC-8655-05D46C5A3D8A}" dt="2023-06-06T14:45:50.428" v="13380" actId="165"/>
          <ac:picMkLst>
            <pc:docMk/>
            <pc:sldMk cId="3069625997" sldId="230717651"/>
            <ac:picMk id="196" creationId="{A71A4240-B3EE-46A5-8914-2B8388675F3E}"/>
          </ac:picMkLst>
        </pc:picChg>
        <pc:picChg chg="mod">
          <ac:chgData name="Manal El Bakkouri" userId="8b130982-2e3f-4164-b881-fd3a2e4b2453" providerId="ADAL" clId="{4457FA57-250B-44AC-8655-05D46C5A3D8A}" dt="2023-06-06T14:49:58.135" v="13416" actId="1076"/>
          <ac:picMkLst>
            <pc:docMk/>
            <pc:sldMk cId="3069625997" sldId="230717651"/>
            <ac:picMk id="197" creationId="{433D543E-4A4A-4BFD-8E7D-824B01539647}"/>
          </ac:picMkLst>
        </pc:picChg>
        <pc:cxnChg chg="mod topLvl">
          <ac:chgData name="Manal El Bakkouri" userId="8b130982-2e3f-4164-b881-fd3a2e4b2453" providerId="ADAL" clId="{4457FA57-250B-44AC-8655-05D46C5A3D8A}" dt="2023-06-06T14:45:50.428" v="13380" actId="165"/>
          <ac:cxnSpMkLst>
            <pc:docMk/>
            <pc:sldMk cId="3069625997" sldId="230717651"/>
            <ac:cxnSpMk id="113" creationId="{1E6E7BF2-796F-4EBB-9302-C3A7D571CC0D}"/>
          </ac:cxnSpMkLst>
        </pc:cxnChg>
        <pc:cxnChg chg="mod topLvl">
          <ac:chgData name="Manal El Bakkouri" userId="8b130982-2e3f-4164-b881-fd3a2e4b2453" providerId="ADAL" clId="{4457FA57-250B-44AC-8655-05D46C5A3D8A}" dt="2023-06-06T14:45:50.428" v="13380" actId="165"/>
          <ac:cxnSpMkLst>
            <pc:docMk/>
            <pc:sldMk cId="3069625997" sldId="230717651"/>
            <ac:cxnSpMk id="114" creationId="{B75E0AC9-664B-4AD8-8B7B-6A22454CC18D}"/>
          </ac:cxnSpMkLst>
        </pc:cxnChg>
        <pc:cxnChg chg="mod topLvl">
          <ac:chgData name="Manal El Bakkouri" userId="8b130982-2e3f-4164-b881-fd3a2e4b2453" providerId="ADAL" clId="{4457FA57-250B-44AC-8655-05D46C5A3D8A}" dt="2023-06-06T14:45:50.428" v="13380" actId="165"/>
          <ac:cxnSpMkLst>
            <pc:docMk/>
            <pc:sldMk cId="3069625997" sldId="230717651"/>
            <ac:cxnSpMk id="115" creationId="{095B2AAB-C822-4FC8-B7A6-64ACF0B67093}"/>
          </ac:cxnSpMkLst>
        </pc:cxnChg>
        <pc:cxnChg chg="mod topLvl">
          <ac:chgData name="Manal El Bakkouri" userId="8b130982-2e3f-4164-b881-fd3a2e4b2453" providerId="ADAL" clId="{4457FA57-250B-44AC-8655-05D46C5A3D8A}" dt="2023-06-06T14:45:50.428" v="13380" actId="165"/>
          <ac:cxnSpMkLst>
            <pc:docMk/>
            <pc:sldMk cId="3069625997" sldId="230717651"/>
            <ac:cxnSpMk id="116" creationId="{B3E1AD7E-FAB4-42CD-A061-838B1AC95181}"/>
          </ac:cxnSpMkLst>
        </pc:cxnChg>
        <pc:cxnChg chg="mod">
          <ac:chgData name="Manal El Bakkouri" userId="8b130982-2e3f-4164-b881-fd3a2e4b2453" providerId="ADAL" clId="{4457FA57-250B-44AC-8655-05D46C5A3D8A}" dt="2023-06-06T14:45:50.428" v="13380" actId="165"/>
          <ac:cxnSpMkLst>
            <pc:docMk/>
            <pc:sldMk cId="3069625997" sldId="230717651"/>
            <ac:cxnSpMk id="131" creationId="{7AEDD64B-F6A0-411F-A215-59E360397ED3}"/>
          </ac:cxnSpMkLst>
        </pc:cxnChg>
        <pc:cxnChg chg="mod">
          <ac:chgData name="Manal El Bakkouri" userId="8b130982-2e3f-4164-b881-fd3a2e4b2453" providerId="ADAL" clId="{4457FA57-250B-44AC-8655-05D46C5A3D8A}" dt="2023-06-06T14:45:50.428" v="13380" actId="165"/>
          <ac:cxnSpMkLst>
            <pc:docMk/>
            <pc:sldMk cId="3069625997" sldId="230717651"/>
            <ac:cxnSpMk id="132" creationId="{42476D89-3B9C-4A20-B616-70DF2A170F14}"/>
          </ac:cxnSpMkLst>
        </pc:cxnChg>
        <pc:cxnChg chg="mod">
          <ac:chgData name="Manal El Bakkouri" userId="8b130982-2e3f-4164-b881-fd3a2e4b2453" providerId="ADAL" clId="{4457FA57-250B-44AC-8655-05D46C5A3D8A}" dt="2023-06-06T14:45:50.428" v="13380" actId="165"/>
          <ac:cxnSpMkLst>
            <pc:docMk/>
            <pc:sldMk cId="3069625997" sldId="230717651"/>
            <ac:cxnSpMk id="133" creationId="{2E7C03A8-CDBD-441C-8B57-758728648881}"/>
          </ac:cxnSpMkLst>
        </pc:cxnChg>
        <pc:cxnChg chg="mod">
          <ac:chgData name="Manal El Bakkouri" userId="8b130982-2e3f-4164-b881-fd3a2e4b2453" providerId="ADAL" clId="{4457FA57-250B-44AC-8655-05D46C5A3D8A}" dt="2023-06-06T14:45:50.428" v="13380" actId="165"/>
          <ac:cxnSpMkLst>
            <pc:docMk/>
            <pc:sldMk cId="3069625997" sldId="230717651"/>
            <ac:cxnSpMk id="134" creationId="{45C27306-1E5A-40C3-A4CE-CC2879B71DDC}"/>
          </ac:cxnSpMkLst>
        </pc:cxnChg>
        <pc:cxnChg chg="mod">
          <ac:chgData name="Manal El Bakkouri" userId="8b130982-2e3f-4164-b881-fd3a2e4b2453" providerId="ADAL" clId="{4457FA57-250B-44AC-8655-05D46C5A3D8A}" dt="2023-06-06T14:45:50.428" v="13380" actId="165"/>
          <ac:cxnSpMkLst>
            <pc:docMk/>
            <pc:sldMk cId="3069625997" sldId="230717651"/>
            <ac:cxnSpMk id="135" creationId="{3C9650CE-8A88-4B95-8490-E48504C22BBF}"/>
          </ac:cxnSpMkLst>
        </pc:cxnChg>
        <pc:cxnChg chg="mod">
          <ac:chgData name="Manal El Bakkouri" userId="8b130982-2e3f-4164-b881-fd3a2e4b2453" providerId="ADAL" clId="{4457FA57-250B-44AC-8655-05D46C5A3D8A}" dt="2023-06-06T14:45:50.428" v="13380" actId="165"/>
          <ac:cxnSpMkLst>
            <pc:docMk/>
            <pc:sldMk cId="3069625997" sldId="230717651"/>
            <ac:cxnSpMk id="136" creationId="{ED555D16-EC2E-4544-840C-B7A8A96BC3E6}"/>
          </ac:cxnSpMkLst>
        </pc:cxnChg>
        <pc:cxnChg chg="mod">
          <ac:chgData name="Manal El Bakkouri" userId="8b130982-2e3f-4164-b881-fd3a2e4b2453" providerId="ADAL" clId="{4457FA57-250B-44AC-8655-05D46C5A3D8A}" dt="2023-06-06T14:45:50.428" v="13380" actId="165"/>
          <ac:cxnSpMkLst>
            <pc:docMk/>
            <pc:sldMk cId="3069625997" sldId="230717651"/>
            <ac:cxnSpMk id="137" creationId="{79923987-8152-49E7-A701-CC29BE9203FD}"/>
          </ac:cxnSpMkLst>
        </pc:cxnChg>
        <pc:cxnChg chg="mod topLvl">
          <ac:chgData name="Manal El Bakkouri" userId="8b130982-2e3f-4164-b881-fd3a2e4b2453" providerId="ADAL" clId="{4457FA57-250B-44AC-8655-05D46C5A3D8A}" dt="2023-06-06T14:45:50.428" v="13380" actId="165"/>
          <ac:cxnSpMkLst>
            <pc:docMk/>
            <pc:sldMk cId="3069625997" sldId="230717651"/>
            <ac:cxnSpMk id="138" creationId="{094DC9AC-4CEA-4543-843A-EACEF94A5898}"/>
          </ac:cxnSpMkLst>
        </pc:cxnChg>
        <pc:cxnChg chg="mod">
          <ac:chgData name="Manal El Bakkouri" userId="8b130982-2e3f-4164-b881-fd3a2e4b2453" providerId="ADAL" clId="{4457FA57-250B-44AC-8655-05D46C5A3D8A}" dt="2023-06-06T14:45:50.428" v="13380" actId="165"/>
          <ac:cxnSpMkLst>
            <pc:docMk/>
            <pc:sldMk cId="3069625997" sldId="230717651"/>
            <ac:cxnSpMk id="161" creationId="{7518AE1B-E146-4566-9529-933F9DE87E01}"/>
          </ac:cxnSpMkLst>
        </pc:cxnChg>
        <pc:cxnChg chg="mod">
          <ac:chgData name="Manal El Bakkouri" userId="8b130982-2e3f-4164-b881-fd3a2e4b2453" providerId="ADAL" clId="{4457FA57-250B-44AC-8655-05D46C5A3D8A}" dt="2023-06-06T14:45:50.428" v="13380" actId="165"/>
          <ac:cxnSpMkLst>
            <pc:docMk/>
            <pc:sldMk cId="3069625997" sldId="230717651"/>
            <ac:cxnSpMk id="162" creationId="{9D355EBD-9988-4AB5-8246-86B069C73B73}"/>
          </ac:cxnSpMkLst>
        </pc:cxnChg>
        <pc:cxnChg chg="mod topLvl">
          <ac:chgData name="Manal El Bakkouri" userId="8b130982-2e3f-4164-b881-fd3a2e4b2453" providerId="ADAL" clId="{4457FA57-250B-44AC-8655-05D46C5A3D8A}" dt="2023-06-06T14:45:50.428" v="13380" actId="165"/>
          <ac:cxnSpMkLst>
            <pc:docMk/>
            <pc:sldMk cId="3069625997" sldId="230717651"/>
            <ac:cxnSpMk id="167" creationId="{10A29C1B-9609-4A87-A67F-E0BA614663C8}"/>
          </ac:cxnSpMkLst>
        </pc:cxnChg>
        <pc:cxnChg chg="mod">
          <ac:chgData name="Manal El Bakkouri" userId="8b130982-2e3f-4164-b881-fd3a2e4b2453" providerId="ADAL" clId="{4457FA57-250B-44AC-8655-05D46C5A3D8A}" dt="2023-06-06T14:45:50.428" v="13380" actId="165"/>
          <ac:cxnSpMkLst>
            <pc:docMk/>
            <pc:sldMk cId="3069625997" sldId="230717651"/>
            <ac:cxnSpMk id="169" creationId="{CA548332-D96C-48EA-8266-A216FF9AC707}"/>
          </ac:cxnSpMkLst>
        </pc:cxnChg>
        <pc:cxnChg chg="mod">
          <ac:chgData name="Manal El Bakkouri" userId="8b130982-2e3f-4164-b881-fd3a2e4b2453" providerId="ADAL" clId="{4457FA57-250B-44AC-8655-05D46C5A3D8A}" dt="2023-06-06T14:45:50.428" v="13380" actId="165"/>
          <ac:cxnSpMkLst>
            <pc:docMk/>
            <pc:sldMk cId="3069625997" sldId="230717651"/>
            <ac:cxnSpMk id="170" creationId="{33626955-143E-4462-8CF5-375657A1093F}"/>
          </ac:cxnSpMkLst>
        </pc:cxnChg>
        <pc:cxnChg chg="mod">
          <ac:chgData name="Manal El Bakkouri" userId="8b130982-2e3f-4164-b881-fd3a2e4b2453" providerId="ADAL" clId="{4457FA57-250B-44AC-8655-05D46C5A3D8A}" dt="2023-06-06T14:45:50.428" v="13380" actId="165"/>
          <ac:cxnSpMkLst>
            <pc:docMk/>
            <pc:sldMk cId="3069625997" sldId="230717651"/>
            <ac:cxnSpMk id="172" creationId="{46289570-E29E-4D75-9EB9-6C2A0D6DC3BA}"/>
          </ac:cxnSpMkLst>
        </pc:cxnChg>
        <pc:cxnChg chg="mod">
          <ac:chgData name="Manal El Bakkouri" userId="8b130982-2e3f-4164-b881-fd3a2e4b2453" providerId="ADAL" clId="{4457FA57-250B-44AC-8655-05D46C5A3D8A}" dt="2023-06-06T14:45:50.428" v="13380" actId="165"/>
          <ac:cxnSpMkLst>
            <pc:docMk/>
            <pc:sldMk cId="3069625997" sldId="230717651"/>
            <ac:cxnSpMk id="173" creationId="{3A8810B1-F86C-46C4-8016-CA1B5A52CB1E}"/>
          </ac:cxnSpMkLst>
        </pc:cxnChg>
        <pc:cxnChg chg="mod">
          <ac:chgData name="Manal El Bakkouri" userId="8b130982-2e3f-4164-b881-fd3a2e4b2453" providerId="ADAL" clId="{4457FA57-250B-44AC-8655-05D46C5A3D8A}" dt="2023-06-06T14:45:50.428" v="13380" actId="165"/>
          <ac:cxnSpMkLst>
            <pc:docMk/>
            <pc:sldMk cId="3069625997" sldId="230717651"/>
            <ac:cxnSpMk id="175" creationId="{BB9EAB84-DB06-4FD7-B592-526B72E33B9A}"/>
          </ac:cxnSpMkLst>
        </pc:cxnChg>
        <pc:cxnChg chg="mod">
          <ac:chgData name="Manal El Bakkouri" userId="8b130982-2e3f-4164-b881-fd3a2e4b2453" providerId="ADAL" clId="{4457FA57-250B-44AC-8655-05D46C5A3D8A}" dt="2023-06-06T14:45:50.428" v="13380" actId="165"/>
          <ac:cxnSpMkLst>
            <pc:docMk/>
            <pc:sldMk cId="3069625997" sldId="230717651"/>
            <ac:cxnSpMk id="176" creationId="{C14E4293-BF6A-4862-8770-EF5AD2FE7B6D}"/>
          </ac:cxnSpMkLst>
        </pc:cxnChg>
      </pc:sldChg>
      <pc:sldChg chg="del mod modShow">
        <pc:chgData name="Manal El Bakkouri" userId="8b130982-2e3f-4164-b881-fd3a2e4b2453" providerId="ADAL" clId="{4457FA57-250B-44AC-8655-05D46C5A3D8A}" dt="2023-06-06T08:38:32.661" v="8807" actId="2696"/>
        <pc:sldMkLst>
          <pc:docMk/>
          <pc:sldMk cId="3670059666" sldId="230717652"/>
        </pc:sldMkLst>
      </pc:sldChg>
      <pc:sldChg chg="addSp delSp modSp del mod modNotesTx">
        <pc:chgData name="Manal El Bakkouri" userId="8b130982-2e3f-4164-b881-fd3a2e4b2453" providerId="ADAL" clId="{4457FA57-250B-44AC-8655-05D46C5A3D8A}" dt="2023-06-06T09:01:07.419" v="8891" actId="2696"/>
        <pc:sldMkLst>
          <pc:docMk/>
          <pc:sldMk cId="1945816871" sldId="230717653"/>
        </pc:sldMkLst>
        <pc:spChg chg="del">
          <ac:chgData name="Manal El Bakkouri" userId="8b130982-2e3f-4164-b881-fd3a2e4b2453" providerId="ADAL" clId="{4457FA57-250B-44AC-8655-05D46C5A3D8A}" dt="2023-06-01T11:02:05.674" v="890" actId="478"/>
          <ac:spMkLst>
            <pc:docMk/>
            <pc:sldMk cId="1945816871" sldId="230717653"/>
            <ac:spMk id="8" creationId="{5DED022B-3E65-4AF1-B640-3FFA109E1905}"/>
          </ac:spMkLst>
        </pc:spChg>
        <pc:spChg chg="del">
          <ac:chgData name="Manal El Bakkouri" userId="8b130982-2e3f-4164-b881-fd3a2e4b2453" providerId="ADAL" clId="{4457FA57-250B-44AC-8655-05D46C5A3D8A}" dt="2023-06-01T11:02:05.674" v="890" actId="478"/>
          <ac:spMkLst>
            <pc:docMk/>
            <pc:sldMk cId="1945816871" sldId="230717653"/>
            <ac:spMk id="9" creationId="{23EAC584-EC06-41B8-89BB-119F6FFABA79}"/>
          </ac:spMkLst>
        </pc:spChg>
        <pc:spChg chg="del">
          <ac:chgData name="Manal El Bakkouri" userId="8b130982-2e3f-4164-b881-fd3a2e4b2453" providerId="ADAL" clId="{4457FA57-250B-44AC-8655-05D46C5A3D8A}" dt="2023-06-01T11:02:05.674" v="890" actId="478"/>
          <ac:spMkLst>
            <pc:docMk/>
            <pc:sldMk cId="1945816871" sldId="230717653"/>
            <ac:spMk id="10" creationId="{9DC69718-9F54-4E07-B670-B8F78CAE467E}"/>
          </ac:spMkLst>
        </pc:spChg>
        <pc:spChg chg="del">
          <ac:chgData name="Manal El Bakkouri" userId="8b130982-2e3f-4164-b881-fd3a2e4b2453" providerId="ADAL" clId="{4457FA57-250B-44AC-8655-05D46C5A3D8A}" dt="2023-06-01T11:02:05.674" v="890" actId="478"/>
          <ac:spMkLst>
            <pc:docMk/>
            <pc:sldMk cId="1945816871" sldId="230717653"/>
            <ac:spMk id="11" creationId="{645AB11B-C90C-4290-B4DE-6D5C29A0D3FD}"/>
          </ac:spMkLst>
        </pc:spChg>
        <pc:spChg chg="del">
          <ac:chgData name="Manal El Bakkouri" userId="8b130982-2e3f-4164-b881-fd3a2e4b2453" providerId="ADAL" clId="{4457FA57-250B-44AC-8655-05D46C5A3D8A}" dt="2023-06-01T11:02:05.674" v="890" actId="478"/>
          <ac:spMkLst>
            <pc:docMk/>
            <pc:sldMk cId="1945816871" sldId="230717653"/>
            <ac:spMk id="12" creationId="{EB057D3F-2809-45E6-B22C-33B58F924DFE}"/>
          </ac:spMkLst>
        </pc:spChg>
        <pc:spChg chg="del">
          <ac:chgData name="Manal El Bakkouri" userId="8b130982-2e3f-4164-b881-fd3a2e4b2453" providerId="ADAL" clId="{4457FA57-250B-44AC-8655-05D46C5A3D8A}" dt="2023-06-01T11:02:05.674" v="890" actId="478"/>
          <ac:spMkLst>
            <pc:docMk/>
            <pc:sldMk cId="1945816871" sldId="230717653"/>
            <ac:spMk id="13" creationId="{C3BA4198-280A-4AB7-AEC9-4F40946EB013}"/>
          </ac:spMkLst>
        </pc:spChg>
        <pc:spChg chg="del">
          <ac:chgData name="Manal El Bakkouri" userId="8b130982-2e3f-4164-b881-fd3a2e4b2453" providerId="ADAL" clId="{4457FA57-250B-44AC-8655-05D46C5A3D8A}" dt="2023-06-01T11:02:05.674" v="890" actId="478"/>
          <ac:spMkLst>
            <pc:docMk/>
            <pc:sldMk cId="1945816871" sldId="230717653"/>
            <ac:spMk id="14" creationId="{47C2461D-FDEF-488E-80AE-4D437A053E75}"/>
          </ac:spMkLst>
        </pc:spChg>
        <pc:spChg chg="del">
          <ac:chgData name="Manal El Bakkouri" userId="8b130982-2e3f-4164-b881-fd3a2e4b2453" providerId="ADAL" clId="{4457FA57-250B-44AC-8655-05D46C5A3D8A}" dt="2023-06-01T11:02:05.674" v="890" actId="478"/>
          <ac:spMkLst>
            <pc:docMk/>
            <pc:sldMk cId="1945816871" sldId="230717653"/>
            <ac:spMk id="15" creationId="{17C55DFA-2E17-48F8-AAF6-363FA0B884EE}"/>
          </ac:spMkLst>
        </pc:spChg>
        <pc:spChg chg="del">
          <ac:chgData name="Manal El Bakkouri" userId="8b130982-2e3f-4164-b881-fd3a2e4b2453" providerId="ADAL" clId="{4457FA57-250B-44AC-8655-05D46C5A3D8A}" dt="2023-06-01T11:02:05.674" v="890" actId="478"/>
          <ac:spMkLst>
            <pc:docMk/>
            <pc:sldMk cId="1945816871" sldId="230717653"/>
            <ac:spMk id="16" creationId="{8EA5C80A-71C9-4896-9787-A128469FC8B9}"/>
          </ac:spMkLst>
        </pc:spChg>
        <pc:spChg chg="add mod">
          <ac:chgData name="Manal El Bakkouri" userId="8b130982-2e3f-4164-b881-fd3a2e4b2453" providerId="ADAL" clId="{4457FA57-250B-44AC-8655-05D46C5A3D8A}" dt="2023-06-01T11:02:06.979" v="891"/>
          <ac:spMkLst>
            <pc:docMk/>
            <pc:sldMk cId="1945816871" sldId="230717653"/>
            <ac:spMk id="19" creationId="{28C3C8FD-96D8-4659-8439-9C0C2B4750DA}"/>
          </ac:spMkLst>
        </pc:spChg>
        <pc:spChg chg="add mod">
          <ac:chgData name="Manal El Bakkouri" userId="8b130982-2e3f-4164-b881-fd3a2e4b2453" providerId="ADAL" clId="{4457FA57-250B-44AC-8655-05D46C5A3D8A}" dt="2023-06-01T11:02:06.979" v="891"/>
          <ac:spMkLst>
            <pc:docMk/>
            <pc:sldMk cId="1945816871" sldId="230717653"/>
            <ac:spMk id="21" creationId="{B4D811F0-ECFB-49F9-AA9A-E43972AF1B3E}"/>
          </ac:spMkLst>
        </pc:spChg>
        <pc:spChg chg="add mod">
          <ac:chgData name="Manal El Bakkouri" userId="8b130982-2e3f-4164-b881-fd3a2e4b2453" providerId="ADAL" clId="{4457FA57-250B-44AC-8655-05D46C5A3D8A}" dt="2023-06-01T11:02:06.979" v="891"/>
          <ac:spMkLst>
            <pc:docMk/>
            <pc:sldMk cId="1945816871" sldId="230717653"/>
            <ac:spMk id="23" creationId="{72BF6169-3A6C-45D3-BC15-C3F561835216}"/>
          </ac:spMkLst>
        </pc:spChg>
        <pc:spChg chg="add mod">
          <ac:chgData name="Manal El Bakkouri" userId="8b130982-2e3f-4164-b881-fd3a2e4b2453" providerId="ADAL" clId="{4457FA57-250B-44AC-8655-05D46C5A3D8A}" dt="2023-06-01T11:02:06.979" v="891"/>
          <ac:spMkLst>
            <pc:docMk/>
            <pc:sldMk cId="1945816871" sldId="230717653"/>
            <ac:spMk id="25" creationId="{EEB53F8C-4E7B-46EF-898A-98310B59BCF3}"/>
          </ac:spMkLst>
        </pc:spChg>
        <pc:spChg chg="add del mod">
          <ac:chgData name="Manal El Bakkouri" userId="8b130982-2e3f-4164-b881-fd3a2e4b2453" providerId="ADAL" clId="{4457FA57-250B-44AC-8655-05D46C5A3D8A}" dt="2023-06-06T08:38:54.495" v="8810" actId="478"/>
          <ac:spMkLst>
            <pc:docMk/>
            <pc:sldMk cId="1945816871" sldId="230717653"/>
            <ac:spMk id="26" creationId="{E2E9B84F-E7BE-4967-A488-9EB1D740F5C5}"/>
          </ac:spMkLst>
        </pc:spChg>
        <pc:spChg chg="add mod">
          <ac:chgData name="Manal El Bakkouri" userId="8b130982-2e3f-4164-b881-fd3a2e4b2453" providerId="ADAL" clId="{4457FA57-250B-44AC-8655-05D46C5A3D8A}" dt="2023-06-01T11:02:06.979" v="891"/>
          <ac:spMkLst>
            <pc:docMk/>
            <pc:sldMk cId="1945816871" sldId="230717653"/>
            <ac:spMk id="27" creationId="{71197AF0-36B3-418F-9695-39DFE3924C2F}"/>
          </ac:spMkLst>
        </pc:spChg>
        <pc:spChg chg="add mod">
          <ac:chgData name="Manal El Bakkouri" userId="8b130982-2e3f-4164-b881-fd3a2e4b2453" providerId="ADAL" clId="{4457FA57-250B-44AC-8655-05D46C5A3D8A}" dt="2023-06-01T11:02:06.979" v="891"/>
          <ac:spMkLst>
            <pc:docMk/>
            <pc:sldMk cId="1945816871" sldId="230717653"/>
            <ac:spMk id="28" creationId="{D9A2EF53-5692-42E2-945B-B2CC41D3C7E8}"/>
          </ac:spMkLst>
        </pc:spChg>
        <pc:spChg chg="add mod">
          <ac:chgData name="Manal El Bakkouri" userId="8b130982-2e3f-4164-b881-fd3a2e4b2453" providerId="ADAL" clId="{4457FA57-250B-44AC-8655-05D46C5A3D8A}" dt="2023-06-04T13:10:37.137" v="7658"/>
          <ac:spMkLst>
            <pc:docMk/>
            <pc:sldMk cId="1945816871" sldId="230717653"/>
            <ac:spMk id="29" creationId="{1B7DEC1D-7248-406F-AA4A-B302E77F96AC}"/>
          </ac:spMkLst>
        </pc:spChg>
        <pc:spChg chg="del">
          <ac:chgData name="Manal El Bakkouri" userId="8b130982-2e3f-4164-b881-fd3a2e4b2453" providerId="ADAL" clId="{4457FA57-250B-44AC-8655-05D46C5A3D8A}" dt="2023-06-01T11:02:05.674" v="890" actId="478"/>
          <ac:spMkLst>
            <pc:docMk/>
            <pc:sldMk cId="1945816871" sldId="230717653"/>
            <ac:spMk id="29" creationId="{8D782070-1215-4C9F-83F8-7042D56BC9A7}"/>
          </ac:spMkLst>
        </pc:spChg>
        <pc:spChg chg="add mod">
          <ac:chgData name="Manal El Bakkouri" userId="8b130982-2e3f-4164-b881-fd3a2e4b2453" providerId="ADAL" clId="{4457FA57-250B-44AC-8655-05D46C5A3D8A}" dt="2023-06-01T11:02:06.979" v="891"/>
          <ac:spMkLst>
            <pc:docMk/>
            <pc:sldMk cId="1945816871" sldId="230717653"/>
            <ac:spMk id="31" creationId="{9EA4483C-B148-476B-8DD0-3B7CA2B535AC}"/>
          </ac:spMkLst>
        </pc:spChg>
        <pc:spChg chg="add del mod">
          <ac:chgData name="Manal El Bakkouri" userId="8b130982-2e3f-4164-b881-fd3a2e4b2453" providerId="ADAL" clId="{4457FA57-250B-44AC-8655-05D46C5A3D8A}" dt="2023-06-06T08:38:54.495" v="8810" actId="478"/>
          <ac:spMkLst>
            <pc:docMk/>
            <pc:sldMk cId="1945816871" sldId="230717653"/>
            <ac:spMk id="32" creationId="{00E493B1-8F16-458C-99C5-0219C53AF3A3}"/>
          </ac:spMkLst>
        </pc:spChg>
        <pc:spChg chg="add mod">
          <ac:chgData name="Manal El Bakkouri" userId="8b130982-2e3f-4164-b881-fd3a2e4b2453" providerId="ADAL" clId="{4457FA57-250B-44AC-8655-05D46C5A3D8A}" dt="2023-06-01T11:02:06.979" v="891"/>
          <ac:spMkLst>
            <pc:docMk/>
            <pc:sldMk cId="1945816871" sldId="230717653"/>
            <ac:spMk id="33" creationId="{5275914D-2321-4CC9-8DF5-6E7ED11D83DF}"/>
          </ac:spMkLst>
        </pc:spChg>
        <pc:spChg chg="add mod">
          <ac:chgData name="Manal El Bakkouri" userId="8b130982-2e3f-4164-b881-fd3a2e4b2453" providerId="ADAL" clId="{4457FA57-250B-44AC-8655-05D46C5A3D8A}" dt="2023-06-01T11:02:06.979" v="891"/>
          <ac:spMkLst>
            <pc:docMk/>
            <pc:sldMk cId="1945816871" sldId="230717653"/>
            <ac:spMk id="34" creationId="{84F4F52F-8477-41EF-8F94-2CF189B175D0}"/>
          </ac:spMkLst>
        </pc:spChg>
        <pc:spChg chg="add mod">
          <ac:chgData name="Manal El Bakkouri" userId="8b130982-2e3f-4164-b881-fd3a2e4b2453" providerId="ADAL" clId="{4457FA57-250B-44AC-8655-05D46C5A3D8A}" dt="2023-06-01T11:02:06.979" v="891"/>
          <ac:spMkLst>
            <pc:docMk/>
            <pc:sldMk cId="1945816871" sldId="230717653"/>
            <ac:spMk id="35" creationId="{D4386C34-F202-482E-9245-FFFC79F18E61}"/>
          </ac:spMkLst>
        </pc:spChg>
        <pc:spChg chg="add mod">
          <ac:chgData name="Manal El Bakkouri" userId="8b130982-2e3f-4164-b881-fd3a2e4b2453" providerId="ADAL" clId="{4457FA57-250B-44AC-8655-05D46C5A3D8A}" dt="2023-06-01T11:02:06.979" v="891"/>
          <ac:spMkLst>
            <pc:docMk/>
            <pc:sldMk cId="1945816871" sldId="230717653"/>
            <ac:spMk id="36" creationId="{08C5A552-88A0-4A05-AE04-F889AA713E51}"/>
          </ac:spMkLst>
        </pc:spChg>
        <pc:spChg chg="add mod">
          <ac:chgData name="Manal El Bakkouri" userId="8b130982-2e3f-4164-b881-fd3a2e4b2453" providerId="ADAL" clId="{4457FA57-250B-44AC-8655-05D46C5A3D8A}" dt="2023-06-06T08:38:56.576" v="8811"/>
          <ac:spMkLst>
            <pc:docMk/>
            <pc:sldMk cId="1945816871" sldId="230717653"/>
            <ac:spMk id="37" creationId="{DD67FB8E-7FF9-49AE-9BFF-C4B8E46CECB0}"/>
          </ac:spMkLst>
        </pc:spChg>
        <pc:spChg chg="add mod">
          <ac:chgData name="Manal El Bakkouri" userId="8b130982-2e3f-4164-b881-fd3a2e4b2453" providerId="ADAL" clId="{4457FA57-250B-44AC-8655-05D46C5A3D8A}" dt="2023-06-06T08:38:56.576" v="8811"/>
          <ac:spMkLst>
            <pc:docMk/>
            <pc:sldMk cId="1945816871" sldId="230717653"/>
            <ac:spMk id="38" creationId="{950635A0-F36A-40A5-8206-BCA978F5D1A3}"/>
          </ac:spMkLst>
        </pc:spChg>
      </pc:sldChg>
      <pc:sldChg chg="addSp delSp modSp mod modTransition modNotesTx">
        <pc:chgData name="Manal El Bakkouri" userId="8b130982-2e3f-4164-b881-fd3a2e4b2453" providerId="ADAL" clId="{4457FA57-250B-44AC-8655-05D46C5A3D8A}" dt="2023-06-09T11:27:40.140" v="21728"/>
        <pc:sldMkLst>
          <pc:docMk/>
          <pc:sldMk cId="2547338931" sldId="230717654"/>
        </pc:sldMkLst>
        <pc:spChg chg="del">
          <ac:chgData name="Manal El Bakkouri" userId="8b130982-2e3f-4164-b881-fd3a2e4b2453" providerId="ADAL" clId="{4457FA57-250B-44AC-8655-05D46C5A3D8A}" dt="2023-06-01T11:01:13.321" v="880" actId="478"/>
          <ac:spMkLst>
            <pc:docMk/>
            <pc:sldMk cId="2547338931" sldId="230717654"/>
            <ac:spMk id="8" creationId="{5DED022B-3E65-4AF1-B640-3FFA109E1905}"/>
          </ac:spMkLst>
        </pc:spChg>
        <pc:spChg chg="del">
          <ac:chgData name="Manal El Bakkouri" userId="8b130982-2e3f-4164-b881-fd3a2e4b2453" providerId="ADAL" clId="{4457FA57-250B-44AC-8655-05D46C5A3D8A}" dt="2023-06-01T11:01:13.321" v="880" actId="478"/>
          <ac:spMkLst>
            <pc:docMk/>
            <pc:sldMk cId="2547338931" sldId="230717654"/>
            <ac:spMk id="9" creationId="{23EAC584-EC06-41B8-89BB-119F6FFABA79}"/>
          </ac:spMkLst>
        </pc:spChg>
        <pc:spChg chg="del">
          <ac:chgData name="Manal El Bakkouri" userId="8b130982-2e3f-4164-b881-fd3a2e4b2453" providerId="ADAL" clId="{4457FA57-250B-44AC-8655-05D46C5A3D8A}" dt="2023-06-01T11:01:13.321" v="880" actId="478"/>
          <ac:spMkLst>
            <pc:docMk/>
            <pc:sldMk cId="2547338931" sldId="230717654"/>
            <ac:spMk id="10" creationId="{9DC69718-9F54-4E07-B670-B8F78CAE467E}"/>
          </ac:spMkLst>
        </pc:spChg>
        <pc:spChg chg="del">
          <ac:chgData name="Manal El Bakkouri" userId="8b130982-2e3f-4164-b881-fd3a2e4b2453" providerId="ADAL" clId="{4457FA57-250B-44AC-8655-05D46C5A3D8A}" dt="2023-06-01T11:01:13.321" v="880" actId="478"/>
          <ac:spMkLst>
            <pc:docMk/>
            <pc:sldMk cId="2547338931" sldId="230717654"/>
            <ac:spMk id="11" creationId="{645AB11B-C90C-4290-B4DE-6D5C29A0D3FD}"/>
          </ac:spMkLst>
        </pc:spChg>
        <pc:spChg chg="del">
          <ac:chgData name="Manal El Bakkouri" userId="8b130982-2e3f-4164-b881-fd3a2e4b2453" providerId="ADAL" clId="{4457FA57-250B-44AC-8655-05D46C5A3D8A}" dt="2023-06-01T11:01:13.321" v="880" actId="478"/>
          <ac:spMkLst>
            <pc:docMk/>
            <pc:sldMk cId="2547338931" sldId="230717654"/>
            <ac:spMk id="12" creationId="{EB057D3F-2809-45E6-B22C-33B58F924DFE}"/>
          </ac:spMkLst>
        </pc:spChg>
        <pc:spChg chg="del">
          <ac:chgData name="Manal El Bakkouri" userId="8b130982-2e3f-4164-b881-fd3a2e4b2453" providerId="ADAL" clId="{4457FA57-250B-44AC-8655-05D46C5A3D8A}" dt="2023-06-01T11:01:13.321" v="880" actId="478"/>
          <ac:spMkLst>
            <pc:docMk/>
            <pc:sldMk cId="2547338931" sldId="230717654"/>
            <ac:spMk id="13" creationId="{C3BA4198-280A-4AB7-AEC9-4F40946EB013}"/>
          </ac:spMkLst>
        </pc:spChg>
        <pc:spChg chg="del">
          <ac:chgData name="Manal El Bakkouri" userId="8b130982-2e3f-4164-b881-fd3a2e4b2453" providerId="ADAL" clId="{4457FA57-250B-44AC-8655-05D46C5A3D8A}" dt="2023-06-01T11:01:13.321" v="880" actId="478"/>
          <ac:spMkLst>
            <pc:docMk/>
            <pc:sldMk cId="2547338931" sldId="230717654"/>
            <ac:spMk id="14" creationId="{47C2461D-FDEF-488E-80AE-4D437A053E75}"/>
          </ac:spMkLst>
        </pc:spChg>
        <pc:spChg chg="del">
          <ac:chgData name="Manal El Bakkouri" userId="8b130982-2e3f-4164-b881-fd3a2e4b2453" providerId="ADAL" clId="{4457FA57-250B-44AC-8655-05D46C5A3D8A}" dt="2023-06-01T11:01:13.321" v="880" actId="478"/>
          <ac:spMkLst>
            <pc:docMk/>
            <pc:sldMk cId="2547338931" sldId="230717654"/>
            <ac:spMk id="15" creationId="{17C55DFA-2E17-48F8-AAF6-363FA0B884EE}"/>
          </ac:spMkLst>
        </pc:spChg>
        <pc:spChg chg="del">
          <ac:chgData name="Manal El Bakkouri" userId="8b130982-2e3f-4164-b881-fd3a2e4b2453" providerId="ADAL" clId="{4457FA57-250B-44AC-8655-05D46C5A3D8A}" dt="2023-06-01T11:01:13.321" v="880" actId="478"/>
          <ac:spMkLst>
            <pc:docMk/>
            <pc:sldMk cId="2547338931" sldId="230717654"/>
            <ac:spMk id="16" creationId="{8EA5C80A-71C9-4896-9787-A128469FC8B9}"/>
          </ac:spMkLst>
        </pc:spChg>
        <pc:spChg chg="mod">
          <ac:chgData name="Manal El Bakkouri" userId="8b130982-2e3f-4164-b881-fd3a2e4b2453" providerId="ADAL" clId="{4457FA57-250B-44AC-8655-05D46C5A3D8A}" dt="2023-06-06T10:16:14.197" v="9515" actId="403"/>
          <ac:spMkLst>
            <pc:docMk/>
            <pc:sldMk cId="2547338931" sldId="230717654"/>
            <ac:spMk id="36" creationId="{2B07480A-2612-4BE2-9A40-034181877038}"/>
          </ac:spMkLst>
        </pc:spChg>
        <pc:spChg chg="mod">
          <ac:chgData name="Manal El Bakkouri" userId="8b130982-2e3f-4164-b881-fd3a2e4b2453" providerId="ADAL" clId="{4457FA57-250B-44AC-8655-05D46C5A3D8A}" dt="2023-06-06T10:16:17.373" v="9516" actId="403"/>
          <ac:spMkLst>
            <pc:docMk/>
            <pc:sldMk cId="2547338931" sldId="230717654"/>
            <ac:spMk id="38" creationId="{D229CA3B-D4D6-45DB-B46E-0B491D15C266}"/>
          </ac:spMkLst>
        </pc:spChg>
        <pc:spChg chg="mod">
          <ac:chgData name="Manal El Bakkouri" userId="8b130982-2e3f-4164-b881-fd3a2e4b2453" providerId="ADAL" clId="{4457FA57-250B-44AC-8655-05D46C5A3D8A}" dt="2023-06-06T10:16:24.389" v="9518" actId="113"/>
          <ac:spMkLst>
            <pc:docMk/>
            <pc:sldMk cId="2547338931" sldId="230717654"/>
            <ac:spMk id="40" creationId="{4DF41847-9BA4-4A1F-9391-1C845978DAA1}"/>
          </ac:spMkLst>
        </pc:spChg>
        <pc:spChg chg="add del mod">
          <ac:chgData name="Manal El Bakkouri" userId="8b130982-2e3f-4164-b881-fd3a2e4b2453" providerId="ADAL" clId="{4457FA57-250B-44AC-8655-05D46C5A3D8A}" dt="2023-06-09T11:27:39.846" v="21727" actId="478"/>
          <ac:spMkLst>
            <pc:docMk/>
            <pc:sldMk cId="2547338931" sldId="230717654"/>
            <ac:spMk id="42" creationId="{A64C7408-49A6-4C3E-99BB-C931B1351638}"/>
          </ac:spMkLst>
        </pc:spChg>
        <pc:spChg chg="add del mod">
          <ac:chgData name="Manal El Bakkouri" userId="8b130982-2e3f-4164-b881-fd3a2e4b2453" providerId="ADAL" clId="{4457FA57-250B-44AC-8655-05D46C5A3D8A}" dt="2023-06-09T11:27:39.846" v="21727" actId="478"/>
          <ac:spMkLst>
            <pc:docMk/>
            <pc:sldMk cId="2547338931" sldId="230717654"/>
            <ac:spMk id="45" creationId="{408C8D92-08B3-4B61-A0CD-13080857796B}"/>
          </ac:spMkLst>
        </pc:spChg>
        <pc:spChg chg="add del mod">
          <ac:chgData name="Manal El Bakkouri" userId="8b130982-2e3f-4164-b881-fd3a2e4b2453" providerId="ADAL" clId="{4457FA57-250B-44AC-8655-05D46C5A3D8A}" dt="2023-06-09T11:27:39.846" v="21727" actId="478"/>
          <ac:spMkLst>
            <pc:docMk/>
            <pc:sldMk cId="2547338931" sldId="230717654"/>
            <ac:spMk id="47" creationId="{50567FD5-B65B-4FC4-B0C8-4197E71F7081}"/>
          </ac:spMkLst>
        </pc:spChg>
        <pc:spChg chg="del">
          <ac:chgData name="Manal El Bakkouri" userId="8b130982-2e3f-4164-b881-fd3a2e4b2453" providerId="ADAL" clId="{4457FA57-250B-44AC-8655-05D46C5A3D8A}" dt="2023-06-01T11:01:13.321" v="880" actId="478"/>
          <ac:spMkLst>
            <pc:docMk/>
            <pc:sldMk cId="2547338931" sldId="230717654"/>
            <ac:spMk id="59" creationId="{12C9E5EA-D1B0-408A-84AD-92BF11BD9887}"/>
          </ac:spMkLst>
        </pc:spChg>
        <pc:spChg chg="add mod">
          <ac:chgData name="Manal El Bakkouri" userId="8b130982-2e3f-4164-b881-fd3a2e4b2453" providerId="ADAL" clId="{4457FA57-250B-44AC-8655-05D46C5A3D8A}" dt="2023-06-04T13:10:32.237" v="7657" actId="20577"/>
          <ac:spMkLst>
            <pc:docMk/>
            <pc:sldMk cId="2547338931" sldId="230717654"/>
            <ac:spMk id="59" creationId="{E3B8D699-77F4-4013-AA67-953BABCB5193}"/>
          </ac:spMkLst>
        </pc:spChg>
        <pc:spChg chg="add del mod">
          <ac:chgData name="Manal El Bakkouri" userId="8b130982-2e3f-4164-b881-fd3a2e4b2453" providerId="ADAL" clId="{4457FA57-250B-44AC-8655-05D46C5A3D8A}" dt="2023-06-07T10:00:00.673" v="17588" actId="478"/>
          <ac:spMkLst>
            <pc:docMk/>
            <pc:sldMk cId="2547338931" sldId="230717654"/>
            <ac:spMk id="61" creationId="{DC34440A-5105-449E-A8F6-18365D73F0D3}"/>
          </ac:spMkLst>
        </pc:spChg>
        <pc:spChg chg="add del mod">
          <ac:chgData name="Manal El Bakkouri" userId="8b130982-2e3f-4164-b881-fd3a2e4b2453" providerId="ADAL" clId="{4457FA57-250B-44AC-8655-05D46C5A3D8A}" dt="2023-06-06T08:38:41.861" v="8808" actId="478"/>
          <ac:spMkLst>
            <pc:docMk/>
            <pc:sldMk cId="2547338931" sldId="230717654"/>
            <ac:spMk id="62" creationId="{D2EEE830-B2F6-44E5-A1F7-823C3C5289A9}"/>
          </ac:spMkLst>
        </pc:spChg>
        <pc:spChg chg="mod">
          <ac:chgData name="Manal El Bakkouri" userId="8b130982-2e3f-4164-b881-fd3a2e4b2453" providerId="ADAL" clId="{4457FA57-250B-44AC-8655-05D46C5A3D8A}" dt="2023-06-09T11:09:09.460" v="21531" actId="207"/>
          <ac:spMkLst>
            <pc:docMk/>
            <pc:sldMk cId="2547338931" sldId="230717654"/>
            <ac:spMk id="62" creationId="{EEC0EEA8-101A-4542-96DC-D43BDFFAE320}"/>
          </ac:spMkLst>
        </pc:spChg>
        <pc:spChg chg="add del mod">
          <ac:chgData name="Manal El Bakkouri" userId="8b130982-2e3f-4164-b881-fd3a2e4b2453" providerId="ADAL" clId="{4457FA57-250B-44AC-8655-05D46C5A3D8A}" dt="2023-06-07T10:00:00.673" v="17588" actId="478"/>
          <ac:spMkLst>
            <pc:docMk/>
            <pc:sldMk cId="2547338931" sldId="230717654"/>
            <ac:spMk id="63" creationId="{CD634BF4-A42B-4E33-B1C2-82DE0979F488}"/>
          </ac:spMkLst>
        </pc:spChg>
        <pc:spChg chg="mod">
          <ac:chgData name="Manal El Bakkouri" userId="8b130982-2e3f-4164-b881-fd3a2e4b2453" providerId="ADAL" clId="{4457FA57-250B-44AC-8655-05D46C5A3D8A}" dt="2023-06-09T11:09:14.946" v="21533" actId="113"/>
          <ac:spMkLst>
            <pc:docMk/>
            <pc:sldMk cId="2547338931" sldId="230717654"/>
            <ac:spMk id="63" creationId="{E8D976E7-9325-4673-9701-DCF85DB2E0FF}"/>
          </ac:spMkLst>
        </pc:spChg>
        <pc:spChg chg="add del mod">
          <ac:chgData name="Manal El Bakkouri" userId="8b130982-2e3f-4164-b881-fd3a2e4b2453" providerId="ADAL" clId="{4457FA57-250B-44AC-8655-05D46C5A3D8A}" dt="2023-06-07T10:00:00.673" v="17588" actId="478"/>
          <ac:spMkLst>
            <pc:docMk/>
            <pc:sldMk cId="2547338931" sldId="230717654"/>
            <ac:spMk id="64" creationId="{0BC6162E-87CC-4975-8AC3-B1C4E75A1FCD}"/>
          </ac:spMkLst>
        </pc:spChg>
        <pc:spChg chg="add del mod">
          <ac:chgData name="Manal El Bakkouri" userId="8b130982-2e3f-4164-b881-fd3a2e4b2453" providerId="ADAL" clId="{4457FA57-250B-44AC-8655-05D46C5A3D8A}" dt="2023-06-07T10:00:00.673" v="17588" actId="478"/>
          <ac:spMkLst>
            <pc:docMk/>
            <pc:sldMk cId="2547338931" sldId="230717654"/>
            <ac:spMk id="65" creationId="{0DED4506-E850-4EDF-8E57-6CDA06ECCD31}"/>
          </ac:spMkLst>
        </pc:spChg>
        <pc:spChg chg="mod">
          <ac:chgData name="Manal El Bakkouri" userId="8b130982-2e3f-4164-b881-fd3a2e4b2453" providerId="ADAL" clId="{4457FA57-250B-44AC-8655-05D46C5A3D8A}" dt="2023-06-09T11:08:57.374" v="21528"/>
          <ac:spMkLst>
            <pc:docMk/>
            <pc:sldMk cId="2547338931" sldId="230717654"/>
            <ac:spMk id="65" creationId="{70295FF4-9C6C-4504-81AF-8DC9374DCE8B}"/>
          </ac:spMkLst>
        </pc:spChg>
        <pc:spChg chg="mod">
          <ac:chgData name="Manal El Bakkouri" userId="8b130982-2e3f-4164-b881-fd3a2e4b2453" providerId="ADAL" clId="{4457FA57-250B-44AC-8655-05D46C5A3D8A}" dt="2023-06-09T11:08:57.374" v="21528"/>
          <ac:spMkLst>
            <pc:docMk/>
            <pc:sldMk cId="2547338931" sldId="230717654"/>
            <ac:spMk id="66" creationId="{137C3BBE-C01D-4748-A0F0-B677B83BD60B}"/>
          </ac:spMkLst>
        </pc:spChg>
        <pc:spChg chg="add del mod">
          <ac:chgData name="Manal El Bakkouri" userId="8b130982-2e3f-4164-b881-fd3a2e4b2453" providerId="ADAL" clId="{4457FA57-250B-44AC-8655-05D46C5A3D8A}" dt="2023-06-06T08:38:41.861" v="8808" actId="478"/>
          <ac:spMkLst>
            <pc:docMk/>
            <pc:sldMk cId="2547338931" sldId="230717654"/>
            <ac:spMk id="66" creationId="{55737ECF-21A9-4189-B0F9-AA68F15A7BEA}"/>
          </ac:spMkLst>
        </pc:spChg>
        <pc:spChg chg="add del mod">
          <ac:chgData name="Manal El Bakkouri" userId="8b130982-2e3f-4164-b881-fd3a2e4b2453" providerId="ADAL" clId="{4457FA57-250B-44AC-8655-05D46C5A3D8A}" dt="2023-06-07T10:00:00.673" v="17588" actId="478"/>
          <ac:spMkLst>
            <pc:docMk/>
            <pc:sldMk cId="2547338931" sldId="230717654"/>
            <ac:spMk id="67" creationId="{C2E676D3-7044-4416-95A3-0BDD568F460D}"/>
          </ac:spMkLst>
        </pc:spChg>
        <pc:spChg chg="add del mod">
          <ac:chgData name="Manal El Bakkouri" userId="8b130982-2e3f-4164-b881-fd3a2e4b2453" providerId="ADAL" clId="{4457FA57-250B-44AC-8655-05D46C5A3D8A}" dt="2023-06-07T10:00:00.673" v="17588" actId="478"/>
          <ac:spMkLst>
            <pc:docMk/>
            <pc:sldMk cId="2547338931" sldId="230717654"/>
            <ac:spMk id="68" creationId="{E5E343C9-AD16-4EA4-89E2-CE2CE015D6E8}"/>
          </ac:spMkLst>
        </pc:spChg>
        <pc:spChg chg="mod">
          <ac:chgData name="Manal El Bakkouri" userId="8b130982-2e3f-4164-b881-fd3a2e4b2453" providerId="ADAL" clId="{4457FA57-250B-44AC-8655-05D46C5A3D8A}" dt="2023-06-09T11:08:57.374" v="21528"/>
          <ac:spMkLst>
            <pc:docMk/>
            <pc:sldMk cId="2547338931" sldId="230717654"/>
            <ac:spMk id="68" creationId="{E73602B3-DEA6-48A5-9306-082993B2ED4E}"/>
          </ac:spMkLst>
        </pc:spChg>
        <pc:spChg chg="mod">
          <ac:chgData name="Manal El Bakkouri" userId="8b130982-2e3f-4164-b881-fd3a2e4b2453" providerId="ADAL" clId="{4457FA57-250B-44AC-8655-05D46C5A3D8A}" dt="2023-06-09T11:08:57.374" v="21528"/>
          <ac:spMkLst>
            <pc:docMk/>
            <pc:sldMk cId="2547338931" sldId="230717654"/>
            <ac:spMk id="69" creationId="{31062983-918A-4B9A-B61C-E2F595BD8F3E}"/>
          </ac:spMkLst>
        </pc:spChg>
        <pc:spChg chg="add del mod">
          <ac:chgData name="Manal El Bakkouri" userId="8b130982-2e3f-4164-b881-fd3a2e4b2453" providerId="ADAL" clId="{4457FA57-250B-44AC-8655-05D46C5A3D8A}" dt="2023-06-07T10:00:00.673" v="17588" actId="478"/>
          <ac:spMkLst>
            <pc:docMk/>
            <pc:sldMk cId="2547338931" sldId="230717654"/>
            <ac:spMk id="69" creationId="{EBD33ADD-FAAA-4E62-973F-7498E56F2256}"/>
          </ac:spMkLst>
        </pc:spChg>
        <pc:spChg chg="add del mod">
          <ac:chgData name="Manal El Bakkouri" userId="8b130982-2e3f-4164-b881-fd3a2e4b2453" providerId="ADAL" clId="{4457FA57-250B-44AC-8655-05D46C5A3D8A}" dt="2023-06-07T10:00:00.673" v="17588" actId="478"/>
          <ac:spMkLst>
            <pc:docMk/>
            <pc:sldMk cId="2547338931" sldId="230717654"/>
            <ac:spMk id="70" creationId="{5D159352-80CA-4E9C-88AB-B5020F0649E1}"/>
          </ac:spMkLst>
        </pc:spChg>
        <pc:spChg chg="add del mod">
          <ac:chgData name="Manal El Bakkouri" userId="8b130982-2e3f-4164-b881-fd3a2e4b2453" providerId="ADAL" clId="{4457FA57-250B-44AC-8655-05D46C5A3D8A}" dt="2023-06-07T10:00:00.673" v="17588" actId="478"/>
          <ac:spMkLst>
            <pc:docMk/>
            <pc:sldMk cId="2547338931" sldId="230717654"/>
            <ac:spMk id="71" creationId="{3776B1AD-70C1-41F9-856E-401FA9523AD6}"/>
          </ac:spMkLst>
        </pc:spChg>
        <pc:spChg chg="mod">
          <ac:chgData name="Manal El Bakkouri" userId="8b130982-2e3f-4164-b881-fd3a2e4b2453" providerId="ADAL" clId="{4457FA57-250B-44AC-8655-05D46C5A3D8A}" dt="2023-06-09T11:08:57.374" v="21528"/>
          <ac:spMkLst>
            <pc:docMk/>
            <pc:sldMk cId="2547338931" sldId="230717654"/>
            <ac:spMk id="71" creationId="{E0A16A3E-9D05-4A76-B37A-5C8D9B925EBA}"/>
          </ac:spMkLst>
        </pc:spChg>
        <pc:spChg chg="mod">
          <ac:chgData name="Manal El Bakkouri" userId="8b130982-2e3f-4164-b881-fd3a2e4b2453" providerId="ADAL" clId="{4457FA57-250B-44AC-8655-05D46C5A3D8A}" dt="2023-06-09T11:08:57.374" v="21528"/>
          <ac:spMkLst>
            <pc:docMk/>
            <pc:sldMk cId="2547338931" sldId="230717654"/>
            <ac:spMk id="72" creationId="{BCD727D0-CC38-4B1E-BAE4-B7E91764C375}"/>
          </ac:spMkLst>
        </pc:spChg>
        <pc:spChg chg="add del mod">
          <ac:chgData name="Manal El Bakkouri" userId="8b130982-2e3f-4164-b881-fd3a2e4b2453" providerId="ADAL" clId="{4457FA57-250B-44AC-8655-05D46C5A3D8A}" dt="2023-06-07T10:00:00.673" v="17588" actId="478"/>
          <ac:spMkLst>
            <pc:docMk/>
            <pc:sldMk cId="2547338931" sldId="230717654"/>
            <ac:spMk id="72" creationId="{E9C39060-E719-4A69-856C-B9621AB4CBB0}"/>
          </ac:spMkLst>
        </pc:spChg>
        <pc:spChg chg="mod">
          <ac:chgData name="Manal El Bakkouri" userId="8b130982-2e3f-4164-b881-fd3a2e4b2453" providerId="ADAL" clId="{4457FA57-250B-44AC-8655-05D46C5A3D8A}" dt="2023-06-07T10:00:01.067" v="17589"/>
          <ac:spMkLst>
            <pc:docMk/>
            <pc:sldMk cId="2547338931" sldId="230717654"/>
            <ac:spMk id="74" creationId="{B73C0C6F-36E2-450B-BA61-DE0C291C5C43}"/>
          </ac:spMkLst>
        </pc:spChg>
        <pc:spChg chg="mod">
          <ac:chgData name="Manal El Bakkouri" userId="8b130982-2e3f-4164-b881-fd3a2e4b2453" providerId="ADAL" clId="{4457FA57-250B-44AC-8655-05D46C5A3D8A}" dt="2023-06-09T11:08:57.374" v="21528"/>
          <ac:spMkLst>
            <pc:docMk/>
            <pc:sldMk cId="2547338931" sldId="230717654"/>
            <ac:spMk id="74" creationId="{C156703B-CF3C-447F-936E-5512C73BAF51}"/>
          </ac:spMkLst>
        </pc:spChg>
        <pc:spChg chg="mod">
          <ac:chgData name="Manal El Bakkouri" userId="8b130982-2e3f-4164-b881-fd3a2e4b2453" providerId="ADAL" clId="{4457FA57-250B-44AC-8655-05D46C5A3D8A}" dt="2023-06-09T11:08:57.374" v="21528"/>
          <ac:spMkLst>
            <pc:docMk/>
            <pc:sldMk cId="2547338931" sldId="230717654"/>
            <ac:spMk id="75" creationId="{5D05B5AE-5929-42A7-B124-CFDD2D60F48D}"/>
          </ac:spMkLst>
        </pc:spChg>
        <pc:spChg chg="mod">
          <ac:chgData name="Manal El Bakkouri" userId="8b130982-2e3f-4164-b881-fd3a2e4b2453" providerId="ADAL" clId="{4457FA57-250B-44AC-8655-05D46C5A3D8A}" dt="2023-06-07T10:00:01.067" v="17589"/>
          <ac:spMkLst>
            <pc:docMk/>
            <pc:sldMk cId="2547338931" sldId="230717654"/>
            <ac:spMk id="75" creationId="{D7C74AA9-704D-40BF-8A24-2BEBE1404686}"/>
          </ac:spMkLst>
        </pc:spChg>
        <pc:spChg chg="mod">
          <ac:chgData name="Manal El Bakkouri" userId="8b130982-2e3f-4164-b881-fd3a2e4b2453" providerId="ADAL" clId="{4457FA57-250B-44AC-8655-05D46C5A3D8A}" dt="2023-06-07T10:03:17.610" v="17620" actId="207"/>
          <ac:spMkLst>
            <pc:docMk/>
            <pc:sldMk cId="2547338931" sldId="230717654"/>
            <ac:spMk id="77" creationId="{49AB44E9-58A9-4652-B1A4-BBED1D728A0C}"/>
          </ac:spMkLst>
        </pc:spChg>
        <pc:spChg chg="mod">
          <ac:chgData name="Manal El Bakkouri" userId="8b130982-2e3f-4164-b881-fd3a2e4b2453" providerId="ADAL" clId="{4457FA57-250B-44AC-8655-05D46C5A3D8A}" dt="2023-06-07T10:03:14.500" v="17619" actId="113"/>
          <ac:spMkLst>
            <pc:docMk/>
            <pc:sldMk cId="2547338931" sldId="230717654"/>
            <ac:spMk id="78" creationId="{893398C9-1214-49B1-B5E0-26C905B5B6AD}"/>
          </ac:spMkLst>
        </pc:spChg>
        <pc:spChg chg="mod">
          <ac:chgData name="Manal El Bakkouri" userId="8b130982-2e3f-4164-b881-fd3a2e4b2453" providerId="ADAL" clId="{4457FA57-250B-44AC-8655-05D46C5A3D8A}" dt="2023-06-07T10:00:01.067" v="17589"/>
          <ac:spMkLst>
            <pc:docMk/>
            <pc:sldMk cId="2547338931" sldId="230717654"/>
            <ac:spMk id="80" creationId="{6C381CE7-C92C-4D53-B126-7105BB67E16E}"/>
          </ac:spMkLst>
        </pc:spChg>
        <pc:spChg chg="mod">
          <ac:chgData name="Manal El Bakkouri" userId="8b130982-2e3f-4164-b881-fd3a2e4b2453" providerId="ADAL" clId="{4457FA57-250B-44AC-8655-05D46C5A3D8A}" dt="2023-06-07T10:00:01.067" v="17589"/>
          <ac:spMkLst>
            <pc:docMk/>
            <pc:sldMk cId="2547338931" sldId="230717654"/>
            <ac:spMk id="81" creationId="{86821DF8-B1D1-4FDE-92A6-DFEB2DDE0E10}"/>
          </ac:spMkLst>
        </pc:spChg>
        <pc:spChg chg="mod">
          <ac:chgData name="Manal El Bakkouri" userId="8b130982-2e3f-4164-b881-fd3a2e4b2453" providerId="ADAL" clId="{4457FA57-250B-44AC-8655-05D46C5A3D8A}" dt="2023-06-07T10:00:01.067" v="17589"/>
          <ac:spMkLst>
            <pc:docMk/>
            <pc:sldMk cId="2547338931" sldId="230717654"/>
            <ac:spMk id="83" creationId="{985F6838-F232-4B06-BCCE-6E2754325668}"/>
          </ac:spMkLst>
        </pc:spChg>
        <pc:spChg chg="mod">
          <ac:chgData name="Manal El Bakkouri" userId="8b130982-2e3f-4164-b881-fd3a2e4b2453" providerId="ADAL" clId="{4457FA57-250B-44AC-8655-05D46C5A3D8A}" dt="2023-06-07T10:00:01.067" v="17589"/>
          <ac:spMkLst>
            <pc:docMk/>
            <pc:sldMk cId="2547338931" sldId="230717654"/>
            <ac:spMk id="84" creationId="{3B85AC74-000E-4DB0-91F5-CBE44E04043A}"/>
          </ac:spMkLst>
        </pc:spChg>
        <pc:spChg chg="mod">
          <ac:chgData name="Manal El Bakkouri" userId="8b130982-2e3f-4164-b881-fd3a2e4b2453" providerId="ADAL" clId="{4457FA57-250B-44AC-8655-05D46C5A3D8A}" dt="2023-06-07T10:00:01.067" v="17589"/>
          <ac:spMkLst>
            <pc:docMk/>
            <pc:sldMk cId="2547338931" sldId="230717654"/>
            <ac:spMk id="86" creationId="{A6BCBE9B-BC13-4CDA-8968-D5F18C3A1F5E}"/>
          </ac:spMkLst>
        </pc:spChg>
        <pc:spChg chg="mod">
          <ac:chgData name="Manal El Bakkouri" userId="8b130982-2e3f-4164-b881-fd3a2e4b2453" providerId="ADAL" clId="{4457FA57-250B-44AC-8655-05D46C5A3D8A}" dt="2023-06-07T10:00:01.067" v="17589"/>
          <ac:spMkLst>
            <pc:docMk/>
            <pc:sldMk cId="2547338931" sldId="230717654"/>
            <ac:spMk id="87" creationId="{A54A178E-3E2F-4EC1-8654-6ED6296477B5}"/>
          </ac:spMkLst>
        </pc:spChg>
        <pc:spChg chg="mod">
          <ac:chgData name="Manal El Bakkouri" userId="8b130982-2e3f-4164-b881-fd3a2e4b2453" providerId="ADAL" clId="{4457FA57-250B-44AC-8655-05D46C5A3D8A}" dt="2023-06-07T10:03:09.791" v="17617"/>
          <ac:spMkLst>
            <pc:docMk/>
            <pc:sldMk cId="2547338931" sldId="230717654"/>
            <ac:spMk id="89" creationId="{5950A70C-7005-4E97-BE14-512A044A4856}"/>
          </ac:spMkLst>
        </pc:spChg>
        <pc:spChg chg="mod">
          <ac:chgData name="Manal El Bakkouri" userId="8b130982-2e3f-4164-b881-fd3a2e4b2453" providerId="ADAL" clId="{4457FA57-250B-44AC-8655-05D46C5A3D8A}" dt="2023-06-07T10:03:09.791" v="17617"/>
          <ac:spMkLst>
            <pc:docMk/>
            <pc:sldMk cId="2547338931" sldId="230717654"/>
            <ac:spMk id="90" creationId="{526AF97F-E1D3-4393-AB53-84DF6D619775}"/>
          </ac:spMkLst>
        </pc:spChg>
        <pc:spChg chg="mod">
          <ac:chgData name="Manal El Bakkouri" userId="8b130982-2e3f-4164-b881-fd3a2e4b2453" providerId="ADAL" clId="{4457FA57-250B-44AC-8655-05D46C5A3D8A}" dt="2023-06-09T11:09:05.379" v="21530"/>
          <ac:spMkLst>
            <pc:docMk/>
            <pc:sldMk cId="2547338931" sldId="230717654"/>
            <ac:spMk id="92" creationId="{276CDA05-B544-4C80-810C-BCA1B6FD3B19}"/>
          </ac:spMkLst>
        </pc:spChg>
        <pc:spChg chg="mod">
          <ac:chgData name="Manal El Bakkouri" userId="8b130982-2e3f-4164-b881-fd3a2e4b2453" providerId="ADAL" clId="{4457FA57-250B-44AC-8655-05D46C5A3D8A}" dt="2023-06-09T11:09:05.379" v="21530"/>
          <ac:spMkLst>
            <pc:docMk/>
            <pc:sldMk cId="2547338931" sldId="230717654"/>
            <ac:spMk id="93" creationId="{07626B8D-31A5-431C-BF90-372DD06CA909}"/>
          </ac:spMkLst>
        </pc:spChg>
        <pc:spChg chg="add mod">
          <ac:chgData name="Manal El Bakkouri" userId="8b130982-2e3f-4164-b881-fd3a2e4b2453" providerId="ADAL" clId="{4457FA57-250B-44AC-8655-05D46C5A3D8A}" dt="2023-06-09T11:27:40.140" v="21728"/>
          <ac:spMkLst>
            <pc:docMk/>
            <pc:sldMk cId="2547338931" sldId="230717654"/>
            <ac:spMk id="94" creationId="{F5BCA9B3-6D5B-4B37-BB38-C774F58EF0F8}"/>
          </ac:spMkLst>
        </pc:spChg>
        <pc:spChg chg="add mod">
          <ac:chgData name="Manal El Bakkouri" userId="8b130982-2e3f-4164-b881-fd3a2e4b2453" providerId="ADAL" clId="{4457FA57-250B-44AC-8655-05D46C5A3D8A}" dt="2023-06-09T11:27:40.140" v="21728"/>
          <ac:spMkLst>
            <pc:docMk/>
            <pc:sldMk cId="2547338931" sldId="230717654"/>
            <ac:spMk id="95" creationId="{AD958C4D-465A-4C70-9C55-5627D5674ADB}"/>
          </ac:spMkLst>
        </pc:spChg>
        <pc:spChg chg="add mod">
          <ac:chgData name="Manal El Bakkouri" userId="8b130982-2e3f-4164-b881-fd3a2e4b2453" providerId="ADAL" clId="{4457FA57-250B-44AC-8655-05D46C5A3D8A}" dt="2023-06-09T11:27:40.140" v="21728"/>
          <ac:spMkLst>
            <pc:docMk/>
            <pc:sldMk cId="2547338931" sldId="230717654"/>
            <ac:spMk id="96" creationId="{B2553605-D4EB-486D-8596-B0B028454FEF}"/>
          </ac:spMkLst>
        </pc:spChg>
        <pc:spChg chg="add mod">
          <ac:chgData name="Manal El Bakkouri" userId="8b130982-2e3f-4164-b881-fd3a2e4b2453" providerId="ADAL" clId="{4457FA57-250B-44AC-8655-05D46C5A3D8A}" dt="2023-06-09T11:27:40.140" v="21728"/>
          <ac:spMkLst>
            <pc:docMk/>
            <pc:sldMk cId="2547338931" sldId="230717654"/>
            <ac:spMk id="97" creationId="{B75896A5-5666-4990-A6E6-4A473790FB4F}"/>
          </ac:spMkLst>
        </pc:spChg>
        <pc:grpChg chg="add mod">
          <ac:chgData name="Manal El Bakkouri" userId="8b130982-2e3f-4164-b881-fd3a2e4b2453" providerId="ADAL" clId="{4457FA57-250B-44AC-8655-05D46C5A3D8A}" dt="2023-06-09T11:08:57.374" v="21528"/>
          <ac:grpSpMkLst>
            <pc:docMk/>
            <pc:sldMk cId="2547338931" sldId="230717654"/>
            <ac:grpSpMk id="61" creationId="{71B53072-5249-418B-A003-47B8117C3706}"/>
          </ac:grpSpMkLst>
        </pc:grpChg>
        <pc:grpChg chg="add del mod">
          <ac:chgData name="Manal El Bakkouri" userId="8b130982-2e3f-4164-b881-fd3a2e4b2453" providerId="ADAL" clId="{4457FA57-250B-44AC-8655-05D46C5A3D8A}" dt="2023-06-09T11:09:05.019" v="21529" actId="478"/>
          <ac:grpSpMkLst>
            <pc:docMk/>
            <pc:sldMk cId="2547338931" sldId="230717654"/>
            <ac:grpSpMk id="64" creationId="{BA52D157-2739-497D-A6F5-DBF16B4FF65E}"/>
          </ac:grpSpMkLst>
        </pc:grpChg>
        <pc:grpChg chg="add mod">
          <ac:chgData name="Manal El Bakkouri" userId="8b130982-2e3f-4164-b881-fd3a2e4b2453" providerId="ADAL" clId="{4457FA57-250B-44AC-8655-05D46C5A3D8A}" dt="2023-06-09T11:08:57.374" v="21528"/>
          <ac:grpSpMkLst>
            <pc:docMk/>
            <pc:sldMk cId="2547338931" sldId="230717654"/>
            <ac:grpSpMk id="67" creationId="{F60D3D50-CAE0-4845-BAA5-308EE5FB54F7}"/>
          </ac:grpSpMkLst>
        </pc:grpChg>
        <pc:grpChg chg="add mod">
          <ac:chgData name="Manal El Bakkouri" userId="8b130982-2e3f-4164-b881-fd3a2e4b2453" providerId="ADAL" clId="{4457FA57-250B-44AC-8655-05D46C5A3D8A}" dt="2023-06-09T11:08:57.374" v="21528"/>
          <ac:grpSpMkLst>
            <pc:docMk/>
            <pc:sldMk cId="2547338931" sldId="230717654"/>
            <ac:grpSpMk id="70" creationId="{CC963784-89C0-4CAC-BD2E-5385BD5A6006}"/>
          </ac:grpSpMkLst>
        </pc:grpChg>
        <pc:grpChg chg="add del mod">
          <ac:chgData name="Manal El Bakkouri" userId="8b130982-2e3f-4164-b881-fd3a2e4b2453" providerId="ADAL" clId="{4457FA57-250B-44AC-8655-05D46C5A3D8A}" dt="2023-06-07T10:03:09.454" v="17616" actId="478"/>
          <ac:grpSpMkLst>
            <pc:docMk/>
            <pc:sldMk cId="2547338931" sldId="230717654"/>
            <ac:grpSpMk id="73" creationId="{31F880E9-4D3D-4CE6-876E-E5545363672A}"/>
          </ac:grpSpMkLst>
        </pc:grpChg>
        <pc:grpChg chg="add mod">
          <ac:chgData name="Manal El Bakkouri" userId="8b130982-2e3f-4164-b881-fd3a2e4b2453" providerId="ADAL" clId="{4457FA57-250B-44AC-8655-05D46C5A3D8A}" dt="2023-06-09T11:08:57.374" v="21528"/>
          <ac:grpSpMkLst>
            <pc:docMk/>
            <pc:sldMk cId="2547338931" sldId="230717654"/>
            <ac:grpSpMk id="73" creationId="{E3CD98FD-C923-4C35-9A98-18B4DBE27421}"/>
          </ac:grpSpMkLst>
        </pc:grpChg>
        <pc:grpChg chg="add del mod">
          <ac:chgData name="Manal El Bakkouri" userId="8b130982-2e3f-4164-b881-fd3a2e4b2453" providerId="ADAL" clId="{4457FA57-250B-44AC-8655-05D46C5A3D8A}" dt="2023-06-09T11:08:56.509" v="21527" actId="478"/>
          <ac:grpSpMkLst>
            <pc:docMk/>
            <pc:sldMk cId="2547338931" sldId="230717654"/>
            <ac:grpSpMk id="76" creationId="{76266FE6-4521-450B-A808-28EB61EFBEF5}"/>
          </ac:grpSpMkLst>
        </pc:grpChg>
        <pc:grpChg chg="add del mod">
          <ac:chgData name="Manal El Bakkouri" userId="8b130982-2e3f-4164-b881-fd3a2e4b2453" providerId="ADAL" clId="{4457FA57-250B-44AC-8655-05D46C5A3D8A}" dt="2023-06-09T11:08:56.509" v="21527" actId="478"/>
          <ac:grpSpMkLst>
            <pc:docMk/>
            <pc:sldMk cId="2547338931" sldId="230717654"/>
            <ac:grpSpMk id="79" creationId="{38485C6E-7577-4A06-A4AA-9A02403F0567}"/>
          </ac:grpSpMkLst>
        </pc:grpChg>
        <pc:grpChg chg="add del mod">
          <ac:chgData name="Manal El Bakkouri" userId="8b130982-2e3f-4164-b881-fd3a2e4b2453" providerId="ADAL" clId="{4457FA57-250B-44AC-8655-05D46C5A3D8A}" dt="2023-06-09T11:08:56.509" v="21527" actId="478"/>
          <ac:grpSpMkLst>
            <pc:docMk/>
            <pc:sldMk cId="2547338931" sldId="230717654"/>
            <ac:grpSpMk id="82" creationId="{C59E5CD5-8971-4796-A58F-A3911EDE7441}"/>
          </ac:grpSpMkLst>
        </pc:grpChg>
        <pc:grpChg chg="add del mod">
          <ac:chgData name="Manal El Bakkouri" userId="8b130982-2e3f-4164-b881-fd3a2e4b2453" providerId="ADAL" clId="{4457FA57-250B-44AC-8655-05D46C5A3D8A}" dt="2023-06-09T11:08:56.509" v="21527" actId="478"/>
          <ac:grpSpMkLst>
            <pc:docMk/>
            <pc:sldMk cId="2547338931" sldId="230717654"/>
            <ac:grpSpMk id="85" creationId="{36F31CF4-127A-4606-826E-2D70A78FF4BC}"/>
          </ac:grpSpMkLst>
        </pc:grpChg>
        <pc:grpChg chg="add del mod">
          <ac:chgData name="Manal El Bakkouri" userId="8b130982-2e3f-4164-b881-fd3a2e4b2453" providerId="ADAL" clId="{4457FA57-250B-44AC-8655-05D46C5A3D8A}" dt="2023-06-09T11:08:56.509" v="21527" actId="478"/>
          <ac:grpSpMkLst>
            <pc:docMk/>
            <pc:sldMk cId="2547338931" sldId="230717654"/>
            <ac:grpSpMk id="88" creationId="{BB68907F-B4F4-4F13-87D7-B4202E0551A9}"/>
          </ac:grpSpMkLst>
        </pc:grpChg>
        <pc:grpChg chg="add mod">
          <ac:chgData name="Manal El Bakkouri" userId="8b130982-2e3f-4164-b881-fd3a2e4b2453" providerId="ADAL" clId="{4457FA57-250B-44AC-8655-05D46C5A3D8A}" dt="2023-06-09T11:09:05.379" v="21530"/>
          <ac:grpSpMkLst>
            <pc:docMk/>
            <pc:sldMk cId="2547338931" sldId="230717654"/>
            <ac:grpSpMk id="91" creationId="{98E12F53-86EB-4EFE-87D3-6674CB9B9F28}"/>
          </ac:grpSpMkLst>
        </pc:grpChg>
        <pc:picChg chg="add del mod">
          <ac:chgData name="Manal El Bakkouri" userId="8b130982-2e3f-4164-b881-fd3a2e4b2453" providerId="ADAL" clId="{4457FA57-250B-44AC-8655-05D46C5A3D8A}" dt="2023-06-06T08:40:21.590" v="8824" actId="478"/>
          <ac:picMkLst>
            <pc:docMk/>
            <pc:sldMk cId="2547338931" sldId="230717654"/>
            <ac:picMk id="3" creationId="{BAFBB7A3-805A-4AF7-BCCC-3EB16246A6D9}"/>
          </ac:picMkLst>
        </pc:picChg>
        <pc:picChg chg="del">
          <ac:chgData name="Manal El Bakkouri" userId="8b130982-2e3f-4164-b881-fd3a2e4b2453" providerId="ADAL" clId="{4457FA57-250B-44AC-8655-05D46C5A3D8A}" dt="2023-06-06T08:52:24.548" v="8841" actId="478"/>
          <ac:picMkLst>
            <pc:docMk/>
            <pc:sldMk cId="2547338931" sldId="230717654"/>
            <ac:picMk id="6" creationId="{8F1736AE-3BAF-43EE-A347-CEB50370A317}"/>
          </ac:picMkLst>
        </pc:picChg>
        <pc:picChg chg="add mod">
          <ac:chgData name="Manal El Bakkouri" userId="8b130982-2e3f-4164-b881-fd3a2e4b2453" providerId="ADAL" clId="{4457FA57-250B-44AC-8655-05D46C5A3D8A}" dt="2023-06-06T08:58:05.254" v="8861" actId="1076"/>
          <ac:picMkLst>
            <pc:docMk/>
            <pc:sldMk cId="2547338931" sldId="230717654"/>
            <ac:picMk id="7" creationId="{9B7DBCE6-D483-408E-91F7-6162E26E31DF}"/>
          </ac:picMkLst>
        </pc:picChg>
        <pc:picChg chg="add mod ord">
          <ac:chgData name="Manal El Bakkouri" userId="8b130982-2e3f-4164-b881-fd3a2e4b2453" providerId="ADAL" clId="{4457FA57-250B-44AC-8655-05D46C5A3D8A}" dt="2023-06-06T09:00:03.468" v="8884" actId="1076"/>
          <ac:picMkLst>
            <pc:docMk/>
            <pc:sldMk cId="2547338931" sldId="230717654"/>
            <ac:picMk id="9" creationId="{A8E930A2-4CB1-4781-A9C8-29077092C6A2}"/>
          </ac:picMkLst>
        </pc:picChg>
        <pc:picChg chg="add mod ord">
          <ac:chgData name="Manal El Bakkouri" userId="8b130982-2e3f-4164-b881-fd3a2e4b2453" providerId="ADAL" clId="{4457FA57-250B-44AC-8655-05D46C5A3D8A}" dt="2023-06-06T08:59:04.181" v="8875" actId="1076"/>
          <ac:picMkLst>
            <pc:docMk/>
            <pc:sldMk cId="2547338931" sldId="230717654"/>
            <ac:picMk id="11" creationId="{0DD446C0-D902-451F-97DE-304869F6F4BB}"/>
          </ac:picMkLst>
        </pc:picChg>
        <pc:picChg chg="add mod">
          <ac:chgData name="Manal El Bakkouri" userId="8b130982-2e3f-4164-b881-fd3a2e4b2453" providerId="ADAL" clId="{4457FA57-250B-44AC-8655-05D46C5A3D8A}" dt="2023-06-06T08:58:13.275" v="8866" actId="1076"/>
          <ac:picMkLst>
            <pc:docMk/>
            <pc:sldMk cId="2547338931" sldId="230717654"/>
            <ac:picMk id="13" creationId="{47F62D46-D751-4F10-B5AF-25A44D54E798}"/>
          </ac:picMkLst>
        </pc:picChg>
        <pc:picChg chg="mod">
          <ac:chgData name="Manal El Bakkouri" userId="8b130982-2e3f-4164-b881-fd3a2e4b2453" providerId="ADAL" clId="{4457FA57-250B-44AC-8655-05D46C5A3D8A}" dt="2023-06-06T08:59:58.427" v="8882" actId="1076"/>
          <ac:picMkLst>
            <pc:docMk/>
            <pc:sldMk cId="2547338931" sldId="230717654"/>
            <ac:picMk id="18" creationId="{DD627184-D4DB-4368-95C2-5485143F4BAF}"/>
          </ac:picMkLst>
        </pc:picChg>
        <pc:picChg chg="mod">
          <ac:chgData name="Manal El Bakkouri" userId="8b130982-2e3f-4164-b881-fd3a2e4b2453" providerId="ADAL" clId="{4457FA57-250B-44AC-8655-05D46C5A3D8A}" dt="2023-06-06T08:59:59.774" v="8883" actId="1076"/>
          <ac:picMkLst>
            <pc:docMk/>
            <pc:sldMk cId="2547338931" sldId="230717654"/>
            <ac:picMk id="20" creationId="{706F4A6E-E8A8-407E-8B06-150C8070B821}"/>
          </ac:picMkLst>
        </pc:picChg>
        <pc:picChg chg="del">
          <ac:chgData name="Manal El Bakkouri" userId="8b130982-2e3f-4164-b881-fd3a2e4b2453" providerId="ADAL" clId="{4457FA57-250B-44AC-8655-05D46C5A3D8A}" dt="2023-06-06T08:49:08.203" v="8836" actId="478"/>
          <ac:picMkLst>
            <pc:docMk/>
            <pc:sldMk cId="2547338931" sldId="230717654"/>
            <ac:picMk id="22" creationId="{4AD74990-6682-4942-BA11-45AEC9E6F06D}"/>
          </ac:picMkLst>
        </pc:picChg>
        <pc:picChg chg="del">
          <ac:chgData name="Manal El Bakkouri" userId="8b130982-2e3f-4164-b881-fd3a2e4b2453" providerId="ADAL" clId="{4457FA57-250B-44AC-8655-05D46C5A3D8A}" dt="2023-06-06T08:54:30.136" v="8848" actId="478"/>
          <ac:picMkLst>
            <pc:docMk/>
            <pc:sldMk cId="2547338931" sldId="230717654"/>
            <ac:picMk id="24" creationId="{E0FED367-A4B6-40EC-BDDF-A5AC9A750597}"/>
          </ac:picMkLst>
        </pc:picChg>
      </pc:sldChg>
      <pc:sldChg chg="addSp delSp modSp del mod">
        <pc:chgData name="Manal El Bakkouri" userId="8b130982-2e3f-4164-b881-fd3a2e4b2453" providerId="ADAL" clId="{4457FA57-250B-44AC-8655-05D46C5A3D8A}" dt="2023-06-06T09:16:20.996" v="9120" actId="2696"/>
        <pc:sldMkLst>
          <pc:docMk/>
          <pc:sldMk cId="1168856819" sldId="230717655"/>
        </pc:sldMkLst>
        <pc:spChg chg="del">
          <ac:chgData name="Manal El Bakkouri" userId="8b130982-2e3f-4164-b881-fd3a2e4b2453" providerId="ADAL" clId="{4457FA57-250B-44AC-8655-05D46C5A3D8A}" dt="2023-06-01T11:02:18.645" v="892" actId="478"/>
          <ac:spMkLst>
            <pc:docMk/>
            <pc:sldMk cId="1168856819" sldId="230717655"/>
            <ac:spMk id="8" creationId="{5DED022B-3E65-4AF1-B640-3FFA109E1905}"/>
          </ac:spMkLst>
        </pc:spChg>
        <pc:spChg chg="del">
          <ac:chgData name="Manal El Bakkouri" userId="8b130982-2e3f-4164-b881-fd3a2e4b2453" providerId="ADAL" clId="{4457FA57-250B-44AC-8655-05D46C5A3D8A}" dt="2023-06-01T11:02:18.645" v="892" actId="478"/>
          <ac:spMkLst>
            <pc:docMk/>
            <pc:sldMk cId="1168856819" sldId="230717655"/>
            <ac:spMk id="9" creationId="{23EAC584-EC06-41B8-89BB-119F6FFABA79}"/>
          </ac:spMkLst>
        </pc:spChg>
        <pc:spChg chg="del">
          <ac:chgData name="Manal El Bakkouri" userId="8b130982-2e3f-4164-b881-fd3a2e4b2453" providerId="ADAL" clId="{4457FA57-250B-44AC-8655-05D46C5A3D8A}" dt="2023-06-01T11:02:18.645" v="892" actId="478"/>
          <ac:spMkLst>
            <pc:docMk/>
            <pc:sldMk cId="1168856819" sldId="230717655"/>
            <ac:spMk id="10" creationId="{9DC69718-9F54-4E07-B670-B8F78CAE467E}"/>
          </ac:spMkLst>
        </pc:spChg>
        <pc:spChg chg="del">
          <ac:chgData name="Manal El Bakkouri" userId="8b130982-2e3f-4164-b881-fd3a2e4b2453" providerId="ADAL" clId="{4457FA57-250B-44AC-8655-05D46C5A3D8A}" dt="2023-06-01T11:02:18.645" v="892" actId="478"/>
          <ac:spMkLst>
            <pc:docMk/>
            <pc:sldMk cId="1168856819" sldId="230717655"/>
            <ac:spMk id="11" creationId="{645AB11B-C90C-4290-B4DE-6D5C29A0D3FD}"/>
          </ac:spMkLst>
        </pc:spChg>
        <pc:spChg chg="del">
          <ac:chgData name="Manal El Bakkouri" userId="8b130982-2e3f-4164-b881-fd3a2e4b2453" providerId="ADAL" clId="{4457FA57-250B-44AC-8655-05D46C5A3D8A}" dt="2023-06-01T11:02:18.645" v="892" actId="478"/>
          <ac:spMkLst>
            <pc:docMk/>
            <pc:sldMk cId="1168856819" sldId="230717655"/>
            <ac:spMk id="12" creationId="{EB057D3F-2809-45E6-B22C-33B58F924DFE}"/>
          </ac:spMkLst>
        </pc:spChg>
        <pc:spChg chg="del">
          <ac:chgData name="Manal El Bakkouri" userId="8b130982-2e3f-4164-b881-fd3a2e4b2453" providerId="ADAL" clId="{4457FA57-250B-44AC-8655-05D46C5A3D8A}" dt="2023-06-01T11:02:18.645" v="892" actId="478"/>
          <ac:spMkLst>
            <pc:docMk/>
            <pc:sldMk cId="1168856819" sldId="230717655"/>
            <ac:spMk id="13" creationId="{C3BA4198-280A-4AB7-AEC9-4F40946EB013}"/>
          </ac:spMkLst>
        </pc:spChg>
        <pc:spChg chg="del">
          <ac:chgData name="Manal El Bakkouri" userId="8b130982-2e3f-4164-b881-fd3a2e4b2453" providerId="ADAL" clId="{4457FA57-250B-44AC-8655-05D46C5A3D8A}" dt="2023-06-01T11:02:18.645" v="892" actId="478"/>
          <ac:spMkLst>
            <pc:docMk/>
            <pc:sldMk cId="1168856819" sldId="230717655"/>
            <ac:spMk id="14" creationId="{47C2461D-FDEF-488E-80AE-4D437A053E75}"/>
          </ac:spMkLst>
        </pc:spChg>
        <pc:spChg chg="del">
          <ac:chgData name="Manal El Bakkouri" userId="8b130982-2e3f-4164-b881-fd3a2e4b2453" providerId="ADAL" clId="{4457FA57-250B-44AC-8655-05D46C5A3D8A}" dt="2023-06-01T11:02:18.645" v="892" actId="478"/>
          <ac:spMkLst>
            <pc:docMk/>
            <pc:sldMk cId="1168856819" sldId="230717655"/>
            <ac:spMk id="15" creationId="{17C55DFA-2E17-48F8-AAF6-363FA0B884EE}"/>
          </ac:spMkLst>
        </pc:spChg>
        <pc:spChg chg="del">
          <ac:chgData name="Manal El Bakkouri" userId="8b130982-2e3f-4164-b881-fd3a2e4b2453" providerId="ADAL" clId="{4457FA57-250B-44AC-8655-05D46C5A3D8A}" dt="2023-06-01T11:02:18.645" v="892" actId="478"/>
          <ac:spMkLst>
            <pc:docMk/>
            <pc:sldMk cId="1168856819" sldId="230717655"/>
            <ac:spMk id="16" creationId="{8EA5C80A-71C9-4896-9787-A128469FC8B9}"/>
          </ac:spMkLst>
        </pc:spChg>
        <pc:spChg chg="add mod">
          <ac:chgData name="Manal El Bakkouri" userId="8b130982-2e3f-4164-b881-fd3a2e4b2453" providerId="ADAL" clId="{4457FA57-250B-44AC-8655-05D46C5A3D8A}" dt="2023-06-01T11:02:19.373" v="893"/>
          <ac:spMkLst>
            <pc:docMk/>
            <pc:sldMk cId="1168856819" sldId="230717655"/>
            <ac:spMk id="19" creationId="{A73E8008-2B48-4626-9564-4A342B93031E}"/>
          </ac:spMkLst>
        </pc:spChg>
        <pc:spChg chg="del">
          <ac:chgData name="Manal El Bakkouri" userId="8b130982-2e3f-4164-b881-fd3a2e4b2453" providerId="ADAL" clId="{4457FA57-250B-44AC-8655-05D46C5A3D8A}" dt="2023-06-01T11:02:18.645" v="892" actId="478"/>
          <ac:spMkLst>
            <pc:docMk/>
            <pc:sldMk cId="1168856819" sldId="230717655"/>
            <ac:spMk id="21" creationId="{28C1AB68-121D-4800-BBE6-B300F4E6B9BA}"/>
          </ac:spMkLst>
        </pc:spChg>
        <pc:spChg chg="add mod">
          <ac:chgData name="Manal El Bakkouri" userId="8b130982-2e3f-4164-b881-fd3a2e4b2453" providerId="ADAL" clId="{4457FA57-250B-44AC-8655-05D46C5A3D8A}" dt="2023-06-04T13:10:38.607" v="7659"/>
          <ac:spMkLst>
            <pc:docMk/>
            <pc:sldMk cId="1168856819" sldId="230717655"/>
            <ac:spMk id="21" creationId="{CE6E274F-BF82-450A-9502-217442E635BE}"/>
          </ac:spMkLst>
        </pc:spChg>
        <pc:spChg chg="add mod">
          <ac:chgData name="Manal El Bakkouri" userId="8b130982-2e3f-4164-b881-fd3a2e4b2453" providerId="ADAL" clId="{4457FA57-250B-44AC-8655-05D46C5A3D8A}" dt="2023-06-01T11:02:19.373" v="893"/>
          <ac:spMkLst>
            <pc:docMk/>
            <pc:sldMk cId="1168856819" sldId="230717655"/>
            <ac:spMk id="25" creationId="{B1193F77-6BC1-474A-8946-793E9A2B89B8}"/>
          </ac:spMkLst>
        </pc:spChg>
        <pc:spChg chg="add mod">
          <ac:chgData name="Manal El Bakkouri" userId="8b130982-2e3f-4164-b881-fd3a2e4b2453" providerId="ADAL" clId="{4457FA57-250B-44AC-8655-05D46C5A3D8A}" dt="2023-06-01T11:02:19.373" v="893"/>
          <ac:spMkLst>
            <pc:docMk/>
            <pc:sldMk cId="1168856819" sldId="230717655"/>
            <ac:spMk id="26" creationId="{D58EFD0E-713D-4168-8288-04931065E04A}"/>
          </ac:spMkLst>
        </pc:spChg>
        <pc:spChg chg="add mod">
          <ac:chgData name="Manal El Bakkouri" userId="8b130982-2e3f-4164-b881-fd3a2e4b2453" providerId="ADAL" clId="{4457FA57-250B-44AC-8655-05D46C5A3D8A}" dt="2023-06-01T11:02:19.373" v="893"/>
          <ac:spMkLst>
            <pc:docMk/>
            <pc:sldMk cId="1168856819" sldId="230717655"/>
            <ac:spMk id="27" creationId="{9EEF8E94-063D-448E-9CC3-31F01ABDDAB3}"/>
          </ac:spMkLst>
        </pc:spChg>
        <pc:spChg chg="add del mod">
          <ac:chgData name="Manal El Bakkouri" userId="8b130982-2e3f-4164-b881-fd3a2e4b2453" providerId="ADAL" clId="{4457FA57-250B-44AC-8655-05D46C5A3D8A}" dt="2023-06-06T08:39:00.166" v="8812" actId="478"/>
          <ac:spMkLst>
            <pc:docMk/>
            <pc:sldMk cId="1168856819" sldId="230717655"/>
            <ac:spMk id="28" creationId="{DEA86378-E464-445F-A2F2-06065FF63DA3}"/>
          </ac:spMkLst>
        </pc:spChg>
        <pc:spChg chg="add mod">
          <ac:chgData name="Manal El Bakkouri" userId="8b130982-2e3f-4164-b881-fd3a2e4b2453" providerId="ADAL" clId="{4457FA57-250B-44AC-8655-05D46C5A3D8A}" dt="2023-06-01T11:02:19.373" v="893"/>
          <ac:spMkLst>
            <pc:docMk/>
            <pc:sldMk cId="1168856819" sldId="230717655"/>
            <ac:spMk id="29" creationId="{993D5C0C-4923-4DD8-9B21-2B6814D8BF70}"/>
          </ac:spMkLst>
        </pc:spChg>
        <pc:spChg chg="add mod">
          <ac:chgData name="Manal El Bakkouri" userId="8b130982-2e3f-4164-b881-fd3a2e4b2453" providerId="ADAL" clId="{4457FA57-250B-44AC-8655-05D46C5A3D8A}" dt="2023-06-01T11:02:19.373" v="893"/>
          <ac:spMkLst>
            <pc:docMk/>
            <pc:sldMk cId="1168856819" sldId="230717655"/>
            <ac:spMk id="30" creationId="{6DED8A9B-A96C-4337-9040-517AEE7D4D8B}"/>
          </ac:spMkLst>
        </pc:spChg>
        <pc:spChg chg="add mod">
          <ac:chgData name="Manal El Bakkouri" userId="8b130982-2e3f-4164-b881-fd3a2e4b2453" providerId="ADAL" clId="{4457FA57-250B-44AC-8655-05D46C5A3D8A}" dt="2023-06-01T11:02:19.373" v="893"/>
          <ac:spMkLst>
            <pc:docMk/>
            <pc:sldMk cId="1168856819" sldId="230717655"/>
            <ac:spMk id="31" creationId="{C93EC0E4-3CEB-496E-9DE5-7CB3A3475985}"/>
          </ac:spMkLst>
        </pc:spChg>
        <pc:spChg chg="add del mod">
          <ac:chgData name="Manal El Bakkouri" userId="8b130982-2e3f-4164-b881-fd3a2e4b2453" providerId="ADAL" clId="{4457FA57-250B-44AC-8655-05D46C5A3D8A}" dt="2023-06-06T08:39:00.166" v="8812" actId="478"/>
          <ac:spMkLst>
            <pc:docMk/>
            <pc:sldMk cId="1168856819" sldId="230717655"/>
            <ac:spMk id="32" creationId="{C1BB01B8-1C04-4CF8-AC01-54B304E70AC1}"/>
          </ac:spMkLst>
        </pc:spChg>
        <pc:spChg chg="add mod">
          <ac:chgData name="Manal El Bakkouri" userId="8b130982-2e3f-4164-b881-fd3a2e4b2453" providerId="ADAL" clId="{4457FA57-250B-44AC-8655-05D46C5A3D8A}" dt="2023-06-01T11:02:19.373" v="893"/>
          <ac:spMkLst>
            <pc:docMk/>
            <pc:sldMk cId="1168856819" sldId="230717655"/>
            <ac:spMk id="33" creationId="{90AC9916-4B00-4A6D-8771-6076BB8667E7}"/>
          </ac:spMkLst>
        </pc:spChg>
        <pc:spChg chg="add mod">
          <ac:chgData name="Manal El Bakkouri" userId="8b130982-2e3f-4164-b881-fd3a2e4b2453" providerId="ADAL" clId="{4457FA57-250B-44AC-8655-05D46C5A3D8A}" dt="2023-06-01T11:02:19.373" v="893"/>
          <ac:spMkLst>
            <pc:docMk/>
            <pc:sldMk cId="1168856819" sldId="230717655"/>
            <ac:spMk id="34" creationId="{9439EE53-FDA3-4329-8391-A65E5E80A9F6}"/>
          </ac:spMkLst>
        </pc:spChg>
        <pc:spChg chg="add mod">
          <ac:chgData name="Manal El Bakkouri" userId="8b130982-2e3f-4164-b881-fd3a2e4b2453" providerId="ADAL" clId="{4457FA57-250B-44AC-8655-05D46C5A3D8A}" dt="2023-06-01T11:02:19.373" v="893"/>
          <ac:spMkLst>
            <pc:docMk/>
            <pc:sldMk cId="1168856819" sldId="230717655"/>
            <ac:spMk id="35" creationId="{B45E266C-7FEB-4BA2-AFBD-4879237F53C1}"/>
          </ac:spMkLst>
        </pc:spChg>
        <pc:spChg chg="add mod">
          <ac:chgData name="Manal El Bakkouri" userId="8b130982-2e3f-4164-b881-fd3a2e4b2453" providerId="ADAL" clId="{4457FA57-250B-44AC-8655-05D46C5A3D8A}" dt="2023-06-01T11:02:19.373" v="893"/>
          <ac:spMkLst>
            <pc:docMk/>
            <pc:sldMk cId="1168856819" sldId="230717655"/>
            <ac:spMk id="36" creationId="{B4F6759A-8EC4-4F7E-AD0B-19A79A156009}"/>
          </ac:spMkLst>
        </pc:spChg>
        <pc:spChg chg="add mod">
          <ac:chgData name="Manal El Bakkouri" userId="8b130982-2e3f-4164-b881-fd3a2e4b2453" providerId="ADAL" clId="{4457FA57-250B-44AC-8655-05D46C5A3D8A}" dt="2023-06-06T08:39:00.612" v="8813"/>
          <ac:spMkLst>
            <pc:docMk/>
            <pc:sldMk cId="1168856819" sldId="230717655"/>
            <ac:spMk id="37" creationId="{2D217184-D1E1-497C-8ABC-B344D3B7FE54}"/>
          </ac:spMkLst>
        </pc:spChg>
        <pc:spChg chg="add mod">
          <ac:chgData name="Manal El Bakkouri" userId="8b130982-2e3f-4164-b881-fd3a2e4b2453" providerId="ADAL" clId="{4457FA57-250B-44AC-8655-05D46C5A3D8A}" dt="2023-06-06T08:39:00.612" v="8813"/>
          <ac:spMkLst>
            <pc:docMk/>
            <pc:sldMk cId="1168856819" sldId="230717655"/>
            <ac:spMk id="38" creationId="{88A62FA7-A04F-4C0A-8CBE-6ADA02800BA4}"/>
          </ac:spMkLst>
        </pc:spChg>
      </pc:sldChg>
      <pc:sldChg chg="addSp delSp modSp del mod">
        <pc:chgData name="Manal El Bakkouri" userId="8b130982-2e3f-4164-b881-fd3a2e4b2453" providerId="ADAL" clId="{4457FA57-250B-44AC-8655-05D46C5A3D8A}" dt="2023-06-06T09:16:23.175" v="9121" actId="2696"/>
        <pc:sldMkLst>
          <pc:docMk/>
          <pc:sldMk cId="938173038" sldId="230717656"/>
        </pc:sldMkLst>
        <pc:spChg chg="del">
          <ac:chgData name="Manal El Bakkouri" userId="8b130982-2e3f-4164-b881-fd3a2e4b2453" providerId="ADAL" clId="{4457FA57-250B-44AC-8655-05D46C5A3D8A}" dt="2023-06-01T11:02:27.972" v="894" actId="478"/>
          <ac:spMkLst>
            <pc:docMk/>
            <pc:sldMk cId="938173038" sldId="230717656"/>
            <ac:spMk id="8" creationId="{5DED022B-3E65-4AF1-B640-3FFA109E1905}"/>
          </ac:spMkLst>
        </pc:spChg>
        <pc:spChg chg="del">
          <ac:chgData name="Manal El Bakkouri" userId="8b130982-2e3f-4164-b881-fd3a2e4b2453" providerId="ADAL" clId="{4457FA57-250B-44AC-8655-05D46C5A3D8A}" dt="2023-06-01T11:02:27.972" v="894" actId="478"/>
          <ac:spMkLst>
            <pc:docMk/>
            <pc:sldMk cId="938173038" sldId="230717656"/>
            <ac:spMk id="9" creationId="{23EAC584-EC06-41B8-89BB-119F6FFABA79}"/>
          </ac:spMkLst>
        </pc:spChg>
        <pc:spChg chg="del">
          <ac:chgData name="Manal El Bakkouri" userId="8b130982-2e3f-4164-b881-fd3a2e4b2453" providerId="ADAL" clId="{4457FA57-250B-44AC-8655-05D46C5A3D8A}" dt="2023-06-01T11:02:27.972" v="894" actId="478"/>
          <ac:spMkLst>
            <pc:docMk/>
            <pc:sldMk cId="938173038" sldId="230717656"/>
            <ac:spMk id="10" creationId="{9DC69718-9F54-4E07-B670-B8F78CAE467E}"/>
          </ac:spMkLst>
        </pc:spChg>
        <pc:spChg chg="del">
          <ac:chgData name="Manal El Bakkouri" userId="8b130982-2e3f-4164-b881-fd3a2e4b2453" providerId="ADAL" clId="{4457FA57-250B-44AC-8655-05D46C5A3D8A}" dt="2023-06-01T11:02:27.972" v="894" actId="478"/>
          <ac:spMkLst>
            <pc:docMk/>
            <pc:sldMk cId="938173038" sldId="230717656"/>
            <ac:spMk id="11" creationId="{645AB11B-C90C-4290-B4DE-6D5C29A0D3FD}"/>
          </ac:spMkLst>
        </pc:spChg>
        <pc:spChg chg="del">
          <ac:chgData name="Manal El Bakkouri" userId="8b130982-2e3f-4164-b881-fd3a2e4b2453" providerId="ADAL" clId="{4457FA57-250B-44AC-8655-05D46C5A3D8A}" dt="2023-06-01T11:02:27.972" v="894" actId="478"/>
          <ac:spMkLst>
            <pc:docMk/>
            <pc:sldMk cId="938173038" sldId="230717656"/>
            <ac:spMk id="12" creationId="{EB057D3F-2809-45E6-B22C-33B58F924DFE}"/>
          </ac:spMkLst>
        </pc:spChg>
        <pc:spChg chg="del">
          <ac:chgData name="Manal El Bakkouri" userId="8b130982-2e3f-4164-b881-fd3a2e4b2453" providerId="ADAL" clId="{4457FA57-250B-44AC-8655-05D46C5A3D8A}" dt="2023-06-01T11:02:27.972" v="894" actId="478"/>
          <ac:spMkLst>
            <pc:docMk/>
            <pc:sldMk cId="938173038" sldId="230717656"/>
            <ac:spMk id="13" creationId="{C3BA4198-280A-4AB7-AEC9-4F40946EB013}"/>
          </ac:spMkLst>
        </pc:spChg>
        <pc:spChg chg="del">
          <ac:chgData name="Manal El Bakkouri" userId="8b130982-2e3f-4164-b881-fd3a2e4b2453" providerId="ADAL" clId="{4457FA57-250B-44AC-8655-05D46C5A3D8A}" dt="2023-06-01T11:02:27.972" v="894" actId="478"/>
          <ac:spMkLst>
            <pc:docMk/>
            <pc:sldMk cId="938173038" sldId="230717656"/>
            <ac:spMk id="14" creationId="{47C2461D-FDEF-488E-80AE-4D437A053E75}"/>
          </ac:spMkLst>
        </pc:spChg>
        <pc:spChg chg="del">
          <ac:chgData name="Manal El Bakkouri" userId="8b130982-2e3f-4164-b881-fd3a2e4b2453" providerId="ADAL" clId="{4457FA57-250B-44AC-8655-05D46C5A3D8A}" dt="2023-06-01T11:02:27.972" v="894" actId="478"/>
          <ac:spMkLst>
            <pc:docMk/>
            <pc:sldMk cId="938173038" sldId="230717656"/>
            <ac:spMk id="15" creationId="{17C55DFA-2E17-48F8-AAF6-363FA0B884EE}"/>
          </ac:spMkLst>
        </pc:spChg>
        <pc:spChg chg="del">
          <ac:chgData name="Manal El Bakkouri" userId="8b130982-2e3f-4164-b881-fd3a2e4b2453" providerId="ADAL" clId="{4457FA57-250B-44AC-8655-05D46C5A3D8A}" dt="2023-06-01T11:02:27.972" v="894" actId="478"/>
          <ac:spMkLst>
            <pc:docMk/>
            <pc:sldMk cId="938173038" sldId="230717656"/>
            <ac:spMk id="16" creationId="{8EA5C80A-71C9-4896-9787-A128469FC8B9}"/>
          </ac:spMkLst>
        </pc:spChg>
        <pc:spChg chg="del">
          <ac:chgData name="Manal El Bakkouri" userId="8b130982-2e3f-4164-b881-fd3a2e4b2453" providerId="ADAL" clId="{4457FA57-250B-44AC-8655-05D46C5A3D8A}" dt="2023-06-01T11:02:27.972" v="894" actId="478"/>
          <ac:spMkLst>
            <pc:docMk/>
            <pc:sldMk cId="938173038" sldId="230717656"/>
            <ac:spMk id="19" creationId="{1659C3D5-E2B2-4AFF-91DB-B1EEBD213E8E}"/>
          </ac:spMkLst>
        </pc:spChg>
        <pc:spChg chg="add mod">
          <ac:chgData name="Manal El Bakkouri" userId="8b130982-2e3f-4164-b881-fd3a2e4b2453" providerId="ADAL" clId="{4457FA57-250B-44AC-8655-05D46C5A3D8A}" dt="2023-06-01T11:02:28.376" v="895"/>
          <ac:spMkLst>
            <pc:docMk/>
            <pc:sldMk cId="938173038" sldId="230717656"/>
            <ac:spMk id="23" creationId="{051D69C9-1F48-456C-B7A6-2A08CB0D3DB6}"/>
          </ac:spMkLst>
        </pc:spChg>
        <pc:spChg chg="add mod">
          <ac:chgData name="Manal El Bakkouri" userId="8b130982-2e3f-4164-b881-fd3a2e4b2453" providerId="ADAL" clId="{4457FA57-250B-44AC-8655-05D46C5A3D8A}" dt="2023-06-01T11:02:28.376" v="895"/>
          <ac:spMkLst>
            <pc:docMk/>
            <pc:sldMk cId="938173038" sldId="230717656"/>
            <ac:spMk id="25" creationId="{CD86E403-EB5A-4D8A-8CC6-91E9EAECD6E7}"/>
          </ac:spMkLst>
        </pc:spChg>
        <pc:spChg chg="add mod">
          <ac:chgData name="Manal El Bakkouri" userId="8b130982-2e3f-4164-b881-fd3a2e4b2453" providerId="ADAL" clId="{4457FA57-250B-44AC-8655-05D46C5A3D8A}" dt="2023-06-01T11:02:28.376" v="895"/>
          <ac:spMkLst>
            <pc:docMk/>
            <pc:sldMk cId="938173038" sldId="230717656"/>
            <ac:spMk id="26" creationId="{B272DB04-863B-409B-B563-7CF08BD2B7A1}"/>
          </ac:spMkLst>
        </pc:spChg>
        <pc:spChg chg="add mod">
          <ac:chgData name="Manal El Bakkouri" userId="8b130982-2e3f-4164-b881-fd3a2e4b2453" providerId="ADAL" clId="{4457FA57-250B-44AC-8655-05D46C5A3D8A}" dt="2023-06-01T11:02:28.376" v="895"/>
          <ac:spMkLst>
            <pc:docMk/>
            <pc:sldMk cId="938173038" sldId="230717656"/>
            <ac:spMk id="27" creationId="{997F1A95-1FC8-43C7-B88A-33FF136816DF}"/>
          </ac:spMkLst>
        </pc:spChg>
        <pc:spChg chg="add del mod">
          <ac:chgData name="Manal El Bakkouri" userId="8b130982-2e3f-4164-b881-fd3a2e4b2453" providerId="ADAL" clId="{4457FA57-250B-44AC-8655-05D46C5A3D8A}" dt="2023-06-06T08:39:04.673" v="8814" actId="478"/>
          <ac:spMkLst>
            <pc:docMk/>
            <pc:sldMk cId="938173038" sldId="230717656"/>
            <ac:spMk id="28" creationId="{642B16DD-615B-4DE5-8203-E9853F01E5EA}"/>
          </ac:spMkLst>
        </pc:spChg>
        <pc:spChg chg="add mod">
          <ac:chgData name="Manal El Bakkouri" userId="8b130982-2e3f-4164-b881-fd3a2e4b2453" providerId="ADAL" clId="{4457FA57-250B-44AC-8655-05D46C5A3D8A}" dt="2023-06-01T11:02:28.376" v="895"/>
          <ac:spMkLst>
            <pc:docMk/>
            <pc:sldMk cId="938173038" sldId="230717656"/>
            <ac:spMk id="29" creationId="{DAAE45F8-5BE7-4C9F-94C3-AAC853EAC1C9}"/>
          </ac:spMkLst>
        </pc:spChg>
        <pc:spChg chg="add mod">
          <ac:chgData name="Manal El Bakkouri" userId="8b130982-2e3f-4164-b881-fd3a2e4b2453" providerId="ADAL" clId="{4457FA57-250B-44AC-8655-05D46C5A3D8A}" dt="2023-06-01T11:02:28.376" v="895"/>
          <ac:spMkLst>
            <pc:docMk/>
            <pc:sldMk cId="938173038" sldId="230717656"/>
            <ac:spMk id="30" creationId="{2486EB3B-629F-4EF3-800C-A1CE27A23E19}"/>
          </ac:spMkLst>
        </pc:spChg>
        <pc:spChg chg="add mod">
          <ac:chgData name="Manal El Bakkouri" userId="8b130982-2e3f-4164-b881-fd3a2e4b2453" providerId="ADAL" clId="{4457FA57-250B-44AC-8655-05D46C5A3D8A}" dt="2023-06-01T11:02:28.376" v="895"/>
          <ac:spMkLst>
            <pc:docMk/>
            <pc:sldMk cId="938173038" sldId="230717656"/>
            <ac:spMk id="31" creationId="{E7A136D5-81AA-4C38-B58E-7270BAD66FDC}"/>
          </ac:spMkLst>
        </pc:spChg>
        <pc:spChg chg="add del mod">
          <ac:chgData name="Manal El Bakkouri" userId="8b130982-2e3f-4164-b881-fd3a2e4b2453" providerId="ADAL" clId="{4457FA57-250B-44AC-8655-05D46C5A3D8A}" dt="2023-06-06T08:39:04.673" v="8814" actId="478"/>
          <ac:spMkLst>
            <pc:docMk/>
            <pc:sldMk cId="938173038" sldId="230717656"/>
            <ac:spMk id="32" creationId="{F603B00C-DF51-46D0-A72A-DB5584E0489E}"/>
          </ac:spMkLst>
        </pc:spChg>
        <pc:spChg chg="add mod">
          <ac:chgData name="Manal El Bakkouri" userId="8b130982-2e3f-4164-b881-fd3a2e4b2453" providerId="ADAL" clId="{4457FA57-250B-44AC-8655-05D46C5A3D8A}" dt="2023-06-01T11:02:28.376" v="895"/>
          <ac:spMkLst>
            <pc:docMk/>
            <pc:sldMk cId="938173038" sldId="230717656"/>
            <ac:spMk id="33" creationId="{EE7830F5-5629-4E65-B74A-63CF71A8DAAF}"/>
          </ac:spMkLst>
        </pc:spChg>
        <pc:spChg chg="add mod">
          <ac:chgData name="Manal El Bakkouri" userId="8b130982-2e3f-4164-b881-fd3a2e4b2453" providerId="ADAL" clId="{4457FA57-250B-44AC-8655-05D46C5A3D8A}" dt="2023-06-01T11:02:28.376" v="895"/>
          <ac:spMkLst>
            <pc:docMk/>
            <pc:sldMk cId="938173038" sldId="230717656"/>
            <ac:spMk id="34" creationId="{7A94B54C-837E-479B-9D17-B35A601EA806}"/>
          </ac:spMkLst>
        </pc:spChg>
        <pc:spChg chg="add mod">
          <ac:chgData name="Manal El Bakkouri" userId="8b130982-2e3f-4164-b881-fd3a2e4b2453" providerId="ADAL" clId="{4457FA57-250B-44AC-8655-05D46C5A3D8A}" dt="2023-06-01T11:02:28.376" v="895"/>
          <ac:spMkLst>
            <pc:docMk/>
            <pc:sldMk cId="938173038" sldId="230717656"/>
            <ac:spMk id="35" creationId="{60C7D836-8E94-4525-8010-924BF4D0B8DC}"/>
          </ac:spMkLst>
        </pc:spChg>
        <pc:spChg chg="add mod">
          <ac:chgData name="Manal El Bakkouri" userId="8b130982-2e3f-4164-b881-fd3a2e4b2453" providerId="ADAL" clId="{4457FA57-250B-44AC-8655-05D46C5A3D8A}" dt="2023-06-01T11:02:28.376" v="895"/>
          <ac:spMkLst>
            <pc:docMk/>
            <pc:sldMk cId="938173038" sldId="230717656"/>
            <ac:spMk id="36" creationId="{D8CDA98F-3C49-44BC-9B86-B3B7A62EA854}"/>
          </ac:spMkLst>
        </pc:spChg>
        <pc:spChg chg="add mod">
          <ac:chgData name="Manal El Bakkouri" userId="8b130982-2e3f-4164-b881-fd3a2e4b2453" providerId="ADAL" clId="{4457FA57-250B-44AC-8655-05D46C5A3D8A}" dt="2023-06-04T13:10:41.069" v="7660"/>
          <ac:spMkLst>
            <pc:docMk/>
            <pc:sldMk cId="938173038" sldId="230717656"/>
            <ac:spMk id="37" creationId="{5D4D8DBA-54D3-4D4C-9680-F83D46926E0B}"/>
          </ac:spMkLst>
        </pc:spChg>
        <pc:spChg chg="add mod">
          <ac:chgData name="Manal El Bakkouri" userId="8b130982-2e3f-4164-b881-fd3a2e4b2453" providerId="ADAL" clId="{4457FA57-250B-44AC-8655-05D46C5A3D8A}" dt="2023-06-06T08:39:05.133" v="8815"/>
          <ac:spMkLst>
            <pc:docMk/>
            <pc:sldMk cId="938173038" sldId="230717656"/>
            <ac:spMk id="38" creationId="{BC8FAB20-5450-42D9-8487-9E4BBB686703}"/>
          </ac:spMkLst>
        </pc:spChg>
        <pc:spChg chg="add mod">
          <ac:chgData name="Manal El Bakkouri" userId="8b130982-2e3f-4164-b881-fd3a2e4b2453" providerId="ADAL" clId="{4457FA57-250B-44AC-8655-05D46C5A3D8A}" dt="2023-06-06T08:39:05.133" v="8815"/>
          <ac:spMkLst>
            <pc:docMk/>
            <pc:sldMk cId="938173038" sldId="230717656"/>
            <ac:spMk id="39" creationId="{D6A4D9F5-917C-4EE4-BA52-55FD54CBA759}"/>
          </ac:spMkLst>
        </pc:spChg>
      </pc:sldChg>
      <pc:sldChg chg="addSp delSp modSp del mod modNotesTx">
        <pc:chgData name="Manal El Bakkouri" userId="8b130982-2e3f-4164-b881-fd3a2e4b2453" providerId="ADAL" clId="{4457FA57-250B-44AC-8655-05D46C5A3D8A}" dt="2023-06-06T09:16:25.129" v="9122" actId="2696"/>
        <pc:sldMkLst>
          <pc:docMk/>
          <pc:sldMk cId="374447176" sldId="230717657"/>
        </pc:sldMkLst>
        <pc:spChg chg="del">
          <ac:chgData name="Manal El Bakkouri" userId="8b130982-2e3f-4164-b881-fd3a2e4b2453" providerId="ADAL" clId="{4457FA57-250B-44AC-8655-05D46C5A3D8A}" dt="2023-06-01T11:02:33.628" v="896" actId="478"/>
          <ac:spMkLst>
            <pc:docMk/>
            <pc:sldMk cId="374447176" sldId="230717657"/>
            <ac:spMk id="8" creationId="{5DED022B-3E65-4AF1-B640-3FFA109E1905}"/>
          </ac:spMkLst>
        </pc:spChg>
        <pc:spChg chg="del">
          <ac:chgData name="Manal El Bakkouri" userId="8b130982-2e3f-4164-b881-fd3a2e4b2453" providerId="ADAL" clId="{4457FA57-250B-44AC-8655-05D46C5A3D8A}" dt="2023-06-01T11:02:33.628" v="896" actId="478"/>
          <ac:spMkLst>
            <pc:docMk/>
            <pc:sldMk cId="374447176" sldId="230717657"/>
            <ac:spMk id="9" creationId="{23EAC584-EC06-41B8-89BB-119F6FFABA79}"/>
          </ac:spMkLst>
        </pc:spChg>
        <pc:spChg chg="del">
          <ac:chgData name="Manal El Bakkouri" userId="8b130982-2e3f-4164-b881-fd3a2e4b2453" providerId="ADAL" clId="{4457FA57-250B-44AC-8655-05D46C5A3D8A}" dt="2023-06-01T11:02:33.628" v="896" actId="478"/>
          <ac:spMkLst>
            <pc:docMk/>
            <pc:sldMk cId="374447176" sldId="230717657"/>
            <ac:spMk id="10" creationId="{9DC69718-9F54-4E07-B670-B8F78CAE467E}"/>
          </ac:spMkLst>
        </pc:spChg>
        <pc:spChg chg="del">
          <ac:chgData name="Manal El Bakkouri" userId="8b130982-2e3f-4164-b881-fd3a2e4b2453" providerId="ADAL" clId="{4457FA57-250B-44AC-8655-05D46C5A3D8A}" dt="2023-06-01T11:02:33.628" v="896" actId="478"/>
          <ac:spMkLst>
            <pc:docMk/>
            <pc:sldMk cId="374447176" sldId="230717657"/>
            <ac:spMk id="11" creationId="{645AB11B-C90C-4290-B4DE-6D5C29A0D3FD}"/>
          </ac:spMkLst>
        </pc:spChg>
        <pc:spChg chg="del">
          <ac:chgData name="Manal El Bakkouri" userId="8b130982-2e3f-4164-b881-fd3a2e4b2453" providerId="ADAL" clId="{4457FA57-250B-44AC-8655-05D46C5A3D8A}" dt="2023-06-01T11:02:33.628" v="896" actId="478"/>
          <ac:spMkLst>
            <pc:docMk/>
            <pc:sldMk cId="374447176" sldId="230717657"/>
            <ac:spMk id="12" creationId="{EB057D3F-2809-45E6-B22C-33B58F924DFE}"/>
          </ac:spMkLst>
        </pc:spChg>
        <pc:spChg chg="del">
          <ac:chgData name="Manal El Bakkouri" userId="8b130982-2e3f-4164-b881-fd3a2e4b2453" providerId="ADAL" clId="{4457FA57-250B-44AC-8655-05D46C5A3D8A}" dt="2023-06-01T11:02:33.628" v="896" actId="478"/>
          <ac:spMkLst>
            <pc:docMk/>
            <pc:sldMk cId="374447176" sldId="230717657"/>
            <ac:spMk id="13" creationId="{C3BA4198-280A-4AB7-AEC9-4F40946EB013}"/>
          </ac:spMkLst>
        </pc:spChg>
        <pc:spChg chg="del">
          <ac:chgData name="Manal El Bakkouri" userId="8b130982-2e3f-4164-b881-fd3a2e4b2453" providerId="ADAL" clId="{4457FA57-250B-44AC-8655-05D46C5A3D8A}" dt="2023-06-01T11:02:33.628" v="896" actId="478"/>
          <ac:spMkLst>
            <pc:docMk/>
            <pc:sldMk cId="374447176" sldId="230717657"/>
            <ac:spMk id="14" creationId="{47C2461D-FDEF-488E-80AE-4D437A053E75}"/>
          </ac:spMkLst>
        </pc:spChg>
        <pc:spChg chg="del">
          <ac:chgData name="Manal El Bakkouri" userId="8b130982-2e3f-4164-b881-fd3a2e4b2453" providerId="ADAL" clId="{4457FA57-250B-44AC-8655-05D46C5A3D8A}" dt="2023-06-01T11:02:33.628" v="896" actId="478"/>
          <ac:spMkLst>
            <pc:docMk/>
            <pc:sldMk cId="374447176" sldId="230717657"/>
            <ac:spMk id="15" creationId="{17C55DFA-2E17-48F8-AAF6-363FA0B884EE}"/>
          </ac:spMkLst>
        </pc:spChg>
        <pc:spChg chg="del">
          <ac:chgData name="Manal El Bakkouri" userId="8b130982-2e3f-4164-b881-fd3a2e4b2453" providerId="ADAL" clId="{4457FA57-250B-44AC-8655-05D46C5A3D8A}" dt="2023-06-01T11:02:33.628" v="896" actId="478"/>
          <ac:spMkLst>
            <pc:docMk/>
            <pc:sldMk cId="374447176" sldId="230717657"/>
            <ac:spMk id="16" creationId="{8EA5C80A-71C9-4896-9787-A128469FC8B9}"/>
          </ac:spMkLst>
        </pc:spChg>
        <pc:spChg chg="del">
          <ac:chgData name="Manal El Bakkouri" userId="8b130982-2e3f-4164-b881-fd3a2e4b2453" providerId="ADAL" clId="{4457FA57-250B-44AC-8655-05D46C5A3D8A}" dt="2023-06-01T11:02:33.628" v="896" actId="478"/>
          <ac:spMkLst>
            <pc:docMk/>
            <pc:sldMk cId="374447176" sldId="230717657"/>
            <ac:spMk id="19" creationId="{F1573991-9145-4882-B86C-95F429343D73}"/>
          </ac:spMkLst>
        </pc:spChg>
        <pc:spChg chg="add mod">
          <ac:chgData name="Manal El Bakkouri" userId="8b130982-2e3f-4164-b881-fd3a2e4b2453" providerId="ADAL" clId="{4457FA57-250B-44AC-8655-05D46C5A3D8A}" dt="2023-06-01T11:02:34.162" v="897"/>
          <ac:spMkLst>
            <pc:docMk/>
            <pc:sldMk cId="374447176" sldId="230717657"/>
            <ac:spMk id="23" creationId="{DFA1FEB3-BD72-4340-BAF7-E6417FBB98B1}"/>
          </ac:spMkLst>
        </pc:spChg>
        <pc:spChg chg="add mod">
          <ac:chgData name="Manal El Bakkouri" userId="8b130982-2e3f-4164-b881-fd3a2e4b2453" providerId="ADAL" clId="{4457FA57-250B-44AC-8655-05D46C5A3D8A}" dt="2023-06-01T11:02:34.162" v="897"/>
          <ac:spMkLst>
            <pc:docMk/>
            <pc:sldMk cId="374447176" sldId="230717657"/>
            <ac:spMk id="25" creationId="{2100712B-EA61-4129-92DF-D45126B4AA19}"/>
          </ac:spMkLst>
        </pc:spChg>
        <pc:spChg chg="add mod">
          <ac:chgData name="Manal El Bakkouri" userId="8b130982-2e3f-4164-b881-fd3a2e4b2453" providerId="ADAL" clId="{4457FA57-250B-44AC-8655-05D46C5A3D8A}" dt="2023-06-01T11:02:34.162" v="897"/>
          <ac:spMkLst>
            <pc:docMk/>
            <pc:sldMk cId="374447176" sldId="230717657"/>
            <ac:spMk id="26" creationId="{80C36C44-2125-4816-941A-860142CCB58C}"/>
          </ac:spMkLst>
        </pc:spChg>
        <pc:spChg chg="add mod">
          <ac:chgData name="Manal El Bakkouri" userId="8b130982-2e3f-4164-b881-fd3a2e4b2453" providerId="ADAL" clId="{4457FA57-250B-44AC-8655-05D46C5A3D8A}" dt="2023-06-01T11:02:34.162" v="897"/>
          <ac:spMkLst>
            <pc:docMk/>
            <pc:sldMk cId="374447176" sldId="230717657"/>
            <ac:spMk id="27" creationId="{20E66F41-BED5-4E4A-81E9-44DDB01763A6}"/>
          </ac:spMkLst>
        </pc:spChg>
        <pc:spChg chg="add del mod">
          <ac:chgData name="Manal El Bakkouri" userId="8b130982-2e3f-4164-b881-fd3a2e4b2453" providerId="ADAL" clId="{4457FA57-250B-44AC-8655-05D46C5A3D8A}" dt="2023-06-06T08:39:09.839" v="8816" actId="478"/>
          <ac:spMkLst>
            <pc:docMk/>
            <pc:sldMk cId="374447176" sldId="230717657"/>
            <ac:spMk id="28" creationId="{42F664A8-7DE6-40D7-8DFB-38605310A5CE}"/>
          </ac:spMkLst>
        </pc:spChg>
        <pc:spChg chg="add mod">
          <ac:chgData name="Manal El Bakkouri" userId="8b130982-2e3f-4164-b881-fd3a2e4b2453" providerId="ADAL" clId="{4457FA57-250B-44AC-8655-05D46C5A3D8A}" dt="2023-06-01T11:02:34.162" v="897"/>
          <ac:spMkLst>
            <pc:docMk/>
            <pc:sldMk cId="374447176" sldId="230717657"/>
            <ac:spMk id="29" creationId="{782F7DB1-6DD9-4046-B4A8-452B21D58D77}"/>
          </ac:spMkLst>
        </pc:spChg>
        <pc:spChg chg="add mod">
          <ac:chgData name="Manal El Bakkouri" userId="8b130982-2e3f-4164-b881-fd3a2e4b2453" providerId="ADAL" clId="{4457FA57-250B-44AC-8655-05D46C5A3D8A}" dt="2023-06-01T11:02:34.162" v="897"/>
          <ac:spMkLst>
            <pc:docMk/>
            <pc:sldMk cId="374447176" sldId="230717657"/>
            <ac:spMk id="30" creationId="{EC0BF97F-1DA5-4950-A89A-9AD46CF2BDAA}"/>
          </ac:spMkLst>
        </pc:spChg>
        <pc:spChg chg="add mod">
          <ac:chgData name="Manal El Bakkouri" userId="8b130982-2e3f-4164-b881-fd3a2e4b2453" providerId="ADAL" clId="{4457FA57-250B-44AC-8655-05D46C5A3D8A}" dt="2023-06-01T11:02:34.162" v="897"/>
          <ac:spMkLst>
            <pc:docMk/>
            <pc:sldMk cId="374447176" sldId="230717657"/>
            <ac:spMk id="31" creationId="{952ADD95-B96A-49E5-8520-7B9E989EF59F}"/>
          </ac:spMkLst>
        </pc:spChg>
        <pc:spChg chg="add del mod">
          <ac:chgData name="Manal El Bakkouri" userId="8b130982-2e3f-4164-b881-fd3a2e4b2453" providerId="ADAL" clId="{4457FA57-250B-44AC-8655-05D46C5A3D8A}" dt="2023-06-06T08:39:09.839" v="8816" actId="478"/>
          <ac:spMkLst>
            <pc:docMk/>
            <pc:sldMk cId="374447176" sldId="230717657"/>
            <ac:spMk id="32" creationId="{8EC66566-9578-495E-9EB2-013A853184A9}"/>
          </ac:spMkLst>
        </pc:spChg>
        <pc:spChg chg="add mod">
          <ac:chgData name="Manal El Bakkouri" userId="8b130982-2e3f-4164-b881-fd3a2e4b2453" providerId="ADAL" clId="{4457FA57-250B-44AC-8655-05D46C5A3D8A}" dt="2023-06-01T11:02:34.162" v="897"/>
          <ac:spMkLst>
            <pc:docMk/>
            <pc:sldMk cId="374447176" sldId="230717657"/>
            <ac:spMk id="33" creationId="{97B73ABA-3EC8-490C-99A3-A40E0EBBFF37}"/>
          </ac:spMkLst>
        </pc:spChg>
        <pc:spChg chg="add mod">
          <ac:chgData name="Manal El Bakkouri" userId="8b130982-2e3f-4164-b881-fd3a2e4b2453" providerId="ADAL" clId="{4457FA57-250B-44AC-8655-05D46C5A3D8A}" dt="2023-06-01T11:02:34.162" v="897"/>
          <ac:spMkLst>
            <pc:docMk/>
            <pc:sldMk cId="374447176" sldId="230717657"/>
            <ac:spMk id="34" creationId="{CE7A5A56-7D51-41F1-85C9-5687D143F41E}"/>
          </ac:spMkLst>
        </pc:spChg>
        <pc:spChg chg="add mod">
          <ac:chgData name="Manal El Bakkouri" userId="8b130982-2e3f-4164-b881-fd3a2e4b2453" providerId="ADAL" clId="{4457FA57-250B-44AC-8655-05D46C5A3D8A}" dt="2023-06-01T11:02:34.162" v="897"/>
          <ac:spMkLst>
            <pc:docMk/>
            <pc:sldMk cId="374447176" sldId="230717657"/>
            <ac:spMk id="35" creationId="{2482A6BB-E564-4A86-9D08-71A42A42EBCE}"/>
          </ac:spMkLst>
        </pc:spChg>
        <pc:spChg chg="add mod">
          <ac:chgData name="Manal El Bakkouri" userId="8b130982-2e3f-4164-b881-fd3a2e4b2453" providerId="ADAL" clId="{4457FA57-250B-44AC-8655-05D46C5A3D8A}" dt="2023-06-01T11:02:34.162" v="897"/>
          <ac:spMkLst>
            <pc:docMk/>
            <pc:sldMk cId="374447176" sldId="230717657"/>
            <ac:spMk id="36" creationId="{DD4E829F-AFC0-4298-9074-9B60CFF6FC04}"/>
          </ac:spMkLst>
        </pc:spChg>
        <pc:spChg chg="add mod">
          <ac:chgData name="Manal El Bakkouri" userId="8b130982-2e3f-4164-b881-fd3a2e4b2453" providerId="ADAL" clId="{4457FA57-250B-44AC-8655-05D46C5A3D8A}" dt="2023-06-04T13:10:43.278" v="7661"/>
          <ac:spMkLst>
            <pc:docMk/>
            <pc:sldMk cId="374447176" sldId="230717657"/>
            <ac:spMk id="37" creationId="{D1CC0F8F-31F1-4EFF-8DCD-C435A7B496E5}"/>
          </ac:spMkLst>
        </pc:spChg>
        <pc:spChg chg="add mod">
          <ac:chgData name="Manal El Bakkouri" userId="8b130982-2e3f-4164-b881-fd3a2e4b2453" providerId="ADAL" clId="{4457FA57-250B-44AC-8655-05D46C5A3D8A}" dt="2023-06-06T08:39:10.277" v="8817"/>
          <ac:spMkLst>
            <pc:docMk/>
            <pc:sldMk cId="374447176" sldId="230717657"/>
            <ac:spMk id="38" creationId="{8F108F31-F648-4A71-A329-03EBE1DA4ADD}"/>
          </ac:spMkLst>
        </pc:spChg>
        <pc:spChg chg="add mod">
          <ac:chgData name="Manal El Bakkouri" userId="8b130982-2e3f-4164-b881-fd3a2e4b2453" providerId="ADAL" clId="{4457FA57-250B-44AC-8655-05D46C5A3D8A}" dt="2023-06-06T08:39:10.277" v="8817"/>
          <ac:spMkLst>
            <pc:docMk/>
            <pc:sldMk cId="374447176" sldId="230717657"/>
            <ac:spMk id="39" creationId="{E2901B18-9B08-4E33-9C29-8AFFB667A968}"/>
          </ac:spMkLst>
        </pc:spChg>
      </pc:sldChg>
      <pc:sldChg chg="addSp delSp modSp del mod modNotesTx">
        <pc:chgData name="Manal El Bakkouri" userId="8b130982-2e3f-4164-b881-fd3a2e4b2453" providerId="ADAL" clId="{4457FA57-250B-44AC-8655-05D46C5A3D8A}" dt="2023-06-06T09:16:27.042" v="9123" actId="2696"/>
        <pc:sldMkLst>
          <pc:docMk/>
          <pc:sldMk cId="2893667124" sldId="230717658"/>
        </pc:sldMkLst>
        <pc:spChg chg="del">
          <ac:chgData name="Manal El Bakkouri" userId="8b130982-2e3f-4164-b881-fd3a2e4b2453" providerId="ADAL" clId="{4457FA57-250B-44AC-8655-05D46C5A3D8A}" dt="2023-06-01T11:02:40.098" v="898" actId="478"/>
          <ac:spMkLst>
            <pc:docMk/>
            <pc:sldMk cId="2893667124" sldId="230717658"/>
            <ac:spMk id="8" creationId="{5DED022B-3E65-4AF1-B640-3FFA109E1905}"/>
          </ac:spMkLst>
        </pc:spChg>
        <pc:spChg chg="del">
          <ac:chgData name="Manal El Bakkouri" userId="8b130982-2e3f-4164-b881-fd3a2e4b2453" providerId="ADAL" clId="{4457FA57-250B-44AC-8655-05D46C5A3D8A}" dt="2023-06-01T11:02:40.098" v="898" actId="478"/>
          <ac:spMkLst>
            <pc:docMk/>
            <pc:sldMk cId="2893667124" sldId="230717658"/>
            <ac:spMk id="9" creationId="{23EAC584-EC06-41B8-89BB-119F6FFABA79}"/>
          </ac:spMkLst>
        </pc:spChg>
        <pc:spChg chg="del">
          <ac:chgData name="Manal El Bakkouri" userId="8b130982-2e3f-4164-b881-fd3a2e4b2453" providerId="ADAL" clId="{4457FA57-250B-44AC-8655-05D46C5A3D8A}" dt="2023-06-01T11:02:40.098" v="898" actId="478"/>
          <ac:spMkLst>
            <pc:docMk/>
            <pc:sldMk cId="2893667124" sldId="230717658"/>
            <ac:spMk id="10" creationId="{9DC69718-9F54-4E07-B670-B8F78CAE467E}"/>
          </ac:spMkLst>
        </pc:spChg>
        <pc:spChg chg="del">
          <ac:chgData name="Manal El Bakkouri" userId="8b130982-2e3f-4164-b881-fd3a2e4b2453" providerId="ADAL" clId="{4457FA57-250B-44AC-8655-05D46C5A3D8A}" dt="2023-06-01T11:02:40.098" v="898" actId="478"/>
          <ac:spMkLst>
            <pc:docMk/>
            <pc:sldMk cId="2893667124" sldId="230717658"/>
            <ac:spMk id="11" creationId="{645AB11B-C90C-4290-B4DE-6D5C29A0D3FD}"/>
          </ac:spMkLst>
        </pc:spChg>
        <pc:spChg chg="del">
          <ac:chgData name="Manal El Bakkouri" userId="8b130982-2e3f-4164-b881-fd3a2e4b2453" providerId="ADAL" clId="{4457FA57-250B-44AC-8655-05D46C5A3D8A}" dt="2023-06-01T11:02:40.098" v="898" actId="478"/>
          <ac:spMkLst>
            <pc:docMk/>
            <pc:sldMk cId="2893667124" sldId="230717658"/>
            <ac:spMk id="12" creationId="{EB057D3F-2809-45E6-B22C-33B58F924DFE}"/>
          </ac:spMkLst>
        </pc:spChg>
        <pc:spChg chg="del">
          <ac:chgData name="Manal El Bakkouri" userId="8b130982-2e3f-4164-b881-fd3a2e4b2453" providerId="ADAL" clId="{4457FA57-250B-44AC-8655-05D46C5A3D8A}" dt="2023-06-01T11:02:40.098" v="898" actId="478"/>
          <ac:spMkLst>
            <pc:docMk/>
            <pc:sldMk cId="2893667124" sldId="230717658"/>
            <ac:spMk id="13" creationId="{C3BA4198-280A-4AB7-AEC9-4F40946EB013}"/>
          </ac:spMkLst>
        </pc:spChg>
        <pc:spChg chg="del">
          <ac:chgData name="Manal El Bakkouri" userId="8b130982-2e3f-4164-b881-fd3a2e4b2453" providerId="ADAL" clId="{4457FA57-250B-44AC-8655-05D46C5A3D8A}" dt="2023-06-01T11:02:40.098" v="898" actId="478"/>
          <ac:spMkLst>
            <pc:docMk/>
            <pc:sldMk cId="2893667124" sldId="230717658"/>
            <ac:spMk id="14" creationId="{47C2461D-FDEF-488E-80AE-4D437A053E75}"/>
          </ac:spMkLst>
        </pc:spChg>
        <pc:spChg chg="del">
          <ac:chgData name="Manal El Bakkouri" userId="8b130982-2e3f-4164-b881-fd3a2e4b2453" providerId="ADAL" clId="{4457FA57-250B-44AC-8655-05D46C5A3D8A}" dt="2023-06-01T11:02:40.098" v="898" actId="478"/>
          <ac:spMkLst>
            <pc:docMk/>
            <pc:sldMk cId="2893667124" sldId="230717658"/>
            <ac:spMk id="15" creationId="{17C55DFA-2E17-48F8-AAF6-363FA0B884EE}"/>
          </ac:spMkLst>
        </pc:spChg>
        <pc:spChg chg="del">
          <ac:chgData name="Manal El Bakkouri" userId="8b130982-2e3f-4164-b881-fd3a2e4b2453" providerId="ADAL" clId="{4457FA57-250B-44AC-8655-05D46C5A3D8A}" dt="2023-06-01T11:02:40.098" v="898" actId="478"/>
          <ac:spMkLst>
            <pc:docMk/>
            <pc:sldMk cId="2893667124" sldId="230717658"/>
            <ac:spMk id="16" creationId="{8EA5C80A-71C9-4896-9787-A128469FC8B9}"/>
          </ac:spMkLst>
        </pc:spChg>
        <pc:spChg chg="del">
          <ac:chgData name="Manal El Bakkouri" userId="8b130982-2e3f-4164-b881-fd3a2e4b2453" providerId="ADAL" clId="{4457FA57-250B-44AC-8655-05D46C5A3D8A}" dt="2023-06-01T11:02:40.098" v="898" actId="478"/>
          <ac:spMkLst>
            <pc:docMk/>
            <pc:sldMk cId="2893667124" sldId="230717658"/>
            <ac:spMk id="19" creationId="{603A47D1-7DE6-4758-9D78-6375A8B47411}"/>
          </ac:spMkLst>
        </pc:spChg>
        <pc:spChg chg="add mod">
          <ac:chgData name="Manal El Bakkouri" userId="8b130982-2e3f-4164-b881-fd3a2e4b2453" providerId="ADAL" clId="{4457FA57-250B-44AC-8655-05D46C5A3D8A}" dt="2023-06-01T11:02:40.798" v="899"/>
          <ac:spMkLst>
            <pc:docMk/>
            <pc:sldMk cId="2893667124" sldId="230717658"/>
            <ac:spMk id="23" creationId="{F7607857-5A39-46B1-8CA1-74A7723DC635}"/>
          </ac:spMkLst>
        </pc:spChg>
        <pc:spChg chg="add mod">
          <ac:chgData name="Manal El Bakkouri" userId="8b130982-2e3f-4164-b881-fd3a2e4b2453" providerId="ADAL" clId="{4457FA57-250B-44AC-8655-05D46C5A3D8A}" dt="2023-06-01T11:02:40.798" v="899"/>
          <ac:spMkLst>
            <pc:docMk/>
            <pc:sldMk cId="2893667124" sldId="230717658"/>
            <ac:spMk id="25" creationId="{E05C235F-5941-4883-891A-7E01D5D2019A}"/>
          </ac:spMkLst>
        </pc:spChg>
        <pc:spChg chg="add mod">
          <ac:chgData name="Manal El Bakkouri" userId="8b130982-2e3f-4164-b881-fd3a2e4b2453" providerId="ADAL" clId="{4457FA57-250B-44AC-8655-05D46C5A3D8A}" dt="2023-06-01T11:02:40.798" v="899"/>
          <ac:spMkLst>
            <pc:docMk/>
            <pc:sldMk cId="2893667124" sldId="230717658"/>
            <ac:spMk id="26" creationId="{E1C0A034-4C26-4941-87D0-C7A41986D84F}"/>
          </ac:spMkLst>
        </pc:spChg>
        <pc:spChg chg="add mod">
          <ac:chgData name="Manal El Bakkouri" userId="8b130982-2e3f-4164-b881-fd3a2e4b2453" providerId="ADAL" clId="{4457FA57-250B-44AC-8655-05D46C5A3D8A}" dt="2023-06-01T11:02:40.798" v="899"/>
          <ac:spMkLst>
            <pc:docMk/>
            <pc:sldMk cId="2893667124" sldId="230717658"/>
            <ac:spMk id="27" creationId="{EB67EBF5-C0CE-4DB3-BEE6-F0BBEF61DFF6}"/>
          </ac:spMkLst>
        </pc:spChg>
        <pc:spChg chg="add del mod">
          <ac:chgData name="Manal El Bakkouri" userId="8b130982-2e3f-4164-b881-fd3a2e4b2453" providerId="ADAL" clId="{4457FA57-250B-44AC-8655-05D46C5A3D8A}" dt="2023-06-06T08:39:14.034" v="8818" actId="478"/>
          <ac:spMkLst>
            <pc:docMk/>
            <pc:sldMk cId="2893667124" sldId="230717658"/>
            <ac:spMk id="28" creationId="{79DBB9D2-A591-4F28-B9DD-FF1037410AE3}"/>
          </ac:spMkLst>
        </pc:spChg>
        <pc:spChg chg="add mod">
          <ac:chgData name="Manal El Bakkouri" userId="8b130982-2e3f-4164-b881-fd3a2e4b2453" providerId="ADAL" clId="{4457FA57-250B-44AC-8655-05D46C5A3D8A}" dt="2023-06-01T11:02:40.798" v="899"/>
          <ac:spMkLst>
            <pc:docMk/>
            <pc:sldMk cId="2893667124" sldId="230717658"/>
            <ac:spMk id="29" creationId="{ADD22754-8BD4-4FE0-B847-8D4174C6425B}"/>
          </ac:spMkLst>
        </pc:spChg>
        <pc:spChg chg="add mod">
          <ac:chgData name="Manal El Bakkouri" userId="8b130982-2e3f-4164-b881-fd3a2e4b2453" providerId="ADAL" clId="{4457FA57-250B-44AC-8655-05D46C5A3D8A}" dt="2023-06-01T11:02:40.798" v="899"/>
          <ac:spMkLst>
            <pc:docMk/>
            <pc:sldMk cId="2893667124" sldId="230717658"/>
            <ac:spMk id="30" creationId="{EDFF00B9-1D72-49A0-A58F-E06D1ECB2CFA}"/>
          </ac:spMkLst>
        </pc:spChg>
        <pc:spChg chg="add mod">
          <ac:chgData name="Manal El Bakkouri" userId="8b130982-2e3f-4164-b881-fd3a2e4b2453" providerId="ADAL" clId="{4457FA57-250B-44AC-8655-05D46C5A3D8A}" dt="2023-06-01T11:02:40.798" v="899"/>
          <ac:spMkLst>
            <pc:docMk/>
            <pc:sldMk cId="2893667124" sldId="230717658"/>
            <ac:spMk id="31" creationId="{E4C29F14-7D7A-4BDA-8546-0058ABF742DF}"/>
          </ac:spMkLst>
        </pc:spChg>
        <pc:spChg chg="add del mod">
          <ac:chgData name="Manal El Bakkouri" userId="8b130982-2e3f-4164-b881-fd3a2e4b2453" providerId="ADAL" clId="{4457FA57-250B-44AC-8655-05D46C5A3D8A}" dt="2023-06-06T08:39:14.034" v="8818" actId="478"/>
          <ac:spMkLst>
            <pc:docMk/>
            <pc:sldMk cId="2893667124" sldId="230717658"/>
            <ac:spMk id="32" creationId="{DCDAFF47-6730-48FA-9CFF-CBA7D377DEDF}"/>
          </ac:spMkLst>
        </pc:spChg>
        <pc:spChg chg="add mod">
          <ac:chgData name="Manal El Bakkouri" userId="8b130982-2e3f-4164-b881-fd3a2e4b2453" providerId="ADAL" clId="{4457FA57-250B-44AC-8655-05D46C5A3D8A}" dt="2023-06-01T11:02:40.798" v="899"/>
          <ac:spMkLst>
            <pc:docMk/>
            <pc:sldMk cId="2893667124" sldId="230717658"/>
            <ac:spMk id="33" creationId="{1EE05BED-08CD-47EF-98C9-916DEB23CB8D}"/>
          </ac:spMkLst>
        </pc:spChg>
        <pc:spChg chg="add mod">
          <ac:chgData name="Manal El Bakkouri" userId="8b130982-2e3f-4164-b881-fd3a2e4b2453" providerId="ADAL" clId="{4457FA57-250B-44AC-8655-05D46C5A3D8A}" dt="2023-06-01T11:02:40.798" v="899"/>
          <ac:spMkLst>
            <pc:docMk/>
            <pc:sldMk cId="2893667124" sldId="230717658"/>
            <ac:spMk id="34" creationId="{B71ED353-4B43-4B0B-AA60-4BDDA1D9FB87}"/>
          </ac:spMkLst>
        </pc:spChg>
        <pc:spChg chg="add mod">
          <ac:chgData name="Manal El Bakkouri" userId="8b130982-2e3f-4164-b881-fd3a2e4b2453" providerId="ADAL" clId="{4457FA57-250B-44AC-8655-05D46C5A3D8A}" dt="2023-06-01T11:02:40.798" v="899"/>
          <ac:spMkLst>
            <pc:docMk/>
            <pc:sldMk cId="2893667124" sldId="230717658"/>
            <ac:spMk id="35" creationId="{88D4FA6F-B4A6-407B-9F82-70F42E0700AD}"/>
          </ac:spMkLst>
        </pc:spChg>
        <pc:spChg chg="add mod">
          <ac:chgData name="Manal El Bakkouri" userId="8b130982-2e3f-4164-b881-fd3a2e4b2453" providerId="ADAL" clId="{4457FA57-250B-44AC-8655-05D46C5A3D8A}" dt="2023-06-01T11:02:40.798" v="899"/>
          <ac:spMkLst>
            <pc:docMk/>
            <pc:sldMk cId="2893667124" sldId="230717658"/>
            <ac:spMk id="36" creationId="{D1238851-2771-4AAE-994D-D7D0A37E94E1}"/>
          </ac:spMkLst>
        </pc:spChg>
        <pc:spChg chg="add mod">
          <ac:chgData name="Manal El Bakkouri" userId="8b130982-2e3f-4164-b881-fd3a2e4b2453" providerId="ADAL" clId="{4457FA57-250B-44AC-8655-05D46C5A3D8A}" dt="2023-06-04T13:10:45.172" v="7662"/>
          <ac:spMkLst>
            <pc:docMk/>
            <pc:sldMk cId="2893667124" sldId="230717658"/>
            <ac:spMk id="37" creationId="{282580DD-A093-4C68-9825-1D32A7B1D120}"/>
          </ac:spMkLst>
        </pc:spChg>
        <pc:spChg chg="add mod">
          <ac:chgData name="Manal El Bakkouri" userId="8b130982-2e3f-4164-b881-fd3a2e4b2453" providerId="ADAL" clId="{4457FA57-250B-44AC-8655-05D46C5A3D8A}" dt="2023-06-06T08:39:14.457" v="8819"/>
          <ac:spMkLst>
            <pc:docMk/>
            <pc:sldMk cId="2893667124" sldId="230717658"/>
            <ac:spMk id="38" creationId="{79581BEE-4CC6-4D25-A0B1-FF9BF3C95194}"/>
          </ac:spMkLst>
        </pc:spChg>
        <pc:spChg chg="add mod">
          <ac:chgData name="Manal El Bakkouri" userId="8b130982-2e3f-4164-b881-fd3a2e4b2453" providerId="ADAL" clId="{4457FA57-250B-44AC-8655-05D46C5A3D8A}" dt="2023-06-06T08:39:14.457" v="8819"/>
          <ac:spMkLst>
            <pc:docMk/>
            <pc:sldMk cId="2893667124" sldId="230717658"/>
            <ac:spMk id="39" creationId="{7A182363-B26A-4065-9761-FB3FEF334D75}"/>
          </ac:spMkLst>
        </pc:spChg>
      </pc:sldChg>
      <pc:sldChg chg="addSp delSp modSp del mod modNotesTx">
        <pc:chgData name="Manal El Bakkouri" userId="8b130982-2e3f-4164-b881-fd3a2e4b2453" providerId="ADAL" clId="{4457FA57-250B-44AC-8655-05D46C5A3D8A}" dt="2023-06-06T09:16:28.967" v="9124" actId="2696"/>
        <pc:sldMkLst>
          <pc:docMk/>
          <pc:sldMk cId="2804642972" sldId="230717659"/>
        </pc:sldMkLst>
        <pc:spChg chg="del">
          <ac:chgData name="Manal El Bakkouri" userId="8b130982-2e3f-4164-b881-fd3a2e4b2453" providerId="ADAL" clId="{4457FA57-250B-44AC-8655-05D46C5A3D8A}" dt="2023-06-01T11:02:47.531" v="900" actId="478"/>
          <ac:spMkLst>
            <pc:docMk/>
            <pc:sldMk cId="2804642972" sldId="230717659"/>
            <ac:spMk id="8" creationId="{5DED022B-3E65-4AF1-B640-3FFA109E1905}"/>
          </ac:spMkLst>
        </pc:spChg>
        <pc:spChg chg="del">
          <ac:chgData name="Manal El Bakkouri" userId="8b130982-2e3f-4164-b881-fd3a2e4b2453" providerId="ADAL" clId="{4457FA57-250B-44AC-8655-05D46C5A3D8A}" dt="2023-06-01T11:02:47.531" v="900" actId="478"/>
          <ac:spMkLst>
            <pc:docMk/>
            <pc:sldMk cId="2804642972" sldId="230717659"/>
            <ac:spMk id="9" creationId="{23EAC584-EC06-41B8-89BB-119F6FFABA79}"/>
          </ac:spMkLst>
        </pc:spChg>
        <pc:spChg chg="del">
          <ac:chgData name="Manal El Bakkouri" userId="8b130982-2e3f-4164-b881-fd3a2e4b2453" providerId="ADAL" clId="{4457FA57-250B-44AC-8655-05D46C5A3D8A}" dt="2023-06-01T11:02:47.531" v="900" actId="478"/>
          <ac:spMkLst>
            <pc:docMk/>
            <pc:sldMk cId="2804642972" sldId="230717659"/>
            <ac:spMk id="10" creationId="{9DC69718-9F54-4E07-B670-B8F78CAE467E}"/>
          </ac:spMkLst>
        </pc:spChg>
        <pc:spChg chg="del">
          <ac:chgData name="Manal El Bakkouri" userId="8b130982-2e3f-4164-b881-fd3a2e4b2453" providerId="ADAL" clId="{4457FA57-250B-44AC-8655-05D46C5A3D8A}" dt="2023-06-01T11:02:47.531" v="900" actId="478"/>
          <ac:spMkLst>
            <pc:docMk/>
            <pc:sldMk cId="2804642972" sldId="230717659"/>
            <ac:spMk id="11" creationId="{645AB11B-C90C-4290-B4DE-6D5C29A0D3FD}"/>
          </ac:spMkLst>
        </pc:spChg>
        <pc:spChg chg="del">
          <ac:chgData name="Manal El Bakkouri" userId="8b130982-2e3f-4164-b881-fd3a2e4b2453" providerId="ADAL" clId="{4457FA57-250B-44AC-8655-05D46C5A3D8A}" dt="2023-06-01T11:02:47.531" v="900" actId="478"/>
          <ac:spMkLst>
            <pc:docMk/>
            <pc:sldMk cId="2804642972" sldId="230717659"/>
            <ac:spMk id="12" creationId="{EB057D3F-2809-45E6-B22C-33B58F924DFE}"/>
          </ac:spMkLst>
        </pc:spChg>
        <pc:spChg chg="del">
          <ac:chgData name="Manal El Bakkouri" userId="8b130982-2e3f-4164-b881-fd3a2e4b2453" providerId="ADAL" clId="{4457FA57-250B-44AC-8655-05D46C5A3D8A}" dt="2023-06-01T11:02:47.531" v="900" actId="478"/>
          <ac:spMkLst>
            <pc:docMk/>
            <pc:sldMk cId="2804642972" sldId="230717659"/>
            <ac:spMk id="13" creationId="{C3BA4198-280A-4AB7-AEC9-4F40946EB013}"/>
          </ac:spMkLst>
        </pc:spChg>
        <pc:spChg chg="del">
          <ac:chgData name="Manal El Bakkouri" userId="8b130982-2e3f-4164-b881-fd3a2e4b2453" providerId="ADAL" clId="{4457FA57-250B-44AC-8655-05D46C5A3D8A}" dt="2023-06-01T11:02:47.531" v="900" actId="478"/>
          <ac:spMkLst>
            <pc:docMk/>
            <pc:sldMk cId="2804642972" sldId="230717659"/>
            <ac:spMk id="14" creationId="{47C2461D-FDEF-488E-80AE-4D437A053E75}"/>
          </ac:spMkLst>
        </pc:spChg>
        <pc:spChg chg="del">
          <ac:chgData name="Manal El Bakkouri" userId="8b130982-2e3f-4164-b881-fd3a2e4b2453" providerId="ADAL" clId="{4457FA57-250B-44AC-8655-05D46C5A3D8A}" dt="2023-06-01T11:02:47.531" v="900" actId="478"/>
          <ac:spMkLst>
            <pc:docMk/>
            <pc:sldMk cId="2804642972" sldId="230717659"/>
            <ac:spMk id="15" creationId="{17C55DFA-2E17-48F8-AAF6-363FA0B884EE}"/>
          </ac:spMkLst>
        </pc:spChg>
        <pc:spChg chg="del">
          <ac:chgData name="Manal El Bakkouri" userId="8b130982-2e3f-4164-b881-fd3a2e4b2453" providerId="ADAL" clId="{4457FA57-250B-44AC-8655-05D46C5A3D8A}" dt="2023-06-01T11:02:47.531" v="900" actId="478"/>
          <ac:spMkLst>
            <pc:docMk/>
            <pc:sldMk cId="2804642972" sldId="230717659"/>
            <ac:spMk id="16" creationId="{8EA5C80A-71C9-4896-9787-A128469FC8B9}"/>
          </ac:spMkLst>
        </pc:spChg>
        <pc:spChg chg="del">
          <ac:chgData name="Manal El Bakkouri" userId="8b130982-2e3f-4164-b881-fd3a2e4b2453" providerId="ADAL" clId="{4457FA57-250B-44AC-8655-05D46C5A3D8A}" dt="2023-06-01T11:02:47.531" v="900" actId="478"/>
          <ac:spMkLst>
            <pc:docMk/>
            <pc:sldMk cId="2804642972" sldId="230717659"/>
            <ac:spMk id="17" creationId="{10BEDB5A-3A49-4289-9E59-AE716E382676}"/>
          </ac:spMkLst>
        </pc:spChg>
        <pc:spChg chg="add mod">
          <ac:chgData name="Manal El Bakkouri" userId="8b130982-2e3f-4164-b881-fd3a2e4b2453" providerId="ADAL" clId="{4457FA57-250B-44AC-8655-05D46C5A3D8A}" dt="2023-06-01T11:02:48.023" v="901"/>
          <ac:spMkLst>
            <pc:docMk/>
            <pc:sldMk cId="2804642972" sldId="230717659"/>
            <ac:spMk id="21" creationId="{50B80990-8D0D-4601-991D-BBC11D285BDB}"/>
          </ac:spMkLst>
        </pc:spChg>
        <pc:spChg chg="add mod">
          <ac:chgData name="Manal El Bakkouri" userId="8b130982-2e3f-4164-b881-fd3a2e4b2453" providerId="ADAL" clId="{4457FA57-250B-44AC-8655-05D46C5A3D8A}" dt="2023-06-01T11:02:48.023" v="901"/>
          <ac:spMkLst>
            <pc:docMk/>
            <pc:sldMk cId="2804642972" sldId="230717659"/>
            <ac:spMk id="23" creationId="{AE85C9EB-20A5-45F5-ABF6-A6F29D185EE9}"/>
          </ac:spMkLst>
        </pc:spChg>
        <pc:spChg chg="add mod">
          <ac:chgData name="Manal El Bakkouri" userId="8b130982-2e3f-4164-b881-fd3a2e4b2453" providerId="ADAL" clId="{4457FA57-250B-44AC-8655-05D46C5A3D8A}" dt="2023-06-01T11:02:48.023" v="901"/>
          <ac:spMkLst>
            <pc:docMk/>
            <pc:sldMk cId="2804642972" sldId="230717659"/>
            <ac:spMk id="25" creationId="{A59F9D15-BBF4-4062-989B-0790618CB46C}"/>
          </ac:spMkLst>
        </pc:spChg>
        <pc:spChg chg="add mod">
          <ac:chgData name="Manal El Bakkouri" userId="8b130982-2e3f-4164-b881-fd3a2e4b2453" providerId="ADAL" clId="{4457FA57-250B-44AC-8655-05D46C5A3D8A}" dt="2023-06-01T11:02:48.023" v="901"/>
          <ac:spMkLst>
            <pc:docMk/>
            <pc:sldMk cId="2804642972" sldId="230717659"/>
            <ac:spMk id="26" creationId="{C2291D1B-4126-451F-AF54-2BC9B7A1BCE1}"/>
          </ac:spMkLst>
        </pc:spChg>
        <pc:spChg chg="add del mod">
          <ac:chgData name="Manal El Bakkouri" userId="8b130982-2e3f-4164-b881-fd3a2e4b2453" providerId="ADAL" clId="{4457FA57-250B-44AC-8655-05D46C5A3D8A}" dt="2023-06-06T08:39:17.977" v="8820" actId="478"/>
          <ac:spMkLst>
            <pc:docMk/>
            <pc:sldMk cId="2804642972" sldId="230717659"/>
            <ac:spMk id="27" creationId="{188A3EBC-6797-4F2E-BB9B-43DDBC03E811}"/>
          </ac:spMkLst>
        </pc:spChg>
        <pc:spChg chg="add mod">
          <ac:chgData name="Manal El Bakkouri" userId="8b130982-2e3f-4164-b881-fd3a2e4b2453" providerId="ADAL" clId="{4457FA57-250B-44AC-8655-05D46C5A3D8A}" dt="2023-06-01T11:02:48.023" v="901"/>
          <ac:spMkLst>
            <pc:docMk/>
            <pc:sldMk cId="2804642972" sldId="230717659"/>
            <ac:spMk id="28" creationId="{2222D8F7-9A5D-410C-9010-857044469A77}"/>
          </ac:spMkLst>
        </pc:spChg>
        <pc:spChg chg="add mod">
          <ac:chgData name="Manal El Bakkouri" userId="8b130982-2e3f-4164-b881-fd3a2e4b2453" providerId="ADAL" clId="{4457FA57-250B-44AC-8655-05D46C5A3D8A}" dt="2023-06-01T11:02:48.023" v="901"/>
          <ac:spMkLst>
            <pc:docMk/>
            <pc:sldMk cId="2804642972" sldId="230717659"/>
            <ac:spMk id="29" creationId="{7E09B1DC-9C31-4A5C-B2B6-3C71C2B26D2D}"/>
          </ac:spMkLst>
        </pc:spChg>
        <pc:spChg chg="add mod">
          <ac:chgData name="Manal El Bakkouri" userId="8b130982-2e3f-4164-b881-fd3a2e4b2453" providerId="ADAL" clId="{4457FA57-250B-44AC-8655-05D46C5A3D8A}" dt="2023-06-01T11:02:48.023" v="901"/>
          <ac:spMkLst>
            <pc:docMk/>
            <pc:sldMk cId="2804642972" sldId="230717659"/>
            <ac:spMk id="30" creationId="{E2C872AD-7654-4504-81BF-AA386A852D77}"/>
          </ac:spMkLst>
        </pc:spChg>
        <pc:spChg chg="add del mod">
          <ac:chgData name="Manal El Bakkouri" userId="8b130982-2e3f-4164-b881-fd3a2e4b2453" providerId="ADAL" clId="{4457FA57-250B-44AC-8655-05D46C5A3D8A}" dt="2023-06-06T08:39:17.977" v="8820" actId="478"/>
          <ac:spMkLst>
            <pc:docMk/>
            <pc:sldMk cId="2804642972" sldId="230717659"/>
            <ac:spMk id="31" creationId="{BDF26CDF-A962-480E-B5E4-7CD834492773}"/>
          </ac:spMkLst>
        </pc:spChg>
        <pc:spChg chg="add mod">
          <ac:chgData name="Manal El Bakkouri" userId="8b130982-2e3f-4164-b881-fd3a2e4b2453" providerId="ADAL" clId="{4457FA57-250B-44AC-8655-05D46C5A3D8A}" dt="2023-06-01T11:02:48.023" v="901"/>
          <ac:spMkLst>
            <pc:docMk/>
            <pc:sldMk cId="2804642972" sldId="230717659"/>
            <ac:spMk id="32" creationId="{49F8FC39-D620-4CB3-ACD6-CDFD361A05A2}"/>
          </ac:spMkLst>
        </pc:spChg>
        <pc:spChg chg="add mod">
          <ac:chgData name="Manal El Bakkouri" userId="8b130982-2e3f-4164-b881-fd3a2e4b2453" providerId="ADAL" clId="{4457FA57-250B-44AC-8655-05D46C5A3D8A}" dt="2023-06-01T11:02:48.023" v="901"/>
          <ac:spMkLst>
            <pc:docMk/>
            <pc:sldMk cId="2804642972" sldId="230717659"/>
            <ac:spMk id="33" creationId="{C4ABA7B6-C11A-4FDD-9D8E-CEE7ABE19770}"/>
          </ac:spMkLst>
        </pc:spChg>
        <pc:spChg chg="add mod">
          <ac:chgData name="Manal El Bakkouri" userId="8b130982-2e3f-4164-b881-fd3a2e4b2453" providerId="ADAL" clId="{4457FA57-250B-44AC-8655-05D46C5A3D8A}" dt="2023-06-01T11:02:48.023" v="901"/>
          <ac:spMkLst>
            <pc:docMk/>
            <pc:sldMk cId="2804642972" sldId="230717659"/>
            <ac:spMk id="34" creationId="{ACE67222-48DD-4356-A665-D1E57C071186}"/>
          </ac:spMkLst>
        </pc:spChg>
        <pc:spChg chg="add mod">
          <ac:chgData name="Manal El Bakkouri" userId="8b130982-2e3f-4164-b881-fd3a2e4b2453" providerId="ADAL" clId="{4457FA57-250B-44AC-8655-05D46C5A3D8A}" dt="2023-06-01T11:02:48.023" v="901"/>
          <ac:spMkLst>
            <pc:docMk/>
            <pc:sldMk cId="2804642972" sldId="230717659"/>
            <ac:spMk id="35" creationId="{7987E609-B7FD-4377-AE92-6B4FF424F6FE}"/>
          </ac:spMkLst>
        </pc:spChg>
        <pc:spChg chg="add mod">
          <ac:chgData name="Manal El Bakkouri" userId="8b130982-2e3f-4164-b881-fd3a2e4b2453" providerId="ADAL" clId="{4457FA57-250B-44AC-8655-05D46C5A3D8A}" dt="2023-06-04T13:10:48.395" v="7663"/>
          <ac:spMkLst>
            <pc:docMk/>
            <pc:sldMk cId="2804642972" sldId="230717659"/>
            <ac:spMk id="36" creationId="{DE746E08-D845-4F42-A454-36367B5FE0FB}"/>
          </ac:spMkLst>
        </pc:spChg>
        <pc:spChg chg="add mod">
          <ac:chgData name="Manal El Bakkouri" userId="8b130982-2e3f-4164-b881-fd3a2e4b2453" providerId="ADAL" clId="{4457FA57-250B-44AC-8655-05D46C5A3D8A}" dt="2023-06-06T08:39:18.399" v="8821"/>
          <ac:spMkLst>
            <pc:docMk/>
            <pc:sldMk cId="2804642972" sldId="230717659"/>
            <ac:spMk id="37" creationId="{A7658170-32EC-4647-8B77-1BBE86652691}"/>
          </ac:spMkLst>
        </pc:spChg>
        <pc:spChg chg="add mod">
          <ac:chgData name="Manal El Bakkouri" userId="8b130982-2e3f-4164-b881-fd3a2e4b2453" providerId="ADAL" clId="{4457FA57-250B-44AC-8655-05D46C5A3D8A}" dt="2023-06-06T08:39:18.399" v="8821"/>
          <ac:spMkLst>
            <pc:docMk/>
            <pc:sldMk cId="2804642972" sldId="230717659"/>
            <ac:spMk id="38" creationId="{3EE6D99F-6199-4B0D-845B-33BA87227C19}"/>
          </ac:spMkLst>
        </pc:spChg>
      </pc:sldChg>
      <pc:sldChg chg="addSp delSp modSp del mod">
        <pc:chgData name="Manal El Bakkouri" userId="8b130982-2e3f-4164-b881-fd3a2e4b2453" providerId="ADAL" clId="{4457FA57-250B-44AC-8655-05D46C5A3D8A}" dt="2023-06-09T15:10:36.764" v="22857" actId="2696"/>
        <pc:sldMkLst>
          <pc:docMk/>
          <pc:sldMk cId="54621492" sldId="230717662"/>
        </pc:sldMkLst>
        <pc:spChg chg="mod topLvl">
          <ac:chgData name="Manal El Bakkouri" userId="8b130982-2e3f-4164-b881-fd3a2e4b2453" providerId="ADAL" clId="{4457FA57-250B-44AC-8655-05D46C5A3D8A}" dt="2023-06-09T14:40:16.988" v="22095" actId="165"/>
          <ac:spMkLst>
            <pc:docMk/>
            <pc:sldMk cId="54621492" sldId="230717662"/>
            <ac:spMk id="15" creationId="{C9ABE672-CA17-4254-AFF0-A03EA41BB1B8}"/>
          </ac:spMkLst>
        </pc:spChg>
        <pc:spChg chg="mod">
          <ac:chgData name="Manal El Bakkouri" userId="8b130982-2e3f-4164-b881-fd3a2e4b2453" providerId="ADAL" clId="{4457FA57-250B-44AC-8655-05D46C5A3D8A}" dt="2023-06-09T14:24:25.166" v="21868" actId="164"/>
          <ac:spMkLst>
            <pc:docMk/>
            <pc:sldMk cId="54621492" sldId="230717662"/>
            <ac:spMk id="17" creationId="{07A1EC7F-8449-4C14-AA14-7EFC05703416}"/>
          </ac:spMkLst>
        </pc:spChg>
        <pc:spChg chg="mod">
          <ac:chgData name="Manal El Bakkouri" userId="8b130982-2e3f-4164-b881-fd3a2e4b2453" providerId="ADAL" clId="{4457FA57-250B-44AC-8655-05D46C5A3D8A}" dt="2023-06-09T14:24:25.166" v="21868" actId="164"/>
          <ac:spMkLst>
            <pc:docMk/>
            <pc:sldMk cId="54621492" sldId="230717662"/>
            <ac:spMk id="18" creationId="{E9489598-7A23-40E4-A184-5EF4A0FD2AC1}"/>
          </ac:spMkLst>
        </pc:spChg>
        <pc:spChg chg="mod">
          <ac:chgData name="Manal El Bakkouri" userId="8b130982-2e3f-4164-b881-fd3a2e4b2453" providerId="ADAL" clId="{4457FA57-250B-44AC-8655-05D46C5A3D8A}" dt="2023-06-09T11:32:33.886" v="21826"/>
          <ac:spMkLst>
            <pc:docMk/>
            <pc:sldMk cId="54621492" sldId="230717662"/>
            <ac:spMk id="35" creationId="{91CAA081-A249-4D6A-B025-E66AA533E355}"/>
          </ac:spMkLst>
        </pc:spChg>
        <pc:spChg chg="mod">
          <ac:chgData name="Manal El Bakkouri" userId="8b130982-2e3f-4164-b881-fd3a2e4b2453" providerId="ADAL" clId="{4457FA57-250B-44AC-8655-05D46C5A3D8A}" dt="2023-06-09T11:32:33.886" v="21826"/>
          <ac:spMkLst>
            <pc:docMk/>
            <pc:sldMk cId="54621492" sldId="230717662"/>
            <ac:spMk id="36" creationId="{F82ECBBD-A04A-46F5-9FBD-DB1623F8F599}"/>
          </ac:spMkLst>
        </pc:spChg>
        <pc:spChg chg="mod">
          <ac:chgData name="Manal El Bakkouri" userId="8b130982-2e3f-4164-b881-fd3a2e4b2453" providerId="ADAL" clId="{4457FA57-250B-44AC-8655-05D46C5A3D8A}" dt="2023-06-09T11:32:33.886" v="21826"/>
          <ac:spMkLst>
            <pc:docMk/>
            <pc:sldMk cId="54621492" sldId="230717662"/>
            <ac:spMk id="37" creationId="{0F21F45A-D95A-4A1D-BDE4-8E2D55A98D95}"/>
          </ac:spMkLst>
        </pc:spChg>
        <pc:spChg chg="mod">
          <ac:chgData name="Manal El Bakkouri" userId="8b130982-2e3f-4164-b881-fd3a2e4b2453" providerId="ADAL" clId="{4457FA57-250B-44AC-8655-05D46C5A3D8A}" dt="2023-06-09T14:21:39.216" v="21849" actId="571"/>
          <ac:spMkLst>
            <pc:docMk/>
            <pc:sldMk cId="54621492" sldId="230717662"/>
            <ac:spMk id="39" creationId="{1BD07FBF-3914-4BCF-B53B-1C308D77DD07}"/>
          </ac:spMkLst>
        </pc:spChg>
        <pc:spChg chg="mod">
          <ac:chgData name="Manal El Bakkouri" userId="8b130982-2e3f-4164-b881-fd3a2e4b2453" providerId="ADAL" clId="{4457FA57-250B-44AC-8655-05D46C5A3D8A}" dt="2023-06-09T14:21:39.216" v="21849" actId="571"/>
          <ac:spMkLst>
            <pc:docMk/>
            <pc:sldMk cId="54621492" sldId="230717662"/>
            <ac:spMk id="41" creationId="{47AF11C9-6C5B-461F-AC4D-58F58DB8E990}"/>
          </ac:spMkLst>
        </pc:spChg>
        <pc:spChg chg="mod">
          <ac:chgData name="Manal El Bakkouri" userId="8b130982-2e3f-4164-b881-fd3a2e4b2453" providerId="ADAL" clId="{4457FA57-250B-44AC-8655-05D46C5A3D8A}" dt="2023-06-09T14:21:39.216" v="21849" actId="571"/>
          <ac:spMkLst>
            <pc:docMk/>
            <pc:sldMk cId="54621492" sldId="230717662"/>
            <ac:spMk id="42" creationId="{A0DFDA7A-C294-48D0-8C80-DB65EBD0429E}"/>
          </ac:spMkLst>
        </pc:spChg>
        <pc:spChg chg="add mod">
          <ac:chgData name="Manal El Bakkouri" userId="8b130982-2e3f-4164-b881-fd3a2e4b2453" providerId="ADAL" clId="{4457FA57-250B-44AC-8655-05D46C5A3D8A}" dt="2023-06-09T14:21:39.216" v="21849" actId="571"/>
          <ac:spMkLst>
            <pc:docMk/>
            <pc:sldMk cId="54621492" sldId="230717662"/>
            <ac:spMk id="43" creationId="{8F84F88B-98CA-4FE0-AE5D-44D8B583130A}"/>
          </ac:spMkLst>
        </pc:spChg>
        <pc:spChg chg="mod">
          <ac:chgData name="Manal El Bakkouri" userId="8b130982-2e3f-4164-b881-fd3a2e4b2453" providerId="ADAL" clId="{4457FA57-250B-44AC-8655-05D46C5A3D8A}" dt="2023-06-09T14:21:39.216" v="21849" actId="571"/>
          <ac:spMkLst>
            <pc:docMk/>
            <pc:sldMk cId="54621492" sldId="230717662"/>
            <ac:spMk id="46" creationId="{CEBF0978-B414-44C4-B167-95B690B6ACDB}"/>
          </ac:spMkLst>
        </pc:spChg>
        <pc:spChg chg="mod">
          <ac:chgData name="Manal El Bakkouri" userId="8b130982-2e3f-4164-b881-fd3a2e4b2453" providerId="ADAL" clId="{4457FA57-250B-44AC-8655-05D46C5A3D8A}" dt="2023-06-09T14:21:39.216" v="21849" actId="571"/>
          <ac:spMkLst>
            <pc:docMk/>
            <pc:sldMk cId="54621492" sldId="230717662"/>
            <ac:spMk id="47" creationId="{E4FD746A-BB7D-47AE-AF3E-3143892A7D82}"/>
          </ac:spMkLst>
        </pc:spChg>
        <pc:spChg chg="mod">
          <ac:chgData name="Manal El Bakkouri" userId="8b130982-2e3f-4164-b881-fd3a2e4b2453" providerId="ADAL" clId="{4457FA57-250B-44AC-8655-05D46C5A3D8A}" dt="2023-06-09T14:21:39.216" v="21849" actId="571"/>
          <ac:spMkLst>
            <pc:docMk/>
            <pc:sldMk cId="54621492" sldId="230717662"/>
            <ac:spMk id="48" creationId="{4733848E-FC52-4C92-8951-7226FCC8EED4}"/>
          </ac:spMkLst>
        </pc:spChg>
        <pc:spChg chg="mod">
          <ac:chgData name="Manal El Bakkouri" userId="8b130982-2e3f-4164-b881-fd3a2e4b2453" providerId="ADAL" clId="{4457FA57-250B-44AC-8655-05D46C5A3D8A}" dt="2023-06-09T14:21:38.204" v="21843" actId="571"/>
          <ac:spMkLst>
            <pc:docMk/>
            <pc:sldMk cId="54621492" sldId="230717662"/>
            <ac:spMk id="50" creationId="{F6150DDE-D16B-45E9-99CE-7D3ECA642A24}"/>
          </ac:spMkLst>
        </pc:spChg>
        <pc:spChg chg="mod">
          <ac:chgData name="Manal El Bakkouri" userId="8b130982-2e3f-4164-b881-fd3a2e4b2453" providerId="ADAL" clId="{4457FA57-250B-44AC-8655-05D46C5A3D8A}" dt="2023-06-09T14:24:25.166" v="21868" actId="164"/>
          <ac:spMkLst>
            <pc:docMk/>
            <pc:sldMk cId="54621492" sldId="230717662"/>
            <ac:spMk id="51" creationId="{E44EE54E-8335-4834-AA17-45E79CB518A5}"/>
          </ac:spMkLst>
        </pc:spChg>
        <pc:spChg chg="mod">
          <ac:chgData name="Manal El Bakkouri" userId="8b130982-2e3f-4164-b881-fd3a2e4b2453" providerId="ADAL" clId="{4457FA57-250B-44AC-8655-05D46C5A3D8A}" dt="2023-06-09T14:24:25.166" v="21868" actId="164"/>
          <ac:spMkLst>
            <pc:docMk/>
            <pc:sldMk cId="54621492" sldId="230717662"/>
            <ac:spMk id="52" creationId="{0DCF5307-4E0F-449C-A068-F83699462820}"/>
          </ac:spMkLst>
        </pc:spChg>
        <pc:spChg chg="mod topLvl">
          <ac:chgData name="Manal El Bakkouri" userId="8b130982-2e3f-4164-b881-fd3a2e4b2453" providerId="ADAL" clId="{4457FA57-250B-44AC-8655-05D46C5A3D8A}" dt="2023-06-09T14:40:16.988" v="22095" actId="165"/>
          <ac:spMkLst>
            <pc:docMk/>
            <pc:sldMk cId="54621492" sldId="230717662"/>
            <ac:spMk id="53" creationId="{6F2540E0-7B09-4D26-8568-3187EEA14E2D}"/>
          </ac:spMkLst>
        </pc:spChg>
        <pc:spChg chg="mod">
          <ac:chgData name="Manal El Bakkouri" userId="8b130982-2e3f-4164-b881-fd3a2e4b2453" providerId="ADAL" clId="{4457FA57-250B-44AC-8655-05D46C5A3D8A}" dt="2023-06-09T14:24:25.166" v="21868" actId="164"/>
          <ac:spMkLst>
            <pc:docMk/>
            <pc:sldMk cId="54621492" sldId="230717662"/>
            <ac:spMk id="54" creationId="{B03C8AB1-96A9-4577-8CF5-1E6AB5FFAB5C}"/>
          </ac:spMkLst>
        </pc:spChg>
        <pc:spChg chg="mod">
          <ac:chgData name="Manal El Bakkouri" userId="8b130982-2e3f-4164-b881-fd3a2e4b2453" providerId="ADAL" clId="{4457FA57-250B-44AC-8655-05D46C5A3D8A}" dt="2023-06-09T14:24:25.166" v="21868" actId="164"/>
          <ac:spMkLst>
            <pc:docMk/>
            <pc:sldMk cId="54621492" sldId="230717662"/>
            <ac:spMk id="55" creationId="{E245EB2A-7798-441E-BDA4-13838E20EC3F}"/>
          </ac:spMkLst>
        </pc:spChg>
        <pc:spChg chg="mod">
          <ac:chgData name="Manal El Bakkouri" userId="8b130982-2e3f-4164-b881-fd3a2e4b2453" providerId="ADAL" clId="{4457FA57-250B-44AC-8655-05D46C5A3D8A}" dt="2023-06-09T14:24:25.166" v="21868" actId="164"/>
          <ac:spMkLst>
            <pc:docMk/>
            <pc:sldMk cId="54621492" sldId="230717662"/>
            <ac:spMk id="56" creationId="{18074B22-072D-4C5F-9F33-9534B5E7EE14}"/>
          </ac:spMkLst>
        </pc:spChg>
        <pc:spChg chg="mod topLvl">
          <ac:chgData name="Manal El Bakkouri" userId="8b130982-2e3f-4164-b881-fd3a2e4b2453" providerId="ADAL" clId="{4457FA57-250B-44AC-8655-05D46C5A3D8A}" dt="2023-06-09T14:40:16.988" v="22095" actId="165"/>
          <ac:spMkLst>
            <pc:docMk/>
            <pc:sldMk cId="54621492" sldId="230717662"/>
            <ac:spMk id="57" creationId="{EE5F0EA5-79B5-4B0A-9D0E-6EA2434B8F67}"/>
          </ac:spMkLst>
        </pc:spChg>
        <pc:spChg chg="mod">
          <ac:chgData name="Manal El Bakkouri" userId="8b130982-2e3f-4164-b881-fd3a2e4b2453" providerId="ADAL" clId="{4457FA57-250B-44AC-8655-05D46C5A3D8A}" dt="2023-06-09T14:24:25.166" v="21868" actId="164"/>
          <ac:spMkLst>
            <pc:docMk/>
            <pc:sldMk cId="54621492" sldId="230717662"/>
            <ac:spMk id="58" creationId="{1B79AEDC-733E-4700-ADBE-454EB6EEFFFA}"/>
          </ac:spMkLst>
        </pc:spChg>
        <pc:spChg chg="mod">
          <ac:chgData name="Manal El Bakkouri" userId="8b130982-2e3f-4164-b881-fd3a2e4b2453" providerId="ADAL" clId="{4457FA57-250B-44AC-8655-05D46C5A3D8A}" dt="2023-06-09T14:24:25.166" v="21868" actId="164"/>
          <ac:spMkLst>
            <pc:docMk/>
            <pc:sldMk cId="54621492" sldId="230717662"/>
            <ac:spMk id="59" creationId="{EC768663-3464-42B9-A74C-C75418A93A39}"/>
          </ac:spMkLst>
        </pc:spChg>
        <pc:spChg chg="del mod">
          <ac:chgData name="Manal El Bakkouri" userId="8b130982-2e3f-4164-b881-fd3a2e4b2453" providerId="ADAL" clId="{4457FA57-250B-44AC-8655-05D46C5A3D8A}" dt="2023-06-09T14:34:33.381" v="22069" actId="478"/>
          <ac:spMkLst>
            <pc:docMk/>
            <pc:sldMk cId="54621492" sldId="230717662"/>
            <ac:spMk id="62" creationId="{9F2F1765-363D-4EA9-BD5A-E5A95C06BE79}"/>
          </ac:spMkLst>
        </pc:spChg>
        <pc:spChg chg="mod">
          <ac:chgData name="Manal El Bakkouri" userId="8b130982-2e3f-4164-b881-fd3a2e4b2453" providerId="ADAL" clId="{4457FA57-250B-44AC-8655-05D46C5A3D8A}" dt="2023-06-09T14:21:38.204" v="21843" actId="571"/>
          <ac:spMkLst>
            <pc:docMk/>
            <pc:sldMk cId="54621492" sldId="230717662"/>
            <ac:spMk id="65" creationId="{743626E1-B340-4809-B03C-FB2D59AD554F}"/>
          </ac:spMkLst>
        </pc:spChg>
        <pc:spChg chg="mod">
          <ac:chgData name="Manal El Bakkouri" userId="8b130982-2e3f-4164-b881-fd3a2e4b2453" providerId="ADAL" clId="{4457FA57-250B-44AC-8655-05D46C5A3D8A}" dt="2023-06-09T14:21:38.204" v="21843" actId="571"/>
          <ac:spMkLst>
            <pc:docMk/>
            <pc:sldMk cId="54621492" sldId="230717662"/>
            <ac:spMk id="68" creationId="{240F7A84-4127-4416-A710-C61F2E4AB7F3}"/>
          </ac:spMkLst>
        </pc:spChg>
        <pc:spChg chg="mod">
          <ac:chgData name="Manal El Bakkouri" userId="8b130982-2e3f-4164-b881-fd3a2e4b2453" providerId="ADAL" clId="{4457FA57-250B-44AC-8655-05D46C5A3D8A}" dt="2023-06-09T14:24:25.720" v="21869" actId="571"/>
          <ac:spMkLst>
            <pc:docMk/>
            <pc:sldMk cId="54621492" sldId="230717662"/>
            <ac:spMk id="70" creationId="{0F95C048-8E38-46AE-9765-D4AF941EE04F}"/>
          </ac:spMkLst>
        </pc:spChg>
        <pc:spChg chg="mod">
          <ac:chgData name="Manal El Bakkouri" userId="8b130982-2e3f-4164-b881-fd3a2e4b2453" providerId="ADAL" clId="{4457FA57-250B-44AC-8655-05D46C5A3D8A}" dt="2023-06-09T14:24:25.720" v="21869" actId="571"/>
          <ac:spMkLst>
            <pc:docMk/>
            <pc:sldMk cId="54621492" sldId="230717662"/>
            <ac:spMk id="72" creationId="{419B705B-6B22-4013-BC27-2AC289DBEA73}"/>
          </ac:spMkLst>
        </pc:spChg>
        <pc:spChg chg="mod">
          <ac:chgData name="Manal El Bakkouri" userId="8b130982-2e3f-4164-b881-fd3a2e4b2453" providerId="ADAL" clId="{4457FA57-250B-44AC-8655-05D46C5A3D8A}" dt="2023-06-09T14:24:25.720" v="21869" actId="571"/>
          <ac:spMkLst>
            <pc:docMk/>
            <pc:sldMk cId="54621492" sldId="230717662"/>
            <ac:spMk id="73" creationId="{EA532904-80A6-4BA8-98A2-3CB1EC153C49}"/>
          </ac:spMkLst>
        </pc:spChg>
        <pc:spChg chg="mod">
          <ac:chgData name="Manal El Bakkouri" userId="8b130982-2e3f-4164-b881-fd3a2e4b2453" providerId="ADAL" clId="{4457FA57-250B-44AC-8655-05D46C5A3D8A}" dt="2023-06-09T14:22:03.137" v="21862" actId="571"/>
          <ac:spMkLst>
            <pc:docMk/>
            <pc:sldMk cId="54621492" sldId="230717662"/>
            <ac:spMk id="76" creationId="{49F7C51B-FC59-4EC5-9470-F9F5BD4F5208}"/>
          </ac:spMkLst>
        </pc:spChg>
        <pc:spChg chg="mod">
          <ac:chgData name="Manal El Bakkouri" userId="8b130982-2e3f-4164-b881-fd3a2e4b2453" providerId="ADAL" clId="{4457FA57-250B-44AC-8655-05D46C5A3D8A}" dt="2023-06-09T14:22:03.137" v="21862" actId="571"/>
          <ac:spMkLst>
            <pc:docMk/>
            <pc:sldMk cId="54621492" sldId="230717662"/>
            <ac:spMk id="78" creationId="{B36061FF-4EF6-4BAE-A950-1B7869C50C2D}"/>
          </ac:spMkLst>
        </pc:spChg>
        <pc:spChg chg="mod">
          <ac:chgData name="Manal El Bakkouri" userId="8b130982-2e3f-4164-b881-fd3a2e4b2453" providerId="ADAL" clId="{4457FA57-250B-44AC-8655-05D46C5A3D8A}" dt="2023-06-09T14:22:03.137" v="21862" actId="571"/>
          <ac:spMkLst>
            <pc:docMk/>
            <pc:sldMk cId="54621492" sldId="230717662"/>
            <ac:spMk id="79" creationId="{0B4E2EF1-932B-4108-963F-7D06A6899E16}"/>
          </ac:spMkLst>
        </pc:spChg>
        <pc:spChg chg="mod">
          <ac:chgData name="Manal El Bakkouri" userId="8b130982-2e3f-4164-b881-fd3a2e4b2453" providerId="ADAL" clId="{4457FA57-250B-44AC-8655-05D46C5A3D8A}" dt="2023-06-09T14:23:08.544" v="21864" actId="571"/>
          <ac:spMkLst>
            <pc:docMk/>
            <pc:sldMk cId="54621492" sldId="230717662"/>
            <ac:spMk id="82" creationId="{40E76E9F-B7CC-4A19-8A08-B29C2F102B60}"/>
          </ac:spMkLst>
        </pc:spChg>
        <pc:spChg chg="mod">
          <ac:chgData name="Manal El Bakkouri" userId="8b130982-2e3f-4164-b881-fd3a2e4b2453" providerId="ADAL" clId="{4457FA57-250B-44AC-8655-05D46C5A3D8A}" dt="2023-06-09T14:23:08.544" v="21864" actId="571"/>
          <ac:spMkLst>
            <pc:docMk/>
            <pc:sldMk cId="54621492" sldId="230717662"/>
            <ac:spMk id="84" creationId="{AFCA6FA9-3CD9-4E9C-9B62-12DE15D3E550}"/>
          </ac:spMkLst>
        </pc:spChg>
        <pc:spChg chg="mod">
          <ac:chgData name="Manal El Bakkouri" userId="8b130982-2e3f-4164-b881-fd3a2e4b2453" providerId="ADAL" clId="{4457FA57-250B-44AC-8655-05D46C5A3D8A}" dt="2023-06-09T14:23:08.544" v="21864" actId="571"/>
          <ac:spMkLst>
            <pc:docMk/>
            <pc:sldMk cId="54621492" sldId="230717662"/>
            <ac:spMk id="85" creationId="{96002A39-7638-4A48-8313-774871969BA7}"/>
          </ac:spMkLst>
        </pc:spChg>
        <pc:spChg chg="mod">
          <ac:chgData name="Manal El Bakkouri" userId="8b130982-2e3f-4164-b881-fd3a2e4b2453" providerId="ADAL" clId="{4457FA57-250B-44AC-8655-05D46C5A3D8A}" dt="2023-06-09T14:23:08.544" v="21864" actId="571"/>
          <ac:spMkLst>
            <pc:docMk/>
            <pc:sldMk cId="54621492" sldId="230717662"/>
            <ac:spMk id="87" creationId="{32F49F3E-5718-410B-A072-6EA5146E4DD4}"/>
          </ac:spMkLst>
        </pc:spChg>
        <pc:spChg chg="mod">
          <ac:chgData name="Manal El Bakkouri" userId="8b130982-2e3f-4164-b881-fd3a2e4b2453" providerId="ADAL" clId="{4457FA57-250B-44AC-8655-05D46C5A3D8A}" dt="2023-06-09T14:23:08.544" v="21864" actId="571"/>
          <ac:spMkLst>
            <pc:docMk/>
            <pc:sldMk cId="54621492" sldId="230717662"/>
            <ac:spMk id="89" creationId="{90A52B50-2BA3-430E-A9CB-083619532F00}"/>
          </ac:spMkLst>
        </pc:spChg>
        <pc:spChg chg="mod">
          <ac:chgData name="Manal El Bakkouri" userId="8b130982-2e3f-4164-b881-fd3a2e4b2453" providerId="ADAL" clId="{4457FA57-250B-44AC-8655-05D46C5A3D8A}" dt="2023-06-09T14:23:08.544" v="21864" actId="571"/>
          <ac:spMkLst>
            <pc:docMk/>
            <pc:sldMk cId="54621492" sldId="230717662"/>
            <ac:spMk id="90" creationId="{C8480345-F543-405E-93F7-B5191AA9849C}"/>
          </ac:spMkLst>
        </pc:spChg>
        <pc:grpChg chg="add mod">
          <ac:chgData name="Manal El Bakkouri" userId="8b130982-2e3f-4164-b881-fd3a2e4b2453" providerId="ADAL" clId="{4457FA57-250B-44AC-8655-05D46C5A3D8A}" dt="2023-06-09T14:24:25.166" v="21868" actId="164"/>
          <ac:grpSpMkLst>
            <pc:docMk/>
            <pc:sldMk cId="54621492" sldId="230717662"/>
            <ac:grpSpMk id="2" creationId="{37E9F3A5-E52D-4406-9110-F20307B295E3}"/>
          </ac:grpSpMkLst>
        </pc:grpChg>
        <pc:grpChg chg="add del mod">
          <ac:chgData name="Manal El Bakkouri" userId="8b130982-2e3f-4164-b881-fd3a2e4b2453" providerId="ADAL" clId="{4457FA57-250B-44AC-8655-05D46C5A3D8A}" dt="2023-06-09T14:21:39.569" v="21851"/>
          <ac:grpSpMkLst>
            <pc:docMk/>
            <pc:sldMk cId="54621492" sldId="230717662"/>
            <ac:grpSpMk id="33" creationId="{60EF3072-7241-43E0-9AFD-209593BEF0D3}"/>
          </ac:grpSpMkLst>
        </pc:grpChg>
        <pc:grpChg chg="add mod">
          <ac:chgData name="Manal El Bakkouri" userId="8b130982-2e3f-4164-b881-fd3a2e4b2453" providerId="ADAL" clId="{4457FA57-250B-44AC-8655-05D46C5A3D8A}" dt="2023-06-09T14:21:39.216" v="21849" actId="571"/>
          <ac:grpSpMkLst>
            <pc:docMk/>
            <pc:sldMk cId="54621492" sldId="230717662"/>
            <ac:grpSpMk id="38" creationId="{7EC37377-0FA7-4C35-BEFE-F8BCAC7A1BCB}"/>
          </ac:grpSpMkLst>
        </pc:grpChg>
        <pc:grpChg chg="add mod">
          <ac:chgData name="Manal El Bakkouri" userId="8b130982-2e3f-4164-b881-fd3a2e4b2453" providerId="ADAL" clId="{4457FA57-250B-44AC-8655-05D46C5A3D8A}" dt="2023-06-09T14:21:39.216" v="21849" actId="571"/>
          <ac:grpSpMkLst>
            <pc:docMk/>
            <pc:sldMk cId="54621492" sldId="230717662"/>
            <ac:grpSpMk id="44" creationId="{6004FC6E-AE52-463A-A64E-89B3197C6C61}"/>
          </ac:grpSpMkLst>
        </pc:grpChg>
        <pc:grpChg chg="add mod">
          <ac:chgData name="Manal El Bakkouri" userId="8b130982-2e3f-4164-b881-fd3a2e4b2453" providerId="ADAL" clId="{4457FA57-250B-44AC-8655-05D46C5A3D8A}" dt="2023-06-09T14:21:38.204" v="21843" actId="571"/>
          <ac:grpSpMkLst>
            <pc:docMk/>
            <pc:sldMk cId="54621492" sldId="230717662"/>
            <ac:grpSpMk id="49" creationId="{1EF11A73-7D48-4471-8803-17C1208DDC10}"/>
          </ac:grpSpMkLst>
        </pc:grpChg>
        <pc:grpChg chg="mod">
          <ac:chgData name="Manal El Bakkouri" userId="8b130982-2e3f-4164-b881-fd3a2e4b2453" providerId="ADAL" clId="{4457FA57-250B-44AC-8655-05D46C5A3D8A}" dt="2023-06-09T14:10:20.244" v="21833" actId="553"/>
          <ac:grpSpMkLst>
            <pc:docMk/>
            <pc:sldMk cId="54621492" sldId="230717662"/>
            <ac:grpSpMk id="64" creationId="{B098881E-5E2F-4A5E-AEE3-8EA9BBA1478B}"/>
          </ac:grpSpMkLst>
        </pc:grpChg>
        <pc:grpChg chg="mod">
          <ac:chgData name="Manal El Bakkouri" userId="8b130982-2e3f-4164-b881-fd3a2e4b2453" providerId="ADAL" clId="{4457FA57-250B-44AC-8655-05D46C5A3D8A}" dt="2023-06-09T14:24:24.595" v="21867" actId="465"/>
          <ac:grpSpMkLst>
            <pc:docMk/>
            <pc:sldMk cId="54621492" sldId="230717662"/>
            <ac:grpSpMk id="66" creationId="{F0B2F60C-EB8F-4C40-B314-203495547A9D}"/>
          </ac:grpSpMkLst>
        </pc:grpChg>
        <pc:grpChg chg="del mod">
          <ac:chgData name="Manal El Bakkouri" userId="8b130982-2e3f-4164-b881-fd3a2e4b2453" providerId="ADAL" clId="{4457FA57-250B-44AC-8655-05D46C5A3D8A}" dt="2023-06-09T14:40:16.988" v="22095" actId="165"/>
          <ac:grpSpMkLst>
            <pc:docMk/>
            <pc:sldMk cId="54621492" sldId="230717662"/>
            <ac:grpSpMk id="67" creationId="{0A57B063-5E07-4AC8-9AD2-FB010C3B27ED}"/>
          </ac:grpSpMkLst>
        </pc:grpChg>
        <pc:grpChg chg="add mod">
          <ac:chgData name="Manal El Bakkouri" userId="8b130982-2e3f-4164-b881-fd3a2e4b2453" providerId="ADAL" clId="{4457FA57-250B-44AC-8655-05D46C5A3D8A}" dt="2023-06-09T14:24:25.720" v="21869" actId="571"/>
          <ac:grpSpMkLst>
            <pc:docMk/>
            <pc:sldMk cId="54621492" sldId="230717662"/>
            <ac:grpSpMk id="69" creationId="{81B9432D-F028-49D6-9D67-E171688D02B2}"/>
          </ac:grpSpMkLst>
        </pc:grpChg>
        <pc:grpChg chg="add mod">
          <ac:chgData name="Manal El Bakkouri" userId="8b130982-2e3f-4164-b881-fd3a2e4b2453" providerId="ADAL" clId="{4457FA57-250B-44AC-8655-05D46C5A3D8A}" dt="2023-06-09T14:22:03.137" v="21862" actId="571"/>
          <ac:grpSpMkLst>
            <pc:docMk/>
            <pc:sldMk cId="54621492" sldId="230717662"/>
            <ac:grpSpMk id="75" creationId="{8FB4B8A9-7DB6-49BD-90AC-4A37B32C2541}"/>
          </ac:grpSpMkLst>
        </pc:grpChg>
        <pc:grpChg chg="add mod">
          <ac:chgData name="Manal El Bakkouri" userId="8b130982-2e3f-4164-b881-fd3a2e4b2453" providerId="ADAL" clId="{4457FA57-250B-44AC-8655-05D46C5A3D8A}" dt="2023-06-09T14:23:08.544" v="21864" actId="571"/>
          <ac:grpSpMkLst>
            <pc:docMk/>
            <pc:sldMk cId="54621492" sldId="230717662"/>
            <ac:grpSpMk id="81" creationId="{A0EF8943-9566-4F31-88AD-D0828160B7D7}"/>
          </ac:grpSpMkLst>
        </pc:grpChg>
        <pc:grpChg chg="add mod">
          <ac:chgData name="Manal El Bakkouri" userId="8b130982-2e3f-4164-b881-fd3a2e4b2453" providerId="ADAL" clId="{4457FA57-250B-44AC-8655-05D46C5A3D8A}" dt="2023-06-09T14:23:08.544" v="21864" actId="571"/>
          <ac:grpSpMkLst>
            <pc:docMk/>
            <pc:sldMk cId="54621492" sldId="230717662"/>
            <ac:grpSpMk id="86" creationId="{ED635300-47F4-4E18-AAA4-490A0AFF9C47}"/>
          </ac:grpSpMkLst>
        </pc:grpChg>
        <pc:picChg chg="del mod">
          <ac:chgData name="Manal El Bakkouri" userId="8b130982-2e3f-4164-b881-fd3a2e4b2453" providerId="ADAL" clId="{4457FA57-250B-44AC-8655-05D46C5A3D8A}" dt="2023-06-09T14:39:09.664" v="22091" actId="478"/>
          <ac:picMkLst>
            <pc:docMk/>
            <pc:sldMk cId="54621492" sldId="230717662"/>
            <ac:picMk id="5" creationId="{B91189E4-3152-41C0-9F69-CE5D36ECD280}"/>
          </ac:picMkLst>
        </pc:picChg>
        <pc:picChg chg="add mod">
          <ac:chgData name="Manal El Bakkouri" userId="8b130982-2e3f-4164-b881-fd3a2e4b2453" providerId="ADAL" clId="{4457FA57-250B-44AC-8655-05D46C5A3D8A}" dt="2023-06-09T14:22:03.137" v="21862" actId="571"/>
          <ac:picMkLst>
            <pc:docMk/>
            <pc:sldMk cId="54621492" sldId="230717662"/>
            <ac:picMk id="74" creationId="{5F4DE8C9-7981-411E-B8D3-DB42C932EBC6}"/>
          </ac:picMkLst>
        </pc:picChg>
        <pc:picChg chg="add mod">
          <ac:chgData name="Manal El Bakkouri" userId="8b130982-2e3f-4164-b881-fd3a2e4b2453" providerId="ADAL" clId="{4457FA57-250B-44AC-8655-05D46C5A3D8A}" dt="2023-06-09T14:23:08.544" v="21864" actId="571"/>
          <ac:picMkLst>
            <pc:docMk/>
            <pc:sldMk cId="54621492" sldId="230717662"/>
            <ac:picMk id="80" creationId="{C6AB2751-362C-492F-BC4A-2F138EFCF255}"/>
          </ac:picMkLst>
        </pc:picChg>
        <pc:cxnChg chg="mod topLvl">
          <ac:chgData name="Manal El Bakkouri" userId="8b130982-2e3f-4164-b881-fd3a2e4b2453" providerId="ADAL" clId="{4457FA57-250B-44AC-8655-05D46C5A3D8A}" dt="2023-06-09T14:40:16.988" v="22095" actId="165"/>
          <ac:cxnSpMkLst>
            <pc:docMk/>
            <pc:sldMk cId="54621492" sldId="230717662"/>
            <ac:cxnSpMk id="16" creationId="{48831266-42BF-48AB-A84B-9A48941BB801}"/>
          </ac:cxnSpMkLst>
        </pc:cxnChg>
        <pc:cxnChg chg="mod">
          <ac:chgData name="Manal El Bakkouri" userId="8b130982-2e3f-4164-b881-fd3a2e4b2453" providerId="ADAL" clId="{4457FA57-250B-44AC-8655-05D46C5A3D8A}" dt="2023-06-09T14:21:38.733" v="21846" actId="478"/>
          <ac:cxnSpMkLst>
            <pc:docMk/>
            <pc:sldMk cId="54621492" sldId="230717662"/>
            <ac:cxnSpMk id="34" creationId="{4CABDB28-B1AE-488F-856B-DA4EF57C4E05}"/>
          </ac:cxnSpMkLst>
        </pc:cxnChg>
        <pc:cxnChg chg="mod">
          <ac:chgData name="Manal El Bakkouri" userId="8b130982-2e3f-4164-b881-fd3a2e4b2453" providerId="ADAL" clId="{4457FA57-250B-44AC-8655-05D46C5A3D8A}" dt="2023-06-09T14:21:39.216" v="21849" actId="571"/>
          <ac:cxnSpMkLst>
            <pc:docMk/>
            <pc:sldMk cId="54621492" sldId="230717662"/>
            <ac:cxnSpMk id="40" creationId="{D7265C05-4BB8-4EEF-90E0-98165A87EF93}"/>
          </ac:cxnSpMkLst>
        </pc:cxnChg>
        <pc:cxnChg chg="mod">
          <ac:chgData name="Manal El Bakkouri" userId="8b130982-2e3f-4164-b881-fd3a2e4b2453" providerId="ADAL" clId="{4457FA57-250B-44AC-8655-05D46C5A3D8A}" dt="2023-06-09T14:21:39.216" v="21849" actId="571"/>
          <ac:cxnSpMkLst>
            <pc:docMk/>
            <pc:sldMk cId="54621492" sldId="230717662"/>
            <ac:cxnSpMk id="45" creationId="{8E0EB31F-EA34-415D-B946-45065B3C6D48}"/>
          </ac:cxnSpMkLst>
        </pc:cxnChg>
        <pc:cxnChg chg="mod">
          <ac:chgData name="Manal El Bakkouri" userId="8b130982-2e3f-4164-b881-fd3a2e4b2453" providerId="ADAL" clId="{4457FA57-250B-44AC-8655-05D46C5A3D8A}" dt="2023-06-09T14:21:38.204" v="21843" actId="571"/>
          <ac:cxnSpMkLst>
            <pc:docMk/>
            <pc:sldMk cId="54621492" sldId="230717662"/>
            <ac:cxnSpMk id="63" creationId="{848C2775-6AD2-4D1A-93C1-85C8AFDFC39C}"/>
          </ac:cxnSpMkLst>
        </pc:cxnChg>
        <pc:cxnChg chg="mod">
          <ac:chgData name="Manal El Bakkouri" userId="8b130982-2e3f-4164-b881-fd3a2e4b2453" providerId="ADAL" clId="{4457FA57-250B-44AC-8655-05D46C5A3D8A}" dt="2023-06-09T14:24:25.720" v="21869" actId="571"/>
          <ac:cxnSpMkLst>
            <pc:docMk/>
            <pc:sldMk cId="54621492" sldId="230717662"/>
            <ac:cxnSpMk id="71" creationId="{3C907DFD-2AAA-4418-9873-BDB779C1C591}"/>
          </ac:cxnSpMkLst>
        </pc:cxnChg>
        <pc:cxnChg chg="mod">
          <ac:chgData name="Manal El Bakkouri" userId="8b130982-2e3f-4164-b881-fd3a2e4b2453" providerId="ADAL" clId="{4457FA57-250B-44AC-8655-05D46C5A3D8A}" dt="2023-06-09T14:22:03.137" v="21862" actId="571"/>
          <ac:cxnSpMkLst>
            <pc:docMk/>
            <pc:sldMk cId="54621492" sldId="230717662"/>
            <ac:cxnSpMk id="77" creationId="{3B716D24-6C84-49EA-A37D-48CD30DA38AE}"/>
          </ac:cxnSpMkLst>
        </pc:cxnChg>
        <pc:cxnChg chg="mod">
          <ac:chgData name="Manal El Bakkouri" userId="8b130982-2e3f-4164-b881-fd3a2e4b2453" providerId="ADAL" clId="{4457FA57-250B-44AC-8655-05D46C5A3D8A}" dt="2023-06-09T14:23:08.544" v="21864" actId="571"/>
          <ac:cxnSpMkLst>
            <pc:docMk/>
            <pc:sldMk cId="54621492" sldId="230717662"/>
            <ac:cxnSpMk id="83" creationId="{7E8D5D3E-90F0-4FF7-A259-C4B1C5B2C326}"/>
          </ac:cxnSpMkLst>
        </pc:cxnChg>
        <pc:cxnChg chg="mod">
          <ac:chgData name="Manal El Bakkouri" userId="8b130982-2e3f-4164-b881-fd3a2e4b2453" providerId="ADAL" clId="{4457FA57-250B-44AC-8655-05D46C5A3D8A}" dt="2023-06-09T14:23:08.544" v="21864" actId="571"/>
          <ac:cxnSpMkLst>
            <pc:docMk/>
            <pc:sldMk cId="54621492" sldId="230717662"/>
            <ac:cxnSpMk id="88" creationId="{764AEA08-B5AB-4047-B7F9-38A274C7A3BD}"/>
          </ac:cxnSpMkLst>
        </pc:cxnChg>
      </pc:sldChg>
      <pc:sldChg chg="del">
        <pc:chgData name="Manal El Bakkouri" userId="8b130982-2e3f-4164-b881-fd3a2e4b2453" providerId="ADAL" clId="{4457FA57-250B-44AC-8655-05D46C5A3D8A}" dt="2023-06-03T18:04:25.040" v="6022" actId="2696"/>
        <pc:sldMkLst>
          <pc:docMk/>
          <pc:sldMk cId="768870788" sldId="230717663"/>
        </pc:sldMkLst>
      </pc:sldChg>
      <pc:sldChg chg="modSp del mod modNotesTx">
        <pc:chgData name="Manal El Bakkouri" userId="8b130982-2e3f-4164-b881-fd3a2e4b2453" providerId="ADAL" clId="{4457FA57-250B-44AC-8655-05D46C5A3D8A}" dt="2023-06-09T14:44:51.025" v="22381" actId="2696"/>
        <pc:sldMkLst>
          <pc:docMk/>
          <pc:sldMk cId="3100754862" sldId="230717665"/>
        </pc:sldMkLst>
        <pc:spChg chg="mod">
          <ac:chgData name="Manal El Bakkouri" userId="8b130982-2e3f-4164-b881-fd3a2e4b2453" providerId="ADAL" clId="{4457FA57-250B-44AC-8655-05D46C5A3D8A}" dt="2023-06-06T08:31:01.172" v="8699"/>
          <ac:spMkLst>
            <pc:docMk/>
            <pc:sldMk cId="3100754862" sldId="230717665"/>
            <ac:spMk id="15" creationId="{C9ABE672-CA17-4254-AFF0-A03EA41BB1B8}"/>
          </ac:spMkLst>
        </pc:spChg>
        <pc:spChg chg="mod">
          <ac:chgData name="Manal El Bakkouri" userId="8b130982-2e3f-4164-b881-fd3a2e4b2453" providerId="ADAL" clId="{4457FA57-250B-44AC-8655-05D46C5A3D8A}" dt="2023-06-06T08:31:11.335" v="8702" actId="1076"/>
          <ac:spMkLst>
            <pc:docMk/>
            <pc:sldMk cId="3100754862" sldId="230717665"/>
            <ac:spMk id="62" creationId="{9F2F1765-363D-4EA9-BD5A-E5A95C06BE79}"/>
          </ac:spMkLst>
        </pc:spChg>
        <pc:grpChg chg="mod">
          <ac:chgData name="Manal El Bakkouri" userId="8b130982-2e3f-4164-b881-fd3a2e4b2453" providerId="ADAL" clId="{4457FA57-250B-44AC-8655-05D46C5A3D8A}" dt="2023-06-06T08:31:05.307" v="8701" actId="1076"/>
          <ac:grpSpMkLst>
            <pc:docMk/>
            <pc:sldMk cId="3100754862" sldId="230717665"/>
            <ac:grpSpMk id="67" creationId="{0A57B063-5E07-4AC8-9AD2-FB010C3B27ED}"/>
          </ac:grpSpMkLst>
        </pc:grpChg>
      </pc:sldChg>
      <pc:sldChg chg="modSp del mod">
        <pc:chgData name="Manal El Bakkouri" userId="8b130982-2e3f-4164-b881-fd3a2e4b2453" providerId="ADAL" clId="{4457FA57-250B-44AC-8655-05D46C5A3D8A}" dt="2023-06-09T14:46:42.635" v="22650" actId="2696"/>
        <pc:sldMkLst>
          <pc:docMk/>
          <pc:sldMk cId="1701904253" sldId="230717666"/>
        </pc:sldMkLst>
        <pc:spChg chg="mod">
          <ac:chgData name="Manal El Bakkouri" userId="8b130982-2e3f-4164-b881-fd3a2e4b2453" providerId="ADAL" clId="{4457FA57-250B-44AC-8655-05D46C5A3D8A}" dt="2023-06-06T08:30:08.615" v="8585" actId="20577"/>
          <ac:spMkLst>
            <pc:docMk/>
            <pc:sldMk cId="1701904253" sldId="230717666"/>
            <ac:spMk id="15" creationId="{C9ABE672-CA17-4254-AFF0-A03EA41BB1B8}"/>
          </ac:spMkLst>
        </pc:spChg>
        <pc:spChg chg="mod">
          <ac:chgData name="Manal El Bakkouri" userId="8b130982-2e3f-4164-b881-fd3a2e4b2453" providerId="ADAL" clId="{4457FA57-250B-44AC-8655-05D46C5A3D8A}" dt="2023-06-04T12:23:30.755" v="7302" actId="14100"/>
          <ac:spMkLst>
            <pc:docMk/>
            <pc:sldMk cId="1701904253" sldId="230717666"/>
            <ac:spMk id="62" creationId="{9F2F1765-363D-4EA9-BD5A-E5A95C06BE79}"/>
          </ac:spMkLst>
        </pc:spChg>
      </pc:sldChg>
      <pc:sldChg chg="del">
        <pc:chgData name="Manal El Bakkouri" userId="8b130982-2e3f-4164-b881-fd3a2e4b2453" providerId="ADAL" clId="{4457FA57-250B-44AC-8655-05D46C5A3D8A}" dt="2023-05-31T15:03:51.634" v="19" actId="2696"/>
        <pc:sldMkLst>
          <pc:docMk/>
          <pc:sldMk cId="135264226" sldId="230717667"/>
        </pc:sldMkLst>
      </pc:sldChg>
      <pc:sldChg chg="addSp delSp modSp mod modAnim modNotesTx">
        <pc:chgData name="Manal El Bakkouri" userId="8b130982-2e3f-4164-b881-fd3a2e4b2453" providerId="ADAL" clId="{4457FA57-250B-44AC-8655-05D46C5A3D8A}" dt="2023-06-09T11:24:34.230" v="21676" actId="20577"/>
        <pc:sldMkLst>
          <pc:docMk/>
          <pc:sldMk cId="1164779254" sldId="230717668"/>
        </pc:sldMkLst>
        <pc:spChg chg="add mod ord topLvl">
          <ac:chgData name="Manal El Bakkouri" userId="8b130982-2e3f-4164-b881-fd3a2e4b2453" providerId="ADAL" clId="{4457FA57-250B-44AC-8655-05D46C5A3D8A}" dt="2023-05-31T15:33:16.830" v="411" actId="207"/>
          <ac:spMkLst>
            <pc:docMk/>
            <pc:sldMk cId="1164779254" sldId="230717668"/>
            <ac:spMk id="2" creationId="{80779F18-9B9E-46ED-A5CF-D9DD67264B4D}"/>
          </ac:spMkLst>
        </pc:spChg>
        <pc:spChg chg="add mod">
          <ac:chgData name="Manal El Bakkouri" userId="8b130982-2e3f-4164-b881-fd3a2e4b2453" providerId="ADAL" clId="{4457FA57-250B-44AC-8655-05D46C5A3D8A}" dt="2023-06-04T13:04:34.168" v="7606" actId="1036"/>
          <ac:spMkLst>
            <pc:docMk/>
            <pc:sldMk cId="1164779254" sldId="230717668"/>
            <ac:spMk id="3" creationId="{E074D4AA-DC5C-4204-ADD7-349E87186212}"/>
          </ac:spMkLst>
        </pc:spChg>
        <pc:spChg chg="add mod">
          <ac:chgData name="Manal El Bakkouri" userId="8b130982-2e3f-4164-b881-fd3a2e4b2453" providerId="ADAL" clId="{4457FA57-250B-44AC-8655-05D46C5A3D8A}" dt="2023-06-06T10:27:43.479" v="9675" actId="14100"/>
          <ac:spMkLst>
            <pc:docMk/>
            <pc:sldMk cId="1164779254" sldId="230717668"/>
            <ac:spMk id="11" creationId="{58455F4E-10EF-4F1A-A3D9-6E8A421D9617}"/>
          </ac:spMkLst>
        </pc:spChg>
        <pc:spChg chg="add mod">
          <ac:chgData name="Manal El Bakkouri" userId="8b130982-2e3f-4164-b881-fd3a2e4b2453" providerId="ADAL" clId="{4457FA57-250B-44AC-8655-05D46C5A3D8A}" dt="2023-06-09T11:24:17.460" v="21672" actId="14100"/>
          <ac:spMkLst>
            <pc:docMk/>
            <pc:sldMk cId="1164779254" sldId="230717668"/>
            <ac:spMk id="73" creationId="{2F0AD329-AA20-4A56-A817-A060F243E199}"/>
          </ac:spMkLst>
        </pc:spChg>
        <pc:spChg chg="add mod">
          <ac:chgData name="Manal El Bakkouri" userId="8b130982-2e3f-4164-b881-fd3a2e4b2453" providerId="ADAL" clId="{4457FA57-250B-44AC-8655-05D46C5A3D8A}" dt="2023-06-09T11:24:34.230" v="21676" actId="20577"/>
          <ac:spMkLst>
            <pc:docMk/>
            <pc:sldMk cId="1164779254" sldId="230717668"/>
            <ac:spMk id="74" creationId="{45A71E01-9D9C-4712-AAF0-B9FB65662F39}"/>
          </ac:spMkLst>
        </pc:spChg>
        <pc:spChg chg="add mod">
          <ac:chgData name="Manal El Bakkouri" userId="8b130982-2e3f-4164-b881-fd3a2e4b2453" providerId="ADAL" clId="{4457FA57-250B-44AC-8655-05D46C5A3D8A}" dt="2023-06-06T10:27:06.977" v="9667" actId="207"/>
          <ac:spMkLst>
            <pc:docMk/>
            <pc:sldMk cId="1164779254" sldId="230717668"/>
            <ac:spMk id="75" creationId="{EFCB643B-A94C-45C3-B746-E720246EE6F4}"/>
          </ac:spMkLst>
        </pc:spChg>
        <pc:spChg chg="add mod">
          <ac:chgData name="Manal El Bakkouri" userId="8b130982-2e3f-4164-b881-fd3a2e4b2453" providerId="ADAL" clId="{4457FA57-250B-44AC-8655-05D46C5A3D8A}" dt="2023-06-06T10:27:10.311" v="9668" actId="207"/>
          <ac:spMkLst>
            <pc:docMk/>
            <pc:sldMk cId="1164779254" sldId="230717668"/>
            <ac:spMk id="76" creationId="{C6D17C9F-E3C7-4729-B15F-F755D8716AF9}"/>
          </ac:spMkLst>
        </pc:spChg>
        <pc:spChg chg="add mod">
          <ac:chgData name="Manal El Bakkouri" userId="8b130982-2e3f-4164-b881-fd3a2e4b2453" providerId="ADAL" clId="{4457FA57-250B-44AC-8655-05D46C5A3D8A}" dt="2023-06-09T11:24:28.552" v="21674" actId="20577"/>
          <ac:spMkLst>
            <pc:docMk/>
            <pc:sldMk cId="1164779254" sldId="230717668"/>
            <ac:spMk id="77" creationId="{4BF70E39-721C-451C-8F64-C0B1D262912E}"/>
          </ac:spMkLst>
        </pc:spChg>
        <pc:spChg chg="add mod">
          <ac:chgData name="Manal El Bakkouri" userId="8b130982-2e3f-4164-b881-fd3a2e4b2453" providerId="ADAL" clId="{4457FA57-250B-44AC-8655-05D46C5A3D8A}" dt="2023-06-06T10:27:04.142" v="9666" actId="207"/>
          <ac:spMkLst>
            <pc:docMk/>
            <pc:sldMk cId="1164779254" sldId="230717668"/>
            <ac:spMk id="78" creationId="{732A4D0C-83C9-4AF1-9B5B-7E4178916A04}"/>
          </ac:spMkLst>
        </pc:spChg>
        <pc:spChg chg="add mod">
          <ac:chgData name="Manal El Bakkouri" userId="8b130982-2e3f-4164-b881-fd3a2e4b2453" providerId="ADAL" clId="{4457FA57-250B-44AC-8655-05D46C5A3D8A}" dt="2023-06-06T10:27:16.228" v="9670" actId="207"/>
          <ac:spMkLst>
            <pc:docMk/>
            <pc:sldMk cId="1164779254" sldId="230717668"/>
            <ac:spMk id="79" creationId="{6791E474-0E02-4278-884D-DDB11EDC9752}"/>
          </ac:spMkLst>
        </pc:spChg>
        <pc:spChg chg="add mod">
          <ac:chgData name="Manal El Bakkouri" userId="8b130982-2e3f-4164-b881-fd3a2e4b2453" providerId="ADAL" clId="{4457FA57-250B-44AC-8655-05D46C5A3D8A}" dt="2023-06-06T10:27:00.062" v="9664"/>
          <ac:spMkLst>
            <pc:docMk/>
            <pc:sldMk cId="1164779254" sldId="230717668"/>
            <ac:spMk id="80" creationId="{0D56D69B-0792-4945-8843-646E90D03D30}"/>
          </ac:spMkLst>
        </pc:spChg>
        <pc:spChg chg="add mod">
          <ac:chgData name="Manal El Bakkouri" userId="8b130982-2e3f-4164-b881-fd3a2e4b2453" providerId="ADAL" clId="{4457FA57-250B-44AC-8655-05D46C5A3D8A}" dt="2023-06-06T10:27:00.062" v="9664"/>
          <ac:spMkLst>
            <pc:docMk/>
            <pc:sldMk cId="1164779254" sldId="230717668"/>
            <ac:spMk id="81" creationId="{FD882820-9FFD-4883-BB50-5A725A32490D}"/>
          </ac:spMkLst>
        </pc:spChg>
        <pc:spChg chg="add mod">
          <ac:chgData name="Manal El Bakkouri" userId="8b130982-2e3f-4164-b881-fd3a2e4b2453" providerId="ADAL" clId="{4457FA57-250B-44AC-8655-05D46C5A3D8A}" dt="2023-06-09T11:24:22.243" v="21673" actId="408"/>
          <ac:spMkLst>
            <pc:docMk/>
            <pc:sldMk cId="1164779254" sldId="230717668"/>
            <ac:spMk id="82" creationId="{6FB96888-5222-4DD2-8185-C38AAE74D86D}"/>
          </ac:spMkLst>
        </pc:spChg>
        <pc:spChg chg="add del mod">
          <ac:chgData name="Manal El Bakkouri" userId="8b130982-2e3f-4164-b881-fd3a2e4b2453" providerId="ADAL" clId="{4457FA57-250B-44AC-8655-05D46C5A3D8A}" dt="2023-06-06T10:26:59.780" v="9663" actId="478"/>
          <ac:spMkLst>
            <pc:docMk/>
            <pc:sldMk cId="1164779254" sldId="230717668"/>
            <ac:spMk id="108" creationId="{47D3F337-716B-469C-8F54-A25E58B7F6DB}"/>
          </ac:spMkLst>
        </pc:spChg>
        <pc:spChg chg="add del mod">
          <ac:chgData name="Manal El Bakkouri" userId="8b130982-2e3f-4164-b881-fd3a2e4b2453" providerId="ADAL" clId="{4457FA57-250B-44AC-8655-05D46C5A3D8A}" dt="2023-06-06T10:26:59.780" v="9663" actId="478"/>
          <ac:spMkLst>
            <pc:docMk/>
            <pc:sldMk cId="1164779254" sldId="230717668"/>
            <ac:spMk id="109" creationId="{4F9FF88F-A5B1-4CD2-ADA7-54DDC2A25EF4}"/>
          </ac:spMkLst>
        </pc:spChg>
        <pc:spChg chg="add del mod">
          <ac:chgData name="Manal El Bakkouri" userId="8b130982-2e3f-4164-b881-fd3a2e4b2453" providerId="ADAL" clId="{4457FA57-250B-44AC-8655-05D46C5A3D8A}" dt="2023-06-06T10:26:59.780" v="9663" actId="478"/>
          <ac:spMkLst>
            <pc:docMk/>
            <pc:sldMk cId="1164779254" sldId="230717668"/>
            <ac:spMk id="110" creationId="{A8B497AB-D309-45BD-B78A-56F71E20765F}"/>
          </ac:spMkLst>
        </pc:spChg>
        <pc:spChg chg="add del mod">
          <ac:chgData name="Manal El Bakkouri" userId="8b130982-2e3f-4164-b881-fd3a2e4b2453" providerId="ADAL" clId="{4457FA57-250B-44AC-8655-05D46C5A3D8A}" dt="2023-06-06T10:26:59.780" v="9663" actId="478"/>
          <ac:spMkLst>
            <pc:docMk/>
            <pc:sldMk cId="1164779254" sldId="230717668"/>
            <ac:spMk id="111" creationId="{06F3306E-6628-4273-A70C-1743FC0BA63B}"/>
          </ac:spMkLst>
        </pc:spChg>
        <pc:spChg chg="add del mod">
          <ac:chgData name="Manal El Bakkouri" userId="8b130982-2e3f-4164-b881-fd3a2e4b2453" providerId="ADAL" clId="{4457FA57-250B-44AC-8655-05D46C5A3D8A}" dt="2023-06-06T10:26:59.780" v="9663" actId="478"/>
          <ac:spMkLst>
            <pc:docMk/>
            <pc:sldMk cId="1164779254" sldId="230717668"/>
            <ac:spMk id="112" creationId="{51C16379-8B86-401E-8AE5-56780FEB9DFB}"/>
          </ac:spMkLst>
        </pc:spChg>
        <pc:spChg chg="add del mod">
          <ac:chgData name="Manal El Bakkouri" userId="8b130982-2e3f-4164-b881-fd3a2e4b2453" providerId="ADAL" clId="{4457FA57-250B-44AC-8655-05D46C5A3D8A}" dt="2023-06-06T10:26:59.780" v="9663" actId="478"/>
          <ac:spMkLst>
            <pc:docMk/>
            <pc:sldMk cId="1164779254" sldId="230717668"/>
            <ac:spMk id="113" creationId="{A058E0BD-AAAD-45FC-9606-E456E4FD9E8F}"/>
          </ac:spMkLst>
        </pc:spChg>
        <pc:spChg chg="add del mod">
          <ac:chgData name="Manal El Bakkouri" userId="8b130982-2e3f-4164-b881-fd3a2e4b2453" providerId="ADAL" clId="{4457FA57-250B-44AC-8655-05D46C5A3D8A}" dt="2023-06-06T10:26:59.780" v="9663" actId="478"/>
          <ac:spMkLst>
            <pc:docMk/>
            <pc:sldMk cId="1164779254" sldId="230717668"/>
            <ac:spMk id="114" creationId="{8E4911E6-6840-4170-99D1-80298D1E09D3}"/>
          </ac:spMkLst>
        </pc:spChg>
        <pc:spChg chg="add mod ord topLvl">
          <ac:chgData name="Manal El Bakkouri" userId="8b130982-2e3f-4164-b881-fd3a2e4b2453" providerId="ADAL" clId="{4457FA57-250B-44AC-8655-05D46C5A3D8A}" dt="2023-06-06T10:28:15.587" v="9687" actId="403"/>
          <ac:spMkLst>
            <pc:docMk/>
            <pc:sldMk cId="1164779254" sldId="230717668"/>
            <ac:spMk id="116" creationId="{4B483E24-4838-439D-BB48-DA06298152A2}"/>
          </ac:spMkLst>
        </pc:spChg>
        <pc:spChg chg="add mod ord topLvl">
          <ac:chgData name="Manal El Bakkouri" userId="8b130982-2e3f-4164-b881-fd3a2e4b2453" providerId="ADAL" clId="{4457FA57-250B-44AC-8655-05D46C5A3D8A}" dt="2023-06-06T10:28:14.825" v="9686" actId="403"/>
          <ac:spMkLst>
            <pc:docMk/>
            <pc:sldMk cId="1164779254" sldId="230717668"/>
            <ac:spMk id="117" creationId="{3411532A-5305-468D-AD1B-91067CE67C89}"/>
          </ac:spMkLst>
        </pc:spChg>
        <pc:spChg chg="add mod ord topLvl">
          <ac:chgData name="Manal El Bakkouri" userId="8b130982-2e3f-4164-b881-fd3a2e4b2453" providerId="ADAL" clId="{4457FA57-250B-44AC-8655-05D46C5A3D8A}" dt="2023-05-31T15:33:16.830" v="411" actId="207"/>
          <ac:spMkLst>
            <pc:docMk/>
            <pc:sldMk cId="1164779254" sldId="230717668"/>
            <ac:spMk id="118" creationId="{0F5629D5-4953-4B31-9C08-F209D043BC5E}"/>
          </ac:spMkLst>
        </pc:spChg>
        <pc:spChg chg="add mod ord topLvl">
          <ac:chgData name="Manal El Bakkouri" userId="8b130982-2e3f-4164-b881-fd3a2e4b2453" providerId="ADAL" clId="{4457FA57-250B-44AC-8655-05D46C5A3D8A}" dt="2023-05-31T15:33:16.830" v="411" actId="207"/>
          <ac:spMkLst>
            <pc:docMk/>
            <pc:sldMk cId="1164779254" sldId="230717668"/>
            <ac:spMk id="119" creationId="{5DC481B6-8439-4283-A1D1-963A1180A917}"/>
          </ac:spMkLst>
        </pc:spChg>
        <pc:spChg chg="add mod topLvl">
          <ac:chgData name="Manal El Bakkouri" userId="8b130982-2e3f-4164-b881-fd3a2e4b2453" providerId="ADAL" clId="{4457FA57-250B-44AC-8655-05D46C5A3D8A}" dt="2023-05-31T15:33:31.938" v="412" actId="207"/>
          <ac:spMkLst>
            <pc:docMk/>
            <pc:sldMk cId="1164779254" sldId="230717668"/>
            <ac:spMk id="121" creationId="{87FCE6BD-54CB-4164-AB14-585AE14A8CA8}"/>
          </ac:spMkLst>
        </pc:spChg>
        <pc:spChg chg="add mod topLvl">
          <ac:chgData name="Manal El Bakkouri" userId="8b130982-2e3f-4164-b881-fd3a2e4b2453" providerId="ADAL" clId="{4457FA57-250B-44AC-8655-05D46C5A3D8A}" dt="2023-05-31T15:33:31.938" v="412" actId="207"/>
          <ac:spMkLst>
            <pc:docMk/>
            <pc:sldMk cId="1164779254" sldId="230717668"/>
            <ac:spMk id="122" creationId="{7D68C00A-9F53-4D35-BF7E-348A65ED5467}"/>
          </ac:spMkLst>
        </pc:spChg>
        <pc:spChg chg="add mod">
          <ac:chgData name="Manal El Bakkouri" userId="8b130982-2e3f-4164-b881-fd3a2e4b2453" providerId="ADAL" clId="{4457FA57-250B-44AC-8655-05D46C5A3D8A}" dt="2023-05-31T15:12:41.813" v="124"/>
          <ac:spMkLst>
            <pc:docMk/>
            <pc:sldMk cId="1164779254" sldId="230717668"/>
            <ac:spMk id="123" creationId="{BB6C939D-C0A6-4C1C-9BA2-45F13B98DF68}"/>
          </ac:spMkLst>
        </pc:spChg>
        <pc:spChg chg="add mod">
          <ac:chgData name="Manal El Bakkouri" userId="8b130982-2e3f-4164-b881-fd3a2e4b2453" providerId="ADAL" clId="{4457FA57-250B-44AC-8655-05D46C5A3D8A}" dt="2023-05-31T15:12:41.813" v="124"/>
          <ac:spMkLst>
            <pc:docMk/>
            <pc:sldMk cId="1164779254" sldId="230717668"/>
            <ac:spMk id="124" creationId="{A9E73355-18A8-4EFF-9AEB-38EB41BAE8D6}"/>
          </ac:spMkLst>
        </pc:spChg>
        <pc:spChg chg="add mod">
          <ac:chgData name="Manal El Bakkouri" userId="8b130982-2e3f-4164-b881-fd3a2e4b2453" providerId="ADAL" clId="{4457FA57-250B-44AC-8655-05D46C5A3D8A}" dt="2023-05-31T15:12:40.944" v="123"/>
          <ac:spMkLst>
            <pc:docMk/>
            <pc:sldMk cId="1164779254" sldId="230717668"/>
            <ac:spMk id="125" creationId="{4E95FF00-C9F0-4BB6-89A2-B3533D00210A}"/>
          </ac:spMkLst>
        </pc:spChg>
        <pc:spChg chg="add mod">
          <ac:chgData name="Manal El Bakkouri" userId="8b130982-2e3f-4164-b881-fd3a2e4b2453" providerId="ADAL" clId="{4457FA57-250B-44AC-8655-05D46C5A3D8A}" dt="2023-05-31T15:12:40.944" v="123"/>
          <ac:spMkLst>
            <pc:docMk/>
            <pc:sldMk cId="1164779254" sldId="230717668"/>
            <ac:spMk id="126" creationId="{A06BB0DE-B15B-4D61-A91C-66927822ECF9}"/>
          </ac:spMkLst>
        </pc:spChg>
        <pc:spChg chg="add mod">
          <ac:chgData name="Manal El Bakkouri" userId="8b130982-2e3f-4164-b881-fd3a2e4b2453" providerId="ADAL" clId="{4457FA57-250B-44AC-8655-05D46C5A3D8A}" dt="2023-05-31T15:12:40.643" v="122"/>
          <ac:spMkLst>
            <pc:docMk/>
            <pc:sldMk cId="1164779254" sldId="230717668"/>
            <ac:spMk id="127" creationId="{2DCF681A-97E8-4DB6-9474-39A68887E3B5}"/>
          </ac:spMkLst>
        </pc:spChg>
        <pc:spChg chg="add mod">
          <ac:chgData name="Manal El Bakkouri" userId="8b130982-2e3f-4164-b881-fd3a2e4b2453" providerId="ADAL" clId="{4457FA57-250B-44AC-8655-05D46C5A3D8A}" dt="2023-05-31T15:12:40.643" v="122"/>
          <ac:spMkLst>
            <pc:docMk/>
            <pc:sldMk cId="1164779254" sldId="230717668"/>
            <ac:spMk id="128" creationId="{0F5033B1-8B47-48FE-A6D9-845F57F25B3C}"/>
          </ac:spMkLst>
        </pc:spChg>
        <pc:spChg chg="add mod">
          <ac:chgData name="Manal El Bakkouri" userId="8b130982-2e3f-4164-b881-fd3a2e4b2453" providerId="ADAL" clId="{4457FA57-250B-44AC-8655-05D46C5A3D8A}" dt="2023-05-31T15:12:40.411" v="121"/>
          <ac:spMkLst>
            <pc:docMk/>
            <pc:sldMk cId="1164779254" sldId="230717668"/>
            <ac:spMk id="129" creationId="{9EC8CA16-4B47-40A7-832A-8557D0B10842}"/>
          </ac:spMkLst>
        </pc:spChg>
        <pc:spChg chg="add mod">
          <ac:chgData name="Manal El Bakkouri" userId="8b130982-2e3f-4164-b881-fd3a2e4b2453" providerId="ADAL" clId="{4457FA57-250B-44AC-8655-05D46C5A3D8A}" dt="2023-05-31T15:12:40.411" v="121"/>
          <ac:spMkLst>
            <pc:docMk/>
            <pc:sldMk cId="1164779254" sldId="230717668"/>
            <ac:spMk id="130" creationId="{409FCD17-4DA6-4C2C-BB59-7280F1880032}"/>
          </ac:spMkLst>
        </pc:spChg>
        <pc:spChg chg="add mod">
          <ac:chgData name="Manal El Bakkouri" userId="8b130982-2e3f-4164-b881-fd3a2e4b2453" providerId="ADAL" clId="{4457FA57-250B-44AC-8655-05D46C5A3D8A}" dt="2023-05-31T15:12:40.200" v="120"/>
          <ac:spMkLst>
            <pc:docMk/>
            <pc:sldMk cId="1164779254" sldId="230717668"/>
            <ac:spMk id="131" creationId="{2A6F4A2F-AF9A-4208-86DF-159ECC59C31B}"/>
          </ac:spMkLst>
        </pc:spChg>
        <pc:spChg chg="add mod">
          <ac:chgData name="Manal El Bakkouri" userId="8b130982-2e3f-4164-b881-fd3a2e4b2453" providerId="ADAL" clId="{4457FA57-250B-44AC-8655-05D46C5A3D8A}" dt="2023-05-31T15:12:40.200" v="120"/>
          <ac:spMkLst>
            <pc:docMk/>
            <pc:sldMk cId="1164779254" sldId="230717668"/>
            <ac:spMk id="132" creationId="{D37308F6-5088-419D-9898-71C0B7F4817D}"/>
          </ac:spMkLst>
        </pc:spChg>
        <pc:spChg chg="add mod">
          <ac:chgData name="Manal El Bakkouri" userId="8b130982-2e3f-4164-b881-fd3a2e4b2453" providerId="ADAL" clId="{4457FA57-250B-44AC-8655-05D46C5A3D8A}" dt="2023-05-31T15:12:40.029" v="119"/>
          <ac:spMkLst>
            <pc:docMk/>
            <pc:sldMk cId="1164779254" sldId="230717668"/>
            <ac:spMk id="133" creationId="{B123AE59-0FAE-47D6-ADFA-DB9AFD291860}"/>
          </ac:spMkLst>
        </pc:spChg>
        <pc:spChg chg="add mod">
          <ac:chgData name="Manal El Bakkouri" userId="8b130982-2e3f-4164-b881-fd3a2e4b2453" providerId="ADAL" clId="{4457FA57-250B-44AC-8655-05D46C5A3D8A}" dt="2023-05-31T15:12:40.029" v="119"/>
          <ac:spMkLst>
            <pc:docMk/>
            <pc:sldMk cId="1164779254" sldId="230717668"/>
            <ac:spMk id="134" creationId="{E39D1B11-CC13-450A-BB6A-6BD3020BFF58}"/>
          </ac:spMkLst>
        </pc:spChg>
        <pc:spChg chg="add mod">
          <ac:chgData name="Manal El Bakkouri" userId="8b130982-2e3f-4164-b881-fd3a2e4b2453" providerId="ADAL" clId="{4457FA57-250B-44AC-8655-05D46C5A3D8A}" dt="2023-05-31T15:12:39.749" v="118"/>
          <ac:spMkLst>
            <pc:docMk/>
            <pc:sldMk cId="1164779254" sldId="230717668"/>
            <ac:spMk id="135" creationId="{5B72846D-5FF7-4E81-9F69-BE00976CEE56}"/>
          </ac:spMkLst>
        </pc:spChg>
        <pc:spChg chg="add mod">
          <ac:chgData name="Manal El Bakkouri" userId="8b130982-2e3f-4164-b881-fd3a2e4b2453" providerId="ADAL" clId="{4457FA57-250B-44AC-8655-05D46C5A3D8A}" dt="2023-05-31T15:12:39.749" v="118"/>
          <ac:spMkLst>
            <pc:docMk/>
            <pc:sldMk cId="1164779254" sldId="230717668"/>
            <ac:spMk id="136" creationId="{CD1EE570-4EE2-4E35-981F-5E8C9F2D936A}"/>
          </ac:spMkLst>
        </pc:spChg>
        <pc:spChg chg="add mod">
          <ac:chgData name="Manal El Bakkouri" userId="8b130982-2e3f-4164-b881-fd3a2e4b2453" providerId="ADAL" clId="{4457FA57-250B-44AC-8655-05D46C5A3D8A}" dt="2023-05-31T15:12:39.511" v="117"/>
          <ac:spMkLst>
            <pc:docMk/>
            <pc:sldMk cId="1164779254" sldId="230717668"/>
            <ac:spMk id="137" creationId="{D31CE79C-45E6-446F-86DB-FAD2327EA37A}"/>
          </ac:spMkLst>
        </pc:spChg>
        <pc:spChg chg="add mod">
          <ac:chgData name="Manal El Bakkouri" userId="8b130982-2e3f-4164-b881-fd3a2e4b2453" providerId="ADAL" clId="{4457FA57-250B-44AC-8655-05D46C5A3D8A}" dt="2023-05-31T15:12:39.511" v="117"/>
          <ac:spMkLst>
            <pc:docMk/>
            <pc:sldMk cId="1164779254" sldId="230717668"/>
            <ac:spMk id="138" creationId="{85B50425-CE84-4515-90C3-3D0D249335DA}"/>
          </ac:spMkLst>
        </pc:spChg>
        <pc:spChg chg="add mod">
          <ac:chgData name="Manal El Bakkouri" userId="8b130982-2e3f-4164-b881-fd3a2e4b2453" providerId="ADAL" clId="{4457FA57-250B-44AC-8655-05D46C5A3D8A}" dt="2023-05-31T15:12:39.279" v="116"/>
          <ac:spMkLst>
            <pc:docMk/>
            <pc:sldMk cId="1164779254" sldId="230717668"/>
            <ac:spMk id="139" creationId="{FA3A197F-D658-4798-9E06-655295DD0A8E}"/>
          </ac:spMkLst>
        </pc:spChg>
        <pc:spChg chg="add mod">
          <ac:chgData name="Manal El Bakkouri" userId="8b130982-2e3f-4164-b881-fd3a2e4b2453" providerId="ADAL" clId="{4457FA57-250B-44AC-8655-05D46C5A3D8A}" dt="2023-05-31T15:12:39.279" v="116"/>
          <ac:spMkLst>
            <pc:docMk/>
            <pc:sldMk cId="1164779254" sldId="230717668"/>
            <ac:spMk id="140" creationId="{AADFF87B-D1AC-41A4-9DB2-73AF0602FE30}"/>
          </ac:spMkLst>
        </pc:spChg>
        <pc:spChg chg="add mod">
          <ac:chgData name="Manal El Bakkouri" userId="8b130982-2e3f-4164-b881-fd3a2e4b2453" providerId="ADAL" clId="{4457FA57-250B-44AC-8655-05D46C5A3D8A}" dt="2023-05-31T15:12:39.100" v="115"/>
          <ac:spMkLst>
            <pc:docMk/>
            <pc:sldMk cId="1164779254" sldId="230717668"/>
            <ac:spMk id="141" creationId="{F7050473-5850-420F-A9B0-35F7B0B1956B}"/>
          </ac:spMkLst>
        </pc:spChg>
        <pc:spChg chg="add mod">
          <ac:chgData name="Manal El Bakkouri" userId="8b130982-2e3f-4164-b881-fd3a2e4b2453" providerId="ADAL" clId="{4457FA57-250B-44AC-8655-05D46C5A3D8A}" dt="2023-05-31T15:12:39.100" v="115"/>
          <ac:spMkLst>
            <pc:docMk/>
            <pc:sldMk cId="1164779254" sldId="230717668"/>
            <ac:spMk id="142" creationId="{6F909F11-CA35-4819-89C9-EB6C10E0E1E8}"/>
          </ac:spMkLst>
        </pc:spChg>
        <pc:spChg chg="add mod">
          <ac:chgData name="Manal El Bakkouri" userId="8b130982-2e3f-4164-b881-fd3a2e4b2453" providerId="ADAL" clId="{4457FA57-250B-44AC-8655-05D46C5A3D8A}" dt="2023-05-31T15:12:38.803" v="114"/>
          <ac:spMkLst>
            <pc:docMk/>
            <pc:sldMk cId="1164779254" sldId="230717668"/>
            <ac:spMk id="143" creationId="{55531FE9-E1F7-4031-897F-0729B6EB3A52}"/>
          </ac:spMkLst>
        </pc:spChg>
        <pc:spChg chg="add mod">
          <ac:chgData name="Manal El Bakkouri" userId="8b130982-2e3f-4164-b881-fd3a2e4b2453" providerId="ADAL" clId="{4457FA57-250B-44AC-8655-05D46C5A3D8A}" dt="2023-05-31T15:12:38.803" v="114"/>
          <ac:spMkLst>
            <pc:docMk/>
            <pc:sldMk cId="1164779254" sldId="230717668"/>
            <ac:spMk id="144" creationId="{3D586609-0248-4267-991D-92D04C5A3E3A}"/>
          </ac:spMkLst>
        </pc:spChg>
        <pc:spChg chg="add mod">
          <ac:chgData name="Manal El Bakkouri" userId="8b130982-2e3f-4164-b881-fd3a2e4b2453" providerId="ADAL" clId="{4457FA57-250B-44AC-8655-05D46C5A3D8A}" dt="2023-05-31T15:12:38.616" v="113"/>
          <ac:spMkLst>
            <pc:docMk/>
            <pc:sldMk cId="1164779254" sldId="230717668"/>
            <ac:spMk id="145" creationId="{9E9140CB-F799-482A-9F71-935B0754E38D}"/>
          </ac:spMkLst>
        </pc:spChg>
        <pc:spChg chg="add mod">
          <ac:chgData name="Manal El Bakkouri" userId="8b130982-2e3f-4164-b881-fd3a2e4b2453" providerId="ADAL" clId="{4457FA57-250B-44AC-8655-05D46C5A3D8A}" dt="2023-05-31T15:12:38.616" v="113"/>
          <ac:spMkLst>
            <pc:docMk/>
            <pc:sldMk cId="1164779254" sldId="230717668"/>
            <ac:spMk id="146" creationId="{0B9FF74E-B216-4D9E-9B69-415B68739FE0}"/>
          </ac:spMkLst>
        </pc:spChg>
        <pc:spChg chg="add mod">
          <ac:chgData name="Manal El Bakkouri" userId="8b130982-2e3f-4164-b881-fd3a2e4b2453" providerId="ADAL" clId="{4457FA57-250B-44AC-8655-05D46C5A3D8A}" dt="2023-05-31T15:12:38.411" v="112"/>
          <ac:spMkLst>
            <pc:docMk/>
            <pc:sldMk cId="1164779254" sldId="230717668"/>
            <ac:spMk id="147" creationId="{F6BBABA7-5A3A-4266-AF03-84A9388FDBCC}"/>
          </ac:spMkLst>
        </pc:spChg>
        <pc:spChg chg="add mod">
          <ac:chgData name="Manal El Bakkouri" userId="8b130982-2e3f-4164-b881-fd3a2e4b2453" providerId="ADAL" clId="{4457FA57-250B-44AC-8655-05D46C5A3D8A}" dt="2023-05-31T15:12:38.411" v="112"/>
          <ac:spMkLst>
            <pc:docMk/>
            <pc:sldMk cId="1164779254" sldId="230717668"/>
            <ac:spMk id="148" creationId="{BAD5B923-C5B8-461D-9079-1BBB53B6D39B}"/>
          </ac:spMkLst>
        </pc:spChg>
        <pc:spChg chg="add mod">
          <ac:chgData name="Manal El Bakkouri" userId="8b130982-2e3f-4164-b881-fd3a2e4b2453" providerId="ADAL" clId="{4457FA57-250B-44AC-8655-05D46C5A3D8A}" dt="2023-05-31T15:12:38.225" v="111"/>
          <ac:spMkLst>
            <pc:docMk/>
            <pc:sldMk cId="1164779254" sldId="230717668"/>
            <ac:spMk id="149" creationId="{D10C2A56-3872-4819-B60A-C528F58D4313}"/>
          </ac:spMkLst>
        </pc:spChg>
        <pc:spChg chg="add mod">
          <ac:chgData name="Manal El Bakkouri" userId="8b130982-2e3f-4164-b881-fd3a2e4b2453" providerId="ADAL" clId="{4457FA57-250B-44AC-8655-05D46C5A3D8A}" dt="2023-05-31T15:12:38.225" v="111"/>
          <ac:spMkLst>
            <pc:docMk/>
            <pc:sldMk cId="1164779254" sldId="230717668"/>
            <ac:spMk id="150" creationId="{C387276C-2336-4F44-9026-9C24E54B5208}"/>
          </ac:spMkLst>
        </pc:spChg>
        <pc:spChg chg="add mod">
          <ac:chgData name="Manal El Bakkouri" userId="8b130982-2e3f-4164-b881-fd3a2e4b2453" providerId="ADAL" clId="{4457FA57-250B-44AC-8655-05D46C5A3D8A}" dt="2023-05-31T15:12:38.016" v="110"/>
          <ac:spMkLst>
            <pc:docMk/>
            <pc:sldMk cId="1164779254" sldId="230717668"/>
            <ac:spMk id="151" creationId="{CDCA7A20-C9DE-4D1D-B7D3-B7F818AB2B4B}"/>
          </ac:spMkLst>
        </pc:spChg>
        <pc:spChg chg="add mod">
          <ac:chgData name="Manal El Bakkouri" userId="8b130982-2e3f-4164-b881-fd3a2e4b2453" providerId="ADAL" clId="{4457FA57-250B-44AC-8655-05D46C5A3D8A}" dt="2023-05-31T15:12:38.016" v="110"/>
          <ac:spMkLst>
            <pc:docMk/>
            <pc:sldMk cId="1164779254" sldId="230717668"/>
            <ac:spMk id="152" creationId="{490F5E2B-43F3-48BB-A6F1-D2A89E9E0C2F}"/>
          </ac:spMkLst>
        </pc:spChg>
        <pc:spChg chg="add mod">
          <ac:chgData name="Manal El Bakkouri" userId="8b130982-2e3f-4164-b881-fd3a2e4b2453" providerId="ADAL" clId="{4457FA57-250B-44AC-8655-05D46C5A3D8A}" dt="2023-05-31T15:12:37.822" v="109"/>
          <ac:spMkLst>
            <pc:docMk/>
            <pc:sldMk cId="1164779254" sldId="230717668"/>
            <ac:spMk id="153" creationId="{7A9914FE-C4EC-4407-A911-7B9D82075DF7}"/>
          </ac:spMkLst>
        </pc:spChg>
        <pc:spChg chg="add mod">
          <ac:chgData name="Manal El Bakkouri" userId="8b130982-2e3f-4164-b881-fd3a2e4b2453" providerId="ADAL" clId="{4457FA57-250B-44AC-8655-05D46C5A3D8A}" dt="2023-05-31T15:12:37.822" v="109"/>
          <ac:spMkLst>
            <pc:docMk/>
            <pc:sldMk cId="1164779254" sldId="230717668"/>
            <ac:spMk id="154" creationId="{E10C895C-FC01-41E8-A288-32C0E78A1B7B}"/>
          </ac:spMkLst>
        </pc:spChg>
        <pc:spChg chg="add mod topLvl">
          <ac:chgData name="Manal El Bakkouri" userId="8b130982-2e3f-4164-b881-fd3a2e4b2453" providerId="ADAL" clId="{4457FA57-250B-44AC-8655-05D46C5A3D8A}" dt="2023-06-06T10:28:03.348" v="9681" actId="14100"/>
          <ac:spMkLst>
            <pc:docMk/>
            <pc:sldMk cId="1164779254" sldId="230717668"/>
            <ac:spMk id="155" creationId="{0E90A204-AE39-40C6-98F1-41E69CBD86AC}"/>
          </ac:spMkLst>
        </pc:spChg>
        <pc:spChg chg="add del">
          <ac:chgData name="Manal El Bakkouri" userId="8b130982-2e3f-4164-b881-fd3a2e4b2453" providerId="ADAL" clId="{4457FA57-250B-44AC-8655-05D46C5A3D8A}" dt="2023-05-31T15:16:21.546" v="139" actId="478"/>
          <ac:spMkLst>
            <pc:docMk/>
            <pc:sldMk cId="1164779254" sldId="230717668"/>
            <ac:spMk id="157" creationId="{4B3FC9DB-C30D-400D-BDB8-F494693A2FF8}"/>
          </ac:spMkLst>
        </pc:spChg>
        <pc:spChg chg="add del">
          <ac:chgData name="Manal El Bakkouri" userId="8b130982-2e3f-4164-b881-fd3a2e4b2453" providerId="ADAL" clId="{4457FA57-250B-44AC-8655-05D46C5A3D8A}" dt="2023-05-31T15:16:54.650" v="151" actId="478"/>
          <ac:spMkLst>
            <pc:docMk/>
            <pc:sldMk cId="1164779254" sldId="230717668"/>
            <ac:spMk id="159" creationId="{9CAF6A88-5C2D-4759-8228-11423926B07B}"/>
          </ac:spMkLst>
        </pc:spChg>
        <pc:spChg chg="mod">
          <ac:chgData name="Manal El Bakkouri" userId="8b130982-2e3f-4164-b881-fd3a2e4b2453" providerId="ADAL" clId="{4457FA57-250B-44AC-8655-05D46C5A3D8A}" dt="2023-05-31T15:18:08.692" v="169" actId="1076"/>
          <ac:spMkLst>
            <pc:docMk/>
            <pc:sldMk cId="1164779254" sldId="230717668"/>
            <ac:spMk id="169" creationId="{62EEE2CF-F826-435E-A1D7-236DE8DDEA1E}"/>
          </ac:spMkLst>
        </pc:spChg>
        <pc:spChg chg="mod">
          <ac:chgData name="Manal El Bakkouri" userId="8b130982-2e3f-4164-b881-fd3a2e4b2453" providerId="ADAL" clId="{4457FA57-250B-44AC-8655-05D46C5A3D8A}" dt="2023-05-31T15:18:08.692" v="169" actId="1076"/>
          <ac:spMkLst>
            <pc:docMk/>
            <pc:sldMk cId="1164779254" sldId="230717668"/>
            <ac:spMk id="170" creationId="{3476F490-7AE1-4ECF-85C4-FDF52DA10B48}"/>
          </ac:spMkLst>
        </pc:spChg>
        <pc:spChg chg="mod">
          <ac:chgData name="Manal El Bakkouri" userId="8b130982-2e3f-4164-b881-fd3a2e4b2453" providerId="ADAL" clId="{4457FA57-250B-44AC-8655-05D46C5A3D8A}" dt="2023-05-31T15:18:08.692" v="169" actId="1076"/>
          <ac:spMkLst>
            <pc:docMk/>
            <pc:sldMk cId="1164779254" sldId="230717668"/>
            <ac:spMk id="171" creationId="{FBD4D604-62B9-4065-98AD-D28D44ECF37D}"/>
          </ac:spMkLst>
        </pc:spChg>
        <pc:spChg chg="mod">
          <ac:chgData name="Manal El Bakkouri" userId="8b130982-2e3f-4164-b881-fd3a2e4b2453" providerId="ADAL" clId="{4457FA57-250B-44AC-8655-05D46C5A3D8A}" dt="2023-05-31T15:18:08.692" v="169" actId="1076"/>
          <ac:spMkLst>
            <pc:docMk/>
            <pc:sldMk cId="1164779254" sldId="230717668"/>
            <ac:spMk id="172" creationId="{63334F1B-DB0B-4557-B24F-2B0EB67CA6D1}"/>
          </ac:spMkLst>
        </pc:spChg>
        <pc:spChg chg="mod">
          <ac:chgData name="Manal El Bakkouri" userId="8b130982-2e3f-4164-b881-fd3a2e4b2453" providerId="ADAL" clId="{4457FA57-250B-44AC-8655-05D46C5A3D8A}" dt="2023-05-31T15:18:08.692" v="169" actId="1076"/>
          <ac:spMkLst>
            <pc:docMk/>
            <pc:sldMk cId="1164779254" sldId="230717668"/>
            <ac:spMk id="173" creationId="{FC9F86CC-F98B-4411-BD51-E3E912EEC4C7}"/>
          </ac:spMkLst>
        </pc:spChg>
        <pc:spChg chg="mod">
          <ac:chgData name="Manal El Bakkouri" userId="8b130982-2e3f-4164-b881-fd3a2e4b2453" providerId="ADAL" clId="{4457FA57-250B-44AC-8655-05D46C5A3D8A}" dt="2023-05-31T15:18:08.692" v="169" actId="1076"/>
          <ac:spMkLst>
            <pc:docMk/>
            <pc:sldMk cId="1164779254" sldId="230717668"/>
            <ac:spMk id="174" creationId="{A2A8578F-CCF1-4B84-BB01-9556F19093D7}"/>
          </ac:spMkLst>
        </pc:spChg>
        <pc:spChg chg="mod">
          <ac:chgData name="Manal El Bakkouri" userId="8b130982-2e3f-4164-b881-fd3a2e4b2453" providerId="ADAL" clId="{4457FA57-250B-44AC-8655-05D46C5A3D8A}" dt="2023-05-31T15:18:08.692" v="169" actId="1076"/>
          <ac:spMkLst>
            <pc:docMk/>
            <pc:sldMk cId="1164779254" sldId="230717668"/>
            <ac:spMk id="175" creationId="{B65D4977-D807-4F50-96BD-99B44A994734}"/>
          </ac:spMkLst>
        </pc:spChg>
        <pc:spChg chg="mod">
          <ac:chgData name="Manal El Bakkouri" userId="8b130982-2e3f-4164-b881-fd3a2e4b2453" providerId="ADAL" clId="{4457FA57-250B-44AC-8655-05D46C5A3D8A}" dt="2023-05-31T15:18:08.692" v="169" actId="1076"/>
          <ac:spMkLst>
            <pc:docMk/>
            <pc:sldMk cId="1164779254" sldId="230717668"/>
            <ac:spMk id="176" creationId="{1E06D429-598D-40F4-8FC7-ACA75F8ED79A}"/>
          </ac:spMkLst>
        </pc:spChg>
        <pc:spChg chg="mod">
          <ac:chgData name="Manal El Bakkouri" userId="8b130982-2e3f-4164-b881-fd3a2e4b2453" providerId="ADAL" clId="{4457FA57-250B-44AC-8655-05D46C5A3D8A}" dt="2023-05-31T15:18:08.692" v="169" actId="1076"/>
          <ac:spMkLst>
            <pc:docMk/>
            <pc:sldMk cId="1164779254" sldId="230717668"/>
            <ac:spMk id="177" creationId="{185A7C5A-DFC5-42D4-A57D-F30B261E8A1A}"/>
          </ac:spMkLst>
        </pc:spChg>
        <pc:spChg chg="mod">
          <ac:chgData name="Manal El Bakkouri" userId="8b130982-2e3f-4164-b881-fd3a2e4b2453" providerId="ADAL" clId="{4457FA57-250B-44AC-8655-05D46C5A3D8A}" dt="2023-05-31T15:18:08.692" v="169" actId="1076"/>
          <ac:spMkLst>
            <pc:docMk/>
            <pc:sldMk cId="1164779254" sldId="230717668"/>
            <ac:spMk id="178" creationId="{2BCA13B0-A4EB-4276-9A9E-EAF74BFB57E3}"/>
          </ac:spMkLst>
        </pc:spChg>
        <pc:spChg chg="mod">
          <ac:chgData name="Manal El Bakkouri" userId="8b130982-2e3f-4164-b881-fd3a2e4b2453" providerId="ADAL" clId="{4457FA57-250B-44AC-8655-05D46C5A3D8A}" dt="2023-05-31T15:18:08.692" v="169" actId="1076"/>
          <ac:spMkLst>
            <pc:docMk/>
            <pc:sldMk cId="1164779254" sldId="230717668"/>
            <ac:spMk id="179" creationId="{4328D53F-7EB8-40A9-A03D-1A2C7E15741F}"/>
          </ac:spMkLst>
        </pc:spChg>
        <pc:spChg chg="mod">
          <ac:chgData name="Manal El Bakkouri" userId="8b130982-2e3f-4164-b881-fd3a2e4b2453" providerId="ADAL" clId="{4457FA57-250B-44AC-8655-05D46C5A3D8A}" dt="2023-05-31T15:18:08.692" v="169" actId="1076"/>
          <ac:spMkLst>
            <pc:docMk/>
            <pc:sldMk cId="1164779254" sldId="230717668"/>
            <ac:spMk id="180" creationId="{96A2A156-44FF-4A42-988F-53C82FE8C736}"/>
          </ac:spMkLst>
        </pc:spChg>
        <pc:spChg chg="mod">
          <ac:chgData name="Manal El Bakkouri" userId="8b130982-2e3f-4164-b881-fd3a2e4b2453" providerId="ADAL" clId="{4457FA57-250B-44AC-8655-05D46C5A3D8A}" dt="2023-05-31T15:18:08.692" v="169" actId="1076"/>
          <ac:spMkLst>
            <pc:docMk/>
            <pc:sldMk cId="1164779254" sldId="230717668"/>
            <ac:spMk id="181" creationId="{A95EE029-2375-4EEA-B496-32DB0DD619BA}"/>
          </ac:spMkLst>
        </pc:spChg>
        <pc:spChg chg="mod">
          <ac:chgData name="Manal El Bakkouri" userId="8b130982-2e3f-4164-b881-fd3a2e4b2453" providerId="ADAL" clId="{4457FA57-250B-44AC-8655-05D46C5A3D8A}" dt="2023-05-31T15:18:08.692" v="169" actId="1076"/>
          <ac:spMkLst>
            <pc:docMk/>
            <pc:sldMk cId="1164779254" sldId="230717668"/>
            <ac:spMk id="182" creationId="{13B7EC82-0639-4600-9B21-794A051AD61A}"/>
          </ac:spMkLst>
        </pc:spChg>
        <pc:spChg chg="mod">
          <ac:chgData name="Manal El Bakkouri" userId="8b130982-2e3f-4164-b881-fd3a2e4b2453" providerId="ADAL" clId="{4457FA57-250B-44AC-8655-05D46C5A3D8A}" dt="2023-05-31T15:18:08.692" v="169" actId="1076"/>
          <ac:spMkLst>
            <pc:docMk/>
            <pc:sldMk cId="1164779254" sldId="230717668"/>
            <ac:spMk id="183" creationId="{D89F055A-DD5A-420A-9279-1E3C4C549355}"/>
          </ac:spMkLst>
        </pc:spChg>
        <pc:spChg chg="mod">
          <ac:chgData name="Manal El Bakkouri" userId="8b130982-2e3f-4164-b881-fd3a2e4b2453" providerId="ADAL" clId="{4457FA57-250B-44AC-8655-05D46C5A3D8A}" dt="2023-05-31T15:18:08.692" v="169" actId="1076"/>
          <ac:spMkLst>
            <pc:docMk/>
            <pc:sldMk cId="1164779254" sldId="230717668"/>
            <ac:spMk id="184" creationId="{0A3B3C16-8A69-41EF-AA05-0C234BA742A8}"/>
          </ac:spMkLst>
        </pc:spChg>
        <pc:spChg chg="mod">
          <ac:chgData name="Manal El Bakkouri" userId="8b130982-2e3f-4164-b881-fd3a2e4b2453" providerId="ADAL" clId="{4457FA57-250B-44AC-8655-05D46C5A3D8A}" dt="2023-05-31T15:18:08.692" v="169" actId="1076"/>
          <ac:spMkLst>
            <pc:docMk/>
            <pc:sldMk cId="1164779254" sldId="230717668"/>
            <ac:spMk id="185" creationId="{B8E90186-2BA7-4CFA-92B2-2BB21CB713C3}"/>
          </ac:spMkLst>
        </pc:spChg>
        <pc:spChg chg="mod">
          <ac:chgData name="Manal El Bakkouri" userId="8b130982-2e3f-4164-b881-fd3a2e4b2453" providerId="ADAL" clId="{4457FA57-250B-44AC-8655-05D46C5A3D8A}" dt="2023-05-31T15:18:08.692" v="169" actId="1076"/>
          <ac:spMkLst>
            <pc:docMk/>
            <pc:sldMk cId="1164779254" sldId="230717668"/>
            <ac:spMk id="186" creationId="{BB61639C-9007-446D-BA5B-11CA3CD79ECE}"/>
          </ac:spMkLst>
        </pc:spChg>
        <pc:spChg chg="mod">
          <ac:chgData name="Manal El Bakkouri" userId="8b130982-2e3f-4164-b881-fd3a2e4b2453" providerId="ADAL" clId="{4457FA57-250B-44AC-8655-05D46C5A3D8A}" dt="2023-05-31T15:18:08.692" v="169" actId="1076"/>
          <ac:spMkLst>
            <pc:docMk/>
            <pc:sldMk cId="1164779254" sldId="230717668"/>
            <ac:spMk id="187" creationId="{B71FD436-CC40-47F4-A7A5-D14F5DB68580}"/>
          </ac:spMkLst>
        </pc:spChg>
        <pc:spChg chg="mod">
          <ac:chgData name="Manal El Bakkouri" userId="8b130982-2e3f-4164-b881-fd3a2e4b2453" providerId="ADAL" clId="{4457FA57-250B-44AC-8655-05D46C5A3D8A}" dt="2023-05-31T15:18:08.692" v="169" actId="1076"/>
          <ac:spMkLst>
            <pc:docMk/>
            <pc:sldMk cId="1164779254" sldId="230717668"/>
            <ac:spMk id="188" creationId="{5F601364-DD73-44A2-A13A-44C049C97D40}"/>
          </ac:spMkLst>
        </pc:spChg>
        <pc:spChg chg="del mod">
          <ac:chgData name="Manal El Bakkouri" userId="8b130982-2e3f-4164-b881-fd3a2e4b2453" providerId="ADAL" clId="{4457FA57-250B-44AC-8655-05D46C5A3D8A}" dt="2023-05-31T15:30:36.205" v="379" actId="478"/>
          <ac:spMkLst>
            <pc:docMk/>
            <pc:sldMk cId="1164779254" sldId="230717668"/>
            <ac:spMk id="191" creationId="{19674DF5-5323-472D-B308-208BE9F95D07}"/>
          </ac:spMkLst>
        </pc:spChg>
        <pc:spChg chg="mod">
          <ac:chgData name="Manal El Bakkouri" userId="8b130982-2e3f-4164-b881-fd3a2e4b2453" providerId="ADAL" clId="{4457FA57-250B-44AC-8655-05D46C5A3D8A}" dt="2023-05-31T15:18:08.692" v="169" actId="1076"/>
          <ac:spMkLst>
            <pc:docMk/>
            <pc:sldMk cId="1164779254" sldId="230717668"/>
            <ac:spMk id="200" creationId="{69FA12BA-4AA7-4C44-80BD-0899AC6A999E}"/>
          </ac:spMkLst>
        </pc:spChg>
        <pc:spChg chg="mod">
          <ac:chgData name="Manal El Bakkouri" userId="8b130982-2e3f-4164-b881-fd3a2e4b2453" providerId="ADAL" clId="{4457FA57-250B-44AC-8655-05D46C5A3D8A}" dt="2023-05-31T15:18:08.692" v="169" actId="1076"/>
          <ac:spMkLst>
            <pc:docMk/>
            <pc:sldMk cId="1164779254" sldId="230717668"/>
            <ac:spMk id="202" creationId="{8954A862-8589-4F19-8CE4-C9E790F7D444}"/>
          </ac:spMkLst>
        </pc:spChg>
        <pc:spChg chg="mod">
          <ac:chgData name="Manal El Bakkouri" userId="8b130982-2e3f-4164-b881-fd3a2e4b2453" providerId="ADAL" clId="{4457FA57-250B-44AC-8655-05D46C5A3D8A}" dt="2023-05-31T15:18:08.692" v="169" actId="1076"/>
          <ac:spMkLst>
            <pc:docMk/>
            <pc:sldMk cId="1164779254" sldId="230717668"/>
            <ac:spMk id="204" creationId="{CB36BD70-49E2-4D8C-804C-EBB04AE09F05}"/>
          </ac:spMkLst>
        </pc:spChg>
        <pc:spChg chg="del mod">
          <ac:chgData name="Manal El Bakkouri" userId="8b130982-2e3f-4164-b881-fd3a2e4b2453" providerId="ADAL" clId="{4457FA57-250B-44AC-8655-05D46C5A3D8A}" dt="2023-05-31T15:26:12.100" v="358"/>
          <ac:spMkLst>
            <pc:docMk/>
            <pc:sldMk cId="1164779254" sldId="230717668"/>
            <ac:spMk id="205" creationId="{6B71771C-599B-43C6-9284-8756EA4C1F13}"/>
          </ac:spMkLst>
        </pc:spChg>
        <pc:spChg chg="mod">
          <ac:chgData name="Manal El Bakkouri" userId="8b130982-2e3f-4164-b881-fd3a2e4b2453" providerId="ADAL" clId="{4457FA57-250B-44AC-8655-05D46C5A3D8A}" dt="2023-05-31T15:18:08.692" v="169" actId="1076"/>
          <ac:spMkLst>
            <pc:docMk/>
            <pc:sldMk cId="1164779254" sldId="230717668"/>
            <ac:spMk id="207" creationId="{FA51ECC5-6A78-43E1-9E47-2CE663E7FCFC}"/>
          </ac:spMkLst>
        </pc:spChg>
        <pc:spChg chg="mod">
          <ac:chgData name="Manal El Bakkouri" userId="8b130982-2e3f-4164-b881-fd3a2e4b2453" providerId="ADAL" clId="{4457FA57-250B-44AC-8655-05D46C5A3D8A}" dt="2023-05-31T15:18:08.692" v="169" actId="1076"/>
          <ac:spMkLst>
            <pc:docMk/>
            <pc:sldMk cId="1164779254" sldId="230717668"/>
            <ac:spMk id="209" creationId="{CF996CAB-CB22-4906-97D8-4D38294C706A}"/>
          </ac:spMkLst>
        </pc:spChg>
        <pc:spChg chg="del">
          <ac:chgData name="Manal El Bakkouri" userId="8b130982-2e3f-4164-b881-fd3a2e4b2453" providerId="ADAL" clId="{4457FA57-250B-44AC-8655-05D46C5A3D8A}" dt="2023-05-31T15:09:42.261" v="56" actId="478"/>
          <ac:spMkLst>
            <pc:docMk/>
            <pc:sldMk cId="1164779254" sldId="230717668"/>
            <ac:spMk id="211" creationId="{6D531BC2-2CC5-4125-8E9F-094481C7BF2A}"/>
          </ac:spMkLst>
        </pc:spChg>
        <pc:spChg chg="del">
          <ac:chgData name="Manal El Bakkouri" userId="8b130982-2e3f-4164-b881-fd3a2e4b2453" providerId="ADAL" clId="{4457FA57-250B-44AC-8655-05D46C5A3D8A}" dt="2023-05-31T15:09:42.261" v="56" actId="478"/>
          <ac:spMkLst>
            <pc:docMk/>
            <pc:sldMk cId="1164779254" sldId="230717668"/>
            <ac:spMk id="212" creationId="{5036E86C-2E29-4335-9BF8-30B9C6420A14}"/>
          </ac:spMkLst>
        </pc:spChg>
        <pc:spChg chg="mod">
          <ac:chgData name="Manal El Bakkouri" userId="8b130982-2e3f-4164-b881-fd3a2e4b2453" providerId="ADAL" clId="{4457FA57-250B-44AC-8655-05D46C5A3D8A}" dt="2023-05-31T15:18:08.692" v="169" actId="1076"/>
          <ac:spMkLst>
            <pc:docMk/>
            <pc:sldMk cId="1164779254" sldId="230717668"/>
            <ac:spMk id="214" creationId="{CAE0DF3E-E2BC-4ED6-AA68-338F97038B6E}"/>
          </ac:spMkLst>
        </pc:spChg>
        <pc:spChg chg="del">
          <ac:chgData name="Manal El Bakkouri" userId="8b130982-2e3f-4164-b881-fd3a2e4b2453" providerId="ADAL" clId="{4457FA57-250B-44AC-8655-05D46C5A3D8A}" dt="2023-05-31T15:09:42.261" v="56" actId="478"/>
          <ac:spMkLst>
            <pc:docMk/>
            <pc:sldMk cId="1164779254" sldId="230717668"/>
            <ac:spMk id="216" creationId="{F632B6E7-E369-47D3-BE81-18498F18AD2C}"/>
          </ac:spMkLst>
        </pc:spChg>
        <pc:spChg chg="mod">
          <ac:chgData name="Manal El Bakkouri" userId="8b130982-2e3f-4164-b881-fd3a2e4b2453" providerId="ADAL" clId="{4457FA57-250B-44AC-8655-05D46C5A3D8A}" dt="2023-05-31T15:18:08.692" v="169" actId="1076"/>
          <ac:spMkLst>
            <pc:docMk/>
            <pc:sldMk cId="1164779254" sldId="230717668"/>
            <ac:spMk id="217" creationId="{84FAB1F2-08EC-4EC1-B843-F322EFD487E8}"/>
          </ac:spMkLst>
        </pc:spChg>
        <pc:spChg chg="del">
          <ac:chgData name="Manal El Bakkouri" userId="8b130982-2e3f-4164-b881-fd3a2e4b2453" providerId="ADAL" clId="{4457FA57-250B-44AC-8655-05D46C5A3D8A}" dt="2023-05-31T15:09:42.261" v="56" actId="478"/>
          <ac:spMkLst>
            <pc:docMk/>
            <pc:sldMk cId="1164779254" sldId="230717668"/>
            <ac:spMk id="218" creationId="{D5277337-9A2A-405D-B7E6-565B36A2EB79}"/>
          </ac:spMkLst>
        </pc:spChg>
        <pc:spChg chg="del">
          <ac:chgData name="Manal El Bakkouri" userId="8b130982-2e3f-4164-b881-fd3a2e4b2453" providerId="ADAL" clId="{4457FA57-250B-44AC-8655-05D46C5A3D8A}" dt="2023-05-31T15:09:42.261" v="56" actId="478"/>
          <ac:spMkLst>
            <pc:docMk/>
            <pc:sldMk cId="1164779254" sldId="230717668"/>
            <ac:spMk id="220" creationId="{670BD2D6-C0B1-4ADF-92B6-B7FA8F8FB45A}"/>
          </ac:spMkLst>
        </pc:spChg>
        <pc:spChg chg="del">
          <ac:chgData name="Manal El Bakkouri" userId="8b130982-2e3f-4164-b881-fd3a2e4b2453" providerId="ADAL" clId="{4457FA57-250B-44AC-8655-05D46C5A3D8A}" dt="2023-05-31T15:09:42.261" v="56" actId="478"/>
          <ac:spMkLst>
            <pc:docMk/>
            <pc:sldMk cId="1164779254" sldId="230717668"/>
            <ac:spMk id="221" creationId="{819FCDBF-2B1F-4DCF-978E-1903108EA020}"/>
          </ac:spMkLst>
        </pc:spChg>
        <pc:spChg chg="del">
          <ac:chgData name="Manal El Bakkouri" userId="8b130982-2e3f-4164-b881-fd3a2e4b2453" providerId="ADAL" clId="{4457FA57-250B-44AC-8655-05D46C5A3D8A}" dt="2023-05-31T15:09:42.261" v="56" actId="478"/>
          <ac:spMkLst>
            <pc:docMk/>
            <pc:sldMk cId="1164779254" sldId="230717668"/>
            <ac:spMk id="222" creationId="{5644CA3D-84F7-4F6D-87A2-C24884C8328B}"/>
          </ac:spMkLst>
        </pc:spChg>
        <pc:spChg chg="mod">
          <ac:chgData name="Manal El Bakkouri" userId="8b130982-2e3f-4164-b881-fd3a2e4b2453" providerId="ADAL" clId="{4457FA57-250B-44AC-8655-05D46C5A3D8A}" dt="2023-05-31T15:18:08.692" v="169" actId="1076"/>
          <ac:spMkLst>
            <pc:docMk/>
            <pc:sldMk cId="1164779254" sldId="230717668"/>
            <ac:spMk id="223" creationId="{D51981C1-E085-406E-9AB3-874DC225F5CA}"/>
          </ac:spMkLst>
        </pc:spChg>
        <pc:spChg chg="mod">
          <ac:chgData name="Manal El Bakkouri" userId="8b130982-2e3f-4164-b881-fd3a2e4b2453" providerId="ADAL" clId="{4457FA57-250B-44AC-8655-05D46C5A3D8A}" dt="2023-05-31T15:18:08.692" v="169" actId="1076"/>
          <ac:spMkLst>
            <pc:docMk/>
            <pc:sldMk cId="1164779254" sldId="230717668"/>
            <ac:spMk id="225" creationId="{3A12D076-D2FC-4BAE-90EE-63E19E29206F}"/>
          </ac:spMkLst>
        </pc:spChg>
        <pc:spChg chg="mod">
          <ac:chgData name="Manal El Bakkouri" userId="8b130982-2e3f-4164-b881-fd3a2e4b2453" providerId="ADAL" clId="{4457FA57-250B-44AC-8655-05D46C5A3D8A}" dt="2023-05-31T15:18:08.692" v="169" actId="1076"/>
          <ac:spMkLst>
            <pc:docMk/>
            <pc:sldMk cId="1164779254" sldId="230717668"/>
            <ac:spMk id="226" creationId="{795F3A80-06AD-4A50-B0EE-2CC89B0AB112}"/>
          </ac:spMkLst>
        </pc:spChg>
        <pc:spChg chg="mod">
          <ac:chgData name="Manal El Bakkouri" userId="8b130982-2e3f-4164-b881-fd3a2e4b2453" providerId="ADAL" clId="{4457FA57-250B-44AC-8655-05D46C5A3D8A}" dt="2023-05-31T15:18:08.692" v="169" actId="1076"/>
          <ac:spMkLst>
            <pc:docMk/>
            <pc:sldMk cId="1164779254" sldId="230717668"/>
            <ac:spMk id="228" creationId="{C8280998-2F27-466C-96D4-D1B50941EA12}"/>
          </ac:spMkLst>
        </pc:spChg>
        <pc:spChg chg="del">
          <ac:chgData name="Manal El Bakkouri" userId="8b130982-2e3f-4164-b881-fd3a2e4b2453" providerId="ADAL" clId="{4457FA57-250B-44AC-8655-05D46C5A3D8A}" dt="2023-05-31T15:09:42.261" v="56" actId="478"/>
          <ac:spMkLst>
            <pc:docMk/>
            <pc:sldMk cId="1164779254" sldId="230717668"/>
            <ac:spMk id="230" creationId="{287AE7B2-1276-455D-9605-BFE9497406F9}"/>
          </ac:spMkLst>
        </pc:spChg>
        <pc:spChg chg="mod">
          <ac:chgData name="Manal El Bakkouri" userId="8b130982-2e3f-4164-b881-fd3a2e4b2453" providerId="ADAL" clId="{4457FA57-250B-44AC-8655-05D46C5A3D8A}" dt="2023-05-31T15:18:08.692" v="169" actId="1076"/>
          <ac:spMkLst>
            <pc:docMk/>
            <pc:sldMk cId="1164779254" sldId="230717668"/>
            <ac:spMk id="231" creationId="{1CDAF3CA-CA50-4519-9D76-D07A84600965}"/>
          </ac:spMkLst>
        </pc:spChg>
        <pc:spChg chg="del">
          <ac:chgData name="Manal El Bakkouri" userId="8b130982-2e3f-4164-b881-fd3a2e4b2453" providerId="ADAL" clId="{4457FA57-250B-44AC-8655-05D46C5A3D8A}" dt="2023-05-31T15:09:42.261" v="56" actId="478"/>
          <ac:spMkLst>
            <pc:docMk/>
            <pc:sldMk cId="1164779254" sldId="230717668"/>
            <ac:spMk id="232" creationId="{B65DD59D-90E8-4682-AD87-DD3AD1E9D683}"/>
          </ac:spMkLst>
        </pc:spChg>
        <pc:spChg chg="del">
          <ac:chgData name="Manal El Bakkouri" userId="8b130982-2e3f-4164-b881-fd3a2e4b2453" providerId="ADAL" clId="{4457FA57-250B-44AC-8655-05D46C5A3D8A}" dt="2023-05-31T15:09:42.261" v="56" actId="478"/>
          <ac:spMkLst>
            <pc:docMk/>
            <pc:sldMk cId="1164779254" sldId="230717668"/>
            <ac:spMk id="233" creationId="{717C4238-227A-4D8F-A4BA-A0B6AE804B05}"/>
          </ac:spMkLst>
        </pc:spChg>
        <pc:spChg chg="mod">
          <ac:chgData name="Manal El Bakkouri" userId="8b130982-2e3f-4164-b881-fd3a2e4b2453" providerId="ADAL" clId="{4457FA57-250B-44AC-8655-05D46C5A3D8A}" dt="2023-05-31T15:18:08.692" v="169" actId="1076"/>
          <ac:spMkLst>
            <pc:docMk/>
            <pc:sldMk cId="1164779254" sldId="230717668"/>
            <ac:spMk id="234" creationId="{95F18CBF-9BA8-4772-8B26-AD6303A8420F}"/>
          </ac:spMkLst>
        </pc:spChg>
        <pc:spChg chg="mod">
          <ac:chgData name="Manal El Bakkouri" userId="8b130982-2e3f-4164-b881-fd3a2e4b2453" providerId="ADAL" clId="{4457FA57-250B-44AC-8655-05D46C5A3D8A}" dt="2023-05-31T15:18:08.692" v="169" actId="1076"/>
          <ac:spMkLst>
            <pc:docMk/>
            <pc:sldMk cId="1164779254" sldId="230717668"/>
            <ac:spMk id="235" creationId="{B1B72A6C-9053-41AA-9DC1-B0425FCA9FF1}"/>
          </ac:spMkLst>
        </pc:spChg>
        <pc:spChg chg="mod">
          <ac:chgData name="Manal El Bakkouri" userId="8b130982-2e3f-4164-b881-fd3a2e4b2453" providerId="ADAL" clId="{4457FA57-250B-44AC-8655-05D46C5A3D8A}" dt="2023-05-31T15:18:08.692" v="169" actId="1076"/>
          <ac:spMkLst>
            <pc:docMk/>
            <pc:sldMk cId="1164779254" sldId="230717668"/>
            <ac:spMk id="236" creationId="{11AEEBF6-0B4C-4C9D-9B8E-6C074FE704A3}"/>
          </ac:spMkLst>
        </pc:spChg>
        <pc:spChg chg="mod">
          <ac:chgData name="Manal El Bakkouri" userId="8b130982-2e3f-4164-b881-fd3a2e4b2453" providerId="ADAL" clId="{4457FA57-250B-44AC-8655-05D46C5A3D8A}" dt="2023-05-31T15:18:08.692" v="169" actId="1076"/>
          <ac:spMkLst>
            <pc:docMk/>
            <pc:sldMk cId="1164779254" sldId="230717668"/>
            <ac:spMk id="237" creationId="{413449C8-A818-456D-8D90-69D52678AD5F}"/>
          </ac:spMkLst>
        </pc:spChg>
        <pc:spChg chg="mod">
          <ac:chgData name="Manal El Bakkouri" userId="8b130982-2e3f-4164-b881-fd3a2e4b2453" providerId="ADAL" clId="{4457FA57-250B-44AC-8655-05D46C5A3D8A}" dt="2023-05-31T15:18:08.692" v="169" actId="1076"/>
          <ac:spMkLst>
            <pc:docMk/>
            <pc:sldMk cId="1164779254" sldId="230717668"/>
            <ac:spMk id="238" creationId="{C3313C71-BBD3-4B6C-B2EE-334E305F778C}"/>
          </ac:spMkLst>
        </pc:spChg>
        <pc:spChg chg="mod">
          <ac:chgData name="Manal El Bakkouri" userId="8b130982-2e3f-4164-b881-fd3a2e4b2453" providerId="ADAL" clId="{4457FA57-250B-44AC-8655-05D46C5A3D8A}" dt="2023-05-31T15:18:08.692" v="169" actId="1076"/>
          <ac:spMkLst>
            <pc:docMk/>
            <pc:sldMk cId="1164779254" sldId="230717668"/>
            <ac:spMk id="239" creationId="{0604113F-34B3-456E-95F3-05BF57A2DE79}"/>
          </ac:spMkLst>
        </pc:spChg>
        <pc:spChg chg="mod">
          <ac:chgData name="Manal El Bakkouri" userId="8b130982-2e3f-4164-b881-fd3a2e4b2453" providerId="ADAL" clId="{4457FA57-250B-44AC-8655-05D46C5A3D8A}" dt="2023-05-31T15:18:08.692" v="169" actId="1076"/>
          <ac:spMkLst>
            <pc:docMk/>
            <pc:sldMk cId="1164779254" sldId="230717668"/>
            <ac:spMk id="240" creationId="{756719E4-4C72-4269-BBC7-8EB5FE0AD567}"/>
          </ac:spMkLst>
        </pc:spChg>
        <pc:spChg chg="mod">
          <ac:chgData name="Manal El Bakkouri" userId="8b130982-2e3f-4164-b881-fd3a2e4b2453" providerId="ADAL" clId="{4457FA57-250B-44AC-8655-05D46C5A3D8A}" dt="2023-05-31T15:18:08.692" v="169" actId="1076"/>
          <ac:spMkLst>
            <pc:docMk/>
            <pc:sldMk cId="1164779254" sldId="230717668"/>
            <ac:spMk id="241" creationId="{7B896436-8D16-4F8E-89B7-A8F06A67D8F1}"/>
          </ac:spMkLst>
        </pc:spChg>
        <pc:spChg chg="mod">
          <ac:chgData name="Manal El Bakkouri" userId="8b130982-2e3f-4164-b881-fd3a2e4b2453" providerId="ADAL" clId="{4457FA57-250B-44AC-8655-05D46C5A3D8A}" dt="2023-05-31T15:18:08.692" v="169" actId="1076"/>
          <ac:spMkLst>
            <pc:docMk/>
            <pc:sldMk cId="1164779254" sldId="230717668"/>
            <ac:spMk id="242" creationId="{4A845D73-B1A0-4A9A-92DC-787ED29EB8AD}"/>
          </ac:spMkLst>
        </pc:spChg>
        <pc:spChg chg="mod">
          <ac:chgData name="Manal El Bakkouri" userId="8b130982-2e3f-4164-b881-fd3a2e4b2453" providerId="ADAL" clId="{4457FA57-250B-44AC-8655-05D46C5A3D8A}" dt="2023-05-31T15:18:08.692" v="169" actId="1076"/>
          <ac:spMkLst>
            <pc:docMk/>
            <pc:sldMk cId="1164779254" sldId="230717668"/>
            <ac:spMk id="243" creationId="{7941E5AD-9F92-4EEB-A40B-49E6E4B4B6F8}"/>
          </ac:spMkLst>
        </pc:spChg>
        <pc:spChg chg="mod">
          <ac:chgData name="Manal El Bakkouri" userId="8b130982-2e3f-4164-b881-fd3a2e4b2453" providerId="ADAL" clId="{4457FA57-250B-44AC-8655-05D46C5A3D8A}" dt="2023-05-31T15:18:08.692" v="169" actId="1076"/>
          <ac:spMkLst>
            <pc:docMk/>
            <pc:sldMk cId="1164779254" sldId="230717668"/>
            <ac:spMk id="244" creationId="{4862F384-C935-41D8-A026-E4FB2A8CCD03}"/>
          </ac:spMkLst>
        </pc:spChg>
        <pc:spChg chg="mod">
          <ac:chgData name="Manal El Bakkouri" userId="8b130982-2e3f-4164-b881-fd3a2e4b2453" providerId="ADAL" clId="{4457FA57-250B-44AC-8655-05D46C5A3D8A}" dt="2023-05-31T15:18:08.692" v="169" actId="1076"/>
          <ac:spMkLst>
            <pc:docMk/>
            <pc:sldMk cId="1164779254" sldId="230717668"/>
            <ac:spMk id="245" creationId="{0003039B-A647-443F-BABD-D9DEA01C7D2D}"/>
          </ac:spMkLst>
        </pc:spChg>
        <pc:spChg chg="mod">
          <ac:chgData name="Manal El Bakkouri" userId="8b130982-2e3f-4164-b881-fd3a2e4b2453" providerId="ADAL" clId="{4457FA57-250B-44AC-8655-05D46C5A3D8A}" dt="2023-05-31T15:18:08.692" v="169" actId="1076"/>
          <ac:spMkLst>
            <pc:docMk/>
            <pc:sldMk cId="1164779254" sldId="230717668"/>
            <ac:spMk id="246" creationId="{FE8DF76F-540B-4634-B69A-A3F3CE8B6920}"/>
          </ac:spMkLst>
        </pc:spChg>
        <pc:spChg chg="mod">
          <ac:chgData name="Manal El Bakkouri" userId="8b130982-2e3f-4164-b881-fd3a2e4b2453" providerId="ADAL" clId="{4457FA57-250B-44AC-8655-05D46C5A3D8A}" dt="2023-05-31T15:18:08.692" v="169" actId="1076"/>
          <ac:spMkLst>
            <pc:docMk/>
            <pc:sldMk cId="1164779254" sldId="230717668"/>
            <ac:spMk id="247" creationId="{38EA87D4-6E67-4FAC-BECA-FF79844964D2}"/>
          </ac:spMkLst>
        </pc:spChg>
        <pc:spChg chg="mod">
          <ac:chgData name="Manal El Bakkouri" userId="8b130982-2e3f-4164-b881-fd3a2e4b2453" providerId="ADAL" clId="{4457FA57-250B-44AC-8655-05D46C5A3D8A}" dt="2023-05-31T15:18:08.692" v="169" actId="1076"/>
          <ac:spMkLst>
            <pc:docMk/>
            <pc:sldMk cId="1164779254" sldId="230717668"/>
            <ac:spMk id="248" creationId="{26A6CFFB-99A9-41A8-B2C4-7910859B5AE0}"/>
          </ac:spMkLst>
        </pc:spChg>
        <pc:spChg chg="mod">
          <ac:chgData name="Manal El Bakkouri" userId="8b130982-2e3f-4164-b881-fd3a2e4b2453" providerId="ADAL" clId="{4457FA57-250B-44AC-8655-05D46C5A3D8A}" dt="2023-05-31T15:18:08.692" v="169" actId="1076"/>
          <ac:spMkLst>
            <pc:docMk/>
            <pc:sldMk cId="1164779254" sldId="230717668"/>
            <ac:spMk id="249" creationId="{0AE96E97-3EFA-46DB-A475-41EBF7B01669}"/>
          </ac:spMkLst>
        </pc:spChg>
        <pc:spChg chg="mod">
          <ac:chgData name="Manal El Bakkouri" userId="8b130982-2e3f-4164-b881-fd3a2e4b2453" providerId="ADAL" clId="{4457FA57-250B-44AC-8655-05D46C5A3D8A}" dt="2023-05-31T15:18:08.692" v="169" actId="1076"/>
          <ac:spMkLst>
            <pc:docMk/>
            <pc:sldMk cId="1164779254" sldId="230717668"/>
            <ac:spMk id="250" creationId="{E361E1F2-C2BE-496F-9EF5-0822042FF20F}"/>
          </ac:spMkLst>
        </pc:spChg>
        <pc:spChg chg="mod">
          <ac:chgData name="Manal El Bakkouri" userId="8b130982-2e3f-4164-b881-fd3a2e4b2453" providerId="ADAL" clId="{4457FA57-250B-44AC-8655-05D46C5A3D8A}" dt="2023-05-31T15:18:08.692" v="169" actId="1076"/>
          <ac:spMkLst>
            <pc:docMk/>
            <pc:sldMk cId="1164779254" sldId="230717668"/>
            <ac:spMk id="251" creationId="{90D9EA10-028F-43E9-A4E7-6DC34CE48F8E}"/>
          </ac:spMkLst>
        </pc:spChg>
        <pc:spChg chg="mod">
          <ac:chgData name="Manal El Bakkouri" userId="8b130982-2e3f-4164-b881-fd3a2e4b2453" providerId="ADAL" clId="{4457FA57-250B-44AC-8655-05D46C5A3D8A}" dt="2023-05-31T15:18:08.692" v="169" actId="1076"/>
          <ac:spMkLst>
            <pc:docMk/>
            <pc:sldMk cId="1164779254" sldId="230717668"/>
            <ac:spMk id="252" creationId="{EDAC0F2F-FF82-4FC2-8234-3729E46F7F31}"/>
          </ac:spMkLst>
        </pc:spChg>
        <pc:spChg chg="mod">
          <ac:chgData name="Manal El Bakkouri" userId="8b130982-2e3f-4164-b881-fd3a2e4b2453" providerId="ADAL" clId="{4457FA57-250B-44AC-8655-05D46C5A3D8A}" dt="2023-05-31T15:18:08.692" v="169" actId="1076"/>
          <ac:spMkLst>
            <pc:docMk/>
            <pc:sldMk cId="1164779254" sldId="230717668"/>
            <ac:spMk id="253" creationId="{6A8DB177-0C8B-4153-965D-AE8808F94C0C}"/>
          </ac:spMkLst>
        </pc:spChg>
        <pc:spChg chg="mod">
          <ac:chgData name="Manal El Bakkouri" userId="8b130982-2e3f-4164-b881-fd3a2e4b2453" providerId="ADAL" clId="{4457FA57-250B-44AC-8655-05D46C5A3D8A}" dt="2023-05-31T15:18:08.692" v="169" actId="1076"/>
          <ac:spMkLst>
            <pc:docMk/>
            <pc:sldMk cId="1164779254" sldId="230717668"/>
            <ac:spMk id="254" creationId="{DE8834F1-579B-46BF-816D-D232E3FB0344}"/>
          </ac:spMkLst>
        </pc:spChg>
        <pc:spChg chg="mod">
          <ac:chgData name="Manal El Bakkouri" userId="8b130982-2e3f-4164-b881-fd3a2e4b2453" providerId="ADAL" clId="{4457FA57-250B-44AC-8655-05D46C5A3D8A}" dt="2023-05-31T15:18:08.692" v="169" actId="1076"/>
          <ac:spMkLst>
            <pc:docMk/>
            <pc:sldMk cId="1164779254" sldId="230717668"/>
            <ac:spMk id="256" creationId="{49E0ED69-B5C7-41A7-8C87-C08E26E62839}"/>
          </ac:spMkLst>
        </pc:spChg>
        <pc:spChg chg="mod">
          <ac:chgData name="Manal El Bakkouri" userId="8b130982-2e3f-4164-b881-fd3a2e4b2453" providerId="ADAL" clId="{4457FA57-250B-44AC-8655-05D46C5A3D8A}" dt="2023-05-31T15:18:08.692" v="169" actId="1076"/>
          <ac:spMkLst>
            <pc:docMk/>
            <pc:sldMk cId="1164779254" sldId="230717668"/>
            <ac:spMk id="257" creationId="{9E06D7F8-8796-433E-A6D8-FCCD5519E010}"/>
          </ac:spMkLst>
        </pc:spChg>
        <pc:spChg chg="mod">
          <ac:chgData name="Manal El Bakkouri" userId="8b130982-2e3f-4164-b881-fd3a2e4b2453" providerId="ADAL" clId="{4457FA57-250B-44AC-8655-05D46C5A3D8A}" dt="2023-05-31T15:18:08.692" v="169" actId="1076"/>
          <ac:spMkLst>
            <pc:docMk/>
            <pc:sldMk cId="1164779254" sldId="230717668"/>
            <ac:spMk id="258" creationId="{DFDBD3C6-48D5-409B-8899-B007940F3CC0}"/>
          </ac:spMkLst>
        </pc:spChg>
        <pc:spChg chg="mod">
          <ac:chgData name="Manal El Bakkouri" userId="8b130982-2e3f-4164-b881-fd3a2e4b2453" providerId="ADAL" clId="{4457FA57-250B-44AC-8655-05D46C5A3D8A}" dt="2023-05-31T15:18:08.692" v="169" actId="1076"/>
          <ac:spMkLst>
            <pc:docMk/>
            <pc:sldMk cId="1164779254" sldId="230717668"/>
            <ac:spMk id="259" creationId="{2B516C03-5DB0-4A74-9554-99965271CCBA}"/>
          </ac:spMkLst>
        </pc:spChg>
        <pc:spChg chg="mod">
          <ac:chgData name="Manal El Bakkouri" userId="8b130982-2e3f-4164-b881-fd3a2e4b2453" providerId="ADAL" clId="{4457FA57-250B-44AC-8655-05D46C5A3D8A}" dt="2023-05-31T15:18:08.692" v="169" actId="1076"/>
          <ac:spMkLst>
            <pc:docMk/>
            <pc:sldMk cId="1164779254" sldId="230717668"/>
            <ac:spMk id="260" creationId="{62F8B3B0-9A25-4176-8E26-5D251D664803}"/>
          </ac:spMkLst>
        </pc:spChg>
        <pc:spChg chg="mod">
          <ac:chgData name="Manal El Bakkouri" userId="8b130982-2e3f-4164-b881-fd3a2e4b2453" providerId="ADAL" clId="{4457FA57-250B-44AC-8655-05D46C5A3D8A}" dt="2023-05-31T15:18:08.692" v="169" actId="1076"/>
          <ac:spMkLst>
            <pc:docMk/>
            <pc:sldMk cId="1164779254" sldId="230717668"/>
            <ac:spMk id="261" creationId="{B6DF0489-4CAF-4314-9893-A2C15EF03F42}"/>
          </ac:spMkLst>
        </pc:spChg>
        <pc:spChg chg="mod">
          <ac:chgData name="Manal El Bakkouri" userId="8b130982-2e3f-4164-b881-fd3a2e4b2453" providerId="ADAL" clId="{4457FA57-250B-44AC-8655-05D46C5A3D8A}" dt="2023-05-31T15:18:08.692" v="169" actId="1076"/>
          <ac:spMkLst>
            <pc:docMk/>
            <pc:sldMk cId="1164779254" sldId="230717668"/>
            <ac:spMk id="262" creationId="{61A5B70D-E3BD-4CE9-B80E-8017A76B1F53}"/>
          </ac:spMkLst>
        </pc:spChg>
        <pc:spChg chg="mod">
          <ac:chgData name="Manal El Bakkouri" userId="8b130982-2e3f-4164-b881-fd3a2e4b2453" providerId="ADAL" clId="{4457FA57-250B-44AC-8655-05D46C5A3D8A}" dt="2023-05-31T15:18:08.692" v="169" actId="1076"/>
          <ac:spMkLst>
            <pc:docMk/>
            <pc:sldMk cId="1164779254" sldId="230717668"/>
            <ac:spMk id="263" creationId="{BC417F5B-6050-4110-A60E-2557AFD21E3B}"/>
          </ac:spMkLst>
        </pc:spChg>
        <pc:spChg chg="mod">
          <ac:chgData name="Manal El Bakkouri" userId="8b130982-2e3f-4164-b881-fd3a2e4b2453" providerId="ADAL" clId="{4457FA57-250B-44AC-8655-05D46C5A3D8A}" dt="2023-05-31T15:18:08.692" v="169" actId="1076"/>
          <ac:spMkLst>
            <pc:docMk/>
            <pc:sldMk cId="1164779254" sldId="230717668"/>
            <ac:spMk id="264" creationId="{731D8B9E-B028-4004-842D-F25D7E34092F}"/>
          </ac:spMkLst>
        </pc:spChg>
        <pc:spChg chg="mod">
          <ac:chgData name="Manal El Bakkouri" userId="8b130982-2e3f-4164-b881-fd3a2e4b2453" providerId="ADAL" clId="{4457FA57-250B-44AC-8655-05D46C5A3D8A}" dt="2023-05-31T15:18:08.692" v="169" actId="1076"/>
          <ac:spMkLst>
            <pc:docMk/>
            <pc:sldMk cId="1164779254" sldId="230717668"/>
            <ac:spMk id="266" creationId="{49356587-150E-4B81-B352-4E45D048FEF5}"/>
          </ac:spMkLst>
        </pc:spChg>
        <pc:spChg chg="mod">
          <ac:chgData name="Manal El Bakkouri" userId="8b130982-2e3f-4164-b881-fd3a2e4b2453" providerId="ADAL" clId="{4457FA57-250B-44AC-8655-05D46C5A3D8A}" dt="2023-05-31T15:18:08.692" v="169" actId="1076"/>
          <ac:spMkLst>
            <pc:docMk/>
            <pc:sldMk cId="1164779254" sldId="230717668"/>
            <ac:spMk id="267" creationId="{AF7DF830-1E54-4827-BB44-C8E7B94E238B}"/>
          </ac:spMkLst>
        </pc:spChg>
        <pc:spChg chg="mod">
          <ac:chgData name="Manal El Bakkouri" userId="8b130982-2e3f-4164-b881-fd3a2e4b2453" providerId="ADAL" clId="{4457FA57-250B-44AC-8655-05D46C5A3D8A}" dt="2023-05-31T15:18:08.692" v="169" actId="1076"/>
          <ac:spMkLst>
            <pc:docMk/>
            <pc:sldMk cId="1164779254" sldId="230717668"/>
            <ac:spMk id="268" creationId="{14BEDA2F-4E9F-46C8-94E2-04B1B3ADE495}"/>
          </ac:spMkLst>
        </pc:spChg>
        <pc:spChg chg="mod">
          <ac:chgData name="Manal El Bakkouri" userId="8b130982-2e3f-4164-b881-fd3a2e4b2453" providerId="ADAL" clId="{4457FA57-250B-44AC-8655-05D46C5A3D8A}" dt="2023-05-31T15:18:08.692" v="169" actId="1076"/>
          <ac:spMkLst>
            <pc:docMk/>
            <pc:sldMk cId="1164779254" sldId="230717668"/>
            <ac:spMk id="269" creationId="{51DBD31C-7C2C-41B3-9148-24FEC9F49C9E}"/>
          </ac:spMkLst>
        </pc:spChg>
        <pc:spChg chg="mod">
          <ac:chgData name="Manal El Bakkouri" userId="8b130982-2e3f-4164-b881-fd3a2e4b2453" providerId="ADAL" clId="{4457FA57-250B-44AC-8655-05D46C5A3D8A}" dt="2023-05-31T15:18:08.692" v="169" actId="1076"/>
          <ac:spMkLst>
            <pc:docMk/>
            <pc:sldMk cId="1164779254" sldId="230717668"/>
            <ac:spMk id="270" creationId="{D32BB92A-C934-4E86-B018-1DE204A6AB5B}"/>
          </ac:spMkLst>
        </pc:spChg>
        <pc:spChg chg="mod">
          <ac:chgData name="Manal El Bakkouri" userId="8b130982-2e3f-4164-b881-fd3a2e4b2453" providerId="ADAL" clId="{4457FA57-250B-44AC-8655-05D46C5A3D8A}" dt="2023-05-31T15:18:08.692" v="169" actId="1076"/>
          <ac:spMkLst>
            <pc:docMk/>
            <pc:sldMk cId="1164779254" sldId="230717668"/>
            <ac:spMk id="271" creationId="{F7B86827-D6D1-44E4-B71A-3E6A6342071F}"/>
          </ac:spMkLst>
        </pc:spChg>
        <pc:spChg chg="mod">
          <ac:chgData name="Manal El Bakkouri" userId="8b130982-2e3f-4164-b881-fd3a2e4b2453" providerId="ADAL" clId="{4457FA57-250B-44AC-8655-05D46C5A3D8A}" dt="2023-05-31T15:18:08.692" v="169" actId="1076"/>
          <ac:spMkLst>
            <pc:docMk/>
            <pc:sldMk cId="1164779254" sldId="230717668"/>
            <ac:spMk id="273" creationId="{A2870B07-A590-47EB-AEDE-2BBDE82CABCF}"/>
          </ac:spMkLst>
        </pc:spChg>
        <pc:spChg chg="mod">
          <ac:chgData name="Manal El Bakkouri" userId="8b130982-2e3f-4164-b881-fd3a2e4b2453" providerId="ADAL" clId="{4457FA57-250B-44AC-8655-05D46C5A3D8A}" dt="2023-05-31T15:18:08.692" v="169" actId="1076"/>
          <ac:spMkLst>
            <pc:docMk/>
            <pc:sldMk cId="1164779254" sldId="230717668"/>
            <ac:spMk id="274" creationId="{47428A75-E048-4365-B7DD-47CB6A5941B3}"/>
          </ac:spMkLst>
        </pc:spChg>
        <pc:spChg chg="mod">
          <ac:chgData name="Manal El Bakkouri" userId="8b130982-2e3f-4164-b881-fd3a2e4b2453" providerId="ADAL" clId="{4457FA57-250B-44AC-8655-05D46C5A3D8A}" dt="2023-05-31T15:18:08.692" v="169" actId="1076"/>
          <ac:spMkLst>
            <pc:docMk/>
            <pc:sldMk cId="1164779254" sldId="230717668"/>
            <ac:spMk id="275" creationId="{8902280A-8704-4041-8D84-D1289F54B79D}"/>
          </ac:spMkLst>
        </pc:spChg>
        <pc:spChg chg="mod">
          <ac:chgData name="Manal El Bakkouri" userId="8b130982-2e3f-4164-b881-fd3a2e4b2453" providerId="ADAL" clId="{4457FA57-250B-44AC-8655-05D46C5A3D8A}" dt="2023-05-31T15:18:08.692" v="169" actId="1076"/>
          <ac:spMkLst>
            <pc:docMk/>
            <pc:sldMk cId="1164779254" sldId="230717668"/>
            <ac:spMk id="276" creationId="{F8B7EA78-78B6-4E30-884A-81F4BE6622F4}"/>
          </ac:spMkLst>
        </pc:spChg>
        <pc:spChg chg="add mod ord">
          <ac:chgData name="Manal El Bakkouri" userId="8b130982-2e3f-4164-b881-fd3a2e4b2453" providerId="ADAL" clId="{4457FA57-250B-44AC-8655-05D46C5A3D8A}" dt="2023-05-31T15:33:16.830" v="411" actId="207"/>
          <ac:spMkLst>
            <pc:docMk/>
            <pc:sldMk cId="1164779254" sldId="230717668"/>
            <ac:spMk id="277" creationId="{C69BDEC9-973B-4541-AE12-627EEC58E67B}"/>
          </ac:spMkLst>
        </pc:spChg>
        <pc:spChg chg="add mod ord">
          <ac:chgData name="Manal El Bakkouri" userId="8b130982-2e3f-4164-b881-fd3a2e4b2453" providerId="ADAL" clId="{4457FA57-250B-44AC-8655-05D46C5A3D8A}" dt="2023-05-31T15:33:16.830" v="411" actId="207"/>
          <ac:spMkLst>
            <pc:docMk/>
            <pc:sldMk cId="1164779254" sldId="230717668"/>
            <ac:spMk id="278" creationId="{D01EECE2-0853-4795-9EF2-F0CB657C7606}"/>
          </ac:spMkLst>
        </pc:spChg>
        <pc:spChg chg="add mod ord">
          <ac:chgData name="Manal El Bakkouri" userId="8b130982-2e3f-4164-b881-fd3a2e4b2453" providerId="ADAL" clId="{4457FA57-250B-44AC-8655-05D46C5A3D8A}" dt="2023-05-31T15:33:16.830" v="411" actId="207"/>
          <ac:spMkLst>
            <pc:docMk/>
            <pc:sldMk cId="1164779254" sldId="230717668"/>
            <ac:spMk id="279" creationId="{E2A8B299-704C-4080-9E6F-9B698DE05F5B}"/>
          </ac:spMkLst>
        </pc:spChg>
        <pc:spChg chg="add mod ord">
          <ac:chgData name="Manal El Bakkouri" userId="8b130982-2e3f-4164-b881-fd3a2e4b2453" providerId="ADAL" clId="{4457FA57-250B-44AC-8655-05D46C5A3D8A}" dt="2023-05-31T15:33:16.830" v="411" actId="207"/>
          <ac:spMkLst>
            <pc:docMk/>
            <pc:sldMk cId="1164779254" sldId="230717668"/>
            <ac:spMk id="280" creationId="{B2027423-60EA-44AA-B9BE-DDDAC10E5054}"/>
          </ac:spMkLst>
        </pc:spChg>
        <pc:spChg chg="add mod">
          <ac:chgData name="Manal El Bakkouri" userId="8b130982-2e3f-4164-b881-fd3a2e4b2453" providerId="ADAL" clId="{4457FA57-250B-44AC-8655-05D46C5A3D8A}" dt="2023-06-06T10:27:52.836" v="9677" actId="14100"/>
          <ac:spMkLst>
            <pc:docMk/>
            <pc:sldMk cId="1164779254" sldId="230717668"/>
            <ac:spMk id="281" creationId="{2E42B290-6F1E-4CAA-82D3-DDC9AAC12111}"/>
          </ac:spMkLst>
        </pc:spChg>
        <pc:spChg chg="add del mod">
          <ac:chgData name="Manal El Bakkouri" userId="8b130982-2e3f-4164-b881-fd3a2e4b2453" providerId="ADAL" clId="{4457FA57-250B-44AC-8655-05D46C5A3D8A}" dt="2023-06-01T11:32:32.857" v="973"/>
          <ac:spMkLst>
            <pc:docMk/>
            <pc:sldMk cId="1164779254" sldId="230717668"/>
            <ac:spMk id="282" creationId="{D57DDCA9-B500-4602-9486-FC4144EC91BD}"/>
          </ac:spMkLst>
        </pc:spChg>
        <pc:spChg chg="add del mod">
          <ac:chgData name="Manal El Bakkouri" userId="8b130982-2e3f-4164-b881-fd3a2e4b2453" providerId="ADAL" clId="{4457FA57-250B-44AC-8655-05D46C5A3D8A}" dt="2023-06-01T11:32:32.857" v="973"/>
          <ac:spMkLst>
            <pc:docMk/>
            <pc:sldMk cId="1164779254" sldId="230717668"/>
            <ac:spMk id="283" creationId="{19CEFA19-708F-48AE-B7C6-D0B021F628B2}"/>
          </ac:spMkLst>
        </pc:spChg>
        <pc:spChg chg="add del mod">
          <ac:chgData name="Manal El Bakkouri" userId="8b130982-2e3f-4164-b881-fd3a2e4b2453" providerId="ADAL" clId="{4457FA57-250B-44AC-8655-05D46C5A3D8A}" dt="2023-06-01T11:32:32.857" v="973"/>
          <ac:spMkLst>
            <pc:docMk/>
            <pc:sldMk cId="1164779254" sldId="230717668"/>
            <ac:spMk id="284" creationId="{2E8D42B8-CC28-431A-953F-433A26178DD5}"/>
          </ac:spMkLst>
        </pc:spChg>
        <pc:spChg chg="add del mod">
          <ac:chgData name="Manal El Bakkouri" userId="8b130982-2e3f-4164-b881-fd3a2e4b2453" providerId="ADAL" clId="{4457FA57-250B-44AC-8655-05D46C5A3D8A}" dt="2023-06-01T11:32:32.857" v="973"/>
          <ac:spMkLst>
            <pc:docMk/>
            <pc:sldMk cId="1164779254" sldId="230717668"/>
            <ac:spMk id="285" creationId="{E590796A-3FE0-42C2-97CF-4F4BB3E5A230}"/>
          </ac:spMkLst>
        </pc:spChg>
        <pc:spChg chg="add del mod">
          <ac:chgData name="Manal El Bakkouri" userId="8b130982-2e3f-4164-b881-fd3a2e4b2453" providerId="ADAL" clId="{4457FA57-250B-44AC-8655-05D46C5A3D8A}" dt="2023-06-01T11:32:32.857" v="973"/>
          <ac:spMkLst>
            <pc:docMk/>
            <pc:sldMk cId="1164779254" sldId="230717668"/>
            <ac:spMk id="286" creationId="{A3114A75-376D-4488-9C8E-1BB1AF4C4110}"/>
          </ac:spMkLst>
        </pc:spChg>
        <pc:spChg chg="add del mod">
          <ac:chgData name="Manal El Bakkouri" userId="8b130982-2e3f-4164-b881-fd3a2e4b2453" providerId="ADAL" clId="{4457FA57-250B-44AC-8655-05D46C5A3D8A}" dt="2023-06-01T11:32:32.857" v="973"/>
          <ac:spMkLst>
            <pc:docMk/>
            <pc:sldMk cId="1164779254" sldId="230717668"/>
            <ac:spMk id="287" creationId="{017B0B00-A4DB-44E1-B274-CF3FC568BAFC}"/>
          </ac:spMkLst>
        </pc:spChg>
        <pc:spChg chg="add del mod">
          <ac:chgData name="Manal El Bakkouri" userId="8b130982-2e3f-4164-b881-fd3a2e4b2453" providerId="ADAL" clId="{4457FA57-250B-44AC-8655-05D46C5A3D8A}" dt="2023-06-01T11:32:32.857" v="973"/>
          <ac:spMkLst>
            <pc:docMk/>
            <pc:sldMk cId="1164779254" sldId="230717668"/>
            <ac:spMk id="288" creationId="{3F44759A-3A9B-4775-9D6C-C0C907DC1899}"/>
          </ac:spMkLst>
        </pc:spChg>
        <pc:spChg chg="del mod topLvl">
          <ac:chgData name="Manal El Bakkouri" userId="8b130982-2e3f-4164-b881-fd3a2e4b2453" providerId="ADAL" clId="{4457FA57-250B-44AC-8655-05D46C5A3D8A}" dt="2023-05-31T15:20:09.950" v="265" actId="478"/>
          <ac:spMkLst>
            <pc:docMk/>
            <pc:sldMk cId="1164779254" sldId="230717668"/>
            <ac:spMk id="431" creationId="{08428487-5D16-47C3-9A18-20EC6EBDED70}"/>
          </ac:spMkLst>
        </pc:spChg>
        <pc:spChg chg="del mod topLvl">
          <ac:chgData name="Manal El Bakkouri" userId="8b130982-2e3f-4164-b881-fd3a2e4b2453" providerId="ADAL" clId="{4457FA57-250B-44AC-8655-05D46C5A3D8A}" dt="2023-05-31T15:20:09.950" v="265" actId="478"/>
          <ac:spMkLst>
            <pc:docMk/>
            <pc:sldMk cId="1164779254" sldId="230717668"/>
            <ac:spMk id="432" creationId="{14B86D07-4A46-4367-896A-CF9B9B796D39}"/>
          </ac:spMkLst>
        </pc:spChg>
        <pc:spChg chg="del mod topLvl">
          <ac:chgData name="Manal El Bakkouri" userId="8b130982-2e3f-4164-b881-fd3a2e4b2453" providerId="ADAL" clId="{4457FA57-250B-44AC-8655-05D46C5A3D8A}" dt="2023-05-31T15:20:09.950" v="265" actId="478"/>
          <ac:spMkLst>
            <pc:docMk/>
            <pc:sldMk cId="1164779254" sldId="230717668"/>
            <ac:spMk id="433" creationId="{FF00D24D-5E80-4FA2-9BFA-8C78E136D637}"/>
          </ac:spMkLst>
        </pc:spChg>
        <pc:spChg chg="del mod topLvl">
          <ac:chgData name="Manal El Bakkouri" userId="8b130982-2e3f-4164-b881-fd3a2e4b2453" providerId="ADAL" clId="{4457FA57-250B-44AC-8655-05D46C5A3D8A}" dt="2023-05-31T15:20:09.950" v="265" actId="478"/>
          <ac:spMkLst>
            <pc:docMk/>
            <pc:sldMk cId="1164779254" sldId="230717668"/>
            <ac:spMk id="434" creationId="{40C0FBB2-A677-4792-A461-F737EA23D30D}"/>
          </ac:spMkLst>
        </pc:spChg>
        <pc:spChg chg="del mod topLvl">
          <ac:chgData name="Manal El Bakkouri" userId="8b130982-2e3f-4164-b881-fd3a2e4b2453" providerId="ADAL" clId="{4457FA57-250B-44AC-8655-05D46C5A3D8A}" dt="2023-05-31T15:20:09.950" v="265" actId="478"/>
          <ac:spMkLst>
            <pc:docMk/>
            <pc:sldMk cId="1164779254" sldId="230717668"/>
            <ac:spMk id="435" creationId="{EEB7CBED-7FBA-44F3-9288-93BD0AB8462E}"/>
          </ac:spMkLst>
        </pc:spChg>
        <pc:spChg chg="del mod topLvl">
          <ac:chgData name="Manal El Bakkouri" userId="8b130982-2e3f-4164-b881-fd3a2e4b2453" providerId="ADAL" clId="{4457FA57-250B-44AC-8655-05D46C5A3D8A}" dt="2023-05-31T15:20:09.950" v="265" actId="478"/>
          <ac:spMkLst>
            <pc:docMk/>
            <pc:sldMk cId="1164779254" sldId="230717668"/>
            <ac:spMk id="436" creationId="{CAD27E86-42BF-4725-80CC-B49BAAA8C7A9}"/>
          </ac:spMkLst>
        </pc:spChg>
        <pc:spChg chg="del mod topLvl">
          <ac:chgData name="Manal El Bakkouri" userId="8b130982-2e3f-4164-b881-fd3a2e4b2453" providerId="ADAL" clId="{4457FA57-250B-44AC-8655-05D46C5A3D8A}" dt="2023-05-31T15:20:09.950" v="265" actId="478"/>
          <ac:spMkLst>
            <pc:docMk/>
            <pc:sldMk cId="1164779254" sldId="230717668"/>
            <ac:spMk id="444" creationId="{D30E0255-92D9-4597-9239-AB8714EF1E35}"/>
          </ac:spMkLst>
        </pc:spChg>
        <pc:spChg chg="del mod topLvl">
          <ac:chgData name="Manal El Bakkouri" userId="8b130982-2e3f-4164-b881-fd3a2e4b2453" providerId="ADAL" clId="{4457FA57-250B-44AC-8655-05D46C5A3D8A}" dt="2023-05-31T15:20:09.950" v="265" actId="478"/>
          <ac:spMkLst>
            <pc:docMk/>
            <pc:sldMk cId="1164779254" sldId="230717668"/>
            <ac:spMk id="445" creationId="{DE8E7B63-A91A-46A2-9406-1603E0FA0B0F}"/>
          </ac:spMkLst>
        </pc:spChg>
        <pc:spChg chg="del mod topLvl">
          <ac:chgData name="Manal El Bakkouri" userId="8b130982-2e3f-4164-b881-fd3a2e4b2453" providerId="ADAL" clId="{4457FA57-250B-44AC-8655-05D46C5A3D8A}" dt="2023-05-31T15:20:09.950" v="265" actId="478"/>
          <ac:spMkLst>
            <pc:docMk/>
            <pc:sldMk cId="1164779254" sldId="230717668"/>
            <ac:spMk id="446" creationId="{959C700A-81F9-4B3D-A8F8-D3DD7CFBB234}"/>
          </ac:spMkLst>
        </pc:spChg>
        <pc:spChg chg="del mod topLvl">
          <ac:chgData name="Manal El Bakkouri" userId="8b130982-2e3f-4164-b881-fd3a2e4b2453" providerId="ADAL" clId="{4457FA57-250B-44AC-8655-05D46C5A3D8A}" dt="2023-05-31T15:20:09.950" v="265" actId="478"/>
          <ac:spMkLst>
            <pc:docMk/>
            <pc:sldMk cId="1164779254" sldId="230717668"/>
            <ac:spMk id="447" creationId="{6F474F80-1C14-42D8-99E1-0A853884BE52}"/>
          </ac:spMkLst>
        </pc:spChg>
        <pc:spChg chg="del mod topLvl">
          <ac:chgData name="Manal El Bakkouri" userId="8b130982-2e3f-4164-b881-fd3a2e4b2453" providerId="ADAL" clId="{4457FA57-250B-44AC-8655-05D46C5A3D8A}" dt="2023-05-31T15:20:09.950" v="265" actId="478"/>
          <ac:spMkLst>
            <pc:docMk/>
            <pc:sldMk cId="1164779254" sldId="230717668"/>
            <ac:spMk id="448" creationId="{8E72950A-22D3-4FB3-9C16-8C4CD1554001}"/>
          </ac:spMkLst>
        </pc:spChg>
        <pc:spChg chg="del mod topLvl">
          <ac:chgData name="Manal El Bakkouri" userId="8b130982-2e3f-4164-b881-fd3a2e4b2453" providerId="ADAL" clId="{4457FA57-250B-44AC-8655-05D46C5A3D8A}" dt="2023-05-31T15:20:09.950" v="265" actId="478"/>
          <ac:spMkLst>
            <pc:docMk/>
            <pc:sldMk cId="1164779254" sldId="230717668"/>
            <ac:spMk id="449" creationId="{F3D93B9B-25CB-4FF2-AFE8-FCBD4874049F}"/>
          </ac:spMkLst>
        </pc:spChg>
        <pc:spChg chg="del mod topLvl">
          <ac:chgData name="Manal El Bakkouri" userId="8b130982-2e3f-4164-b881-fd3a2e4b2453" providerId="ADAL" clId="{4457FA57-250B-44AC-8655-05D46C5A3D8A}" dt="2023-05-31T15:20:09.950" v="265" actId="478"/>
          <ac:spMkLst>
            <pc:docMk/>
            <pc:sldMk cId="1164779254" sldId="230717668"/>
            <ac:spMk id="450" creationId="{2297FC4F-B344-4EAC-9E43-4A1AB7C1D55B}"/>
          </ac:spMkLst>
        </pc:spChg>
        <pc:spChg chg="del mod topLvl">
          <ac:chgData name="Manal El Bakkouri" userId="8b130982-2e3f-4164-b881-fd3a2e4b2453" providerId="ADAL" clId="{4457FA57-250B-44AC-8655-05D46C5A3D8A}" dt="2023-05-31T15:20:09.950" v="265" actId="478"/>
          <ac:spMkLst>
            <pc:docMk/>
            <pc:sldMk cId="1164779254" sldId="230717668"/>
            <ac:spMk id="451" creationId="{F9236F22-A31C-489E-B14C-685188B92B18}"/>
          </ac:spMkLst>
        </pc:spChg>
        <pc:spChg chg="del mod topLvl">
          <ac:chgData name="Manal El Bakkouri" userId="8b130982-2e3f-4164-b881-fd3a2e4b2453" providerId="ADAL" clId="{4457FA57-250B-44AC-8655-05D46C5A3D8A}" dt="2023-05-31T15:20:09.950" v="265" actId="478"/>
          <ac:spMkLst>
            <pc:docMk/>
            <pc:sldMk cId="1164779254" sldId="230717668"/>
            <ac:spMk id="452" creationId="{2AF0800F-03E3-407F-BB1C-36401136F490}"/>
          </ac:spMkLst>
        </pc:spChg>
        <pc:spChg chg="del mod topLvl">
          <ac:chgData name="Manal El Bakkouri" userId="8b130982-2e3f-4164-b881-fd3a2e4b2453" providerId="ADAL" clId="{4457FA57-250B-44AC-8655-05D46C5A3D8A}" dt="2023-05-31T15:20:09.950" v="265" actId="478"/>
          <ac:spMkLst>
            <pc:docMk/>
            <pc:sldMk cId="1164779254" sldId="230717668"/>
            <ac:spMk id="453" creationId="{BDFFAA67-7948-42F0-B605-59E7C8662767}"/>
          </ac:spMkLst>
        </pc:spChg>
        <pc:spChg chg="del mod topLvl">
          <ac:chgData name="Manal El Bakkouri" userId="8b130982-2e3f-4164-b881-fd3a2e4b2453" providerId="ADAL" clId="{4457FA57-250B-44AC-8655-05D46C5A3D8A}" dt="2023-05-31T15:20:09.950" v="265" actId="478"/>
          <ac:spMkLst>
            <pc:docMk/>
            <pc:sldMk cId="1164779254" sldId="230717668"/>
            <ac:spMk id="454" creationId="{0D56DBD7-225F-4B41-AA87-0E1E1F349766}"/>
          </ac:spMkLst>
        </pc:spChg>
        <pc:spChg chg="del mod topLvl">
          <ac:chgData name="Manal El Bakkouri" userId="8b130982-2e3f-4164-b881-fd3a2e4b2453" providerId="ADAL" clId="{4457FA57-250B-44AC-8655-05D46C5A3D8A}" dt="2023-05-31T15:20:09.950" v="265" actId="478"/>
          <ac:spMkLst>
            <pc:docMk/>
            <pc:sldMk cId="1164779254" sldId="230717668"/>
            <ac:spMk id="455" creationId="{1D4E8179-6033-48D5-BEED-976D2B3A3B0E}"/>
          </ac:spMkLst>
        </pc:spChg>
        <pc:spChg chg="mod">
          <ac:chgData name="Manal El Bakkouri" userId="8b130982-2e3f-4164-b881-fd3a2e4b2453" providerId="ADAL" clId="{4457FA57-250B-44AC-8655-05D46C5A3D8A}" dt="2023-05-31T15:13:51.413" v="134" actId="165"/>
          <ac:spMkLst>
            <pc:docMk/>
            <pc:sldMk cId="1164779254" sldId="230717668"/>
            <ac:spMk id="457" creationId="{E6177E56-93E1-47FF-8953-6728C2A4140E}"/>
          </ac:spMkLst>
        </pc:spChg>
        <pc:spChg chg="mod">
          <ac:chgData name="Manal El Bakkouri" userId="8b130982-2e3f-4164-b881-fd3a2e4b2453" providerId="ADAL" clId="{4457FA57-250B-44AC-8655-05D46C5A3D8A}" dt="2023-05-31T15:13:51.413" v="134" actId="165"/>
          <ac:spMkLst>
            <pc:docMk/>
            <pc:sldMk cId="1164779254" sldId="230717668"/>
            <ac:spMk id="458" creationId="{9062335F-8135-4D79-A247-B300E1F17302}"/>
          </ac:spMkLst>
        </pc:spChg>
        <pc:spChg chg="mod">
          <ac:chgData name="Manal El Bakkouri" userId="8b130982-2e3f-4164-b881-fd3a2e4b2453" providerId="ADAL" clId="{4457FA57-250B-44AC-8655-05D46C5A3D8A}" dt="2023-05-31T15:13:51.413" v="134" actId="165"/>
          <ac:spMkLst>
            <pc:docMk/>
            <pc:sldMk cId="1164779254" sldId="230717668"/>
            <ac:spMk id="459" creationId="{762D92FD-65D4-4E37-A47E-29D498103D68}"/>
          </ac:spMkLst>
        </pc:spChg>
        <pc:spChg chg="mod">
          <ac:chgData name="Manal El Bakkouri" userId="8b130982-2e3f-4164-b881-fd3a2e4b2453" providerId="ADAL" clId="{4457FA57-250B-44AC-8655-05D46C5A3D8A}" dt="2023-05-31T15:13:51.413" v="134" actId="165"/>
          <ac:spMkLst>
            <pc:docMk/>
            <pc:sldMk cId="1164779254" sldId="230717668"/>
            <ac:spMk id="460" creationId="{8B4BEE43-4848-4807-86D6-68ABE495B985}"/>
          </ac:spMkLst>
        </pc:spChg>
        <pc:spChg chg="mod">
          <ac:chgData name="Manal El Bakkouri" userId="8b130982-2e3f-4164-b881-fd3a2e4b2453" providerId="ADAL" clId="{4457FA57-250B-44AC-8655-05D46C5A3D8A}" dt="2023-05-31T15:13:51.413" v="134" actId="165"/>
          <ac:spMkLst>
            <pc:docMk/>
            <pc:sldMk cId="1164779254" sldId="230717668"/>
            <ac:spMk id="461" creationId="{8AACAEC3-EF91-4C3B-A020-B6C9C7E41070}"/>
          </ac:spMkLst>
        </pc:spChg>
        <pc:spChg chg="mod">
          <ac:chgData name="Manal El Bakkouri" userId="8b130982-2e3f-4164-b881-fd3a2e4b2453" providerId="ADAL" clId="{4457FA57-250B-44AC-8655-05D46C5A3D8A}" dt="2023-05-31T15:13:51.413" v="134" actId="165"/>
          <ac:spMkLst>
            <pc:docMk/>
            <pc:sldMk cId="1164779254" sldId="230717668"/>
            <ac:spMk id="462" creationId="{51718DF5-A0F6-465A-BEDF-54FBABDA01F8}"/>
          </ac:spMkLst>
        </pc:spChg>
        <pc:spChg chg="mod">
          <ac:chgData name="Manal El Bakkouri" userId="8b130982-2e3f-4164-b881-fd3a2e4b2453" providerId="ADAL" clId="{4457FA57-250B-44AC-8655-05D46C5A3D8A}" dt="2023-05-31T15:13:51.413" v="134" actId="165"/>
          <ac:spMkLst>
            <pc:docMk/>
            <pc:sldMk cId="1164779254" sldId="230717668"/>
            <ac:spMk id="463" creationId="{5DF54EC2-544F-4030-AF91-356247DE6B37}"/>
          </ac:spMkLst>
        </pc:spChg>
        <pc:spChg chg="mod">
          <ac:chgData name="Manal El Bakkouri" userId="8b130982-2e3f-4164-b881-fd3a2e4b2453" providerId="ADAL" clId="{4457FA57-250B-44AC-8655-05D46C5A3D8A}" dt="2023-05-31T15:13:51.413" v="134" actId="165"/>
          <ac:spMkLst>
            <pc:docMk/>
            <pc:sldMk cId="1164779254" sldId="230717668"/>
            <ac:spMk id="464" creationId="{6FD8F906-A2E5-463F-9AEB-EE72F279F825}"/>
          </ac:spMkLst>
        </pc:spChg>
        <pc:spChg chg="mod">
          <ac:chgData name="Manal El Bakkouri" userId="8b130982-2e3f-4164-b881-fd3a2e4b2453" providerId="ADAL" clId="{4457FA57-250B-44AC-8655-05D46C5A3D8A}" dt="2023-05-31T15:13:51.413" v="134" actId="165"/>
          <ac:spMkLst>
            <pc:docMk/>
            <pc:sldMk cId="1164779254" sldId="230717668"/>
            <ac:spMk id="465" creationId="{2B1A8D95-61F1-451D-A525-BC79C1BF446F}"/>
          </ac:spMkLst>
        </pc:spChg>
        <pc:spChg chg="mod">
          <ac:chgData name="Manal El Bakkouri" userId="8b130982-2e3f-4164-b881-fd3a2e4b2453" providerId="ADAL" clId="{4457FA57-250B-44AC-8655-05D46C5A3D8A}" dt="2023-05-31T15:13:51.413" v="134" actId="165"/>
          <ac:spMkLst>
            <pc:docMk/>
            <pc:sldMk cId="1164779254" sldId="230717668"/>
            <ac:spMk id="466" creationId="{27853038-6244-4251-8C17-CFF6E1E496F1}"/>
          </ac:spMkLst>
        </pc:spChg>
        <pc:spChg chg="mod">
          <ac:chgData name="Manal El Bakkouri" userId="8b130982-2e3f-4164-b881-fd3a2e4b2453" providerId="ADAL" clId="{4457FA57-250B-44AC-8655-05D46C5A3D8A}" dt="2023-05-31T15:13:51.413" v="134" actId="165"/>
          <ac:spMkLst>
            <pc:docMk/>
            <pc:sldMk cId="1164779254" sldId="230717668"/>
            <ac:spMk id="467" creationId="{9BD7A3C6-DF05-419A-BD03-F54809CD7FA4}"/>
          </ac:spMkLst>
        </pc:spChg>
        <pc:spChg chg="mod">
          <ac:chgData name="Manal El Bakkouri" userId="8b130982-2e3f-4164-b881-fd3a2e4b2453" providerId="ADAL" clId="{4457FA57-250B-44AC-8655-05D46C5A3D8A}" dt="2023-05-31T15:13:51.413" v="134" actId="165"/>
          <ac:spMkLst>
            <pc:docMk/>
            <pc:sldMk cId="1164779254" sldId="230717668"/>
            <ac:spMk id="468" creationId="{65BA7E3C-0438-4A91-864A-0BA1C5089A13}"/>
          </ac:spMkLst>
        </pc:spChg>
        <pc:spChg chg="mod">
          <ac:chgData name="Manal El Bakkouri" userId="8b130982-2e3f-4164-b881-fd3a2e4b2453" providerId="ADAL" clId="{4457FA57-250B-44AC-8655-05D46C5A3D8A}" dt="2023-05-31T15:13:51.413" v="134" actId="165"/>
          <ac:spMkLst>
            <pc:docMk/>
            <pc:sldMk cId="1164779254" sldId="230717668"/>
            <ac:spMk id="469" creationId="{B35018E7-BAEE-41C1-B7A2-FE717C260EF0}"/>
          </ac:spMkLst>
        </pc:spChg>
        <pc:spChg chg="mod">
          <ac:chgData name="Manal El Bakkouri" userId="8b130982-2e3f-4164-b881-fd3a2e4b2453" providerId="ADAL" clId="{4457FA57-250B-44AC-8655-05D46C5A3D8A}" dt="2023-05-31T15:13:51.413" v="134" actId="165"/>
          <ac:spMkLst>
            <pc:docMk/>
            <pc:sldMk cId="1164779254" sldId="230717668"/>
            <ac:spMk id="470" creationId="{FC1C8A98-3D32-41FD-AD4F-252AE7933AD0}"/>
          </ac:spMkLst>
        </pc:spChg>
        <pc:spChg chg="mod">
          <ac:chgData name="Manal El Bakkouri" userId="8b130982-2e3f-4164-b881-fd3a2e4b2453" providerId="ADAL" clId="{4457FA57-250B-44AC-8655-05D46C5A3D8A}" dt="2023-05-31T15:13:51.413" v="134" actId="165"/>
          <ac:spMkLst>
            <pc:docMk/>
            <pc:sldMk cId="1164779254" sldId="230717668"/>
            <ac:spMk id="471" creationId="{5B3EDE08-0B2C-4282-8B25-EE9CF323FCC8}"/>
          </ac:spMkLst>
        </pc:spChg>
        <pc:spChg chg="mod">
          <ac:chgData name="Manal El Bakkouri" userId="8b130982-2e3f-4164-b881-fd3a2e4b2453" providerId="ADAL" clId="{4457FA57-250B-44AC-8655-05D46C5A3D8A}" dt="2023-05-31T15:13:35.298" v="131" actId="165"/>
          <ac:spMkLst>
            <pc:docMk/>
            <pc:sldMk cId="1164779254" sldId="230717668"/>
            <ac:spMk id="472" creationId="{3C154D73-E6B9-488D-BA54-FE4AEC7DE18A}"/>
          </ac:spMkLst>
        </pc:spChg>
        <pc:spChg chg="mod">
          <ac:chgData name="Manal El Bakkouri" userId="8b130982-2e3f-4164-b881-fd3a2e4b2453" providerId="ADAL" clId="{4457FA57-250B-44AC-8655-05D46C5A3D8A}" dt="2023-05-31T15:13:35.298" v="131" actId="165"/>
          <ac:spMkLst>
            <pc:docMk/>
            <pc:sldMk cId="1164779254" sldId="230717668"/>
            <ac:spMk id="473" creationId="{CA3FDE3D-25D3-4E69-BBAB-E9D23AB66E9A}"/>
          </ac:spMkLst>
        </pc:spChg>
        <pc:spChg chg="mod">
          <ac:chgData name="Manal El Bakkouri" userId="8b130982-2e3f-4164-b881-fd3a2e4b2453" providerId="ADAL" clId="{4457FA57-250B-44AC-8655-05D46C5A3D8A}" dt="2023-05-31T15:13:35.298" v="131" actId="165"/>
          <ac:spMkLst>
            <pc:docMk/>
            <pc:sldMk cId="1164779254" sldId="230717668"/>
            <ac:spMk id="474" creationId="{301DA495-CF17-4756-ABF6-41A13D898E13}"/>
          </ac:spMkLst>
        </pc:spChg>
        <pc:spChg chg="mod">
          <ac:chgData name="Manal El Bakkouri" userId="8b130982-2e3f-4164-b881-fd3a2e4b2453" providerId="ADAL" clId="{4457FA57-250B-44AC-8655-05D46C5A3D8A}" dt="2023-05-31T15:29:22.084" v="370" actId="207"/>
          <ac:spMkLst>
            <pc:docMk/>
            <pc:sldMk cId="1164779254" sldId="230717668"/>
            <ac:spMk id="523" creationId="{DBA14919-DD6F-4063-9A36-7F87C3CF4DCA}"/>
          </ac:spMkLst>
        </pc:spChg>
        <pc:spChg chg="mod">
          <ac:chgData name="Manal El Bakkouri" userId="8b130982-2e3f-4164-b881-fd3a2e4b2453" providerId="ADAL" clId="{4457FA57-250B-44AC-8655-05D46C5A3D8A}" dt="2023-06-06T10:29:11.053" v="9701" actId="14100"/>
          <ac:spMkLst>
            <pc:docMk/>
            <pc:sldMk cId="1164779254" sldId="230717668"/>
            <ac:spMk id="524" creationId="{7C87F89C-CF17-4191-BE02-4DE890B49566}"/>
          </ac:spMkLst>
        </pc:spChg>
        <pc:spChg chg="mod">
          <ac:chgData name="Manal El Bakkouri" userId="8b130982-2e3f-4164-b881-fd3a2e4b2453" providerId="ADAL" clId="{4457FA57-250B-44AC-8655-05D46C5A3D8A}" dt="2023-06-06T10:29:00.273" v="9697" actId="403"/>
          <ac:spMkLst>
            <pc:docMk/>
            <pc:sldMk cId="1164779254" sldId="230717668"/>
            <ac:spMk id="533" creationId="{7F0964D9-0C44-4683-B949-E4F3DA33738F}"/>
          </ac:spMkLst>
        </pc:spChg>
        <pc:spChg chg="mod">
          <ac:chgData name="Manal El Bakkouri" userId="8b130982-2e3f-4164-b881-fd3a2e4b2453" providerId="ADAL" clId="{4457FA57-250B-44AC-8655-05D46C5A3D8A}" dt="2023-06-06T10:29:21.910" v="9702" actId="1076"/>
          <ac:spMkLst>
            <pc:docMk/>
            <pc:sldMk cId="1164779254" sldId="230717668"/>
            <ac:spMk id="534" creationId="{9AC2DF6B-59E6-490A-A525-8BD7AEB0AE68}"/>
          </ac:spMkLst>
        </pc:spChg>
        <pc:spChg chg="mod">
          <ac:chgData name="Manal El Bakkouri" userId="8b130982-2e3f-4164-b881-fd3a2e4b2453" providerId="ADAL" clId="{4457FA57-250B-44AC-8655-05D46C5A3D8A}" dt="2023-06-06T11:07:33.820" v="9831" actId="14100"/>
          <ac:spMkLst>
            <pc:docMk/>
            <pc:sldMk cId="1164779254" sldId="230717668"/>
            <ac:spMk id="536" creationId="{040F0ED0-ED0F-48B4-9056-2F64FFB93B48}"/>
          </ac:spMkLst>
        </pc:spChg>
        <pc:spChg chg="mod">
          <ac:chgData name="Manal El Bakkouri" userId="8b130982-2e3f-4164-b881-fd3a2e4b2453" providerId="ADAL" clId="{4457FA57-250B-44AC-8655-05D46C5A3D8A}" dt="2023-06-06T10:28:36.098" v="9693" actId="403"/>
          <ac:spMkLst>
            <pc:docMk/>
            <pc:sldMk cId="1164779254" sldId="230717668"/>
            <ac:spMk id="542" creationId="{5FF142DE-FBE5-43F8-A22E-AAC14B03AB13}"/>
          </ac:spMkLst>
        </pc:spChg>
        <pc:spChg chg="mod">
          <ac:chgData name="Manal El Bakkouri" userId="8b130982-2e3f-4164-b881-fd3a2e4b2453" providerId="ADAL" clId="{4457FA57-250B-44AC-8655-05D46C5A3D8A}" dt="2023-06-06T10:28:23.528" v="9689" actId="403"/>
          <ac:spMkLst>
            <pc:docMk/>
            <pc:sldMk cId="1164779254" sldId="230717668"/>
            <ac:spMk id="548" creationId="{B39E544F-560C-44EB-A03B-73E9966C594B}"/>
          </ac:spMkLst>
        </pc:spChg>
        <pc:spChg chg="mod">
          <ac:chgData name="Manal El Bakkouri" userId="8b130982-2e3f-4164-b881-fd3a2e4b2453" providerId="ADAL" clId="{4457FA57-250B-44AC-8655-05D46C5A3D8A}" dt="2023-06-06T10:28:40.585" v="9695" actId="403"/>
          <ac:spMkLst>
            <pc:docMk/>
            <pc:sldMk cId="1164779254" sldId="230717668"/>
            <ac:spMk id="556" creationId="{E4CB17D8-7F2F-494B-AA33-58777E752A86}"/>
          </ac:spMkLst>
        </pc:spChg>
        <pc:spChg chg="mod">
          <ac:chgData name="Manal El Bakkouri" userId="8b130982-2e3f-4164-b881-fd3a2e4b2453" providerId="ADAL" clId="{4457FA57-250B-44AC-8655-05D46C5A3D8A}" dt="2023-05-31T15:21:15.513" v="289" actId="1076"/>
          <ac:spMkLst>
            <pc:docMk/>
            <pc:sldMk cId="1164779254" sldId="230717668"/>
            <ac:spMk id="560" creationId="{424C22C5-4746-4101-B8B3-DFC71AD04270}"/>
          </ac:spMkLst>
        </pc:spChg>
        <pc:spChg chg="mod">
          <ac:chgData name="Manal El Bakkouri" userId="8b130982-2e3f-4164-b881-fd3a2e4b2453" providerId="ADAL" clId="{4457FA57-250B-44AC-8655-05D46C5A3D8A}" dt="2023-05-31T15:21:39.817" v="296" actId="403"/>
          <ac:spMkLst>
            <pc:docMk/>
            <pc:sldMk cId="1164779254" sldId="230717668"/>
            <ac:spMk id="562" creationId="{E58DF6CF-D551-45FB-A1DE-C719953F1F84}"/>
          </ac:spMkLst>
        </pc:spChg>
        <pc:spChg chg="mod">
          <ac:chgData name="Manal El Bakkouri" userId="8b130982-2e3f-4164-b881-fd3a2e4b2453" providerId="ADAL" clId="{4457FA57-250B-44AC-8655-05D46C5A3D8A}" dt="2023-05-31T15:27:59.340" v="367" actId="207"/>
          <ac:spMkLst>
            <pc:docMk/>
            <pc:sldMk cId="1164779254" sldId="230717668"/>
            <ac:spMk id="563" creationId="{07B38B3A-CF20-4113-BC98-A78E4C3B04B9}"/>
          </ac:spMkLst>
        </pc:spChg>
        <pc:grpChg chg="add del mod">
          <ac:chgData name="Manal El Bakkouri" userId="8b130982-2e3f-4164-b881-fd3a2e4b2453" providerId="ADAL" clId="{4457FA57-250B-44AC-8655-05D46C5A3D8A}" dt="2023-05-31T15:16:24.249" v="140" actId="165"/>
          <ac:grpSpMkLst>
            <pc:docMk/>
            <pc:sldMk cId="1164779254" sldId="230717668"/>
            <ac:grpSpMk id="3" creationId="{BB78FD40-D61D-4C65-A8F3-AB8186994E0F}"/>
          </ac:grpSpMkLst>
        </pc:grpChg>
        <pc:grpChg chg="add mod">
          <ac:chgData name="Manal El Bakkouri" userId="8b130982-2e3f-4164-b881-fd3a2e4b2453" providerId="ADAL" clId="{4457FA57-250B-44AC-8655-05D46C5A3D8A}" dt="2023-05-31T15:33:16.830" v="411" actId="207"/>
          <ac:grpSpMkLst>
            <pc:docMk/>
            <pc:sldMk cId="1164779254" sldId="230717668"/>
            <ac:grpSpMk id="7" creationId="{BB980937-70BA-4A81-A18C-7AC3B452206E}"/>
          </ac:grpSpMkLst>
        </pc:grpChg>
        <pc:grpChg chg="mod">
          <ac:chgData name="Manal El Bakkouri" userId="8b130982-2e3f-4164-b881-fd3a2e4b2453" providerId="ADAL" clId="{4457FA57-250B-44AC-8655-05D46C5A3D8A}" dt="2023-06-06T10:27:56.046" v="9678" actId="1076"/>
          <ac:grpSpMkLst>
            <pc:docMk/>
            <pc:sldMk cId="1164779254" sldId="230717668"/>
            <ac:grpSpMk id="19" creationId="{1DC95DED-AE68-49DF-B788-5C02F9B6DC37}"/>
          </ac:grpSpMkLst>
        </pc:grpChg>
        <pc:grpChg chg="add del mod">
          <ac:chgData name="Manal El Bakkouri" userId="8b130982-2e3f-4164-b881-fd3a2e4b2453" providerId="ADAL" clId="{4457FA57-250B-44AC-8655-05D46C5A3D8A}" dt="2023-05-31T15:20:05.337" v="264" actId="478"/>
          <ac:grpSpMkLst>
            <pc:docMk/>
            <pc:sldMk cId="1164779254" sldId="230717668"/>
            <ac:grpSpMk id="160" creationId="{D4E73AC1-B79E-49C8-9F77-5DDD23A28E13}"/>
          </ac:grpSpMkLst>
        </pc:grpChg>
        <pc:grpChg chg="mod">
          <ac:chgData name="Manal El Bakkouri" userId="8b130982-2e3f-4164-b881-fd3a2e4b2453" providerId="ADAL" clId="{4457FA57-250B-44AC-8655-05D46C5A3D8A}" dt="2023-05-31T15:18:08.692" v="169" actId="1076"/>
          <ac:grpSpMkLst>
            <pc:docMk/>
            <pc:sldMk cId="1164779254" sldId="230717668"/>
            <ac:grpSpMk id="161" creationId="{1895D298-56FD-48D7-B643-043370E1CF36}"/>
          </ac:grpSpMkLst>
        </pc:grpChg>
        <pc:grpChg chg="mod">
          <ac:chgData name="Manal El Bakkouri" userId="8b130982-2e3f-4164-b881-fd3a2e4b2453" providerId="ADAL" clId="{4457FA57-250B-44AC-8655-05D46C5A3D8A}" dt="2023-05-31T15:18:08.692" v="169" actId="1076"/>
          <ac:grpSpMkLst>
            <pc:docMk/>
            <pc:sldMk cId="1164779254" sldId="230717668"/>
            <ac:grpSpMk id="162" creationId="{86992DA9-E5D9-4007-BB51-15EF566E87A6}"/>
          </ac:grpSpMkLst>
        </pc:grpChg>
        <pc:grpChg chg="mod">
          <ac:chgData name="Manal El Bakkouri" userId="8b130982-2e3f-4164-b881-fd3a2e4b2453" providerId="ADAL" clId="{4457FA57-250B-44AC-8655-05D46C5A3D8A}" dt="2023-05-31T15:18:08.692" v="169" actId="1076"/>
          <ac:grpSpMkLst>
            <pc:docMk/>
            <pc:sldMk cId="1164779254" sldId="230717668"/>
            <ac:grpSpMk id="163" creationId="{A943EB13-23B6-4200-919E-861F53E87264}"/>
          </ac:grpSpMkLst>
        </pc:grpChg>
        <pc:grpChg chg="mod">
          <ac:chgData name="Manal El Bakkouri" userId="8b130982-2e3f-4164-b881-fd3a2e4b2453" providerId="ADAL" clId="{4457FA57-250B-44AC-8655-05D46C5A3D8A}" dt="2023-05-31T15:18:08.692" v="169" actId="1076"/>
          <ac:grpSpMkLst>
            <pc:docMk/>
            <pc:sldMk cId="1164779254" sldId="230717668"/>
            <ac:grpSpMk id="164" creationId="{58EF2641-B883-4A16-AA22-5101192912A1}"/>
          </ac:grpSpMkLst>
        </pc:grpChg>
        <pc:grpChg chg="mod">
          <ac:chgData name="Manal El Bakkouri" userId="8b130982-2e3f-4164-b881-fd3a2e4b2453" providerId="ADAL" clId="{4457FA57-250B-44AC-8655-05D46C5A3D8A}" dt="2023-05-31T15:18:08.692" v="169" actId="1076"/>
          <ac:grpSpMkLst>
            <pc:docMk/>
            <pc:sldMk cId="1164779254" sldId="230717668"/>
            <ac:grpSpMk id="165" creationId="{FB329762-9FBE-4F47-B77C-B99B10FA2B70}"/>
          </ac:grpSpMkLst>
        </pc:grpChg>
        <pc:grpChg chg="mod">
          <ac:chgData name="Manal El Bakkouri" userId="8b130982-2e3f-4164-b881-fd3a2e4b2453" providerId="ADAL" clId="{4457FA57-250B-44AC-8655-05D46C5A3D8A}" dt="2023-05-31T15:18:08.692" v="169" actId="1076"/>
          <ac:grpSpMkLst>
            <pc:docMk/>
            <pc:sldMk cId="1164779254" sldId="230717668"/>
            <ac:grpSpMk id="166" creationId="{9FCF8381-A19F-4C44-B675-2AE96DEDA459}"/>
          </ac:grpSpMkLst>
        </pc:grpChg>
        <pc:grpChg chg="mod">
          <ac:chgData name="Manal El Bakkouri" userId="8b130982-2e3f-4164-b881-fd3a2e4b2453" providerId="ADAL" clId="{4457FA57-250B-44AC-8655-05D46C5A3D8A}" dt="2023-05-31T15:18:08.692" v="169" actId="1076"/>
          <ac:grpSpMkLst>
            <pc:docMk/>
            <pc:sldMk cId="1164779254" sldId="230717668"/>
            <ac:grpSpMk id="167" creationId="{A205BA38-2D59-4B9F-83D6-4397BDC6BC2B}"/>
          </ac:grpSpMkLst>
        </pc:grpChg>
        <pc:grpChg chg="mod">
          <ac:chgData name="Manal El Bakkouri" userId="8b130982-2e3f-4164-b881-fd3a2e4b2453" providerId="ADAL" clId="{4457FA57-250B-44AC-8655-05D46C5A3D8A}" dt="2023-05-31T15:18:08.692" v="169" actId="1076"/>
          <ac:grpSpMkLst>
            <pc:docMk/>
            <pc:sldMk cId="1164779254" sldId="230717668"/>
            <ac:grpSpMk id="168" creationId="{B59EF5F8-ABAB-4B3A-A7EA-75B1BA3B485D}"/>
          </ac:grpSpMkLst>
        </pc:grpChg>
        <pc:grpChg chg="mod">
          <ac:chgData name="Manal El Bakkouri" userId="8b130982-2e3f-4164-b881-fd3a2e4b2453" providerId="ADAL" clId="{4457FA57-250B-44AC-8655-05D46C5A3D8A}" dt="2023-05-31T15:18:08.692" v="169" actId="1076"/>
          <ac:grpSpMkLst>
            <pc:docMk/>
            <pc:sldMk cId="1164779254" sldId="230717668"/>
            <ac:grpSpMk id="189" creationId="{D243B390-BC31-4933-896F-68B017FEB38F}"/>
          </ac:grpSpMkLst>
        </pc:grpChg>
        <pc:grpChg chg="mod">
          <ac:chgData name="Manal El Bakkouri" userId="8b130982-2e3f-4164-b881-fd3a2e4b2453" providerId="ADAL" clId="{4457FA57-250B-44AC-8655-05D46C5A3D8A}" dt="2023-05-31T15:18:08.692" v="169" actId="1076"/>
          <ac:grpSpMkLst>
            <pc:docMk/>
            <pc:sldMk cId="1164779254" sldId="230717668"/>
            <ac:grpSpMk id="190" creationId="{1BA6CFC3-5484-49C3-A734-2E93DE69DBF2}"/>
          </ac:grpSpMkLst>
        </pc:grpChg>
        <pc:grpChg chg="mod">
          <ac:chgData name="Manal El Bakkouri" userId="8b130982-2e3f-4164-b881-fd3a2e4b2453" providerId="ADAL" clId="{4457FA57-250B-44AC-8655-05D46C5A3D8A}" dt="2023-05-31T15:18:08.692" v="169" actId="1076"/>
          <ac:grpSpMkLst>
            <pc:docMk/>
            <pc:sldMk cId="1164779254" sldId="230717668"/>
            <ac:grpSpMk id="193" creationId="{597917C5-F825-4DB3-BECA-85B73B83AF00}"/>
          </ac:grpSpMkLst>
        </pc:grpChg>
        <pc:grpChg chg="mod">
          <ac:chgData name="Manal El Bakkouri" userId="8b130982-2e3f-4164-b881-fd3a2e4b2453" providerId="ADAL" clId="{4457FA57-250B-44AC-8655-05D46C5A3D8A}" dt="2023-05-31T15:18:08.692" v="169" actId="1076"/>
          <ac:grpSpMkLst>
            <pc:docMk/>
            <pc:sldMk cId="1164779254" sldId="230717668"/>
            <ac:grpSpMk id="194" creationId="{6F504FBD-5225-41B6-A32F-E6E27F9A62C9}"/>
          </ac:grpSpMkLst>
        </pc:grpChg>
        <pc:grpChg chg="mod">
          <ac:chgData name="Manal El Bakkouri" userId="8b130982-2e3f-4164-b881-fd3a2e4b2453" providerId="ADAL" clId="{4457FA57-250B-44AC-8655-05D46C5A3D8A}" dt="2023-05-31T15:18:08.692" v="169" actId="1076"/>
          <ac:grpSpMkLst>
            <pc:docMk/>
            <pc:sldMk cId="1164779254" sldId="230717668"/>
            <ac:grpSpMk id="195" creationId="{FB76A43D-C167-4237-B406-6F25C0E206AC}"/>
          </ac:grpSpMkLst>
        </pc:grpChg>
        <pc:grpChg chg="mod">
          <ac:chgData name="Manal El Bakkouri" userId="8b130982-2e3f-4164-b881-fd3a2e4b2453" providerId="ADAL" clId="{4457FA57-250B-44AC-8655-05D46C5A3D8A}" dt="2023-05-31T15:18:08.692" v="169" actId="1076"/>
          <ac:grpSpMkLst>
            <pc:docMk/>
            <pc:sldMk cId="1164779254" sldId="230717668"/>
            <ac:grpSpMk id="196" creationId="{93E5533E-B342-465A-9871-39C471B3C825}"/>
          </ac:grpSpMkLst>
        </pc:grpChg>
        <pc:grpChg chg="mod">
          <ac:chgData name="Manal El Bakkouri" userId="8b130982-2e3f-4164-b881-fd3a2e4b2453" providerId="ADAL" clId="{4457FA57-250B-44AC-8655-05D46C5A3D8A}" dt="2023-05-31T15:18:08.692" v="169" actId="1076"/>
          <ac:grpSpMkLst>
            <pc:docMk/>
            <pc:sldMk cId="1164779254" sldId="230717668"/>
            <ac:grpSpMk id="197" creationId="{B6BA5A21-0CDC-4936-95A6-7026805ED418}"/>
          </ac:grpSpMkLst>
        </pc:grpChg>
        <pc:grpChg chg="mod">
          <ac:chgData name="Manal El Bakkouri" userId="8b130982-2e3f-4164-b881-fd3a2e4b2453" providerId="ADAL" clId="{4457FA57-250B-44AC-8655-05D46C5A3D8A}" dt="2023-05-31T15:18:08.692" v="169" actId="1076"/>
          <ac:grpSpMkLst>
            <pc:docMk/>
            <pc:sldMk cId="1164779254" sldId="230717668"/>
            <ac:grpSpMk id="198" creationId="{265254CC-71E9-42A0-AFEF-B072179EDAF6}"/>
          </ac:grpSpMkLst>
        </pc:grpChg>
        <pc:grpChg chg="mod">
          <ac:chgData name="Manal El Bakkouri" userId="8b130982-2e3f-4164-b881-fd3a2e4b2453" providerId="ADAL" clId="{4457FA57-250B-44AC-8655-05D46C5A3D8A}" dt="2023-05-31T15:18:08.692" v="169" actId="1076"/>
          <ac:grpSpMkLst>
            <pc:docMk/>
            <pc:sldMk cId="1164779254" sldId="230717668"/>
            <ac:grpSpMk id="199" creationId="{01A944ED-472C-4721-975E-6242F1DDDFB7}"/>
          </ac:grpSpMkLst>
        </pc:grpChg>
        <pc:grpChg chg="mod">
          <ac:chgData name="Manal El Bakkouri" userId="8b130982-2e3f-4164-b881-fd3a2e4b2453" providerId="ADAL" clId="{4457FA57-250B-44AC-8655-05D46C5A3D8A}" dt="2023-05-31T15:18:08.692" v="169" actId="1076"/>
          <ac:grpSpMkLst>
            <pc:docMk/>
            <pc:sldMk cId="1164779254" sldId="230717668"/>
            <ac:grpSpMk id="227" creationId="{551F4156-F72D-4262-9AC1-F6CB552B7610}"/>
          </ac:grpSpMkLst>
        </pc:grpChg>
        <pc:grpChg chg="mod">
          <ac:chgData name="Manal El Bakkouri" userId="8b130982-2e3f-4164-b881-fd3a2e4b2453" providerId="ADAL" clId="{4457FA57-250B-44AC-8655-05D46C5A3D8A}" dt="2023-05-31T15:18:08.692" v="169" actId="1076"/>
          <ac:grpSpMkLst>
            <pc:docMk/>
            <pc:sldMk cId="1164779254" sldId="230717668"/>
            <ac:grpSpMk id="255" creationId="{54A610E8-D855-4767-A0DF-42DEEE9283DA}"/>
          </ac:grpSpMkLst>
        </pc:grpChg>
        <pc:grpChg chg="mod">
          <ac:chgData name="Manal El Bakkouri" userId="8b130982-2e3f-4164-b881-fd3a2e4b2453" providerId="ADAL" clId="{4457FA57-250B-44AC-8655-05D46C5A3D8A}" dt="2023-05-31T15:18:08.692" v="169" actId="1076"/>
          <ac:grpSpMkLst>
            <pc:docMk/>
            <pc:sldMk cId="1164779254" sldId="230717668"/>
            <ac:grpSpMk id="265" creationId="{D7DDF59F-4E3D-440C-A939-1942B98A0461}"/>
          </ac:grpSpMkLst>
        </pc:grpChg>
        <pc:grpChg chg="mod">
          <ac:chgData name="Manal El Bakkouri" userId="8b130982-2e3f-4164-b881-fd3a2e4b2453" providerId="ADAL" clId="{4457FA57-250B-44AC-8655-05D46C5A3D8A}" dt="2023-05-31T15:18:08.692" v="169" actId="1076"/>
          <ac:grpSpMkLst>
            <pc:docMk/>
            <pc:sldMk cId="1164779254" sldId="230717668"/>
            <ac:grpSpMk id="272" creationId="{62CD152F-B1E7-4E17-8907-7D64D5DFC150}"/>
          </ac:grpSpMkLst>
        </pc:grpChg>
        <pc:grpChg chg="del mod">
          <ac:chgData name="Manal El Bakkouri" userId="8b130982-2e3f-4164-b881-fd3a2e4b2453" providerId="ADAL" clId="{4457FA57-250B-44AC-8655-05D46C5A3D8A}" dt="2023-05-31T15:13:27.480" v="130" actId="165"/>
          <ac:grpSpMkLst>
            <pc:docMk/>
            <pc:sldMk cId="1164779254" sldId="230717668"/>
            <ac:grpSpMk id="429" creationId="{2759A0B7-0917-4267-A36D-77DC4780DF33}"/>
          </ac:grpSpMkLst>
        </pc:grpChg>
        <pc:grpChg chg="del mod topLvl">
          <ac:chgData name="Manal El Bakkouri" userId="8b130982-2e3f-4164-b881-fd3a2e4b2453" providerId="ADAL" clId="{4457FA57-250B-44AC-8655-05D46C5A3D8A}" dt="2023-05-31T15:13:35.298" v="131" actId="165"/>
          <ac:grpSpMkLst>
            <pc:docMk/>
            <pc:sldMk cId="1164779254" sldId="230717668"/>
            <ac:grpSpMk id="430" creationId="{214254ED-8B19-4B73-AFBC-6DD9AA062E90}"/>
          </ac:grpSpMkLst>
        </pc:grpChg>
        <pc:grpChg chg="del mod topLvl">
          <ac:chgData name="Manal El Bakkouri" userId="8b130982-2e3f-4164-b881-fd3a2e4b2453" providerId="ADAL" clId="{4457FA57-250B-44AC-8655-05D46C5A3D8A}" dt="2023-05-31T15:20:12.545" v="267" actId="478"/>
          <ac:grpSpMkLst>
            <pc:docMk/>
            <pc:sldMk cId="1164779254" sldId="230717668"/>
            <ac:grpSpMk id="437" creationId="{20C8C50F-D65E-4A2B-9C42-AF371A92BCBE}"/>
          </ac:grpSpMkLst>
        </pc:grpChg>
        <pc:grpChg chg="add del mod topLvl">
          <ac:chgData name="Manal El Bakkouri" userId="8b130982-2e3f-4164-b881-fd3a2e4b2453" providerId="ADAL" clId="{4457FA57-250B-44AC-8655-05D46C5A3D8A}" dt="2023-05-31T15:13:51.413" v="134" actId="165"/>
          <ac:grpSpMkLst>
            <pc:docMk/>
            <pc:sldMk cId="1164779254" sldId="230717668"/>
            <ac:grpSpMk id="438" creationId="{D7E19C55-C58F-4525-A47D-8456E1F0AF7E}"/>
          </ac:grpSpMkLst>
        </pc:grpChg>
        <pc:grpChg chg="del mod topLvl">
          <ac:chgData name="Manal El Bakkouri" userId="8b130982-2e3f-4164-b881-fd3a2e4b2453" providerId="ADAL" clId="{4457FA57-250B-44AC-8655-05D46C5A3D8A}" dt="2023-05-31T15:20:09.950" v="265" actId="478"/>
          <ac:grpSpMkLst>
            <pc:docMk/>
            <pc:sldMk cId="1164779254" sldId="230717668"/>
            <ac:grpSpMk id="439" creationId="{15B7A845-D3C2-4937-ACE4-8AEB421DE5EC}"/>
          </ac:grpSpMkLst>
        </pc:grpChg>
        <pc:grpChg chg="del mod topLvl">
          <ac:chgData name="Manal El Bakkouri" userId="8b130982-2e3f-4164-b881-fd3a2e4b2453" providerId="ADAL" clId="{4457FA57-250B-44AC-8655-05D46C5A3D8A}" dt="2023-05-31T15:20:09.950" v="265" actId="478"/>
          <ac:grpSpMkLst>
            <pc:docMk/>
            <pc:sldMk cId="1164779254" sldId="230717668"/>
            <ac:grpSpMk id="440" creationId="{0C43DF61-F1D2-422B-8CD2-F6EB42D318BE}"/>
          </ac:grpSpMkLst>
        </pc:grpChg>
        <pc:grpChg chg="del mod topLvl">
          <ac:chgData name="Manal El Bakkouri" userId="8b130982-2e3f-4164-b881-fd3a2e4b2453" providerId="ADAL" clId="{4457FA57-250B-44AC-8655-05D46C5A3D8A}" dt="2023-05-31T15:20:11.845" v="266" actId="478"/>
          <ac:grpSpMkLst>
            <pc:docMk/>
            <pc:sldMk cId="1164779254" sldId="230717668"/>
            <ac:grpSpMk id="441" creationId="{9D24B59A-6940-4728-9A7A-BCC5A260BE1D}"/>
          </ac:grpSpMkLst>
        </pc:grpChg>
        <pc:grpChg chg="del mod topLvl">
          <ac:chgData name="Manal El Bakkouri" userId="8b130982-2e3f-4164-b881-fd3a2e4b2453" providerId="ADAL" clId="{4457FA57-250B-44AC-8655-05D46C5A3D8A}" dt="2023-05-31T15:20:09.950" v="265" actId="478"/>
          <ac:grpSpMkLst>
            <pc:docMk/>
            <pc:sldMk cId="1164779254" sldId="230717668"/>
            <ac:grpSpMk id="442" creationId="{E134FE9E-7A4F-448A-8908-523F0C85AFBA}"/>
          </ac:grpSpMkLst>
        </pc:grpChg>
        <pc:grpChg chg="del mod topLvl">
          <ac:chgData name="Manal El Bakkouri" userId="8b130982-2e3f-4164-b881-fd3a2e4b2453" providerId="ADAL" clId="{4457FA57-250B-44AC-8655-05D46C5A3D8A}" dt="2023-05-31T15:20:09.950" v="265" actId="478"/>
          <ac:grpSpMkLst>
            <pc:docMk/>
            <pc:sldMk cId="1164779254" sldId="230717668"/>
            <ac:grpSpMk id="443" creationId="{DD7F2B97-4630-4912-A7ED-541A8EFE77EF}"/>
          </ac:grpSpMkLst>
        </pc:grpChg>
        <pc:picChg chg="mod">
          <ac:chgData name="Manal El Bakkouri" userId="8b130982-2e3f-4164-b881-fd3a2e4b2453" providerId="ADAL" clId="{4457FA57-250B-44AC-8655-05D46C5A3D8A}" dt="2023-05-31T15:27:41.337" v="366" actId="14100"/>
          <ac:picMkLst>
            <pc:docMk/>
            <pc:sldMk cId="1164779254" sldId="230717668"/>
            <ac:picMk id="4" creationId="{4B59B698-8FD0-4574-A7F2-86213F718AED}"/>
          </ac:picMkLst>
        </pc:picChg>
        <pc:picChg chg="mod">
          <ac:chgData name="Manal El Bakkouri" userId="8b130982-2e3f-4164-b881-fd3a2e4b2453" providerId="ADAL" clId="{4457FA57-250B-44AC-8655-05D46C5A3D8A}" dt="2023-05-31T15:29:42.705" v="375" actId="2084"/>
          <ac:picMkLst>
            <pc:docMk/>
            <pc:sldMk cId="1164779254" sldId="230717668"/>
            <ac:picMk id="559" creationId="{41BFC673-DDA6-48BE-85F9-CDC5E04FDACD}"/>
          </ac:picMkLst>
        </pc:picChg>
        <pc:picChg chg="mod">
          <ac:chgData name="Manal El Bakkouri" userId="8b130982-2e3f-4164-b881-fd3a2e4b2453" providerId="ADAL" clId="{4457FA57-250B-44AC-8655-05D46C5A3D8A}" dt="2023-05-31T15:21:22.480" v="291" actId="1076"/>
          <ac:picMkLst>
            <pc:docMk/>
            <pc:sldMk cId="1164779254" sldId="230717668"/>
            <ac:picMk id="564" creationId="{42BBA6A0-32D7-4679-95C3-DA3159568FCB}"/>
          </ac:picMkLst>
        </pc:picChg>
        <pc:picChg chg="mod">
          <ac:chgData name="Manal El Bakkouri" userId="8b130982-2e3f-4164-b881-fd3a2e4b2453" providerId="ADAL" clId="{4457FA57-250B-44AC-8655-05D46C5A3D8A}" dt="2023-05-31T15:21:49.153" v="298" actId="1076"/>
          <ac:picMkLst>
            <pc:docMk/>
            <pc:sldMk cId="1164779254" sldId="230717668"/>
            <ac:picMk id="565" creationId="{0386A914-2B75-45C9-ABAF-D89C1F995B86}"/>
          </ac:picMkLst>
        </pc:picChg>
        <pc:picChg chg="mod">
          <ac:chgData name="Manal El Bakkouri" userId="8b130982-2e3f-4164-b881-fd3a2e4b2453" providerId="ADAL" clId="{4457FA57-250B-44AC-8655-05D46C5A3D8A}" dt="2023-05-31T15:21:52.086" v="299" actId="14100"/>
          <ac:picMkLst>
            <pc:docMk/>
            <pc:sldMk cId="1164779254" sldId="230717668"/>
            <ac:picMk id="566" creationId="{7EDE5560-0BBF-433A-95A4-AE9B3C3AED4B}"/>
          </ac:picMkLst>
        </pc:picChg>
        <pc:cxnChg chg="add del">
          <ac:chgData name="Manal El Bakkouri" userId="8b130982-2e3f-4164-b881-fd3a2e4b2453" providerId="ADAL" clId="{4457FA57-250B-44AC-8655-05D46C5A3D8A}" dt="2023-05-31T15:22:57.152" v="304" actId="478"/>
          <ac:cxnSpMkLst>
            <pc:docMk/>
            <pc:sldMk cId="1164779254" sldId="230717668"/>
            <ac:cxnSpMk id="9" creationId="{0F3A67B4-458E-4E4F-9E3F-FB6E9AFE3E6F}"/>
          </ac:cxnSpMkLst>
        </pc:cxnChg>
        <pc:cxnChg chg="mod">
          <ac:chgData name="Manal El Bakkouri" userId="8b130982-2e3f-4164-b881-fd3a2e4b2453" providerId="ADAL" clId="{4457FA57-250B-44AC-8655-05D46C5A3D8A}" dt="2023-05-31T16:30:16.576" v="413" actId="14100"/>
          <ac:cxnSpMkLst>
            <pc:docMk/>
            <pc:sldMk cId="1164779254" sldId="230717668"/>
            <ac:cxnSpMk id="192" creationId="{FFA0365C-058D-419F-92A9-39DE56EC407C}"/>
          </ac:cxnSpMkLst>
        </pc:cxnChg>
        <pc:cxnChg chg="mod">
          <ac:chgData name="Manal El Bakkouri" userId="8b130982-2e3f-4164-b881-fd3a2e4b2453" providerId="ADAL" clId="{4457FA57-250B-44AC-8655-05D46C5A3D8A}" dt="2023-05-31T15:18:08.692" v="169" actId="1076"/>
          <ac:cxnSpMkLst>
            <pc:docMk/>
            <pc:sldMk cId="1164779254" sldId="230717668"/>
            <ac:cxnSpMk id="201" creationId="{D2BB64AB-5292-417B-9275-5EF328B7674A}"/>
          </ac:cxnSpMkLst>
        </pc:cxnChg>
        <pc:cxnChg chg="mod">
          <ac:chgData name="Manal El Bakkouri" userId="8b130982-2e3f-4164-b881-fd3a2e4b2453" providerId="ADAL" clId="{4457FA57-250B-44AC-8655-05D46C5A3D8A}" dt="2023-05-31T15:18:08.692" v="169" actId="1076"/>
          <ac:cxnSpMkLst>
            <pc:docMk/>
            <pc:sldMk cId="1164779254" sldId="230717668"/>
            <ac:cxnSpMk id="203" creationId="{26F9B049-8A5C-45DD-BB66-F9DE7691606B}"/>
          </ac:cxnSpMkLst>
        </pc:cxnChg>
        <pc:cxnChg chg="mod">
          <ac:chgData name="Manal El Bakkouri" userId="8b130982-2e3f-4164-b881-fd3a2e4b2453" providerId="ADAL" clId="{4457FA57-250B-44AC-8655-05D46C5A3D8A}" dt="2023-05-31T15:18:08.692" v="169" actId="1076"/>
          <ac:cxnSpMkLst>
            <pc:docMk/>
            <pc:sldMk cId="1164779254" sldId="230717668"/>
            <ac:cxnSpMk id="206" creationId="{25ECD9FE-2325-4257-B8BA-810D205BB9D4}"/>
          </ac:cxnSpMkLst>
        </pc:cxnChg>
        <pc:cxnChg chg="mod">
          <ac:chgData name="Manal El Bakkouri" userId="8b130982-2e3f-4164-b881-fd3a2e4b2453" providerId="ADAL" clId="{4457FA57-250B-44AC-8655-05D46C5A3D8A}" dt="2023-05-31T15:18:08.692" v="169" actId="1076"/>
          <ac:cxnSpMkLst>
            <pc:docMk/>
            <pc:sldMk cId="1164779254" sldId="230717668"/>
            <ac:cxnSpMk id="208" creationId="{BAE5CBD0-382D-4CF7-AC9F-DAADEC7E225A}"/>
          </ac:cxnSpMkLst>
        </pc:cxnChg>
        <pc:cxnChg chg="mod">
          <ac:chgData name="Manal El Bakkouri" userId="8b130982-2e3f-4164-b881-fd3a2e4b2453" providerId="ADAL" clId="{4457FA57-250B-44AC-8655-05D46C5A3D8A}" dt="2023-05-31T15:18:08.692" v="169" actId="1076"/>
          <ac:cxnSpMkLst>
            <pc:docMk/>
            <pc:sldMk cId="1164779254" sldId="230717668"/>
            <ac:cxnSpMk id="210" creationId="{77AFC1D3-1F7D-44EC-AE64-54B94F2D4D64}"/>
          </ac:cxnSpMkLst>
        </pc:cxnChg>
        <pc:cxnChg chg="mod">
          <ac:chgData name="Manal El Bakkouri" userId="8b130982-2e3f-4164-b881-fd3a2e4b2453" providerId="ADAL" clId="{4457FA57-250B-44AC-8655-05D46C5A3D8A}" dt="2023-05-31T15:18:08.692" v="169" actId="1076"/>
          <ac:cxnSpMkLst>
            <pc:docMk/>
            <pc:sldMk cId="1164779254" sldId="230717668"/>
            <ac:cxnSpMk id="213" creationId="{0838903D-1555-48FC-A9C6-795664571790}"/>
          </ac:cxnSpMkLst>
        </pc:cxnChg>
        <pc:cxnChg chg="mod">
          <ac:chgData name="Manal El Bakkouri" userId="8b130982-2e3f-4164-b881-fd3a2e4b2453" providerId="ADAL" clId="{4457FA57-250B-44AC-8655-05D46C5A3D8A}" dt="2023-05-31T15:18:08.692" v="169" actId="1076"/>
          <ac:cxnSpMkLst>
            <pc:docMk/>
            <pc:sldMk cId="1164779254" sldId="230717668"/>
            <ac:cxnSpMk id="215" creationId="{19E0B2F5-334B-499E-8BB0-01CE364E6BF6}"/>
          </ac:cxnSpMkLst>
        </pc:cxnChg>
        <pc:cxnChg chg="mod">
          <ac:chgData name="Manal El Bakkouri" userId="8b130982-2e3f-4164-b881-fd3a2e4b2453" providerId="ADAL" clId="{4457FA57-250B-44AC-8655-05D46C5A3D8A}" dt="2023-05-31T15:18:08.692" v="169" actId="1076"/>
          <ac:cxnSpMkLst>
            <pc:docMk/>
            <pc:sldMk cId="1164779254" sldId="230717668"/>
            <ac:cxnSpMk id="219" creationId="{B6CADAF3-2B95-4836-A110-D7BA136A46E9}"/>
          </ac:cxnSpMkLst>
        </pc:cxnChg>
        <pc:cxnChg chg="mod">
          <ac:chgData name="Manal El Bakkouri" userId="8b130982-2e3f-4164-b881-fd3a2e4b2453" providerId="ADAL" clId="{4457FA57-250B-44AC-8655-05D46C5A3D8A}" dt="2023-05-31T15:18:08.692" v="169" actId="1076"/>
          <ac:cxnSpMkLst>
            <pc:docMk/>
            <pc:sldMk cId="1164779254" sldId="230717668"/>
            <ac:cxnSpMk id="224" creationId="{483FCA0A-160D-4D54-9E4E-F2177B5AD78E}"/>
          </ac:cxnSpMkLst>
        </pc:cxnChg>
        <pc:cxnChg chg="del">
          <ac:chgData name="Manal El Bakkouri" userId="8b130982-2e3f-4164-b881-fd3a2e4b2453" providerId="ADAL" clId="{4457FA57-250B-44AC-8655-05D46C5A3D8A}" dt="2023-05-31T15:23:09.939" v="307" actId="478"/>
          <ac:cxnSpMkLst>
            <pc:docMk/>
            <pc:sldMk cId="1164779254" sldId="230717668"/>
            <ac:cxnSpMk id="229" creationId="{635B23EC-37F6-4B9F-96EC-61FD7CF34B59}"/>
          </ac:cxnSpMkLst>
        </pc:cxnChg>
      </pc:sldChg>
      <pc:sldChg chg="addSp delSp modSp del mod modTransition modAnim">
        <pc:chgData name="Manal El Bakkouri" userId="8b130982-2e3f-4164-b881-fd3a2e4b2453" providerId="ADAL" clId="{4457FA57-250B-44AC-8655-05D46C5A3D8A}" dt="2023-05-31T15:01:02.940" v="13" actId="2696"/>
        <pc:sldMkLst>
          <pc:docMk/>
          <pc:sldMk cId="2238209447" sldId="230717669"/>
        </pc:sldMkLst>
        <pc:spChg chg="mod">
          <ac:chgData name="Manal El Bakkouri" userId="8b130982-2e3f-4164-b881-fd3a2e4b2453" providerId="ADAL" clId="{4457FA57-250B-44AC-8655-05D46C5A3D8A}" dt="2023-05-31T14:58:06.453" v="0" actId="164"/>
          <ac:spMkLst>
            <pc:docMk/>
            <pc:sldMk cId="2238209447" sldId="230717669"/>
            <ac:spMk id="40" creationId="{AC76D353-BD55-4088-9CBF-727B122B69AE}"/>
          </ac:spMkLst>
        </pc:spChg>
        <pc:spChg chg="mod">
          <ac:chgData name="Manal El Bakkouri" userId="8b130982-2e3f-4164-b881-fd3a2e4b2453" providerId="ADAL" clId="{4457FA57-250B-44AC-8655-05D46C5A3D8A}" dt="2023-05-31T14:58:16.043" v="1" actId="164"/>
          <ac:spMkLst>
            <pc:docMk/>
            <pc:sldMk cId="2238209447" sldId="230717669"/>
            <ac:spMk id="41" creationId="{06A8CDE4-41F6-4993-9716-2ACC00301977}"/>
          </ac:spMkLst>
        </pc:spChg>
        <pc:spChg chg="mod">
          <ac:chgData name="Manal El Bakkouri" userId="8b130982-2e3f-4164-b881-fd3a2e4b2453" providerId="ADAL" clId="{4457FA57-250B-44AC-8655-05D46C5A3D8A}" dt="2023-05-31T14:58:06.453" v="0" actId="164"/>
          <ac:spMkLst>
            <pc:docMk/>
            <pc:sldMk cId="2238209447" sldId="230717669"/>
            <ac:spMk id="44" creationId="{6E36F59C-E86C-4EC0-8764-DABF64A569DC}"/>
          </ac:spMkLst>
        </pc:spChg>
        <pc:spChg chg="mod">
          <ac:chgData name="Manal El Bakkouri" userId="8b130982-2e3f-4164-b881-fd3a2e4b2453" providerId="ADAL" clId="{4457FA57-250B-44AC-8655-05D46C5A3D8A}" dt="2023-05-31T14:58:16.043" v="1" actId="164"/>
          <ac:spMkLst>
            <pc:docMk/>
            <pc:sldMk cId="2238209447" sldId="230717669"/>
            <ac:spMk id="45" creationId="{B78287DF-417A-4129-80D6-173AF165856B}"/>
          </ac:spMkLst>
        </pc:spChg>
        <pc:grpChg chg="add del mod">
          <ac:chgData name="Manal El Bakkouri" userId="8b130982-2e3f-4164-b881-fd3a2e4b2453" providerId="ADAL" clId="{4457FA57-250B-44AC-8655-05D46C5A3D8A}" dt="2023-05-31T14:59:14.509" v="8" actId="478"/>
          <ac:grpSpMkLst>
            <pc:docMk/>
            <pc:sldMk cId="2238209447" sldId="230717669"/>
            <ac:grpSpMk id="2" creationId="{9B139A0A-9483-4888-9F8C-49A7C1C1CC57}"/>
          </ac:grpSpMkLst>
        </pc:grpChg>
        <pc:grpChg chg="add del mod">
          <ac:chgData name="Manal El Bakkouri" userId="8b130982-2e3f-4164-b881-fd3a2e4b2453" providerId="ADAL" clId="{4457FA57-250B-44AC-8655-05D46C5A3D8A}" dt="2023-05-31T14:59:13.396" v="7" actId="478"/>
          <ac:grpSpMkLst>
            <pc:docMk/>
            <pc:sldMk cId="2238209447" sldId="230717669"/>
            <ac:grpSpMk id="3" creationId="{4169FA2E-4580-47EB-B244-A0D8489A824F}"/>
          </ac:grpSpMkLst>
        </pc:grpChg>
        <pc:picChg chg="mod">
          <ac:chgData name="Manal El Bakkouri" userId="8b130982-2e3f-4164-b881-fd3a2e4b2453" providerId="ADAL" clId="{4457FA57-250B-44AC-8655-05D46C5A3D8A}" dt="2023-05-31T14:58:06.453" v="0" actId="164"/>
          <ac:picMkLst>
            <pc:docMk/>
            <pc:sldMk cId="2238209447" sldId="230717669"/>
            <ac:picMk id="37" creationId="{E7EA09C7-DD06-471E-91D1-88DD9DAF3C59}"/>
          </ac:picMkLst>
        </pc:picChg>
        <pc:picChg chg="mod">
          <ac:chgData name="Manal El Bakkouri" userId="8b130982-2e3f-4164-b881-fd3a2e4b2453" providerId="ADAL" clId="{4457FA57-250B-44AC-8655-05D46C5A3D8A}" dt="2023-05-31T14:58:16.043" v="1" actId="164"/>
          <ac:picMkLst>
            <pc:docMk/>
            <pc:sldMk cId="2238209447" sldId="230717669"/>
            <ac:picMk id="38" creationId="{273C6E95-E83C-43DE-8A0F-5E576E14987D}"/>
          </ac:picMkLst>
        </pc:picChg>
      </pc:sldChg>
      <pc:sldChg chg="delSp add del mod modTransition">
        <pc:chgData name="Manal El Bakkouri" userId="8b130982-2e3f-4164-b881-fd3a2e4b2453" providerId="ADAL" clId="{4457FA57-250B-44AC-8655-05D46C5A3D8A}" dt="2023-05-31T15:00:55.225" v="12" actId="2696"/>
        <pc:sldMkLst>
          <pc:docMk/>
          <pc:sldMk cId="396831958" sldId="230717670"/>
        </pc:sldMkLst>
        <pc:spChg chg="del topLvl">
          <ac:chgData name="Manal El Bakkouri" userId="8b130982-2e3f-4164-b881-fd3a2e4b2453" providerId="ADAL" clId="{4457FA57-250B-44AC-8655-05D46C5A3D8A}" dt="2023-05-31T14:59:03.590" v="6" actId="478"/>
          <ac:spMkLst>
            <pc:docMk/>
            <pc:sldMk cId="396831958" sldId="230717670"/>
            <ac:spMk id="41" creationId="{06A8CDE4-41F6-4993-9716-2ACC00301977}"/>
          </ac:spMkLst>
        </pc:spChg>
        <pc:spChg chg="del topLvl">
          <ac:chgData name="Manal El Bakkouri" userId="8b130982-2e3f-4164-b881-fd3a2e4b2453" providerId="ADAL" clId="{4457FA57-250B-44AC-8655-05D46C5A3D8A}" dt="2023-05-31T14:59:01.670" v="5" actId="478"/>
          <ac:spMkLst>
            <pc:docMk/>
            <pc:sldMk cId="396831958" sldId="230717670"/>
            <ac:spMk id="45" creationId="{B78287DF-417A-4129-80D6-173AF165856B}"/>
          </ac:spMkLst>
        </pc:spChg>
        <pc:grpChg chg="del">
          <ac:chgData name="Manal El Bakkouri" userId="8b130982-2e3f-4164-b881-fd3a2e4b2453" providerId="ADAL" clId="{4457FA57-250B-44AC-8655-05D46C5A3D8A}" dt="2023-05-31T14:59:01.670" v="5" actId="478"/>
          <ac:grpSpMkLst>
            <pc:docMk/>
            <pc:sldMk cId="396831958" sldId="230717670"/>
            <ac:grpSpMk id="3" creationId="{4169FA2E-4580-47EB-B244-A0D8489A824F}"/>
          </ac:grpSpMkLst>
        </pc:grpChg>
        <pc:picChg chg="del">
          <ac:chgData name="Manal El Bakkouri" userId="8b130982-2e3f-4164-b881-fd3a2e4b2453" providerId="ADAL" clId="{4457FA57-250B-44AC-8655-05D46C5A3D8A}" dt="2023-05-31T14:58:53.264" v="4" actId="478"/>
          <ac:picMkLst>
            <pc:docMk/>
            <pc:sldMk cId="396831958" sldId="230717670"/>
            <ac:picMk id="38" creationId="{273C6E95-E83C-43DE-8A0F-5E576E14987D}"/>
          </ac:picMkLst>
        </pc:picChg>
      </pc:sldChg>
      <pc:sldChg chg="addSp delSp modSp add mod modAnim modNotesTx">
        <pc:chgData name="Manal El Bakkouri" userId="8b130982-2e3f-4164-b881-fd3a2e4b2453" providerId="ADAL" clId="{4457FA57-250B-44AC-8655-05D46C5A3D8A}" dt="2023-06-09T11:22:58.179" v="21658" actId="12788"/>
        <pc:sldMkLst>
          <pc:docMk/>
          <pc:sldMk cId="106205287" sldId="230717671"/>
        </pc:sldMkLst>
        <pc:spChg chg="add mod">
          <ac:chgData name="Manal El Bakkouri" userId="8b130982-2e3f-4164-b881-fd3a2e4b2453" providerId="ADAL" clId="{4457FA57-250B-44AC-8655-05D46C5A3D8A}" dt="2023-06-09T11:21:10" v="21639" actId="165"/>
          <ac:spMkLst>
            <pc:docMk/>
            <pc:sldMk cId="106205287" sldId="230717671"/>
            <ac:spMk id="4" creationId="{B97323CA-AA5E-4DFE-B208-8FB9158EA0D0}"/>
          </ac:spMkLst>
        </pc:spChg>
        <pc:spChg chg="add del mod">
          <ac:chgData name="Manal El Bakkouri" userId="8b130982-2e3f-4164-b881-fd3a2e4b2453" providerId="ADAL" clId="{4457FA57-250B-44AC-8655-05D46C5A3D8A}" dt="2023-06-04T11:31:51.074" v="6763" actId="478"/>
          <ac:spMkLst>
            <pc:docMk/>
            <pc:sldMk cId="106205287" sldId="230717671"/>
            <ac:spMk id="17" creationId="{3A3C9478-81E3-46F1-A90B-5E602CAEE9B9}"/>
          </ac:spMkLst>
        </pc:spChg>
        <pc:spChg chg="mod">
          <ac:chgData name="Manal El Bakkouri" userId="8b130982-2e3f-4164-b881-fd3a2e4b2453" providerId="ADAL" clId="{4457FA57-250B-44AC-8655-05D46C5A3D8A}" dt="2023-06-09T11:21:20.486" v="21641" actId="1076"/>
          <ac:spMkLst>
            <pc:docMk/>
            <pc:sldMk cId="106205287" sldId="230717671"/>
            <ac:spMk id="17" creationId="{C85D00BC-F8B8-4CE8-A93F-F6B78A0CFEBB}"/>
          </ac:spMkLst>
        </pc:spChg>
        <pc:spChg chg="del mod">
          <ac:chgData name="Manal El Bakkouri" userId="8b130982-2e3f-4164-b881-fd3a2e4b2453" providerId="ADAL" clId="{4457FA57-250B-44AC-8655-05D46C5A3D8A}" dt="2023-06-09T11:19:30.692" v="21613" actId="478"/>
          <ac:spMkLst>
            <pc:docMk/>
            <pc:sldMk cId="106205287" sldId="230717671"/>
            <ac:spMk id="18" creationId="{8574A36D-9DC9-43F6-A93D-85D76499FCC6}"/>
          </ac:spMkLst>
        </pc:spChg>
        <pc:spChg chg="add del mod">
          <ac:chgData name="Manal El Bakkouri" userId="8b130982-2e3f-4164-b881-fd3a2e4b2453" providerId="ADAL" clId="{4457FA57-250B-44AC-8655-05D46C5A3D8A}" dt="2023-06-04T11:31:50.073" v="6762" actId="478"/>
          <ac:spMkLst>
            <pc:docMk/>
            <pc:sldMk cId="106205287" sldId="230717671"/>
            <ac:spMk id="18" creationId="{86943DD3-DB27-47E7-8A97-9E2170E20D83}"/>
          </ac:spMkLst>
        </pc:spChg>
        <pc:spChg chg="add del mod">
          <ac:chgData name="Manal El Bakkouri" userId="8b130982-2e3f-4164-b881-fd3a2e4b2453" providerId="ADAL" clId="{4457FA57-250B-44AC-8655-05D46C5A3D8A}" dt="2023-06-04T11:40:25.299" v="6922" actId="478"/>
          <ac:spMkLst>
            <pc:docMk/>
            <pc:sldMk cId="106205287" sldId="230717671"/>
            <ac:spMk id="19" creationId="{804779CB-C6FE-4BE1-8D26-1119622E945C}"/>
          </ac:spMkLst>
        </pc:spChg>
        <pc:spChg chg="mod">
          <ac:chgData name="Manal El Bakkouri" userId="8b130982-2e3f-4164-b881-fd3a2e4b2453" providerId="ADAL" clId="{4457FA57-250B-44AC-8655-05D46C5A3D8A}" dt="2023-06-09T11:21:20.486" v="21641" actId="1076"/>
          <ac:spMkLst>
            <pc:docMk/>
            <pc:sldMk cId="106205287" sldId="230717671"/>
            <ac:spMk id="19" creationId="{DB2AD1CB-6A8B-485B-8029-EB74E9CC5A6C}"/>
          </ac:spMkLst>
        </pc:spChg>
        <pc:spChg chg="add mod topLvl">
          <ac:chgData name="Manal El Bakkouri" userId="8b130982-2e3f-4164-b881-fd3a2e4b2453" providerId="ADAL" clId="{4457FA57-250B-44AC-8655-05D46C5A3D8A}" dt="2023-06-09T11:22:11.990" v="21654" actId="12788"/>
          <ac:spMkLst>
            <pc:docMk/>
            <pc:sldMk cId="106205287" sldId="230717671"/>
            <ac:spMk id="20" creationId="{859403AE-A728-4C60-B8EA-1E7F215DE12B}"/>
          </ac:spMkLst>
        </pc:spChg>
        <pc:spChg chg="mod">
          <ac:chgData name="Manal El Bakkouri" userId="8b130982-2e3f-4164-b881-fd3a2e4b2453" providerId="ADAL" clId="{4457FA57-250B-44AC-8655-05D46C5A3D8A}" dt="2023-06-09T11:21:10" v="21639" actId="165"/>
          <ac:spMkLst>
            <pc:docMk/>
            <pc:sldMk cId="106205287" sldId="230717671"/>
            <ac:spMk id="25" creationId="{ED089B82-7E89-448D-AF49-D046D6270AD1}"/>
          </ac:spMkLst>
        </pc:spChg>
        <pc:spChg chg="mod">
          <ac:chgData name="Manal El Bakkouri" userId="8b130982-2e3f-4164-b881-fd3a2e4b2453" providerId="ADAL" clId="{4457FA57-250B-44AC-8655-05D46C5A3D8A}" dt="2023-06-09T11:21:10" v="21639" actId="165"/>
          <ac:spMkLst>
            <pc:docMk/>
            <pc:sldMk cId="106205287" sldId="230717671"/>
            <ac:spMk id="26" creationId="{85E62A2B-7747-4B54-9573-B5460ED3DAA8}"/>
          </ac:spMkLst>
        </pc:spChg>
        <pc:spChg chg="mod">
          <ac:chgData name="Manal El Bakkouri" userId="8b130982-2e3f-4164-b881-fd3a2e4b2453" providerId="ADAL" clId="{4457FA57-250B-44AC-8655-05D46C5A3D8A}" dt="2023-06-09T11:21:10" v="21639" actId="165"/>
          <ac:spMkLst>
            <pc:docMk/>
            <pc:sldMk cId="106205287" sldId="230717671"/>
            <ac:spMk id="27" creationId="{24A14519-010C-4D59-BAF6-0FECAA95E629}"/>
          </ac:spMkLst>
        </pc:spChg>
        <pc:spChg chg="mod ord topLvl">
          <ac:chgData name="Manal El Bakkouri" userId="8b130982-2e3f-4164-b881-fd3a2e4b2453" providerId="ADAL" clId="{4457FA57-250B-44AC-8655-05D46C5A3D8A}" dt="2023-06-09T11:21:10" v="21639" actId="165"/>
          <ac:spMkLst>
            <pc:docMk/>
            <pc:sldMk cId="106205287" sldId="230717671"/>
            <ac:spMk id="39" creationId="{CE79FB6D-48E1-4F12-8AB2-8B1F28799D80}"/>
          </ac:spMkLst>
        </pc:spChg>
        <pc:spChg chg="mod ord topLvl">
          <ac:chgData name="Manal El Bakkouri" userId="8b130982-2e3f-4164-b881-fd3a2e4b2453" providerId="ADAL" clId="{4457FA57-250B-44AC-8655-05D46C5A3D8A}" dt="2023-06-04T11:35:07.891" v="6812" actId="12788"/>
          <ac:spMkLst>
            <pc:docMk/>
            <pc:sldMk cId="106205287" sldId="230717671"/>
            <ac:spMk id="40" creationId="{AC76D353-BD55-4088-9CBF-727B122B69AE}"/>
          </ac:spMkLst>
        </pc:spChg>
        <pc:spChg chg="mod ord topLvl">
          <ac:chgData name="Manal El Bakkouri" userId="8b130982-2e3f-4164-b881-fd3a2e4b2453" providerId="ADAL" clId="{4457FA57-250B-44AC-8655-05D46C5A3D8A}" dt="2023-06-09T11:22:11.990" v="21654" actId="12788"/>
          <ac:spMkLst>
            <pc:docMk/>
            <pc:sldMk cId="106205287" sldId="230717671"/>
            <ac:spMk id="41" creationId="{06A8CDE4-41F6-4993-9716-2ACC00301977}"/>
          </ac:spMkLst>
        </pc:spChg>
        <pc:spChg chg="mod ord topLvl">
          <ac:chgData name="Manal El Bakkouri" userId="8b130982-2e3f-4164-b881-fd3a2e4b2453" providerId="ADAL" clId="{4457FA57-250B-44AC-8655-05D46C5A3D8A}" dt="2023-06-09T11:21:10" v="21639" actId="165"/>
          <ac:spMkLst>
            <pc:docMk/>
            <pc:sldMk cId="106205287" sldId="230717671"/>
            <ac:spMk id="43" creationId="{99B8748E-E8C6-48F9-8C6A-D5F14347E275}"/>
          </ac:spMkLst>
        </pc:spChg>
        <pc:spChg chg="mod ord topLvl">
          <ac:chgData name="Manal El Bakkouri" userId="8b130982-2e3f-4164-b881-fd3a2e4b2453" providerId="ADAL" clId="{4457FA57-250B-44AC-8655-05D46C5A3D8A}" dt="2023-06-04T11:40:26.482" v="6923" actId="20577"/>
          <ac:spMkLst>
            <pc:docMk/>
            <pc:sldMk cId="106205287" sldId="230717671"/>
            <ac:spMk id="44" creationId="{6E36F59C-E86C-4EC0-8764-DABF64A569DC}"/>
          </ac:spMkLst>
        </pc:spChg>
        <pc:spChg chg="mod ord topLvl">
          <ac:chgData name="Manal El Bakkouri" userId="8b130982-2e3f-4164-b881-fd3a2e4b2453" providerId="ADAL" clId="{4457FA57-250B-44AC-8655-05D46C5A3D8A}" dt="2023-06-09T11:22:02.330" v="21652" actId="164"/>
          <ac:spMkLst>
            <pc:docMk/>
            <pc:sldMk cId="106205287" sldId="230717671"/>
            <ac:spMk id="45" creationId="{B78287DF-417A-4129-80D6-173AF165856B}"/>
          </ac:spMkLst>
        </pc:spChg>
        <pc:grpChg chg="add del mod">
          <ac:chgData name="Manal El Bakkouri" userId="8b130982-2e3f-4164-b881-fd3a2e4b2453" providerId="ADAL" clId="{4457FA57-250B-44AC-8655-05D46C5A3D8A}" dt="2023-06-09T11:21:10" v="21639" actId="165"/>
          <ac:grpSpMkLst>
            <pc:docMk/>
            <pc:sldMk cId="106205287" sldId="230717671"/>
            <ac:grpSpMk id="2" creationId="{40EA8551-550B-4503-B6E0-B9592CAC75CE}"/>
          </ac:grpSpMkLst>
        </pc:grpChg>
        <pc:grpChg chg="del">
          <ac:chgData name="Manal El Bakkouri" userId="8b130982-2e3f-4164-b881-fd3a2e4b2453" providerId="ADAL" clId="{4457FA57-250B-44AC-8655-05D46C5A3D8A}" dt="2023-06-04T11:34:13.098" v="6799" actId="165"/>
          <ac:grpSpMkLst>
            <pc:docMk/>
            <pc:sldMk cId="106205287" sldId="230717671"/>
            <ac:grpSpMk id="2" creationId="{9B139A0A-9483-4888-9F8C-49A7C1C1CC57}"/>
          </ac:grpSpMkLst>
        </pc:grpChg>
        <pc:grpChg chg="add mod">
          <ac:chgData name="Manal El Bakkouri" userId="8b130982-2e3f-4164-b881-fd3a2e4b2453" providerId="ADAL" clId="{4457FA57-250B-44AC-8655-05D46C5A3D8A}" dt="2023-06-09T11:22:53.803" v="21657" actId="164"/>
          <ac:grpSpMkLst>
            <pc:docMk/>
            <pc:sldMk cId="106205287" sldId="230717671"/>
            <ac:grpSpMk id="3" creationId="{2EEF368F-4D68-4E1C-89FB-20B5CB2D4348}"/>
          </ac:grpSpMkLst>
        </pc:grpChg>
        <pc:grpChg chg="del">
          <ac:chgData name="Manal El Bakkouri" userId="8b130982-2e3f-4164-b881-fd3a2e4b2453" providerId="ADAL" clId="{4457FA57-250B-44AC-8655-05D46C5A3D8A}" dt="2023-06-04T11:35:23.447" v="6816" actId="165"/>
          <ac:grpSpMkLst>
            <pc:docMk/>
            <pc:sldMk cId="106205287" sldId="230717671"/>
            <ac:grpSpMk id="3" creationId="{4169FA2E-4580-47EB-B244-A0D8489A824F}"/>
          </ac:grpSpMkLst>
        </pc:grpChg>
        <pc:grpChg chg="add mod topLvl">
          <ac:chgData name="Manal El Bakkouri" userId="8b130982-2e3f-4164-b881-fd3a2e4b2453" providerId="ADAL" clId="{4457FA57-250B-44AC-8655-05D46C5A3D8A}" dt="2023-06-09T11:22:53.803" v="21657" actId="164"/>
          <ac:grpSpMkLst>
            <pc:docMk/>
            <pc:sldMk cId="106205287" sldId="230717671"/>
            <ac:grpSpMk id="6" creationId="{F372AD97-4FA3-4EC9-A7A3-46D9A846F94B}"/>
          </ac:grpSpMkLst>
        </pc:grpChg>
        <pc:grpChg chg="add mod">
          <ac:chgData name="Manal El Bakkouri" userId="8b130982-2e3f-4164-b881-fd3a2e4b2453" providerId="ADAL" clId="{4457FA57-250B-44AC-8655-05D46C5A3D8A}" dt="2023-06-09T11:22:58.179" v="21658" actId="12788"/>
          <ac:grpSpMkLst>
            <pc:docMk/>
            <pc:sldMk cId="106205287" sldId="230717671"/>
            <ac:grpSpMk id="7" creationId="{9D6DA7C5-DB27-48AF-9EF4-8FA91E31C730}"/>
          </ac:grpSpMkLst>
        </pc:grpChg>
        <pc:grpChg chg="add del mod">
          <ac:chgData name="Manal El Bakkouri" userId="8b130982-2e3f-4164-b881-fd3a2e4b2453" providerId="ADAL" clId="{4457FA57-250B-44AC-8655-05D46C5A3D8A}" dt="2023-06-04T11:40:27.333" v="6924" actId="478"/>
          <ac:grpSpMkLst>
            <pc:docMk/>
            <pc:sldMk cId="106205287" sldId="230717671"/>
            <ac:grpSpMk id="7" creationId="{D7A88C3C-5A92-446A-BDDF-6A647F4A71E5}"/>
          </ac:grpSpMkLst>
        </pc:grpChg>
        <pc:grpChg chg="add del mod topLvl">
          <ac:chgData name="Manal El Bakkouri" userId="8b130982-2e3f-4164-b881-fd3a2e4b2453" providerId="ADAL" clId="{4457FA57-250B-44AC-8655-05D46C5A3D8A}" dt="2023-06-09T11:22:00.231" v="21651" actId="165"/>
          <ac:grpSpMkLst>
            <pc:docMk/>
            <pc:sldMk cId="106205287" sldId="230717671"/>
            <ac:grpSpMk id="8" creationId="{EC9AE8D4-B967-439A-A3F4-F436AAE4CA7B}"/>
          </ac:grpSpMkLst>
        </pc:grpChg>
        <pc:grpChg chg="del">
          <ac:chgData name="Manal El Bakkouri" userId="8b130982-2e3f-4164-b881-fd3a2e4b2453" providerId="ADAL" clId="{4457FA57-250B-44AC-8655-05D46C5A3D8A}" dt="2023-06-04T11:32:51.084" v="6776" actId="165"/>
          <ac:grpSpMkLst>
            <pc:docMk/>
            <pc:sldMk cId="106205287" sldId="230717671"/>
            <ac:grpSpMk id="12" creationId="{DF110679-3265-412F-9E14-75CE54E01A1D}"/>
          </ac:grpSpMkLst>
        </pc:grpChg>
        <pc:grpChg chg="add mod topLvl">
          <ac:chgData name="Manal El Bakkouri" userId="8b130982-2e3f-4164-b881-fd3a2e4b2453" providerId="ADAL" clId="{4457FA57-250B-44AC-8655-05D46C5A3D8A}" dt="2023-06-09T11:22:53.803" v="21657" actId="164"/>
          <ac:grpSpMkLst>
            <pc:docMk/>
            <pc:sldMk cId="106205287" sldId="230717671"/>
            <ac:grpSpMk id="16" creationId="{A261D73C-7B65-4D46-8374-F0C9AD1B8717}"/>
          </ac:grpSpMkLst>
        </pc:grpChg>
        <pc:grpChg chg="add mod topLvl">
          <ac:chgData name="Manal El Bakkouri" userId="8b130982-2e3f-4164-b881-fd3a2e4b2453" providerId="ADAL" clId="{4457FA57-250B-44AC-8655-05D46C5A3D8A}" dt="2023-06-09T11:22:53.803" v="21657" actId="164"/>
          <ac:grpSpMkLst>
            <pc:docMk/>
            <pc:sldMk cId="106205287" sldId="230717671"/>
            <ac:grpSpMk id="24" creationId="{A9596510-9FAF-45F6-85A3-87A636B8988A}"/>
          </ac:grpSpMkLst>
        </pc:grpChg>
        <pc:picChg chg="mod">
          <ac:chgData name="Manal El Bakkouri" userId="8b130982-2e3f-4164-b881-fd3a2e4b2453" providerId="ADAL" clId="{4457FA57-250B-44AC-8655-05D46C5A3D8A}" dt="2023-06-09T11:18:08.727" v="21561" actId="1076"/>
          <ac:picMkLst>
            <pc:docMk/>
            <pc:sldMk cId="106205287" sldId="230717671"/>
            <ac:picMk id="5" creationId="{B91189E4-3152-41C0-9F69-CE5D36ECD280}"/>
          </ac:picMkLst>
        </pc:picChg>
        <pc:picChg chg="del mod topLvl">
          <ac:chgData name="Manal El Bakkouri" userId="8b130982-2e3f-4164-b881-fd3a2e4b2453" providerId="ADAL" clId="{4457FA57-250B-44AC-8655-05D46C5A3D8A}" dt="2023-06-04T11:33:57.436" v="6796" actId="478"/>
          <ac:picMkLst>
            <pc:docMk/>
            <pc:sldMk cId="106205287" sldId="230717671"/>
            <ac:picMk id="32" creationId="{B614BB23-D682-4688-9B26-00A02203549D}"/>
          </ac:picMkLst>
        </pc:picChg>
        <pc:picChg chg="del mod topLvl">
          <ac:chgData name="Manal El Bakkouri" userId="8b130982-2e3f-4164-b881-fd3a2e4b2453" providerId="ADAL" clId="{4457FA57-250B-44AC-8655-05D46C5A3D8A}" dt="2023-06-04T11:34:39.162" v="6807" actId="478"/>
          <ac:picMkLst>
            <pc:docMk/>
            <pc:sldMk cId="106205287" sldId="230717671"/>
            <ac:picMk id="37" creationId="{E7EA09C7-DD06-471E-91D1-88DD9DAF3C59}"/>
          </ac:picMkLst>
        </pc:picChg>
        <pc:picChg chg="del mod topLvl">
          <ac:chgData name="Manal El Bakkouri" userId="8b130982-2e3f-4164-b881-fd3a2e4b2453" providerId="ADAL" clId="{4457FA57-250B-44AC-8655-05D46C5A3D8A}" dt="2023-06-04T11:36:01.745" v="6826" actId="478"/>
          <ac:picMkLst>
            <pc:docMk/>
            <pc:sldMk cId="106205287" sldId="230717671"/>
            <ac:picMk id="38" creationId="{273C6E95-E83C-43DE-8A0F-5E576E14987D}"/>
          </ac:picMkLst>
        </pc:picChg>
        <pc:cxnChg chg="add del mod">
          <ac:chgData name="Manal El Bakkouri" userId="8b130982-2e3f-4164-b881-fd3a2e4b2453" providerId="ADAL" clId="{4457FA57-250B-44AC-8655-05D46C5A3D8A}" dt="2023-06-04T11:42:17.044" v="6930" actId="11529"/>
          <ac:cxnSpMkLst>
            <pc:docMk/>
            <pc:sldMk cId="106205287" sldId="230717671"/>
            <ac:cxnSpMk id="10" creationId="{CD3E2E0C-BD73-4602-9103-5E30131BF9FC}"/>
          </ac:cxnSpMkLst>
        </pc:cxnChg>
      </pc:sldChg>
      <pc:sldChg chg="addSp delSp modSp new mod modTransition delAnim modAnim modNotesTx">
        <pc:chgData name="Manal El Bakkouri" userId="8b130982-2e3f-4164-b881-fd3a2e4b2453" providerId="ADAL" clId="{4457FA57-250B-44AC-8655-05D46C5A3D8A}" dt="2023-06-09T11:29:29.342" v="21753" actId="20577"/>
        <pc:sldMkLst>
          <pc:docMk/>
          <pc:sldMk cId="1397262782" sldId="230717672"/>
        </pc:sldMkLst>
        <pc:spChg chg="del">
          <ac:chgData name="Manal El Bakkouri" userId="8b130982-2e3f-4164-b881-fd3a2e4b2453" providerId="ADAL" clId="{4457FA57-250B-44AC-8655-05D46C5A3D8A}" dt="2023-06-01T11:29:09.740" v="960" actId="478"/>
          <ac:spMkLst>
            <pc:docMk/>
            <pc:sldMk cId="1397262782" sldId="230717672"/>
            <ac:spMk id="2" creationId="{A1A225E4-FFA6-4088-8CBF-8CD3766D9032}"/>
          </ac:spMkLst>
        </pc:spChg>
        <pc:spChg chg="del">
          <ac:chgData name="Manal El Bakkouri" userId="8b130982-2e3f-4164-b881-fd3a2e4b2453" providerId="ADAL" clId="{4457FA57-250B-44AC-8655-05D46C5A3D8A}" dt="2023-06-01T11:29:10.626" v="961" actId="478"/>
          <ac:spMkLst>
            <pc:docMk/>
            <pc:sldMk cId="1397262782" sldId="230717672"/>
            <ac:spMk id="3" creationId="{76BD3728-A197-4683-8EAA-0A4FA3738D1E}"/>
          </ac:spMkLst>
        </pc:spChg>
        <pc:spChg chg="del">
          <ac:chgData name="Manal El Bakkouri" userId="8b130982-2e3f-4164-b881-fd3a2e4b2453" providerId="ADAL" clId="{4457FA57-250B-44AC-8655-05D46C5A3D8A}" dt="2023-06-01T14:06:17.613" v="1466" actId="478"/>
          <ac:spMkLst>
            <pc:docMk/>
            <pc:sldMk cId="1397262782" sldId="230717672"/>
            <ac:spMk id="4" creationId="{07300CBF-B787-4BBE-A7B9-71543131EFF3}"/>
          </ac:spMkLst>
        </pc:spChg>
        <pc:spChg chg="add del">
          <ac:chgData name="Manal El Bakkouri" userId="8b130982-2e3f-4164-b881-fd3a2e4b2453" providerId="ADAL" clId="{4457FA57-250B-44AC-8655-05D46C5A3D8A}" dt="2023-06-01T13:22:34.758" v="1111" actId="478"/>
          <ac:spMkLst>
            <pc:docMk/>
            <pc:sldMk cId="1397262782" sldId="230717672"/>
            <ac:spMk id="6" creationId="{FDDB9979-2128-46EE-9BB2-5C26A33D97F0}"/>
          </ac:spMkLst>
        </pc:spChg>
        <pc:spChg chg="add mod">
          <ac:chgData name="Manal El Bakkouri" userId="8b130982-2e3f-4164-b881-fd3a2e4b2453" providerId="ADAL" clId="{4457FA57-250B-44AC-8655-05D46C5A3D8A}" dt="2023-06-09T11:29:24.443" v="21751" actId="408"/>
          <ac:spMkLst>
            <pc:docMk/>
            <pc:sldMk cId="1397262782" sldId="230717672"/>
            <ac:spMk id="7" creationId="{C6ED7FBB-C822-4D80-888B-8B69F71F9A80}"/>
          </ac:spMkLst>
        </pc:spChg>
        <pc:spChg chg="add mod">
          <ac:chgData name="Manal El Bakkouri" userId="8b130982-2e3f-4164-b881-fd3a2e4b2453" providerId="ADAL" clId="{4457FA57-250B-44AC-8655-05D46C5A3D8A}" dt="2023-06-09T11:29:24.443" v="21751" actId="408"/>
          <ac:spMkLst>
            <pc:docMk/>
            <pc:sldMk cId="1397262782" sldId="230717672"/>
            <ac:spMk id="8" creationId="{7944258F-542C-4FD5-AE57-847CE56CBF3C}"/>
          </ac:spMkLst>
        </pc:spChg>
        <pc:spChg chg="add mod">
          <ac:chgData name="Manal El Bakkouri" userId="8b130982-2e3f-4164-b881-fd3a2e4b2453" providerId="ADAL" clId="{4457FA57-250B-44AC-8655-05D46C5A3D8A}" dt="2023-06-09T11:28:51.709" v="21745" actId="14100"/>
          <ac:spMkLst>
            <pc:docMk/>
            <pc:sldMk cId="1397262782" sldId="230717672"/>
            <ac:spMk id="9" creationId="{6D2A5BBF-26F7-4BD8-B49E-9BF5038990EB}"/>
          </ac:spMkLst>
        </pc:spChg>
        <pc:spChg chg="add mod">
          <ac:chgData name="Manal El Bakkouri" userId="8b130982-2e3f-4164-b881-fd3a2e4b2453" providerId="ADAL" clId="{4457FA57-250B-44AC-8655-05D46C5A3D8A}" dt="2023-06-01T13:01:04.116" v="1106" actId="1076"/>
          <ac:spMkLst>
            <pc:docMk/>
            <pc:sldMk cId="1397262782" sldId="230717672"/>
            <ac:spMk id="10" creationId="{95FFA286-CEC9-4E1A-998F-D357B7DC0213}"/>
          </ac:spMkLst>
        </pc:spChg>
        <pc:spChg chg="add del mod">
          <ac:chgData name="Manal El Bakkouri" userId="8b130982-2e3f-4164-b881-fd3a2e4b2453" providerId="ADAL" clId="{4457FA57-250B-44AC-8655-05D46C5A3D8A}" dt="2023-06-01T12:59:50.970" v="1096" actId="478"/>
          <ac:spMkLst>
            <pc:docMk/>
            <pc:sldMk cId="1397262782" sldId="230717672"/>
            <ac:spMk id="11" creationId="{26B0DD4E-66F3-4C9D-BE00-70D02597A489}"/>
          </ac:spMkLst>
        </pc:spChg>
        <pc:spChg chg="add mod">
          <ac:chgData name="Manal El Bakkouri" userId="8b130982-2e3f-4164-b881-fd3a2e4b2453" providerId="ADAL" clId="{4457FA57-250B-44AC-8655-05D46C5A3D8A}" dt="2023-06-01T15:08:12.988" v="2001" actId="1038"/>
          <ac:spMkLst>
            <pc:docMk/>
            <pc:sldMk cId="1397262782" sldId="230717672"/>
            <ac:spMk id="12" creationId="{0122A928-CD39-42EA-A49A-9B7F16A7BD29}"/>
          </ac:spMkLst>
        </pc:spChg>
        <pc:spChg chg="add del mod">
          <ac:chgData name="Manal El Bakkouri" userId="8b130982-2e3f-4164-b881-fd3a2e4b2453" providerId="ADAL" clId="{4457FA57-250B-44AC-8655-05D46C5A3D8A}" dt="2023-06-01T12:59:50.970" v="1096" actId="478"/>
          <ac:spMkLst>
            <pc:docMk/>
            <pc:sldMk cId="1397262782" sldId="230717672"/>
            <ac:spMk id="13" creationId="{B17BD4EF-EBCB-46BF-8307-A997828458B2}"/>
          </ac:spMkLst>
        </pc:spChg>
        <pc:spChg chg="add mod topLvl">
          <ac:chgData name="Manal El Bakkouri" userId="8b130982-2e3f-4164-b881-fd3a2e4b2453" providerId="ADAL" clId="{4457FA57-250B-44AC-8655-05D46C5A3D8A}" dt="2023-06-01T15:08:04.138" v="1988" actId="408"/>
          <ac:spMkLst>
            <pc:docMk/>
            <pc:sldMk cId="1397262782" sldId="230717672"/>
            <ac:spMk id="14" creationId="{AB9BE935-45AC-4C32-AF93-3C03F60903F3}"/>
          </ac:spMkLst>
        </pc:spChg>
        <pc:spChg chg="add del mod">
          <ac:chgData name="Manal El Bakkouri" userId="8b130982-2e3f-4164-b881-fd3a2e4b2453" providerId="ADAL" clId="{4457FA57-250B-44AC-8655-05D46C5A3D8A}" dt="2023-06-01T12:59:50.970" v="1096" actId="478"/>
          <ac:spMkLst>
            <pc:docMk/>
            <pc:sldMk cId="1397262782" sldId="230717672"/>
            <ac:spMk id="15" creationId="{8CB46A7A-B5F7-43A0-834B-BD9936084E2B}"/>
          </ac:spMkLst>
        </pc:spChg>
        <pc:spChg chg="add mod topLvl">
          <ac:chgData name="Manal El Bakkouri" userId="8b130982-2e3f-4164-b881-fd3a2e4b2453" providerId="ADAL" clId="{4457FA57-250B-44AC-8655-05D46C5A3D8A}" dt="2023-06-01T15:07:51.719" v="1986" actId="14100"/>
          <ac:spMkLst>
            <pc:docMk/>
            <pc:sldMk cId="1397262782" sldId="230717672"/>
            <ac:spMk id="16" creationId="{D4CBE81A-5997-449C-AD15-81A4BB815EA2}"/>
          </ac:spMkLst>
        </pc:spChg>
        <pc:spChg chg="add del mod">
          <ac:chgData name="Manal El Bakkouri" userId="8b130982-2e3f-4164-b881-fd3a2e4b2453" providerId="ADAL" clId="{4457FA57-250B-44AC-8655-05D46C5A3D8A}" dt="2023-06-01T12:59:50.970" v="1096" actId="478"/>
          <ac:spMkLst>
            <pc:docMk/>
            <pc:sldMk cId="1397262782" sldId="230717672"/>
            <ac:spMk id="17" creationId="{6F0255E7-0D07-406C-96B1-A56E8E4D4876}"/>
          </ac:spMkLst>
        </pc:spChg>
        <pc:spChg chg="add mod topLvl">
          <ac:chgData name="Manal El Bakkouri" userId="8b130982-2e3f-4164-b881-fd3a2e4b2453" providerId="ADAL" clId="{4457FA57-250B-44AC-8655-05D46C5A3D8A}" dt="2023-06-01T13:01:15.304" v="1109" actId="207"/>
          <ac:spMkLst>
            <pc:docMk/>
            <pc:sldMk cId="1397262782" sldId="230717672"/>
            <ac:spMk id="18" creationId="{7670BCDF-CEC6-4C27-B5A6-1B8F64FC71E1}"/>
          </ac:spMkLst>
        </pc:spChg>
        <pc:spChg chg="add mod">
          <ac:chgData name="Manal El Bakkouri" userId="8b130982-2e3f-4164-b881-fd3a2e4b2453" providerId="ADAL" clId="{4457FA57-250B-44AC-8655-05D46C5A3D8A}" dt="2023-06-01T13:01:23.395" v="1110" actId="207"/>
          <ac:spMkLst>
            <pc:docMk/>
            <pc:sldMk cId="1397262782" sldId="230717672"/>
            <ac:spMk id="19" creationId="{72B59FA4-0802-48F5-BA7F-065E8A03961D}"/>
          </ac:spMkLst>
        </pc:spChg>
        <pc:spChg chg="mod">
          <ac:chgData name="Manal El Bakkouri" userId="8b130982-2e3f-4164-b881-fd3a2e4b2453" providerId="ADAL" clId="{4457FA57-250B-44AC-8655-05D46C5A3D8A}" dt="2023-06-01T14:50:27.712" v="1881" actId="1036"/>
          <ac:spMkLst>
            <pc:docMk/>
            <pc:sldMk cId="1397262782" sldId="230717672"/>
            <ac:spMk id="22" creationId="{0D0C5309-F83A-4860-9D17-D24A493C05A1}"/>
          </ac:spMkLst>
        </pc:spChg>
        <pc:spChg chg="mod">
          <ac:chgData name="Manal El Bakkouri" userId="8b130982-2e3f-4164-b881-fd3a2e4b2453" providerId="ADAL" clId="{4457FA57-250B-44AC-8655-05D46C5A3D8A}" dt="2023-06-01T14:50:27.712" v="1881" actId="1036"/>
          <ac:spMkLst>
            <pc:docMk/>
            <pc:sldMk cId="1397262782" sldId="230717672"/>
            <ac:spMk id="23" creationId="{A70DBA07-D5F2-43EF-B334-8B1431D05AAB}"/>
          </ac:spMkLst>
        </pc:spChg>
        <pc:spChg chg="mod">
          <ac:chgData name="Manal El Bakkouri" userId="8b130982-2e3f-4164-b881-fd3a2e4b2453" providerId="ADAL" clId="{4457FA57-250B-44AC-8655-05D46C5A3D8A}" dt="2023-06-01T14:50:27.712" v="1881" actId="1036"/>
          <ac:spMkLst>
            <pc:docMk/>
            <pc:sldMk cId="1397262782" sldId="230717672"/>
            <ac:spMk id="24" creationId="{9EAC6E4D-6834-4F35-A640-C1861877EAE1}"/>
          </ac:spMkLst>
        </pc:spChg>
        <pc:spChg chg="mod">
          <ac:chgData name="Manal El Bakkouri" userId="8b130982-2e3f-4164-b881-fd3a2e4b2453" providerId="ADAL" clId="{4457FA57-250B-44AC-8655-05D46C5A3D8A}" dt="2023-06-01T14:50:27.712" v="1881" actId="1036"/>
          <ac:spMkLst>
            <pc:docMk/>
            <pc:sldMk cId="1397262782" sldId="230717672"/>
            <ac:spMk id="25" creationId="{14420E86-50FA-4E93-9D4A-01075C39826C}"/>
          </ac:spMkLst>
        </pc:spChg>
        <pc:spChg chg="mod">
          <ac:chgData name="Manal El Bakkouri" userId="8b130982-2e3f-4164-b881-fd3a2e4b2453" providerId="ADAL" clId="{4457FA57-250B-44AC-8655-05D46C5A3D8A}" dt="2023-06-01T14:50:27.712" v="1881" actId="1036"/>
          <ac:spMkLst>
            <pc:docMk/>
            <pc:sldMk cId="1397262782" sldId="230717672"/>
            <ac:spMk id="26" creationId="{43FAC0E7-0975-4C6C-9905-4FEEB2529D81}"/>
          </ac:spMkLst>
        </pc:spChg>
        <pc:spChg chg="mod">
          <ac:chgData name="Manal El Bakkouri" userId="8b130982-2e3f-4164-b881-fd3a2e4b2453" providerId="ADAL" clId="{4457FA57-250B-44AC-8655-05D46C5A3D8A}" dt="2023-06-01T14:50:27.712" v="1881" actId="1036"/>
          <ac:spMkLst>
            <pc:docMk/>
            <pc:sldMk cId="1397262782" sldId="230717672"/>
            <ac:spMk id="27" creationId="{FD3226DC-9B7E-4B7E-9629-1C1E5E83DCC8}"/>
          </ac:spMkLst>
        </pc:spChg>
        <pc:spChg chg="mod">
          <ac:chgData name="Manal El Bakkouri" userId="8b130982-2e3f-4164-b881-fd3a2e4b2453" providerId="ADAL" clId="{4457FA57-250B-44AC-8655-05D46C5A3D8A}" dt="2023-06-01T14:50:27.712" v="1881" actId="1036"/>
          <ac:spMkLst>
            <pc:docMk/>
            <pc:sldMk cId="1397262782" sldId="230717672"/>
            <ac:spMk id="28" creationId="{8149DA42-4B10-4FAB-B6BC-599753200AE0}"/>
          </ac:spMkLst>
        </pc:spChg>
        <pc:spChg chg="mod">
          <ac:chgData name="Manal El Bakkouri" userId="8b130982-2e3f-4164-b881-fd3a2e4b2453" providerId="ADAL" clId="{4457FA57-250B-44AC-8655-05D46C5A3D8A}" dt="2023-06-01T14:50:27.712" v="1881" actId="1036"/>
          <ac:spMkLst>
            <pc:docMk/>
            <pc:sldMk cId="1397262782" sldId="230717672"/>
            <ac:spMk id="29" creationId="{D87AC368-5E8D-4C5D-A690-1695B23A39A6}"/>
          </ac:spMkLst>
        </pc:spChg>
        <pc:spChg chg="mod">
          <ac:chgData name="Manal El Bakkouri" userId="8b130982-2e3f-4164-b881-fd3a2e4b2453" providerId="ADAL" clId="{4457FA57-250B-44AC-8655-05D46C5A3D8A}" dt="2023-06-01T14:50:27.712" v="1881" actId="1036"/>
          <ac:spMkLst>
            <pc:docMk/>
            <pc:sldMk cId="1397262782" sldId="230717672"/>
            <ac:spMk id="30" creationId="{4CAFB29B-61D5-4AD3-83E4-850CFEC70359}"/>
          </ac:spMkLst>
        </pc:spChg>
        <pc:spChg chg="mod">
          <ac:chgData name="Manal El Bakkouri" userId="8b130982-2e3f-4164-b881-fd3a2e4b2453" providerId="ADAL" clId="{4457FA57-250B-44AC-8655-05D46C5A3D8A}" dt="2023-06-01T14:50:27.712" v="1881" actId="1036"/>
          <ac:spMkLst>
            <pc:docMk/>
            <pc:sldMk cId="1397262782" sldId="230717672"/>
            <ac:spMk id="31" creationId="{CA6FADFD-D006-45DF-A9EE-D15299FA75D2}"/>
          </ac:spMkLst>
        </pc:spChg>
        <pc:spChg chg="mod">
          <ac:chgData name="Manal El Bakkouri" userId="8b130982-2e3f-4164-b881-fd3a2e4b2453" providerId="ADAL" clId="{4457FA57-250B-44AC-8655-05D46C5A3D8A}" dt="2023-06-01T14:50:27.712" v="1881" actId="1036"/>
          <ac:spMkLst>
            <pc:docMk/>
            <pc:sldMk cId="1397262782" sldId="230717672"/>
            <ac:spMk id="32" creationId="{67537B75-F248-45B2-BCEE-520A90AA8341}"/>
          </ac:spMkLst>
        </pc:spChg>
        <pc:spChg chg="mod">
          <ac:chgData name="Manal El Bakkouri" userId="8b130982-2e3f-4164-b881-fd3a2e4b2453" providerId="ADAL" clId="{4457FA57-250B-44AC-8655-05D46C5A3D8A}" dt="2023-06-01T14:50:27.712" v="1881" actId="1036"/>
          <ac:spMkLst>
            <pc:docMk/>
            <pc:sldMk cId="1397262782" sldId="230717672"/>
            <ac:spMk id="33" creationId="{27A178F2-D6AA-451B-96CF-513B5EEF99D0}"/>
          </ac:spMkLst>
        </pc:spChg>
        <pc:spChg chg="mod">
          <ac:chgData name="Manal El Bakkouri" userId="8b130982-2e3f-4164-b881-fd3a2e4b2453" providerId="ADAL" clId="{4457FA57-250B-44AC-8655-05D46C5A3D8A}" dt="2023-06-01T14:50:27.712" v="1881" actId="1036"/>
          <ac:spMkLst>
            <pc:docMk/>
            <pc:sldMk cId="1397262782" sldId="230717672"/>
            <ac:spMk id="34" creationId="{6DB9BA86-8B64-4A2B-A627-B6BC8541A885}"/>
          </ac:spMkLst>
        </pc:spChg>
        <pc:spChg chg="mod">
          <ac:chgData name="Manal El Bakkouri" userId="8b130982-2e3f-4164-b881-fd3a2e4b2453" providerId="ADAL" clId="{4457FA57-250B-44AC-8655-05D46C5A3D8A}" dt="2023-06-01T14:50:27.712" v="1881" actId="1036"/>
          <ac:spMkLst>
            <pc:docMk/>
            <pc:sldMk cId="1397262782" sldId="230717672"/>
            <ac:spMk id="35" creationId="{A614EEAB-2F3E-401A-A0E0-CBD9A7BDD57A}"/>
          </ac:spMkLst>
        </pc:spChg>
        <pc:spChg chg="mod">
          <ac:chgData name="Manal El Bakkouri" userId="8b130982-2e3f-4164-b881-fd3a2e4b2453" providerId="ADAL" clId="{4457FA57-250B-44AC-8655-05D46C5A3D8A}" dt="2023-06-01T14:50:27.712" v="1881" actId="1036"/>
          <ac:spMkLst>
            <pc:docMk/>
            <pc:sldMk cId="1397262782" sldId="230717672"/>
            <ac:spMk id="36" creationId="{4579FADF-A6C9-4592-81DF-2D5FD935C04A}"/>
          </ac:spMkLst>
        </pc:spChg>
        <pc:spChg chg="mod">
          <ac:chgData name="Manal El Bakkouri" userId="8b130982-2e3f-4164-b881-fd3a2e4b2453" providerId="ADAL" clId="{4457FA57-250B-44AC-8655-05D46C5A3D8A}" dt="2023-06-01T14:50:27.712" v="1881" actId="1036"/>
          <ac:spMkLst>
            <pc:docMk/>
            <pc:sldMk cId="1397262782" sldId="230717672"/>
            <ac:spMk id="37" creationId="{A9392D5C-4EA2-4C91-A852-B28574B519F7}"/>
          </ac:spMkLst>
        </pc:spChg>
        <pc:spChg chg="mod">
          <ac:chgData name="Manal El Bakkouri" userId="8b130982-2e3f-4164-b881-fd3a2e4b2453" providerId="ADAL" clId="{4457FA57-250B-44AC-8655-05D46C5A3D8A}" dt="2023-06-01T14:50:27.712" v="1881" actId="1036"/>
          <ac:spMkLst>
            <pc:docMk/>
            <pc:sldMk cId="1397262782" sldId="230717672"/>
            <ac:spMk id="39" creationId="{EE223592-63FF-40A3-A7D7-6AD3840944C0}"/>
          </ac:spMkLst>
        </pc:spChg>
        <pc:spChg chg="mod">
          <ac:chgData name="Manal El Bakkouri" userId="8b130982-2e3f-4164-b881-fd3a2e4b2453" providerId="ADAL" clId="{4457FA57-250B-44AC-8655-05D46C5A3D8A}" dt="2023-06-01T14:50:27.712" v="1881" actId="1036"/>
          <ac:spMkLst>
            <pc:docMk/>
            <pc:sldMk cId="1397262782" sldId="230717672"/>
            <ac:spMk id="40" creationId="{B0856E33-7628-4EEB-B984-3B3C0E60506B}"/>
          </ac:spMkLst>
        </pc:spChg>
        <pc:spChg chg="mod">
          <ac:chgData name="Manal El Bakkouri" userId="8b130982-2e3f-4164-b881-fd3a2e4b2453" providerId="ADAL" clId="{4457FA57-250B-44AC-8655-05D46C5A3D8A}" dt="2023-06-01T14:50:27.712" v="1881" actId="1036"/>
          <ac:spMkLst>
            <pc:docMk/>
            <pc:sldMk cId="1397262782" sldId="230717672"/>
            <ac:spMk id="41" creationId="{2C14F23B-A840-4910-8A46-46DCC2D24D9A}"/>
          </ac:spMkLst>
        </pc:spChg>
        <pc:spChg chg="mod">
          <ac:chgData name="Manal El Bakkouri" userId="8b130982-2e3f-4164-b881-fd3a2e4b2453" providerId="ADAL" clId="{4457FA57-250B-44AC-8655-05D46C5A3D8A}" dt="2023-06-01T14:50:27.712" v="1881" actId="1036"/>
          <ac:spMkLst>
            <pc:docMk/>
            <pc:sldMk cId="1397262782" sldId="230717672"/>
            <ac:spMk id="42" creationId="{3075A804-1337-4BA2-BCFB-488409C7EF3D}"/>
          </ac:spMkLst>
        </pc:spChg>
        <pc:spChg chg="mod">
          <ac:chgData name="Manal El Bakkouri" userId="8b130982-2e3f-4164-b881-fd3a2e4b2453" providerId="ADAL" clId="{4457FA57-250B-44AC-8655-05D46C5A3D8A}" dt="2023-06-01T14:50:27.712" v="1881" actId="1036"/>
          <ac:spMkLst>
            <pc:docMk/>
            <pc:sldMk cId="1397262782" sldId="230717672"/>
            <ac:spMk id="43" creationId="{7B367BD7-C6CF-4F71-8ED7-3D0BCDE551AC}"/>
          </ac:spMkLst>
        </pc:spChg>
        <pc:spChg chg="mod">
          <ac:chgData name="Manal El Bakkouri" userId="8b130982-2e3f-4164-b881-fd3a2e4b2453" providerId="ADAL" clId="{4457FA57-250B-44AC-8655-05D46C5A3D8A}" dt="2023-06-01T14:50:27.712" v="1881" actId="1036"/>
          <ac:spMkLst>
            <pc:docMk/>
            <pc:sldMk cId="1397262782" sldId="230717672"/>
            <ac:spMk id="44" creationId="{EDC23A94-E091-4250-873B-378A0886EBFD}"/>
          </ac:spMkLst>
        </pc:spChg>
        <pc:spChg chg="mod">
          <ac:chgData name="Manal El Bakkouri" userId="8b130982-2e3f-4164-b881-fd3a2e4b2453" providerId="ADAL" clId="{4457FA57-250B-44AC-8655-05D46C5A3D8A}" dt="2023-06-01T14:50:27.712" v="1881" actId="1036"/>
          <ac:spMkLst>
            <pc:docMk/>
            <pc:sldMk cId="1397262782" sldId="230717672"/>
            <ac:spMk id="45" creationId="{D0D57078-57BE-4CC9-A808-839FA0CA2514}"/>
          </ac:spMkLst>
        </pc:spChg>
        <pc:spChg chg="mod">
          <ac:chgData name="Manal El Bakkouri" userId="8b130982-2e3f-4164-b881-fd3a2e4b2453" providerId="ADAL" clId="{4457FA57-250B-44AC-8655-05D46C5A3D8A}" dt="2023-06-01T14:50:27.712" v="1881" actId="1036"/>
          <ac:spMkLst>
            <pc:docMk/>
            <pc:sldMk cId="1397262782" sldId="230717672"/>
            <ac:spMk id="46" creationId="{CC3888BD-1EF8-4E71-8305-0B198B5E59C6}"/>
          </ac:spMkLst>
        </pc:spChg>
        <pc:spChg chg="mod">
          <ac:chgData name="Manal El Bakkouri" userId="8b130982-2e3f-4164-b881-fd3a2e4b2453" providerId="ADAL" clId="{4457FA57-250B-44AC-8655-05D46C5A3D8A}" dt="2023-06-01T14:50:27.712" v="1881" actId="1036"/>
          <ac:spMkLst>
            <pc:docMk/>
            <pc:sldMk cId="1397262782" sldId="230717672"/>
            <ac:spMk id="48" creationId="{104D64ED-23F6-4737-B31B-46C2A7BFF853}"/>
          </ac:spMkLst>
        </pc:spChg>
        <pc:spChg chg="mod">
          <ac:chgData name="Manal El Bakkouri" userId="8b130982-2e3f-4164-b881-fd3a2e4b2453" providerId="ADAL" clId="{4457FA57-250B-44AC-8655-05D46C5A3D8A}" dt="2023-06-01T14:50:27.712" v="1881" actId="1036"/>
          <ac:spMkLst>
            <pc:docMk/>
            <pc:sldMk cId="1397262782" sldId="230717672"/>
            <ac:spMk id="49" creationId="{9C2EA717-192E-47E9-99A3-A29D52324214}"/>
          </ac:spMkLst>
        </pc:spChg>
        <pc:spChg chg="mod">
          <ac:chgData name="Manal El Bakkouri" userId="8b130982-2e3f-4164-b881-fd3a2e4b2453" providerId="ADAL" clId="{4457FA57-250B-44AC-8655-05D46C5A3D8A}" dt="2023-06-01T14:50:27.712" v="1881" actId="1036"/>
          <ac:spMkLst>
            <pc:docMk/>
            <pc:sldMk cId="1397262782" sldId="230717672"/>
            <ac:spMk id="50" creationId="{2A0B2DE7-0405-4D2D-B516-43C433166B64}"/>
          </ac:spMkLst>
        </pc:spChg>
        <pc:spChg chg="mod">
          <ac:chgData name="Manal El Bakkouri" userId="8b130982-2e3f-4164-b881-fd3a2e4b2453" providerId="ADAL" clId="{4457FA57-250B-44AC-8655-05D46C5A3D8A}" dt="2023-06-01T14:50:27.712" v="1881" actId="1036"/>
          <ac:spMkLst>
            <pc:docMk/>
            <pc:sldMk cId="1397262782" sldId="230717672"/>
            <ac:spMk id="51" creationId="{591DF425-9B9B-4D80-8D58-F1FF982512F4}"/>
          </ac:spMkLst>
        </pc:spChg>
        <pc:spChg chg="mod">
          <ac:chgData name="Manal El Bakkouri" userId="8b130982-2e3f-4164-b881-fd3a2e4b2453" providerId="ADAL" clId="{4457FA57-250B-44AC-8655-05D46C5A3D8A}" dt="2023-06-01T14:50:27.712" v="1881" actId="1036"/>
          <ac:spMkLst>
            <pc:docMk/>
            <pc:sldMk cId="1397262782" sldId="230717672"/>
            <ac:spMk id="52" creationId="{75795A2E-4FE8-49DF-841B-D8F01E993F6C}"/>
          </ac:spMkLst>
        </pc:spChg>
        <pc:spChg chg="mod">
          <ac:chgData name="Manal El Bakkouri" userId="8b130982-2e3f-4164-b881-fd3a2e4b2453" providerId="ADAL" clId="{4457FA57-250B-44AC-8655-05D46C5A3D8A}" dt="2023-06-01T14:50:27.712" v="1881" actId="1036"/>
          <ac:spMkLst>
            <pc:docMk/>
            <pc:sldMk cId="1397262782" sldId="230717672"/>
            <ac:spMk id="53" creationId="{C051988C-9514-4043-B764-AEF4A60E7020}"/>
          </ac:spMkLst>
        </pc:spChg>
        <pc:spChg chg="mod">
          <ac:chgData name="Manal El Bakkouri" userId="8b130982-2e3f-4164-b881-fd3a2e4b2453" providerId="ADAL" clId="{4457FA57-250B-44AC-8655-05D46C5A3D8A}" dt="2023-06-01T14:50:27.712" v="1881" actId="1036"/>
          <ac:spMkLst>
            <pc:docMk/>
            <pc:sldMk cId="1397262782" sldId="230717672"/>
            <ac:spMk id="54" creationId="{D2F4BDC5-8828-404D-AF1A-34DB5154275A}"/>
          </ac:spMkLst>
        </pc:spChg>
        <pc:spChg chg="mod">
          <ac:chgData name="Manal El Bakkouri" userId="8b130982-2e3f-4164-b881-fd3a2e4b2453" providerId="ADAL" clId="{4457FA57-250B-44AC-8655-05D46C5A3D8A}" dt="2023-06-01T14:50:27.712" v="1881" actId="1036"/>
          <ac:spMkLst>
            <pc:docMk/>
            <pc:sldMk cId="1397262782" sldId="230717672"/>
            <ac:spMk id="55" creationId="{9AA0D385-0D7D-441E-9B1C-3C11C1DAA1FB}"/>
          </ac:spMkLst>
        </pc:spChg>
        <pc:spChg chg="mod">
          <ac:chgData name="Manal El Bakkouri" userId="8b130982-2e3f-4164-b881-fd3a2e4b2453" providerId="ADAL" clId="{4457FA57-250B-44AC-8655-05D46C5A3D8A}" dt="2023-06-01T14:50:27.712" v="1881" actId="1036"/>
          <ac:spMkLst>
            <pc:docMk/>
            <pc:sldMk cId="1397262782" sldId="230717672"/>
            <ac:spMk id="56" creationId="{D5CB128F-0FD4-42C7-A678-86BE9A46F0ED}"/>
          </ac:spMkLst>
        </pc:spChg>
        <pc:spChg chg="mod">
          <ac:chgData name="Manal El Bakkouri" userId="8b130982-2e3f-4164-b881-fd3a2e4b2453" providerId="ADAL" clId="{4457FA57-250B-44AC-8655-05D46C5A3D8A}" dt="2023-06-01T14:50:27.712" v="1881" actId="1036"/>
          <ac:spMkLst>
            <pc:docMk/>
            <pc:sldMk cId="1397262782" sldId="230717672"/>
            <ac:spMk id="57" creationId="{19A8821C-6CAD-4115-AB77-71298F7EAB0B}"/>
          </ac:spMkLst>
        </pc:spChg>
        <pc:spChg chg="mod">
          <ac:chgData name="Manal El Bakkouri" userId="8b130982-2e3f-4164-b881-fd3a2e4b2453" providerId="ADAL" clId="{4457FA57-250B-44AC-8655-05D46C5A3D8A}" dt="2023-06-01T14:50:27.712" v="1881" actId="1036"/>
          <ac:spMkLst>
            <pc:docMk/>
            <pc:sldMk cId="1397262782" sldId="230717672"/>
            <ac:spMk id="58" creationId="{1D31B3D8-5F75-405D-B635-F21F576AB890}"/>
          </ac:spMkLst>
        </pc:spChg>
        <pc:spChg chg="mod">
          <ac:chgData name="Manal El Bakkouri" userId="8b130982-2e3f-4164-b881-fd3a2e4b2453" providerId="ADAL" clId="{4457FA57-250B-44AC-8655-05D46C5A3D8A}" dt="2023-06-01T14:50:27.712" v="1881" actId="1036"/>
          <ac:spMkLst>
            <pc:docMk/>
            <pc:sldMk cId="1397262782" sldId="230717672"/>
            <ac:spMk id="59" creationId="{A8E6C66A-432C-403D-82E3-B878B1BF34EA}"/>
          </ac:spMkLst>
        </pc:spChg>
        <pc:spChg chg="mod">
          <ac:chgData name="Manal El Bakkouri" userId="8b130982-2e3f-4164-b881-fd3a2e4b2453" providerId="ADAL" clId="{4457FA57-250B-44AC-8655-05D46C5A3D8A}" dt="2023-06-01T14:50:27.712" v="1881" actId="1036"/>
          <ac:spMkLst>
            <pc:docMk/>
            <pc:sldMk cId="1397262782" sldId="230717672"/>
            <ac:spMk id="60" creationId="{327DDCE9-47A8-4E6D-AB21-0BD87D828EF8}"/>
          </ac:spMkLst>
        </pc:spChg>
        <pc:spChg chg="mod">
          <ac:chgData name="Manal El Bakkouri" userId="8b130982-2e3f-4164-b881-fd3a2e4b2453" providerId="ADAL" clId="{4457FA57-250B-44AC-8655-05D46C5A3D8A}" dt="2023-06-01T14:50:27.712" v="1881" actId="1036"/>
          <ac:spMkLst>
            <pc:docMk/>
            <pc:sldMk cId="1397262782" sldId="230717672"/>
            <ac:spMk id="61" creationId="{2782B6EA-7D19-45C5-84A8-1CB5E27C1CE7}"/>
          </ac:spMkLst>
        </pc:spChg>
        <pc:spChg chg="mod">
          <ac:chgData name="Manal El Bakkouri" userId="8b130982-2e3f-4164-b881-fd3a2e4b2453" providerId="ADAL" clId="{4457FA57-250B-44AC-8655-05D46C5A3D8A}" dt="2023-06-01T14:50:27.712" v="1881" actId="1036"/>
          <ac:spMkLst>
            <pc:docMk/>
            <pc:sldMk cId="1397262782" sldId="230717672"/>
            <ac:spMk id="62" creationId="{16023BE1-351C-44D0-AA49-E1C03FDCA1E8}"/>
          </ac:spMkLst>
        </pc:spChg>
        <pc:spChg chg="mod">
          <ac:chgData name="Manal El Bakkouri" userId="8b130982-2e3f-4164-b881-fd3a2e4b2453" providerId="ADAL" clId="{4457FA57-250B-44AC-8655-05D46C5A3D8A}" dt="2023-06-01T14:50:27.712" v="1881" actId="1036"/>
          <ac:spMkLst>
            <pc:docMk/>
            <pc:sldMk cId="1397262782" sldId="230717672"/>
            <ac:spMk id="63" creationId="{D78F5741-3DA4-4AD8-A511-EE5CC5789E56}"/>
          </ac:spMkLst>
        </pc:spChg>
        <pc:spChg chg="mod">
          <ac:chgData name="Manal El Bakkouri" userId="8b130982-2e3f-4164-b881-fd3a2e4b2453" providerId="ADAL" clId="{4457FA57-250B-44AC-8655-05D46C5A3D8A}" dt="2023-06-01T14:50:27.712" v="1881" actId="1036"/>
          <ac:spMkLst>
            <pc:docMk/>
            <pc:sldMk cId="1397262782" sldId="230717672"/>
            <ac:spMk id="64" creationId="{23AAC9DE-0FD3-42C6-B7DC-733BDCB503C8}"/>
          </ac:spMkLst>
        </pc:spChg>
        <pc:spChg chg="mod">
          <ac:chgData name="Manal El Bakkouri" userId="8b130982-2e3f-4164-b881-fd3a2e4b2453" providerId="ADAL" clId="{4457FA57-250B-44AC-8655-05D46C5A3D8A}" dt="2023-06-01T14:50:27.712" v="1881" actId="1036"/>
          <ac:spMkLst>
            <pc:docMk/>
            <pc:sldMk cId="1397262782" sldId="230717672"/>
            <ac:spMk id="65" creationId="{76BC0672-7758-462A-8DA5-73CB8606E36E}"/>
          </ac:spMkLst>
        </pc:spChg>
        <pc:spChg chg="mod">
          <ac:chgData name="Manal El Bakkouri" userId="8b130982-2e3f-4164-b881-fd3a2e4b2453" providerId="ADAL" clId="{4457FA57-250B-44AC-8655-05D46C5A3D8A}" dt="2023-06-01T14:50:27.712" v="1881" actId="1036"/>
          <ac:spMkLst>
            <pc:docMk/>
            <pc:sldMk cId="1397262782" sldId="230717672"/>
            <ac:spMk id="66" creationId="{91D2676C-4025-4C13-93B1-1C96A703C6FC}"/>
          </ac:spMkLst>
        </pc:spChg>
        <pc:spChg chg="mod">
          <ac:chgData name="Manal El Bakkouri" userId="8b130982-2e3f-4164-b881-fd3a2e4b2453" providerId="ADAL" clId="{4457FA57-250B-44AC-8655-05D46C5A3D8A}" dt="2023-06-01T14:50:27.712" v="1881" actId="1036"/>
          <ac:spMkLst>
            <pc:docMk/>
            <pc:sldMk cId="1397262782" sldId="230717672"/>
            <ac:spMk id="67" creationId="{527F44A3-5455-43E9-B573-CCF533DD6F60}"/>
          </ac:spMkLst>
        </pc:spChg>
        <pc:spChg chg="mod">
          <ac:chgData name="Manal El Bakkouri" userId="8b130982-2e3f-4164-b881-fd3a2e4b2453" providerId="ADAL" clId="{4457FA57-250B-44AC-8655-05D46C5A3D8A}" dt="2023-06-01T14:50:27.712" v="1881" actId="1036"/>
          <ac:spMkLst>
            <pc:docMk/>
            <pc:sldMk cId="1397262782" sldId="230717672"/>
            <ac:spMk id="68" creationId="{5E9E15DE-D7D2-49B3-A53C-E43C7371F2C8}"/>
          </ac:spMkLst>
        </pc:spChg>
        <pc:spChg chg="mod">
          <ac:chgData name="Manal El Bakkouri" userId="8b130982-2e3f-4164-b881-fd3a2e4b2453" providerId="ADAL" clId="{4457FA57-250B-44AC-8655-05D46C5A3D8A}" dt="2023-06-01T14:50:27.712" v="1881" actId="1036"/>
          <ac:spMkLst>
            <pc:docMk/>
            <pc:sldMk cId="1397262782" sldId="230717672"/>
            <ac:spMk id="69" creationId="{9F9BE0B3-B0B8-4953-B931-CAA57CAB30F5}"/>
          </ac:spMkLst>
        </pc:spChg>
        <pc:spChg chg="mod">
          <ac:chgData name="Manal El Bakkouri" userId="8b130982-2e3f-4164-b881-fd3a2e4b2453" providerId="ADAL" clId="{4457FA57-250B-44AC-8655-05D46C5A3D8A}" dt="2023-06-01T14:50:27.712" v="1881" actId="1036"/>
          <ac:spMkLst>
            <pc:docMk/>
            <pc:sldMk cId="1397262782" sldId="230717672"/>
            <ac:spMk id="70" creationId="{6D9BC7F7-773C-4CC1-B4C5-352191A1F40C}"/>
          </ac:spMkLst>
        </pc:spChg>
        <pc:spChg chg="mod">
          <ac:chgData name="Manal El Bakkouri" userId="8b130982-2e3f-4164-b881-fd3a2e4b2453" providerId="ADAL" clId="{4457FA57-250B-44AC-8655-05D46C5A3D8A}" dt="2023-06-01T14:50:27.712" v="1881" actId="1036"/>
          <ac:spMkLst>
            <pc:docMk/>
            <pc:sldMk cId="1397262782" sldId="230717672"/>
            <ac:spMk id="71" creationId="{F7E25C96-602C-4658-85F0-85EF229F8898}"/>
          </ac:spMkLst>
        </pc:spChg>
        <pc:spChg chg="mod">
          <ac:chgData name="Manal El Bakkouri" userId="8b130982-2e3f-4164-b881-fd3a2e4b2453" providerId="ADAL" clId="{4457FA57-250B-44AC-8655-05D46C5A3D8A}" dt="2023-06-01T14:50:27.712" v="1881" actId="1036"/>
          <ac:spMkLst>
            <pc:docMk/>
            <pc:sldMk cId="1397262782" sldId="230717672"/>
            <ac:spMk id="72" creationId="{531C2A42-BC02-48A9-A059-3A6D307E5577}"/>
          </ac:spMkLst>
        </pc:spChg>
        <pc:spChg chg="mod">
          <ac:chgData name="Manal El Bakkouri" userId="8b130982-2e3f-4164-b881-fd3a2e4b2453" providerId="ADAL" clId="{4457FA57-250B-44AC-8655-05D46C5A3D8A}" dt="2023-06-01T14:50:27.712" v="1881" actId="1036"/>
          <ac:spMkLst>
            <pc:docMk/>
            <pc:sldMk cId="1397262782" sldId="230717672"/>
            <ac:spMk id="73" creationId="{414439A9-42DE-4DB3-9088-78B7B31FEE3B}"/>
          </ac:spMkLst>
        </pc:spChg>
        <pc:spChg chg="mod">
          <ac:chgData name="Manal El Bakkouri" userId="8b130982-2e3f-4164-b881-fd3a2e4b2453" providerId="ADAL" clId="{4457FA57-250B-44AC-8655-05D46C5A3D8A}" dt="2023-06-01T14:50:27.712" v="1881" actId="1036"/>
          <ac:spMkLst>
            <pc:docMk/>
            <pc:sldMk cId="1397262782" sldId="230717672"/>
            <ac:spMk id="74" creationId="{5A785EE1-29CD-4BCB-A8D5-B318CDAA8A0A}"/>
          </ac:spMkLst>
        </pc:spChg>
        <pc:spChg chg="mod">
          <ac:chgData name="Manal El Bakkouri" userId="8b130982-2e3f-4164-b881-fd3a2e4b2453" providerId="ADAL" clId="{4457FA57-250B-44AC-8655-05D46C5A3D8A}" dt="2023-06-01T14:50:27.712" v="1881" actId="1036"/>
          <ac:spMkLst>
            <pc:docMk/>
            <pc:sldMk cId="1397262782" sldId="230717672"/>
            <ac:spMk id="75" creationId="{B29EE554-2AF9-4D52-80CF-E89D18BC36C7}"/>
          </ac:spMkLst>
        </pc:spChg>
        <pc:spChg chg="mod">
          <ac:chgData name="Manal El Bakkouri" userId="8b130982-2e3f-4164-b881-fd3a2e4b2453" providerId="ADAL" clId="{4457FA57-250B-44AC-8655-05D46C5A3D8A}" dt="2023-06-01T14:50:27.712" v="1881" actId="1036"/>
          <ac:spMkLst>
            <pc:docMk/>
            <pc:sldMk cId="1397262782" sldId="230717672"/>
            <ac:spMk id="78" creationId="{D7CD2E9F-38E8-4E39-A7C9-33A1ADFB4287}"/>
          </ac:spMkLst>
        </pc:spChg>
        <pc:spChg chg="mod">
          <ac:chgData name="Manal El Bakkouri" userId="8b130982-2e3f-4164-b881-fd3a2e4b2453" providerId="ADAL" clId="{4457FA57-250B-44AC-8655-05D46C5A3D8A}" dt="2023-06-01T14:50:27.712" v="1881" actId="1036"/>
          <ac:spMkLst>
            <pc:docMk/>
            <pc:sldMk cId="1397262782" sldId="230717672"/>
            <ac:spMk id="79" creationId="{5225F7A0-860A-4BF4-8646-6536E318CE0B}"/>
          </ac:spMkLst>
        </pc:spChg>
        <pc:spChg chg="add del mod">
          <ac:chgData name="Manal El Bakkouri" userId="8b130982-2e3f-4164-b881-fd3a2e4b2453" providerId="ADAL" clId="{4457FA57-250B-44AC-8655-05D46C5A3D8A}" dt="2023-06-01T13:30:42.268" v="1377"/>
          <ac:spMkLst>
            <pc:docMk/>
            <pc:sldMk cId="1397262782" sldId="230717672"/>
            <ac:spMk id="80" creationId="{4C290C8A-81AC-4B82-BD1A-E42DBCDA1D78}"/>
          </ac:spMkLst>
        </pc:spChg>
        <pc:spChg chg="mod">
          <ac:chgData name="Manal El Bakkouri" userId="8b130982-2e3f-4164-b881-fd3a2e4b2453" providerId="ADAL" clId="{4457FA57-250B-44AC-8655-05D46C5A3D8A}" dt="2023-06-01T14:50:27.712" v="1881" actId="1036"/>
          <ac:spMkLst>
            <pc:docMk/>
            <pc:sldMk cId="1397262782" sldId="230717672"/>
            <ac:spMk id="85" creationId="{02058D69-6C1A-47C4-AC7F-5063C7E9E86A}"/>
          </ac:spMkLst>
        </pc:spChg>
        <pc:spChg chg="mod">
          <ac:chgData name="Manal El Bakkouri" userId="8b130982-2e3f-4164-b881-fd3a2e4b2453" providerId="ADAL" clId="{4457FA57-250B-44AC-8655-05D46C5A3D8A}" dt="2023-06-01T14:50:27.712" v="1881" actId="1036"/>
          <ac:spMkLst>
            <pc:docMk/>
            <pc:sldMk cId="1397262782" sldId="230717672"/>
            <ac:spMk id="86" creationId="{ED3886E1-C4EC-46E2-907A-53D37E610BDA}"/>
          </ac:spMkLst>
        </pc:spChg>
        <pc:spChg chg="mod">
          <ac:chgData name="Manal El Bakkouri" userId="8b130982-2e3f-4164-b881-fd3a2e4b2453" providerId="ADAL" clId="{4457FA57-250B-44AC-8655-05D46C5A3D8A}" dt="2023-06-01T14:50:27.712" v="1881" actId="1036"/>
          <ac:spMkLst>
            <pc:docMk/>
            <pc:sldMk cId="1397262782" sldId="230717672"/>
            <ac:spMk id="87" creationId="{C6201B35-1C44-4A1A-B975-2D44538BBD6E}"/>
          </ac:spMkLst>
        </pc:spChg>
        <pc:spChg chg="mod">
          <ac:chgData name="Manal El Bakkouri" userId="8b130982-2e3f-4164-b881-fd3a2e4b2453" providerId="ADAL" clId="{4457FA57-250B-44AC-8655-05D46C5A3D8A}" dt="2023-06-01T14:50:27.712" v="1881" actId="1036"/>
          <ac:spMkLst>
            <pc:docMk/>
            <pc:sldMk cId="1397262782" sldId="230717672"/>
            <ac:spMk id="88" creationId="{79A6E942-0EA6-4BA2-9C73-2A7E2FD95500}"/>
          </ac:spMkLst>
        </pc:spChg>
        <pc:spChg chg="mod">
          <ac:chgData name="Manal El Bakkouri" userId="8b130982-2e3f-4164-b881-fd3a2e4b2453" providerId="ADAL" clId="{4457FA57-250B-44AC-8655-05D46C5A3D8A}" dt="2023-06-01T14:50:27.712" v="1881" actId="1036"/>
          <ac:spMkLst>
            <pc:docMk/>
            <pc:sldMk cId="1397262782" sldId="230717672"/>
            <ac:spMk id="89" creationId="{20B800E2-51B5-406B-B6A9-22FBE63A1D5D}"/>
          </ac:spMkLst>
        </pc:spChg>
        <pc:spChg chg="mod">
          <ac:chgData name="Manal El Bakkouri" userId="8b130982-2e3f-4164-b881-fd3a2e4b2453" providerId="ADAL" clId="{4457FA57-250B-44AC-8655-05D46C5A3D8A}" dt="2023-06-01T14:50:27.712" v="1881" actId="1036"/>
          <ac:spMkLst>
            <pc:docMk/>
            <pc:sldMk cId="1397262782" sldId="230717672"/>
            <ac:spMk id="90" creationId="{8946967C-39B0-4F55-8B1A-BE414D6ACB33}"/>
          </ac:spMkLst>
        </pc:spChg>
        <pc:spChg chg="mod">
          <ac:chgData name="Manal El Bakkouri" userId="8b130982-2e3f-4164-b881-fd3a2e4b2453" providerId="ADAL" clId="{4457FA57-250B-44AC-8655-05D46C5A3D8A}" dt="2023-06-01T14:50:27.712" v="1881" actId="1036"/>
          <ac:spMkLst>
            <pc:docMk/>
            <pc:sldMk cId="1397262782" sldId="230717672"/>
            <ac:spMk id="91" creationId="{3F84F896-1CD0-4B31-ABF6-CF6776532793}"/>
          </ac:spMkLst>
        </pc:spChg>
        <pc:spChg chg="mod">
          <ac:chgData name="Manal El Bakkouri" userId="8b130982-2e3f-4164-b881-fd3a2e4b2453" providerId="ADAL" clId="{4457FA57-250B-44AC-8655-05D46C5A3D8A}" dt="2023-06-01T14:50:27.712" v="1881" actId="1036"/>
          <ac:spMkLst>
            <pc:docMk/>
            <pc:sldMk cId="1397262782" sldId="230717672"/>
            <ac:spMk id="92" creationId="{E819E4D5-7F91-4DB1-B345-E050C4E1E405}"/>
          </ac:spMkLst>
        </pc:spChg>
        <pc:spChg chg="mod">
          <ac:chgData name="Manal El Bakkouri" userId="8b130982-2e3f-4164-b881-fd3a2e4b2453" providerId="ADAL" clId="{4457FA57-250B-44AC-8655-05D46C5A3D8A}" dt="2023-06-01T14:50:27.712" v="1881" actId="1036"/>
          <ac:spMkLst>
            <pc:docMk/>
            <pc:sldMk cId="1397262782" sldId="230717672"/>
            <ac:spMk id="93" creationId="{14A62F39-049B-406A-9423-63F68218BD1B}"/>
          </ac:spMkLst>
        </pc:spChg>
        <pc:spChg chg="mod">
          <ac:chgData name="Manal El Bakkouri" userId="8b130982-2e3f-4164-b881-fd3a2e4b2453" providerId="ADAL" clId="{4457FA57-250B-44AC-8655-05D46C5A3D8A}" dt="2023-06-01T14:50:27.712" v="1881" actId="1036"/>
          <ac:spMkLst>
            <pc:docMk/>
            <pc:sldMk cId="1397262782" sldId="230717672"/>
            <ac:spMk id="94" creationId="{D3C81889-4AC5-4F15-BC14-E3748165DD13}"/>
          </ac:spMkLst>
        </pc:spChg>
        <pc:spChg chg="mod">
          <ac:chgData name="Manal El Bakkouri" userId="8b130982-2e3f-4164-b881-fd3a2e4b2453" providerId="ADAL" clId="{4457FA57-250B-44AC-8655-05D46C5A3D8A}" dt="2023-06-01T14:50:27.712" v="1881" actId="1036"/>
          <ac:spMkLst>
            <pc:docMk/>
            <pc:sldMk cId="1397262782" sldId="230717672"/>
            <ac:spMk id="95" creationId="{1F143561-5342-4FC4-BDEB-8BC7D9835AAE}"/>
          </ac:spMkLst>
        </pc:spChg>
        <pc:spChg chg="mod">
          <ac:chgData name="Manal El Bakkouri" userId="8b130982-2e3f-4164-b881-fd3a2e4b2453" providerId="ADAL" clId="{4457FA57-250B-44AC-8655-05D46C5A3D8A}" dt="2023-06-01T14:50:27.712" v="1881" actId="1036"/>
          <ac:spMkLst>
            <pc:docMk/>
            <pc:sldMk cId="1397262782" sldId="230717672"/>
            <ac:spMk id="96" creationId="{EEB1FA40-535E-4681-A186-CEA49919D321}"/>
          </ac:spMkLst>
        </pc:spChg>
        <pc:spChg chg="mod">
          <ac:chgData name="Manal El Bakkouri" userId="8b130982-2e3f-4164-b881-fd3a2e4b2453" providerId="ADAL" clId="{4457FA57-250B-44AC-8655-05D46C5A3D8A}" dt="2023-06-01T14:50:27.712" v="1881" actId="1036"/>
          <ac:spMkLst>
            <pc:docMk/>
            <pc:sldMk cId="1397262782" sldId="230717672"/>
            <ac:spMk id="98" creationId="{AD763904-CEB3-438F-82AA-1C668D5A2D78}"/>
          </ac:spMkLst>
        </pc:spChg>
        <pc:spChg chg="mod">
          <ac:chgData name="Manal El Bakkouri" userId="8b130982-2e3f-4164-b881-fd3a2e4b2453" providerId="ADAL" clId="{4457FA57-250B-44AC-8655-05D46C5A3D8A}" dt="2023-06-01T14:50:27.712" v="1881" actId="1036"/>
          <ac:spMkLst>
            <pc:docMk/>
            <pc:sldMk cId="1397262782" sldId="230717672"/>
            <ac:spMk id="99" creationId="{14F092D8-2F17-4D65-9263-2FEC1BEF3833}"/>
          </ac:spMkLst>
        </pc:spChg>
        <pc:spChg chg="mod">
          <ac:chgData name="Manal El Bakkouri" userId="8b130982-2e3f-4164-b881-fd3a2e4b2453" providerId="ADAL" clId="{4457FA57-250B-44AC-8655-05D46C5A3D8A}" dt="2023-06-01T14:50:27.712" v="1881" actId="1036"/>
          <ac:spMkLst>
            <pc:docMk/>
            <pc:sldMk cId="1397262782" sldId="230717672"/>
            <ac:spMk id="100" creationId="{161A7066-4CF0-42B0-9340-0A1866F038C4}"/>
          </ac:spMkLst>
        </pc:spChg>
        <pc:spChg chg="mod">
          <ac:chgData name="Manal El Bakkouri" userId="8b130982-2e3f-4164-b881-fd3a2e4b2453" providerId="ADAL" clId="{4457FA57-250B-44AC-8655-05D46C5A3D8A}" dt="2023-06-01T14:50:27.712" v="1881" actId="1036"/>
          <ac:spMkLst>
            <pc:docMk/>
            <pc:sldMk cId="1397262782" sldId="230717672"/>
            <ac:spMk id="101" creationId="{D89FECCE-0B95-4F57-8EEF-30B36A5B16BC}"/>
          </ac:spMkLst>
        </pc:spChg>
        <pc:spChg chg="mod">
          <ac:chgData name="Manal El Bakkouri" userId="8b130982-2e3f-4164-b881-fd3a2e4b2453" providerId="ADAL" clId="{4457FA57-250B-44AC-8655-05D46C5A3D8A}" dt="2023-06-01T14:50:27.712" v="1881" actId="1036"/>
          <ac:spMkLst>
            <pc:docMk/>
            <pc:sldMk cId="1397262782" sldId="230717672"/>
            <ac:spMk id="102" creationId="{10AB4179-22DC-4D44-99B6-391A7134EEF6}"/>
          </ac:spMkLst>
        </pc:spChg>
        <pc:spChg chg="mod">
          <ac:chgData name="Manal El Bakkouri" userId="8b130982-2e3f-4164-b881-fd3a2e4b2453" providerId="ADAL" clId="{4457FA57-250B-44AC-8655-05D46C5A3D8A}" dt="2023-06-01T14:50:27.712" v="1881" actId="1036"/>
          <ac:spMkLst>
            <pc:docMk/>
            <pc:sldMk cId="1397262782" sldId="230717672"/>
            <ac:spMk id="103" creationId="{CEF21229-D30D-47DC-A71A-49436C36AE12}"/>
          </ac:spMkLst>
        </pc:spChg>
        <pc:spChg chg="mod">
          <ac:chgData name="Manal El Bakkouri" userId="8b130982-2e3f-4164-b881-fd3a2e4b2453" providerId="ADAL" clId="{4457FA57-250B-44AC-8655-05D46C5A3D8A}" dt="2023-06-01T14:50:27.712" v="1881" actId="1036"/>
          <ac:spMkLst>
            <pc:docMk/>
            <pc:sldMk cId="1397262782" sldId="230717672"/>
            <ac:spMk id="104" creationId="{603B7635-5200-4C5C-8B16-AF6970B82736}"/>
          </ac:spMkLst>
        </pc:spChg>
        <pc:spChg chg="add del mod">
          <ac:chgData name="Manal El Bakkouri" userId="8b130982-2e3f-4164-b881-fd3a2e4b2453" providerId="ADAL" clId="{4457FA57-250B-44AC-8655-05D46C5A3D8A}" dt="2023-06-01T13:33:53.579" v="1387" actId="478"/>
          <ac:spMkLst>
            <pc:docMk/>
            <pc:sldMk cId="1397262782" sldId="230717672"/>
            <ac:spMk id="105" creationId="{1C240265-610D-49E6-B131-49F79A673FA0}"/>
          </ac:spMkLst>
        </pc:spChg>
        <pc:spChg chg="add mod">
          <ac:chgData name="Manal El Bakkouri" userId="8b130982-2e3f-4164-b881-fd3a2e4b2453" providerId="ADAL" clId="{4457FA57-250B-44AC-8655-05D46C5A3D8A}" dt="2023-06-04T13:11:02.663" v="7670" actId="1076"/>
          <ac:spMkLst>
            <pc:docMk/>
            <pc:sldMk cId="1397262782" sldId="230717672"/>
            <ac:spMk id="107" creationId="{1E7CFBB3-25F4-4690-987F-6DEEE1337EEF}"/>
          </ac:spMkLst>
        </pc:spChg>
        <pc:spChg chg="add mod">
          <ac:chgData name="Manal El Bakkouri" userId="8b130982-2e3f-4164-b881-fd3a2e4b2453" providerId="ADAL" clId="{4457FA57-250B-44AC-8655-05D46C5A3D8A}" dt="2023-06-09T11:29:29.342" v="21753" actId="20577"/>
          <ac:spMkLst>
            <pc:docMk/>
            <pc:sldMk cId="1397262782" sldId="230717672"/>
            <ac:spMk id="108" creationId="{CC3931AB-0CD1-4A34-9EED-140A126DEF4E}"/>
          </ac:spMkLst>
        </pc:spChg>
        <pc:spChg chg="add del mod">
          <ac:chgData name="Manal El Bakkouri" userId="8b130982-2e3f-4164-b881-fd3a2e4b2453" providerId="ADAL" clId="{4457FA57-250B-44AC-8655-05D46C5A3D8A}" dt="2023-06-01T14:03:11.557" v="1407" actId="478"/>
          <ac:spMkLst>
            <pc:docMk/>
            <pc:sldMk cId="1397262782" sldId="230717672"/>
            <ac:spMk id="112" creationId="{55023BC0-85EF-46C6-9EED-972207CECB09}"/>
          </ac:spMkLst>
        </pc:spChg>
        <pc:spChg chg="add del mod">
          <ac:chgData name="Manal El Bakkouri" userId="8b130982-2e3f-4164-b881-fd3a2e4b2453" providerId="ADAL" clId="{4457FA57-250B-44AC-8655-05D46C5A3D8A}" dt="2023-06-01T14:05:14.202" v="1438" actId="478"/>
          <ac:spMkLst>
            <pc:docMk/>
            <pc:sldMk cId="1397262782" sldId="230717672"/>
            <ac:spMk id="115" creationId="{9FAB4D80-D3A8-4901-9ECD-61AC12DFD897}"/>
          </ac:spMkLst>
        </pc:spChg>
        <pc:spChg chg="add mod">
          <ac:chgData name="Manal El Bakkouri" userId="8b130982-2e3f-4164-b881-fd3a2e4b2453" providerId="ADAL" clId="{4457FA57-250B-44AC-8655-05D46C5A3D8A}" dt="2023-06-05T14:22:49.315" v="8499" actId="20577"/>
          <ac:spMkLst>
            <pc:docMk/>
            <pc:sldMk cId="1397262782" sldId="230717672"/>
            <ac:spMk id="136" creationId="{699B04D3-E781-4533-8F27-4E67D0DD4AAF}"/>
          </ac:spMkLst>
        </pc:spChg>
        <pc:spChg chg="add mod">
          <ac:chgData name="Manal El Bakkouri" userId="8b130982-2e3f-4164-b881-fd3a2e4b2453" providerId="ADAL" clId="{4457FA57-250B-44AC-8655-05D46C5A3D8A}" dt="2023-06-03T18:09:44.807" v="6024" actId="1076"/>
          <ac:spMkLst>
            <pc:docMk/>
            <pc:sldMk cId="1397262782" sldId="230717672"/>
            <ac:spMk id="137" creationId="{BB2513FE-D6F9-4FE7-A36E-FA1ED54D6444}"/>
          </ac:spMkLst>
        </pc:spChg>
        <pc:spChg chg="add del mod">
          <ac:chgData name="Manal El Bakkouri" userId="8b130982-2e3f-4164-b881-fd3a2e4b2453" providerId="ADAL" clId="{4457FA57-250B-44AC-8655-05D46C5A3D8A}" dt="2023-06-01T15:07:53.961" v="1987" actId="478"/>
          <ac:spMkLst>
            <pc:docMk/>
            <pc:sldMk cId="1397262782" sldId="230717672"/>
            <ac:spMk id="140" creationId="{A064B179-34C6-4D88-84D3-4C0FAB7D5E03}"/>
          </ac:spMkLst>
        </pc:spChg>
        <pc:grpChg chg="add del mod">
          <ac:chgData name="Manal El Bakkouri" userId="8b130982-2e3f-4164-b881-fd3a2e4b2453" providerId="ADAL" clId="{4457FA57-250B-44AC-8655-05D46C5A3D8A}" dt="2023-06-01T13:00:49.227" v="1104" actId="165"/>
          <ac:grpSpMkLst>
            <pc:docMk/>
            <pc:sldMk cId="1397262782" sldId="230717672"/>
            <ac:grpSpMk id="20" creationId="{21B806E4-86AE-4728-BF7A-D0FDAA9971CC}"/>
          </ac:grpSpMkLst>
        </pc:grpChg>
        <pc:grpChg chg="add mod">
          <ac:chgData name="Manal El Bakkouri" userId="8b130982-2e3f-4164-b881-fd3a2e4b2453" providerId="ADAL" clId="{4457FA57-250B-44AC-8655-05D46C5A3D8A}" dt="2023-06-01T14:50:27.712" v="1881" actId="1036"/>
          <ac:grpSpMkLst>
            <pc:docMk/>
            <pc:sldMk cId="1397262782" sldId="230717672"/>
            <ac:grpSpMk id="21" creationId="{FA285611-BDDC-4E3A-95EC-1B5A3BBED2CF}"/>
          </ac:grpSpMkLst>
        </pc:grpChg>
        <pc:grpChg chg="add mod">
          <ac:chgData name="Manal El Bakkouri" userId="8b130982-2e3f-4164-b881-fd3a2e4b2453" providerId="ADAL" clId="{4457FA57-250B-44AC-8655-05D46C5A3D8A}" dt="2023-06-01T14:50:27.712" v="1881" actId="1036"/>
          <ac:grpSpMkLst>
            <pc:docMk/>
            <pc:sldMk cId="1397262782" sldId="230717672"/>
            <ac:grpSpMk id="38" creationId="{9B067AA3-85C5-4DAD-869A-097E6C426828}"/>
          </ac:grpSpMkLst>
        </pc:grpChg>
        <pc:grpChg chg="add mod">
          <ac:chgData name="Manal El Bakkouri" userId="8b130982-2e3f-4164-b881-fd3a2e4b2453" providerId="ADAL" clId="{4457FA57-250B-44AC-8655-05D46C5A3D8A}" dt="2023-06-01T14:50:27.712" v="1881" actId="1036"/>
          <ac:grpSpMkLst>
            <pc:docMk/>
            <pc:sldMk cId="1397262782" sldId="230717672"/>
            <ac:grpSpMk id="47" creationId="{00D9A43F-F4B6-42AD-AEF0-416A635CCBA6}"/>
          </ac:grpSpMkLst>
        </pc:grpChg>
        <pc:grpChg chg="add mod">
          <ac:chgData name="Manal El Bakkouri" userId="8b130982-2e3f-4164-b881-fd3a2e4b2453" providerId="ADAL" clId="{4457FA57-250B-44AC-8655-05D46C5A3D8A}" dt="2023-06-01T14:50:27.712" v="1881" actId="1036"/>
          <ac:grpSpMkLst>
            <pc:docMk/>
            <pc:sldMk cId="1397262782" sldId="230717672"/>
            <ac:grpSpMk id="76" creationId="{525BAAE3-8ADC-45E1-8BE0-88C3FB4BBC56}"/>
          </ac:grpSpMkLst>
        </pc:grpChg>
        <pc:grpChg chg="add mod">
          <ac:chgData name="Manal El Bakkouri" userId="8b130982-2e3f-4164-b881-fd3a2e4b2453" providerId="ADAL" clId="{4457FA57-250B-44AC-8655-05D46C5A3D8A}" dt="2023-06-01T14:50:27.712" v="1881" actId="1036"/>
          <ac:grpSpMkLst>
            <pc:docMk/>
            <pc:sldMk cId="1397262782" sldId="230717672"/>
            <ac:grpSpMk id="77" creationId="{79F0E37A-E275-4D96-BB22-B4951C48FD8F}"/>
          </ac:grpSpMkLst>
        </pc:grpChg>
        <pc:grpChg chg="add mod">
          <ac:chgData name="Manal El Bakkouri" userId="8b130982-2e3f-4164-b881-fd3a2e4b2453" providerId="ADAL" clId="{4457FA57-250B-44AC-8655-05D46C5A3D8A}" dt="2023-06-01T14:50:27.712" v="1881" actId="1036"/>
          <ac:grpSpMkLst>
            <pc:docMk/>
            <pc:sldMk cId="1397262782" sldId="230717672"/>
            <ac:grpSpMk id="81" creationId="{4B3674FE-46FA-44F2-9F9B-8ACC90714508}"/>
          </ac:grpSpMkLst>
        </pc:grpChg>
        <pc:grpChg chg="mod">
          <ac:chgData name="Manal El Bakkouri" userId="8b130982-2e3f-4164-b881-fd3a2e4b2453" providerId="ADAL" clId="{4457FA57-250B-44AC-8655-05D46C5A3D8A}" dt="2023-06-01T14:50:27.712" v="1881" actId="1036"/>
          <ac:grpSpMkLst>
            <pc:docMk/>
            <pc:sldMk cId="1397262782" sldId="230717672"/>
            <ac:grpSpMk id="82" creationId="{683AFD9D-3F95-4A5A-8B8F-05344F399631}"/>
          </ac:grpSpMkLst>
        </pc:grpChg>
        <pc:grpChg chg="mod">
          <ac:chgData name="Manal El Bakkouri" userId="8b130982-2e3f-4164-b881-fd3a2e4b2453" providerId="ADAL" clId="{4457FA57-250B-44AC-8655-05D46C5A3D8A}" dt="2023-06-01T14:50:27.712" v="1881" actId="1036"/>
          <ac:grpSpMkLst>
            <pc:docMk/>
            <pc:sldMk cId="1397262782" sldId="230717672"/>
            <ac:grpSpMk id="83" creationId="{E6070819-F788-4E94-BF6E-7E26100EF2C4}"/>
          </ac:grpSpMkLst>
        </pc:grpChg>
        <pc:grpChg chg="mod">
          <ac:chgData name="Manal El Bakkouri" userId="8b130982-2e3f-4164-b881-fd3a2e4b2453" providerId="ADAL" clId="{4457FA57-250B-44AC-8655-05D46C5A3D8A}" dt="2023-06-01T14:50:27.712" v="1881" actId="1036"/>
          <ac:grpSpMkLst>
            <pc:docMk/>
            <pc:sldMk cId="1397262782" sldId="230717672"/>
            <ac:grpSpMk id="84" creationId="{860A7801-8E35-46CC-9020-DB52C8C212F8}"/>
          </ac:grpSpMkLst>
        </pc:grpChg>
        <pc:grpChg chg="add mod ord">
          <ac:chgData name="Manal El Bakkouri" userId="8b130982-2e3f-4164-b881-fd3a2e4b2453" providerId="ADAL" clId="{4457FA57-250B-44AC-8655-05D46C5A3D8A}" dt="2023-06-01T14:50:27.712" v="1881" actId="1036"/>
          <ac:grpSpMkLst>
            <pc:docMk/>
            <pc:sldMk cId="1397262782" sldId="230717672"/>
            <ac:grpSpMk id="97" creationId="{7E46AF87-AFF8-4B6E-B66E-5AC3CFDDA11B}"/>
          </ac:grpSpMkLst>
        </pc:grpChg>
        <pc:grpChg chg="add mod">
          <ac:chgData name="Manal El Bakkouri" userId="8b130982-2e3f-4164-b881-fd3a2e4b2453" providerId="ADAL" clId="{4457FA57-250B-44AC-8655-05D46C5A3D8A}" dt="2023-06-01T14:50:27.712" v="1881" actId="1036"/>
          <ac:grpSpMkLst>
            <pc:docMk/>
            <pc:sldMk cId="1397262782" sldId="230717672"/>
            <ac:grpSpMk id="116" creationId="{8D472827-A91E-405E-B4C6-F62E3D91693A}"/>
          </ac:grpSpMkLst>
        </pc:grpChg>
        <pc:grpChg chg="add mod">
          <ac:chgData name="Manal El Bakkouri" userId="8b130982-2e3f-4164-b881-fd3a2e4b2453" providerId="ADAL" clId="{4457FA57-250B-44AC-8655-05D46C5A3D8A}" dt="2023-06-01T14:50:27.712" v="1881" actId="1036"/>
          <ac:grpSpMkLst>
            <pc:docMk/>
            <pc:sldMk cId="1397262782" sldId="230717672"/>
            <ac:grpSpMk id="135" creationId="{0DDC0D06-CA19-4F7B-99A1-607679A05225}"/>
          </ac:grpSpMkLst>
        </pc:grpChg>
        <pc:grpChg chg="add mod">
          <ac:chgData name="Manal El Bakkouri" userId="8b130982-2e3f-4164-b881-fd3a2e4b2453" providerId="ADAL" clId="{4457FA57-250B-44AC-8655-05D46C5A3D8A}" dt="2023-06-04T12:24:17.654" v="7314" actId="1035"/>
          <ac:grpSpMkLst>
            <pc:docMk/>
            <pc:sldMk cId="1397262782" sldId="230717672"/>
            <ac:grpSpMk id="138" creationId="{98B4920E-D790-4260-9617-5C28AB58E881}"/>
          </ac:grpSpMkLst>
        </pc:grpChg>
        <pc:picChg chg="add mod ord">
          <ac:chgData name="Manal El Bakkouri" userId="8b130982-2e3f-4164-b881-fd3a2e4b2453" providerId="ADAL" clId="{4457FA57-250B-44AC-8655-05D46C5A3D8A}" dt="2023-06-05T14:26:18.728" v="8504" actId="1037"/>
          <ac:picMkLst>
            <pc:docMk/>
            <pc:sldMk cId="1397262782" sldId="230717672"/>
            <ac:picMk id="106" creationId="{88AB11FB-310E-4AD0-80CB-186C9E407E2A}"/>
          </ac:picMkLst>
        </pc:picChg>
        <pc:picChg chg="add del mod">
          <ac:chgData name="Manal El Bakkouri" userId="8b130982-2e3f-4164-b881-fd3a2e4b2453" providerId="ADAL" clId="{4457FA57-250B-44AC-8655-05D46C5A3D8A}" dt="2023-06-01T14:02:12.010" v="1399" actId="478"/>
          <ac:picMkLst>
            <pc:docMk/>
            <pc:sldMk cId="1397262782" sldId="230717672"/>
            <ac:picMk id="107" creationId="{8A4E5C77-CB54-4C98-80F5-DF76E2008854}"/>
          </ac:picMkLst>
        </pc:picChg>
        <pc:picChg chg="add mod">
          <ac:chgData name="Manal El Bakkouri" userId="8b130982-2e3f-4164-b881-fd3a2e4b2453" providerId="ADAL" clId="{4457FA57-250B-44AC-8655-05D46C5A3D8A}" dt="2023-06-01T14:50:27.712" v="1881" actId="1036"/>
          <ac:picMkLst>
            <pc:docMk/>
            <pc:sldMk cId="1397262782" sldId="230717672"/>
            <ac:picMk id="109" creationId="{FD061C2C-ADA5-455B-9DFA-D389F30FC118}"/>
          </ac:picMkLst>
        </pc:picChg>
        <pc:picChg chg="add del mod modCrop">
          <ac:chgData name="Manal El Bakkouri" userId="8b130982-2e3f-4164-b881-fd3a2e4b2453" providerId="ADAL" clId="{4457FA57-250B-44AC-8655-05D46C5A3D8A}" dt="2023-06-01T14:04:53.225" v="1433" actId="478"/>
          <ac:picMkLst>
            <pc:docMk/>
            <pc:sldMk cId="1397262782" sldId="230717672"/>
            <ac:picMk id="111" creationId="{18DB4E80-AAE8-4C24-A9F0-553496BAF614}"/>
          </ac:picMkLst>
        </pc:picChg>
        <pc:picChg chg="add mod">
          <ac:chgData name="Manal El Bakkouri" userId="8b130982-2e3f-4164-b881-fd3a2e4b2453" providerId="ADAL" clId="{4457FA57-250B-44AC-8655-05D46C5A3D8A}" dt="2023-06-01T14:50:27.712" v="1881" actId="1036"/>
          <ac:picMkLst>
            <pc:docMk/>
            <pc:sldMk cId="1397262782" sldId="230717672"/>
            <ac:picMk id="114" creationId="{0B9C056A-1EA4-4ADA-BD0C-B7C812F29443}"/>
          </ac:picMkLst>
        </pc:picChg>
        <pc:picChg chg="add del mod">
          <ac:chgData name="Manal El Bakkouri" userId="8b130982-2e3f-4164-b881-fd3a2e4b2453" providerId="ADAL" clId="{4457FA57-250B-44AC-8655-05D46C5A3D8A}" dt="2023-06-01T14:16:37.334" v="1658" actId="478"/>
          <ac:picMkLst>
            <pc:docMk/>
            <pc:sldMk cId="1397262782" sldId="230717672"/>
            <ac:picMk id="118" creationId="{45805366-D7B2-4CEC-A175-AD28B5FE9CCE}"/>
          </ac:picMkLst>
        </pc:picChg>
        <pc:picChg chg="add del mod">
          <ac:chgData name="Manal El Bakkouri" userId="8b130982-2e3f-4164-b881-fd3a2e4b2453" providerId="ADAL" clId="{4457FA57-250B-44AC-8655-05D46C5A3D8A}" dt="2023-06-01T14:21:53.814" v="1701" actId="478"/>
          <ac:picMkLst>
            <pc:docMk/>
            <pc:sldMk cId="1397262782" sldId="230717672"/>
            <ac:picMk id="120" creationId="{091F9A11-DDE7-418E-B627-5139ECBD3692}"/>
          </ac:picMkLst>
        </pc:picChg>
        <pc:picChg chg="add del mod">
          <ac:chgData name="Manal El Bakkouri" userId="8b130982-2e3f-4164-b881-fd3a2e4b2453" providerId="ADAL" clId="{4457FA57-250B-44AC-8655-05D46C5A3D8A}" dt="2023-06-01T14:18:43.079" v="1680" actId="931"/>
          <ac:picMkLst>
            <pc:docMk/>
            <pc:sldMk cId="1397262782" sldId="230717672"/>
            <ac:picMk id="122" creationId="{208334D1-0E8F-4BB7-887D-8705DBA4B883}"/>
          </ac:picMkLst>
        </pc:picChg>
        <pc:picChg chg="add mod">
          <ac:chgData name="Manal El Bakkouri" userId="8b130982-2e3f-4164-b881-fd3a2e4b2453" providerId="ADAL" clId="{4457FA57-250B-44AC-8655-05D46C5A3D8A}" dt="2023-06-01T14:57:34.891" v="1962" actId="2085"/>
          <ac:picMkLst>
            <pc:docMk/>
            <pc:sldMk cId="1397262782" sldId="230717672"/>
            <ac:picMk id="124" creationId="{1879D7D3-524E-4B4C-9FE2-B76CF65E85D1}"/>
          </ac:picMkLst>
        </pc:picChg>
        <pc:picChg chg="add mod">
          <ac:chgData name="Manal El Bakkouri" userId="8b130982-2e3f-4164-b881-fd3a2e4b2453" providerId="ADAL" clId="{4457FA57-250B-44AC-8655-05D46C5A3D8A}" dt="2023-06-01T14:57:34.891" v="1962" actId="2085"/>
          <ac:picMkLst>
            <pc:docMk/>
            <pc:sldMk cId="1397262782" sldId="230717672"/>
            <ac:picMk id="126" creationId="{2F18FCBA-90CA-45DD-81F1-C994A2DC66D6}"/>
          </ac:picMkLst>
        </pc:picChg>
        <pc:picChg chg="add mod">
          <ac:chgData name="Manal El Bakkouri" userId="8b130982-2e3f-4164-b881-fd3a2e4b2453" providerId="ADAL" clId="{4457FA57-250B-44AC-8655-05D46C5A3D8A}" dt="2023-06-01T14:57:34.891" v="1962" actId="2085"/>
          <ac:picMkLst>
            <pc:docMk/>
            <pc:sldMk cId="1397262782" sldId="230717672"/>
            <ac:picMk id="128" creationId="{2F50146F-38B3-4DC8-B25C-7E161D157567}"/>
          </ac:picMkLst>
        </pc:picChg>
        <pc:picChg chg="add del mod">
          <ac:chgData name="Manal El Bakkouri" userId="8b130982-2e3f-4164-b881-fd3a2e4b2453" providerId="ADAL" clId="{4457FA57-250B-44AC-8655-05D46C5A3D8A}" dt="2023-06-01T14:21:51.866" v="1700" actId="478"/>
          <ac:picMkLst>
            <pc:docMk/>
            <pc:sldMk cId="1397262782" sldId="230717672"/>
            <ac:picMk id="130" creationId="{718FDF5C-D191-45CF-AA8C-3832AD8070D5}"/>
          </ac:picMkLst>
        </pc:picChg>
        <pc:picChg chg="add mod">
          <ac:chgData name="Manal El Bakkouri" userId="8b130982-2e3f-4164-b881-fd3a2e4b2453" providerId="ADAL" clId="{4457FA57-250B-44AC-8655-05D46C5A3D8A}" dt="2023-06-01T14:50:27.712" v="1881" actId="1036"/>
          <ac:picMkLst>
            <pc:docMk/>
            <pc:sldMk cId="1397262782" sldId="230717672"/>
            <ac:picMk id="132" creationId="{EF5BE591-53A4-4B0E-8AB4-B81C04C21B8B}"/>
          </ac:picMkLst>
        </pc:picChg>
        <pc:picChg chg="add mod">
          <ac:chgData name="Manal El Bakkouri" userId="8b130982-2e3f-4164-b881-fd3a2e4b2453" providerId="ADAL" clId="{4457FA57-250B-44AC-8655-05D46C5A3D8A}" dt="2023-06-01T14:50:27.712" v="1881" actId="1036"/>
          <ac:picMkLst>
            <pc:docMk/>
            <pc:sldMk cId="1397262782" sldId="230717672"/>
            <ac:picMk id="134" creationId="{142CCD96-09A3-4B2F-9E3E-28A3976E3718}"/>
          </ac:picMkLst>
        </pc:picChg>
      </pc:sldChg>
      <pc:sldChg chg="add del ord">
        <pc:chgData name="Manal El Bakkouri" userId="8b130982-2e3f-4164-b881-fd3a2e4b2453" providerId="ADAL" clId="{4457FA57-250B-44AC-8655-05D46C5A3D8A}" dt="2023-06-01T11:28:58.009" v="958" actId="2696"/>
        <pc:sldMkLst>
          <pc:docMk/>
          <pc:sldMk cId="3898157950" sldId="230717672"/>
        </pc:sldMkLst>
      </pc:sldChg>
      <pc:sldChg chg="delSp modSp add del mod modTransition">
        <pc:chgData name="Manal El Bakkouri" userId="8b130982-2e3f-4164-b881-fd3a2e4b2453" providerId="ADAL" clId="{4457FA57-250B-44AC-8655-05D46C5A3D8A}" dt="2023-06-01T14:08:21.369" v="1610" actId="2696"/>
        <pc:sldMkLst>
          <pc:docMk/>
          <pc:sldMk cId="84332506" sldId="230717673"/>
        </pc:sldMkLst>
        <pc:grpChg chg="del mod">
          <ac:chgData name="Manal El Bakkouri" userId="8b130982-2e3f-4164-b881-fd3a2e4b2453" providerId="ADAL" clId="{4457FA57-250B-44AC-8655-05D46C5A3D8A}" dt="2023-06-01T14:08:17.800" v="1609" actId="478"/>
          <ac:grpSpMkLst>
            <pc:docMk/>
            <pc:sldMk cId="84332506" sldId="230717673"/>
            <ac:grpSpMk id="97" creationId="{7E46AF87-AFF8-4B6E-B66E-5AC3CFDDA11B}"/>
          </ac:grpSpMkLst>
        </pc:grpChg>
      </pc:sldChg>
      <pc:sldChg chg="addSp delSp modSp add mod modTransition modNotesTx">
        <pc:chgData name="Manal El Bakkouri" userId="8b130982-2e3f-4164-b881-fd3a2e4b2453" providerId="ADAL" clId="{4457FA57-250B-44AC-8655-05D46C5A3D8A}" dt="2023-06-09T11:29:44.294" v="21757"/>
        <pc:sldMkLst>
          <pc:docMk/>
          <pc:sldMk cId="2967782731" sldId="230717674"/>
        </pc:sldMkLst>
        <pc:spChg chg="del">
          <ac:chgData name="Manal El Bakkouri" userId="8b130982-2e3f-4164-b881-fd3a2e4b2453" providerId="ADAL" clId="{4457FA57-250B-44AC-8655-05D46C5A3D8A}" dt="2023-06-01T15:08:25.582" v="2002" actId="478"/>
          <ac:spMkLst>
            <pc:docMk/>
            <pc:sldMk cId="2967782731" sldId="230717674"/>
            <ac:spMk id="7" creationId="{C6ED7FBB-C822-4D80-888B-8B69F71F9A80}"/>
          </ac:spMkLst>
        </pc:spChg>
        <pc:spChg chg="del">
          <ac:chgData name="Manal El Bakkouri" userId="8b130982-2e3f-4164-b881-fd3a2e4b2453" providerId="ADAL" clId="{4457FA57-250B-44AC-8655-05D46C5A3D8A}" dt="2023-06-01T15:08:25.582" v="2002" actId="478"/>
          <ac:spMkLst>
            <pc:docMk/>
            <pc:sldMk cId="2967782731" sldId="230717674"/>
            <ac:spMk id="8" creationId="{7944258F-542C-4FD5-AE57-847CE56CBF3C}"/>
          </ac:spMkLst>
        </pc:spChg>
        <pc:spChg chg="del">
          <ac:chgData name="Manal El Bakkouri" userId="8b130982-2e3f-4164-b881-fd3a2e4b2453" providerId="ADAL" clId="{4457FA57-250B-44AC-8655-05D46C5A3D8A}" dt="2023-06-01T15:08:25.582" v="2002" actId="478"/>
          <ac:spMkLst>
            <pc:docMk/>
            <pc:sldMk cId="2967782731" sldId="230717674"/>
            <ac:spMk id="9" creationId="{6D2A5BBF-26F7-4BD8-B49E-9BF5038990EB}"/>
          </ac:spMkLst>
        </pc:spChg>
        <pc:spChg chg="del">
          <ac:chgData name="Manal El Bakkouri" userId="8b130982-2e3f-4164-b881-fd3a2e4b2453" providerId="ADAL" clId="{4457FA57-250B-44AC-8655-05D46C5A3D8A}" dt="2023-06-01T15:08:25.582" v="2002" actId="478"/>
          <ac:spMkLst>
            <pc:docMk/>
            <pc:sldMk cId="2967782731" sldId="230717674"/>
            <ac:spMk id="10" creationId="{95FFA286-CEC9-4E1A-998F-D357B7DC0213}"/>
          </ac:spMkLst>
        </pc:spChg>
        <pc:spChg chg="del">
          <ac:chgData name="Manal El Bakkouri" userId="8b130982-2e3f-4164-b881-fd3a2e4b2453" providerId="ADAL" clId="{4457FA57-250B-44AC-8655-05D46C5A3D8A}" dt="2023-06-01T15:08:25.582" v="2002" actId="478"/>
          <ac:spMkLst>
            <pc:docMk/>
            <pc:sldMk cId="2967782731" sldId="230717674"/>
            <ac:spMk id="12" creationId="{0122A928-CD39-42EA-A49A-9B7F16A7BD29}"/>
          </ac:spMkLst>
        </pc:spChg>
        <pc:spChg chg="del">
          <ac:chgData name="Manal El Bakkouri" userId="8b130982-2e3f-4164-b881-fd3a2e4b2453" providerId="ADAL" clId="{4457FA57-250B-44AC-8655-05D46C5A3D8A}" dt="2023-06-01T15:08:25.582" v="2002" actId="478"/>
          <ac:spMkLst>
            <pc:docMk/>
            <pc:sldMk cId="2967782731" sldId="230717674"/>
            <ac:spMk id="14" creationId="{AB9BE935-45AC-4C32-AF93-3C03F60903F3}"/>
          </ac:spMkLst>
        </pc:spChg>
        <pc:spChg chg="add mod topLvl">
          <ac:chgData name="Manal El Bakkouri" userId="8b130982-2e3f-4164-b881-fd3a2e4b2453" providerId="ADAL" clId="{4457FA57-250B-44AC-8655-05D46C5A3D8A}" dt="2023-06-04T12:24:46.125" v="7345" actId="1035"/>
          <ac:spMkLst>
            <pc:docMk/>
            <pc:sldMk cId="2967782731" sldId="230717674"/>
            <ac:spMk id="15" creationId="{D213C199-83AF-40BA-B97C-E34AF0304BCE}"/>
          </ac:spMkLst>
        </pc:spChg>
        <pc:spChg chg="del">
          <ac:chgData name="Manal El Bakkouri" userId="8b130982-2e3f-4164-b881-fd3a2e4b2453" providerId="ADAL" clId="{4457FA57-250B-44AC-8655-05D46C5A3D8A}" dt="2023-06-01T15:08:25.582" v="2002" actId="478"/>
          <ac:spMkLst>
            <pc:docMk/>
            <pc:sldMk cId="2967782731" sldId="230717674"/>
            <ac:spMk id="16" creationId="{D4CBE81A-5997-449C-AD15-81A4BB815EA2}"/>
          </ac:spMkLst>
        </pc:spChg>
        <pc:spChg chg="del">
          <ac:chgData name="Manal El Bakkouri" userId="8b130982-2e3f-4164-b881-fd3a2e4b2453" providerId="ADAL" clId="{4457FA57-250B-44AC-8655-05D46C5A3D8A}" dt="2023-06-01T15:08:25.582" v="2002" actId="478"/>
          <ac:spMkLst>
            <pc:docMk/>
            <pc:sldMk cId="2967782731" sldId="230717674"/>
            <ac:spMk id="18" creationId="{7670BCDF-CEC6-4C27-B5A6-1B8F64FC71E1}"/>
          </ac:spMkLst>
        </pc:spChg>
        <pc:spChg chg="del">
          <ac:chgData name="Manal El Bakkouri" userId="8b130982-2e3f-4164-b881-fd3a2e4b2453" providerId="ADAL" clId="{4457FA57-250B-44AC-8655-05D46C5A3D8A}" dt="2023-06-01T15:08:25.582" v="2002" actId="478"/>
          <ac:spMkLst>
            <pc:docMk/>
            <pc:sldMk cId="2967782731" sldId="230717674"/>
            <ac:spMk id="19" creationId="{72B59FA4-0802-48F5-BA7F-065E8A03961D}"/>
          </ac:spMkLst>
        </pc:spChg>
        <pc:spChg chg="mod">
          <ac:chgData name="Manal El Bakkouri" userId="8b130982-2e3f-4164-b881-fd3a2e4b2453" providerId="ADAL" clId="{4457FA57-250B-44AC-8655-05D46C5A3D8A}" dt="2023-06-01T14:49:56.696" v="1842" actId="1036"/>
          <ac:spMkLst>
            <pc:docMk/>
            <pc:sldMk cId="2967782731" sldId="230717674"/>
            <ac:spMk id="22" creationId="{0D0C5309-F83A-4860-9D17-D24A493C05A1}"/>
          </ac:spMkLst>
        </pc:spChg>
        <pc:spChg chg="mod">
          <ac:chgData name="Manal El Bakkouri" userId="8b130982-2e3f-4164-b881-fd3a2e4b2453" providerId="ADAL" clId="{4457FA57-250B-44AC-8655-05D46C5A3D8A}" dt="2023-06-01T14:49:56.696" v="1842" actId="1036"/>
          <ac:spMkLst>
            <pc:docMk/>
            <pc:sldMk cId="2967782731" sldId="230717674"/>
            <ac:spMk id="23" creationId="{A70DBA07-D5F2-43EF-B334-8B1431D05AAB}"/>
          </ac:spMkLst>
        </pc:spChg>
        <pc:spChg chg="mod">
          <ac:chgData name="Manal El Bakkouri" userId="8b130982-2e3f-4164-b881-fd3a2e4b2453" providerId="ADAL" clId="{4457FA57-250B-44AC-8655-05D46C5A3D8A}" dt="2023-06-01T14:49:56.696" v="1842" actId="1036"/>
          <ac:spMkLst>
            <pc:docMk/>
            <pc:sldMk cId="2967782731" sldId="230717674"/>
            <ac:spMk id="24" creationId="{9EAC6E4D-6834-4F35-A640-C1861877EAE1}"/>
          </ac:spMkLst>
        </pc:spChg>
        <pc:spChg chg="mod">
          <ac:chgData name="Manal El Bakkouri" userId="8b130982-2e3f-4164-b881-fd3a2e4b2453" providerId="ADAL" clId="{4457FA57-250B-44AC-8655-05D46C5A3D8A}" dt="2023-06-01T14:49:56.696" v="1842" actId="1036"/>
          <ac:spMkLst>
            <pc:docMk/>
            <pc:sldMk cId="2967782731" sldId="230717674"/>
            <ac:spMk id="25" creationId="{14420E86-50FA-4E93-9D4A-01075C39826C}"/>
          </ac:spMkLst>
        </pc:spChg>
        <pc:spChg chg="mod">
          <ac:chgData name="Manal El Bakkouri" userId="8b130982-2e3f-4164-b881-fd3a2e4b2453" providerId="ADAL" clId="{4457FA57-250B-44AC-8655-05D46C5A3D8A}" dt="2023-06-01T14:49:56.696" v="1842" actId="1036"/>
          <ac:spMkLst>
            <pc:docMk/>
            <pc:sldMk cId="2967782731" sldId="230717674"/>
            <ac:spMk id="26" creationId="{43FAC0E7-0975-4C6C-9905-4FEEB2529D81}"/>
          </ac:spMkLst>
        </pc:spChg>
        <pc:spChg chg="mod">
          <ac:chgData name="Manal El Bakkouri" userId="8b130982-2e3f-4164-b881-fd3a2e4b2453" providerId="ADAL" clId="{4457FA57-250B-44AC-8655-05D46C5A3D8A}" dt="2023-06-01T14:49:56.696" v="1842" actId="1036"/>
          <ac:spMkLst>
            <pc:docMk/>
            <pc:sldMk cId="2967782731" sldId="230717674"/>
            <ac:spMk id="27" creationId="{FD3226DC-9B7E-4B7E-9629-1C1E5E83DCC8}"/>
          </ac:spMkLst>
        </pc:spChg>
        <pc:spChg chg="mod">
          <ac:chgData name="Manal El Bakkouri" userId="8b130982-2e3f-4164-b881-fd3a2e4b2453" providerId="ADAL" clId="{4457FA57-250B-44AC-8655-05D46C5A3D8A}" dt="2023-06-01T14:49:56.696" v="1842" actId="1036"/>
          <ac:spMkLst>
            <pc:docMk/>
            <pc:sldMk cId="2967782731" sldId="230717674"/>
            <ac:spMk id="28" creationId="{8149DA42-4B10-4FAB-B6BC-599753200AE0}"/>
          </ac:spMkLst>
        </pc:spChg>
        <pc:spChg chg="mod">
          <ac:chgData name="Manal El Bakkouri" userId="8b130982-2e3f-4164-b881-fd3a2e4b2453" providerId="ADAL" clId="{4457FA57-250B-44AC-8655-05D46C5A3D8A}" dt="2023-06-01T14:49:56.696" v="1842" actId="1036"/>
          <ac:spMkLst>
            <pc:docMk/>
            <pc:sldMk cId="2967782731" sldId="230717674"/>
            <ac:spMk id="29" creationId="{D87AC368-5E8D-4C5D-A690-1695B23A39A6}"/>
          </ac:spMkLst>
        </pc:spChg>
        <pc:spChg chg="mod">
          <ac:chgData name="Manal El Bakkouri" userId="8b130982-2e3f-4164-b881-fd3a2e4b2453" providerId="ADAL" clId="{4457FA57-250B-44AC-8655-05D46C5A3D8A}" dt="2023-06-01T14:49:56.696" v="1842" actId="1036"/>
          <ac:spMkLst>
            <pc:docMk/>
            <pc:sldMk cId="2967782731" sldId="230717674"/>
            <ac:spMk id="30" creationId="{4CAFB29B-61D5-4AD3-83E4-850CFEC70359}"/>
          </ac:spMkLst>
        </pc:spChg>
        <pc:spChg chg="mod">
          <ac:chgData name="Manal El Bakkouri" userId="8b130982-2e3f-4164-b881-fd3a2e4b2453" providerId="ADAL" clId="{4457FA57-250B-44AC-8655-05D46C5A3D8A}" dt="2023-06-01T14:49:56.696" v="1842" actId="1036"/>
          <ac:spMkLst>
            <pc:docMk/>
            <pc:sldMk cId="2967782731" sldId="230717674"/>
            <ac:spMk id="31" creationId="{CA6FADFD-D006-45DF-A9EE-D15299FA75D2}"/>
          </ac:spMkLst>
        </pc:spChg>
        <pc:spChg chg="mod">
          <ac:chgData name="Manal El Bakkouri" userId="8b130982-2e3f-4164-b881-fd3a2e4b2453" providerId="ADAL" clId="{4457FA57-250B-44AC-8655-05D46C5A3D8A}" dt="2023-06-01T14:49:56.696" v="1842" actId="1036"/>
          <ac:spMkLst>
            <pc:docMk/>
            <pc:sldMk cId="2967782731" sldId="230717674"/>
            <ac:spMk id="32" creationId="{67537B75-F248-45B2-BCEE-520A90AA8341}"/>
          </ac:spMkLst>
        </pc:spChg>
        <pc:spChg chg="mod">
          <ac:chgData name="Manal El Bakkouri" userId="8b130982-2e3f-4164-b881-fd3a2e4b2453" providerId="ADAL" clId="{4457FA57-250B-44AC-8655-05D46C5A3D8A}" dt="2023-06-01T14:49:56.696" v="1842" actId="1036"/>
          <ac:spMkLst>
            <pc:docMk/>
            <pc:sldMk cId="2967782731" sldId="230717674"/>
            <ac:spMk id="33" creationId="{27A178F2-D6AA-451B-96CF-513B5EEF99D0}"/>
          </ac:spMkLst>
        </pc:spChg>
        <pc:spChg chg="mod">
          <ac:chgData name="Manal El Bakkouri" userId="8b130982-2e3f-4164-b881-fd3a2e4b2453" providerId="ADAL" clId="{4457FA57-250B-44AC-8655-05D46C5A3D8A}" dt="2023-06-01T14:49:56.696" v="1842" actId="1036"/>
          <ac:spMkLst>
            <pc:docMk/>
            <pc:sldMk cId="2967782731" sldId="230717674"/>
            <ac:spMk id="34" creationId="{6DB9BA86-8B64-4A2B-A627-B6BC8541A885}"/>
          </ac:spMkLst>
        </pc:spChg>
        <pc:spChg chg="mod">
          <ac:chgData name="Manal El Bakkouri" userId="8b130982-2e3f-4164-b881-fd3a2e4b2453" providerId="ADAL" clId="{4457FA57-250B-44AC-8655-05D46C5A3D8A}" dt="2023-06-01T14:49:56.696" v="1842" actId="1036"/>
          <ac:spMkLst>
            <pc:docMk/>
            <pc:sldMk cId="2967782731" sldId="230717674"/>
            <ac:spMk id="35" creationId="{A614EEAB-2F3E-401A-A0E0-CBD9A7BDD57A}"/>
          </ac:spMkLst>
        </pc:spChg>
        <pc:spChg chg="mod">
          <ac:chgData name="Manal El Bakkouri" userId="8b130982-2e3f-4164-b881-fd3a2e4b2453" providerId="ADAL" clId="{4457FA57-250B-44AC-8655-05D46C5A3D8A}" dt="2023-06-01T14:49:56.696" v="1842" actId="1036"/>
          <ac:spMkLst>
            <pc:docMk/>
            <pc:sldMk cId="2967782731" sldId="230717674"/>
            <ac:spMk id="36" creationId="{4579FADF-A6C9-4592-81DF-2D5FD935C04A}"/>
          </ac:spMkLst>
        </pc:spChg>
        <pc:spChg chg="mod">
          <ac:chgData name="Manal El Bakkouri" userId="8b130982-2e3f-4164-b881-fd3a2e4b2453" providerId="ADAL" clId="{4457FA57-250B-44AC-8655-05D46C5A3D8A}" dt="2023-06-01T14:49:56.696" v="1842" actId="1036"/>
          <ac:spMkLst>
            <pc:docMk/>
            <pc:sldMk cId="2967782731" sldId="230717674"/>
            <ac:spMk id="37" creationId="{A9392D5C-4EA2-4C91-A852-B28574B519F7}"/>
          </ac:spMkLst>
        </pc:spChg>
        <pc:spChg chg="mod">
          <ac:chgData name="Manal El Bakkouri" userId="8b130982-2e3f-4164-b881-fd3a2e4b2453" providerId="ADAL" clId="{4457FA57-250B-44AC-8655-05D46C5A3D8A}" dt="2023-06-01T14:49:56.696" v="1842" actId="1036"/>
          <ac:spMkLst>
            <pc:docMk/>
            <pc:sldMk cId="2967782731" sldId="230717674"/>
            <ac:spMk id="39" creationId="{EE223592-63FF-40A3-A7D7-6AD3840944C0}"/>
          </ac:spMkLst>
        </pc:spChg>
        <pc:spChg chg="mod">
          <ac:chgData name="Manal El Bakkouri" userId="8b130982-2e3f-4164-b881-fd3a2e4b2453" providerId="ADAL" clId="{4457FA57-250B-44AC-8655-05D46C5A3D8A}" dt="2023-06-01T14:49:56.696" v="1842" actId="1036"/>
          <ac:spMkLst>
            <pc:docMk/>
            <pc:sldMk cId="2967782731" sldId="230717674"/>
            <ac:spMk id="40" creationId="{B0856E33-7628-4EEB-B984-3B3C0E60506B}"/>
          </ac:spMkLst>
        </pc:spChg>
        <pc:spChg chg="mod">
          <ac:chgData name="Manal El Bakkouri" userId="8b130982-2e3f-4164-b881-fd3a2e4b2453" providerId="ADAL" clId="{4457FA57-250B-44AC-8655-05D46C5A3D8A}" dt="2023-06-01T14:49:56.696" v="1842" actId="1036"/>
          <ac:spMkLst>
            <pc:docMk/>
            <pc:sldMk cId="2967782731" sldId="230717674"/>
            <ac:spMk id="41" creationId="{2C14F23B-A840-4910-8A46-46DCC2D24D9A}"/>
          </ac:spMkLst>
        </pc:spChg>
        <pc:spChg chg="mod">
          <ac:chgData name="Manal El Bakkouri" userId="8b130982-2e3f-4164-b881-fd3a2e4b2453" providerId="ADAL" clId="{4457FA57-250B-44AC-8655-05D46C5A3D8A}" dt="2023-06-01T14:49:56.696" v="1842" actId="1036"/>
          <ac:spMkLst>
            <pc:docMk/>
            <pc:sldMk cId="2967782731" sldId="230717674"/>
            <ac:spMk id="42" creationId="{3075A804-1337-4BA2-BCFB-488409C7EF3D}"/>
          </ac:spMkLst>
        </pc:spChg>
        <pc:spChg chg="mod">
          <ac:chgData name="Manal El Bakkouri" userId="8b130982-2e3f-4164-b881-fd3a2e4b2453" providerId="ADAL" clId="{4457FA57-250B-44AC-8655-05D46C5A3D8A}" dt="2023-06-01T14:49:56.696" v="1842" actId="1036"/>
          <ac:spMkLst>
            <pc:docMk/>
            <pc:sldMk cId="2967782731" sldId="230717674"/>
            <ac:spMk id="43" creationId="{7B367BD7-C6CF-4F71-8ED7-3D0BCDE551AC}"/>
          </ac:spMkLst>
        </pc:spChg>
        <pc:spChg chg="mod">
          <ac:chgData name="Manal El Bakkouri" userId="8b130982-2e3f-4164-b881-fd3a2e4b2453" providerId="ADAL" clId="{4457FA57-250B-44AC-8655-05D46C5A3D8A}" dt="2023-06-01T14:49:56.696" v="1842" actId="1036"/>
          <ac:spMkLst>
            <pc:docMk/>
            <pc:sldMk cId="2967782731" sldId="230717674"/>
            <ac:spMk id="44" creationId="{EDC23A94-E091-4250-873B-378A0886EBFD}"/>
          </ac:spMkLst>
        </pc:spChg>
        <pc:spChg chg="mod">
          <ac:chgData name="Manal El Bakkouri" userId="8b130982-2e3f-4164-b881-fd3a2e4b2453" providerId="ADAL" clId="{4457FA57-250B-44AC-8655-05D46C5A3D8A}" dt="2023-06-01T14:49:56.696" v="1842" actId="1036"/>
          <ac:spMkLst>
            <pc:docMk/>
            <pc:sldMk cId="2967782731" sldId="230717674"/>
            <ac:spMk id="45" creationId="{D0D57078-57BE-4CC9-A808-839FA0CA2514}"/>
          </ac:spMkLst>
        </pc:spChg>
        <pc:spChg chg="mod">
          <ac:chgData name="Manal El Bakkouri" userId="8b130982-2e3f-4164-b881-fd3a2e4b2453" providerId="ADAL" clId="{4457FA57-250B-44AC-8655-05D46C5A3D8A}" dt="2023-06-01T14:49:56.696" v="1842" actId="1036"/>
          <ac:spMkLst>
            <pc:docMk/>
            <pc:sldMk cId="2967782731" sldId="230717674"/>
            <ac:spMk id="46" creationId="{CC3888BD-1EF8-4E71-8305-0B198B5E59C6}"/>
          </ac:spMkLst>
        </pc:spChg>
        <pc:spChg chg="mod">
          <ac:chgData name="Manal El Bakkouri" userId="8b130982-2e3f-4164-b881-fd3a2e4b2453" providerId="ADAL" clId="{4457FA57-250B-44AC-8655-05D46C5A3D8A}" dt="2023-06-01T14:49:56.696" v="1842" actId="1036"/>
          <ac:spMkLst>
            <pc:docMk/>
            <pc:sldMk cId="2967782731" sldId="230717674"/>
            <ac:spMk id="48" creationId="{104D64ED-23F6-4737-B31B-46C2A7BFF853}"/>
          </ac:spMkLst>
        </pc:spChg>
        <pc:spChg chg="mod">
          <ac:chgData name="Manal El Bakkouri" userId="8b130982-2e3f-4164-b881-fd3a2e4b2453" providerId="ADAL" clId="{4457FA57-250B-44AC-8655-05D46C5A3D8A}" dt="2023-06-01T14:49:56.696" v="1842" actId="1036"/>
          <ac:spMkLst>
            <pc:docMk/>
            <pc:sldMk cId="2967782731" sldId="230717674"/>
            <ac:spMk id="49" creationId="{9C2EA717-192E-47E9-99A3-A29D52324214}"/>
          </ac:spMkLst>
        </pc:spChg>
        <pc:spChg chg="mod">
          <ac:chgData name="Manal El Bakkouri" userId="8b130982-2e3f-4164-b881-fd3a2e4b2453" providerId="ADAL" clId="{4457FA57-250B-44AC-8655-05D46C5A3D8A}" dt="2023-06-01T14:49:56.696" v="1842" actId="1036"/>
          <ac:spMkLst>
            <pc:docMk/>
            <pc:sldMk cId="2967782731" sldId="230717674"/>
            <ac:spMk id="50" creationId="{2A0B2DE7-0405-4D2D-B516-43C433166B64}"/>
          </ac:spMkLst>
        </pc:spChg>
        <pc:spChg chg="mod">
          <ac:chgData name="Manal El Bakkouri" userId="8b130982-2e3f-4164-b881-fd3a2e4b2453" providerId="ADAL" clId="{4457FA57-250B-44AC-8655-05D46C5A3D8A}" dt="2023-06-01T14:49:56.696" v="1842" actId="1036"/>
          <ac:spMkLst>
            <pc:docMk/>
            <pc:sldMk cId="2967782731" sldId="230717674"/>
            <ac:spMk id="51" creationId="{591DF425-9B9B-4D80-8D58-F1FF982512F4}"/>
          </ac:spMkLst>
        </pc:spChg>
        <pc:spChg chg="mod">
          <ac:chgData name="Manal El Bakkouri" userId="8b130982-2e3f-4164-b881-fd3a2e4b2453" providerId="ADAL" clId="{4457FA57-250B-44AC-8655-05D46C5A3D8A}" dt="2023-06-01T14:49:56.696" v="1842" actId="1036"/>
          <ac:spMkLst>
            <pc:docMk/>
            <pc:sldMk cId="2967782731" sldId="230717674"/>
            <ac:spMk id="52" creationId="{75795A2E-4FE8-49DF-841B-D8F01E993F6C}"/>
          </ac:spMkLst>
        </pc:spChg>
        <pc:spChg chg="mod">
          <ac:chgData name="Manal El Bakkouri" userId="8b130982-2e3f-4164-b881-fd3a2e4b2453" providerId="ADAL" clId="{4457FA57-250B-44AC-8655-05D46C5A3D8A}" dt="2023-06-01T14:49:56.696" v="1842" actId="1036"/>
          <ac:spMkLst>
            <pc:docMk/>
            <pc:sldMk cId="2967782731" sldId="230717674"/>
            <ac:spMk id="53" creationId="{C051988C-9514-4043-B764-AEF4A60E7020}"/>
          </ac:spMkLst>
        </pc:spChg>
        <pc:spChg chg="mod">
          <ac:chgData name="Manal El Bakkouri" userId="8b130982-2e3f-4164-b881-fd3a2e4b2453" providerId="ADAL" clId="{4457FA57-250B-44AC-8655-05D46C5A3D8A}" dt="2023-06-01T14:49:56.696" v="1842" actId="1036"/>
          <ac:spMkLst>
            <pc:docMk/>
            <pc:sldMk cId="2967782731" sldId="230717674"/>
            <ac:spMk id="54" creationId="{D2F4BDC5-8828-404D-AF1A-34DB5154275A}"/>
          </ac:spMkLst>
        </pc:spChg>
        <pc:spChg chg="mod">
          <ac:chgData name="Manal El Bakkouri" userId="8b130982-2e3f-4164-b881-fd3a2e4b2453" providerId="ADAL" clId="{4457FA57-250B-44AC-8655-05D46C5A3D8A}" dt="2023-06-01T14:49:56.696" v="1842" actId="1036"/>
          <ac:spMkLst>
            <pc:docMk/>
            <pc:sldMk cId="2967782731" sldId="230717674"/>
            <ac:spMk id="55" creationId="{9AA0D385-0D7D-441E-9B1C-3C11C1DAA1FB}"/>
          </ac:spMkLst>
        </pc:spChg>
        <pc:spChg chg="mod">
          <ac:chgData name="Manal El Bakkouri" userId="8b130982-2e3f-4164-b881-fd3a2e4b2453" providerId="ADAL" clId="{4457FA57-250B-44AC-8655-05D46C5A3D8A}" dt="2023-06-01T14:49:56.696" v="1842" actId="1036"/>
          <ac:spMkLst>
            <pc:docMk/>
            <pc:sldMk cId="2967782731" sldId="230717674"/>
            <ac:spMk id="56" creationId="{D5CB128F-0FD4-42C7-A678-86BE9A46F0ED}"/>
          </ac:spMkLst>
        </pc:spChg>
        <pc:spChg chg="mod">
          <ac:chgData name="Manal El Bakkouri" userId="8b130982-2e3f-4164-b881-fd3a2e4b2453" providerId="ADAL" clId="{4457FA57-250B-44AC-8655-05D46C5A3D8A}" dt="2023-06-01T14:49:56.696" v="1842" actId="1036"/>
          <ac:spMkLst>
            <pc:docMk/>
            <pc:sldMk cId="2967782731" sldId="230717674"/>
            <ac:spMk id="57" creationId="{19A8821C-6CAD-4115-AB77-71298F7EAB0B}"/>
          </ac:spMkLst>
        </pc:spChg>
        <pc:spChg chg="mod">
          <ac:chgData name="Manal El Bakkouri" userId="8b130982-2e3f-4164-b881-fd3a2e4b2453" providerId="ADAL" clId="{4457FA57-250B-44AC-8655-05D46C5A3D8A}" dt="2023-06-01T14:49:56.696" v="1842" actId="1036"/>
          <ac:spMkLst>
            <pc:docMk/>
            <pc:sldMk cId="2967782731" sldId="230717674"/>
            <ac:spMk id="58" creationId="{1D31B3D8-5F75-405D-B635-F21F576AB890}"/>
          </ac:spMkLst>
        </pc:spChg>
        <pc:spChg chg="mod">
          <ac:chgData name="Manal El Bakkouri" userId="8b130982-2e3f-4164-b881-fd3a2e4b2453" providerId="ADAL" clId="{4457FA57-250B-44AC-8655-05D46C5A3D8A}" dt="2023-06-01T14:49:56.696" v="1842" actId="1036"/>
          <ac:spMkLst>
            <pc:docMk/>
            <pc:sldMk cId="2967782731" sldId="230717674"/>
            <ac:spMk id="59" creationId="{A8E6C66A-432C-403D-82E3-B878B1BF34EA}"/>
          </ac:spMkLst>
        </pc:spChg>
        <pc:spChg chg="mod">
          <ac:chgData name="Manal El Bakkouri" userId="8b130982-2e3f-4164-b881-fd3a2e4b2453" providerId="ADAL" clId="{4457FA57-250B-44AC-8655-05D46C5A3D8A}" dt="2023-06-01T14:49:56.696" v="1842" actId="1036"/>
          <ac:spMkLst>
            <pc:docMk/>
            <pc:sldMk cId="2967782731" sldId="230717674"/>
            <ac:spMk id="60" creationId="{327DDCE9-47A8-4E6D-AB21-0BD87D828EF8}"/>
          </ac:spMkLst>
        </pc:spChg>
        <pc:spChg chg="mod">
          <ac:chgData name="Manal El Bakkouri" userId="8b130982-2e3f-4164-b881-fd3a2e4b2453" providerId="ADAL" clId="{4457FA57-250B-44AC-8655-05D46C5A3D8A}" dt="2023-06-01T14:49:56.696" v="1842" actId="1036"/>
          <ac:spMkLst>
            <pc:docMk/>
            <pc:sldMk cId="2967782731" sldId="230717674"/>
            <ac:spMk id="61" creationId="{2782B6EA-7D19-45C5-84A8-1CB5E27C1CE7}"/>
          </ac:spMkLst>
        </pc:spChg>
        <pc:spChg chg="mod">
          <ac:chgData name="Manal El Bakkouri" userId="8b130982-2e3f-4164-b881-fd3a2e4b2453" providerId="ADAL" clId="{4457FA57-250B-44AC-8655-05D46C5A3D8A}" dt="2023-06-01T14:49:56.696" v="1842" actId="1036"/>
          <ac:spMkLst>
            <pc:docMk/>
            <pc:sldMk cId="2967782731" sldId="230717674"/>
            <ac:spMk id="62" creationId="{16023BE1-351C-44D0-AA49-E1C03FDCA1E8}"/>
          </ac:spMkLst>
        </pc:spChg>
        <pc:spChg chg="mod">
          <ac:chgData name="Manal El Bakkouri" userId="8b130982-2e3f-4164-b881-fd3a2e4b2453" providerId="ADAL" clId="{4457FA57-250B-44AC-8655-05D46C5A3D8A}" dt="2023-06-01T14:49:56.696" v="1842" actId="1036"/>
          <ac:spMkLst>
            <pc:docMk/>
            <pc:sldMk cId="2967782731" sldId="230717674"/>
            <ac:spMk id="63" creationId="{D78F5741-3DA4-4AD8-A511-EE5CC5789E56}"/>
          </ac:spMkLst>
        </pc:spChg>
        <pc:spChg chg="mod">
          <ac:chgData name="Manal El Bakkouri" userId="8b130982-2e3f-4164-b881-fd3a2e4b2453" providerId="ADAL" clId="{4457FA57-250B-44AC-8655-05D46C5A3D8A}" dt="2023-06-01T14:49:56.696" v="1842" actId="1036"/>
          <ac:spMkLst>
            <pc:docMk/>
            <pc:sldMk cId="2967782731" sldId="230717674"/>
            <ac:spMk id="64" creationId="{23AAC9DE-0FD3-42C6-B7DC-733BDCB503C8}"/>
          </ac:spMkLst>
        </pc:spChg>
        <pc:spChg chg="mod">
          <ac:chgData name="Manal El Bakkouri" userId="8b130982-2e3f-4164-b881-fd3a2e4b2453" providerId="ADAL" clId="{4457FA57-250B-44AC-8655-05D46C5A3D8A}" dt="2023-06-01T14:49:56.696" v="1842" actId="1036"/>
          <ac:spMkLst>
            <pc:docMk/>
            <pc:sldMk cId="2967782731" sldId="230717674"/>
            <ac:spMk id="65" creationId="{76BC0672-7758-462A-8DA5-73CB8606E36E}"/>
          </ac:spMkLst>
        </pc:spChg>
        <pc:spChg chg="mod">
          <ac:chgData name="Manal El Bakkouri" userId="8b130982-2e3f-4164-b881-fd3a2e4b2453" providerId="ADAL" clId="{4457FA57-250B-44AC-8655-05D46C5A3D8A}" dt="2023-06-01T14:49:56.696" v="1842" actId="1036"/>
          <ac:spMkLst>
            <pc:docMk/>
            <pc:sldMk cId="2967782731" sldId="230717674"/>
            <ac:spMk id="66" creationId="{91D2676C-4025-4C13-93B1-1C96A703C6FC}"/>
          </ac:spMkLst>
        </pc:spChg>
        <pc:spChg chg="mod">
          <ac:chgData name="Manal El Bakkouri" userId="8b130982-2e3f-4164-b881-fd3a2e4b2453" providerId="ADAL" clId="{4457FA57-250B-44AC-8655-05D46C5A3D8A}" dt="2023-06-01T14:49:56.696" v="1842" actId="1036"/>
          <ac:spMkLst>
            <pc:docMk/>
            <pc:sldMk cId="2967782731" sldId="230717674"/>
            <ac:spMk id="67" creationId="{527F44A3-5455-43E9-B573-CCF533DD6F60}"/>
          </ac:spMkLst>
        </pc:spChg>
        <pc:spChg chg="mod">
          <ac:chgData name="Manal El Bakkouri" userId="8b130982-2e3f-4164-b881-fd3a2e4b2453" providerId="ADAL" clId="{4457FA57-250B-44AC-8655-05D46C5A3D8A}" dt="2023-06-01T14:49:56.696" v="1842" actId="1036"/>
          <ac:spMkLst>
            <pc:docMk/>
            <pc:sldMk cId="2967782731" sldId="230717674"/>
            <ac:spMk id="68" creationId="{5E9E15DE-D7D2-49B3-A53C-E43C7371F2C8}"/>
          </ac:spMkLst>
        </pc:spChg>
        <pc:spChg chg="mod">
          <ac:chgData name="Manal El Bakkouri" userId="8b130982-2e3f-4164-b881-fd3a2e4b2453" providerId="ADAL" clId="{4457FA57-250B-44AC-8655-05D46C5A3D8A}" dt="2023-06-01T14:49:56.696" v="1842" actId="1036"/>
          <ac:spMkLst>
            <pc:docMk/>
            <pc:sldMk cId="2967782731" sldId="230717674"/>
            <ac:spMk id="69" creationId="{9F9BE0B3-B0B8-4953-B931-CAA57CAB30F5}"/>
          </ac:spMkLst>
        </pc:spChg>
        <pc:spChg chg="mod">
          <ac:chgData name="Manal El Bakkouri" userId="8b130982-2e3f-4164-b881-fd3a2e4b2453" providerId="ADAL" clId="{4457FA57-250B-44AC-8655-05D46C5A3D8A}" dt="2023-06-01T14:49:56.696" v="1842" actId="1036"/>
          <ac:spMkLst>
            <pc:docMk/>
            <pc:sldMk cId="2967782731" sldId="230717674"/>
            <ac:spMk id="70" creationId="{6D9BC7F7-773C-4CC1-B4C5-352191A1F40C}"/>
          </ac:spMkLst>
        </pc:spChg>
        <pc:spChg chg="mod">
          <ac:chgData name="Manal El Bakkouri" userId="8b130982-2e3f-4164-b881-fd3a2e4b2453" providerId="ADAL" clId="{4457FA57-250B-44AC-8655-05D46C5A3D8A}" dt="2023-06-01T14:49:56.696" v="1842" actId="1036"/>
          <ac:spMkLst>
            <pc:docMk/>
            <pc:sldMk cId="2967782731" sldId="230717674"/>
            <ac:spMk id="71" creationId="{F7E25C96-602C-4658-85F0-85EF229F8898}"/>
          </ac:spMkLst>
        </pc:spChg>
        <pc:spChg chg="mod">
          <ac:chgData name="Manal El Bakkouri" userId="8b130982-2e3f-4164-b881-fd3a2e4b2453" providerId="ADAL" clId="{4457FA57-250B-44AC-8655-05D46C5A3D8A}" dt="2023-06-01T14:49:56.696" v="1842" actId="1036"/>
          <ac:spMkLst>
            <pc:docMk/>
            <pc:sldMk cId="2967782731" sldId="230717674"/>
            <ac:spMk id="72" creationId="{531C2A42-BC02-48A9-A059-3A6D307E5577}"/>
          </ac:spMkLst>
        </pc:spChg>
        <pc:spChg chg="mod">
          <ac:chgData name="Manal El Bakkouri" userId="8b130982-2e3f-4164-b881-fd3a2e4b2453" providerId="ADAL" clId="{4457FA57-250B-44AC-8655-05D46C5A3D8A}" dt="2023-06-01T14:49:56.696" v="1842" actId="1036"/>
          <ac:spMkLst>
            <pc:docMk/>
            <pc:sldMk cId="2967782731" sldId="230717674"/>
            <ac:spMk id="73" creationId="{414439A9-42DE-4DB3-9088-78B7B31FEE3B}"/>
          </ac:spMkLst>
        </pc:spChg>
        <pc:spChg chg="mod">
          <ac:chgData name="Manal El Bakkouri" userId="8b130982-2e3f-4164-b881-fd3a2e4b2453" providerId="ADAL" clId="{4457FA57-250B-44AC-8655-05D46C5A3D8A}" dt="2023-06-01T14:49:56.696" v="1842" actId="1036"/>
          <ac:spMkLst>
            <pc:docMk/>
            <pc:sldMk cId="2967782731" sldId="230717674"/>
            <ac:spMk id="74" creationId="{5A785EE1-29CD-4BCB-A8D5-B318CDAA8A0A}"/>
          </ac:spMkLst>
        </pc:spChg>
        <pc:spChg chg="mod">
          <ac:chgData name="Manal El Bakkouri" userId="8b130982-2e3f-4164-b881-fd3a2e4b2453" providerId="ADAL" clId="{4457FA57-250B-44AC-8655-05D46C5A3D8A}" dt="2023-06-01T14:49:56.696" v="1842" actId="1036"/>
          <ac:spMkLst>
            <pc:docMk/>
            <pc:sldMk cId="2967782731" sldId="230717674"/>
            <ac:spMk id="75" creationId="{B29EE554-2AF9-4D52-80CF-E89D18BC36C7}"/>
          </ac:spMkLst>
        </pc:spChg>
        <pc:spChg chg="mod">
          <ac:chgData name="Manal El Bakkouri" userId="8b130982-2e3f-4164-b881-fd3a2e4b2453" providerId="ADAL" clId="{4457FA57-250B-44AC-8655-05D46C5A3D8A}" dt="2023-06-01T14:49:56.696" v="1842" actId="1036"/>
          <ac:spMkLst>
            <pc:docMk/>
            <pc:sldMk cId="2967782731" sldId="230717674"/>
            <ac:spMk id="78" creationId="{D7CD2E9F-38E8-4E39-A7C9-33A1ADFB4287}"/>
          </ac:spMkLst>
        </pc:spChg>
        <pc:spChg chg="mod">
          <ac:chgData name="Manal El Bakkouri" userId="8b130982-2e3f-4164-b881-fd3a2e4b2453" providerId="ADAL" clId="{4457FA57-250B-44AC-8655-05D46C5A3D8A}" dt="2023-06-01T14:49:56.696" v="1842" actId="1036"/>
          <ac:spMkLst>
            <pc:docMk/>
            <pc:sldMk cId="2967782731" sldId="230717674"/>
            <ac:spMk id="79" creationId="{5225F7A0-860A-4BF4-8646-6536E318CE0B}"/>
          </ac:spMkLst>
        </pc:spChg>
        <pc:spChg chg="mod">
          <ac:chgData name="Manal El Bakkouri" userId="8b130982-2e3f-4164-b881-fd3a2e4b2453" providerId="ADAL" clId="{4457FA57-250B-44AC-8655-05D46C5A3D8A}" dt="2023-06-01T14:49:56.696" v="1842" actId="1036"/>
          <ac:spMkLst>
            <pc:docMk/>
            <pc:sldMk cId="2967782731" sldId="230717674"/>
            <ac:spMk id="85" creationId="{02058D69-6C1A-47C4-AC7F-5063C7E9E86A}"/>
          </ac:spMkLst>
        </pc:spChg>
        <pc:spChg chg="mod">
          <ac:chgData name="Manal El Bakkouri" userId="8b130982-2e3f-4164-b881-fd3a2e4b2453" providerId="ADAL" clId="{4457FA57-250B-44AC-8655-05D46C5A3D8A}" dt="2023-06-01T14:49:56.696" v="1842" actId="1036"/>
          <ac:spMkLst>
            <pc:docMk/>
            <pc:sldMk cId="2967782731" sldId="230717674"/>
            <ac:spMk id="86" creationId="{ED3886E1-C4EC-46E2-907A-53D37E610BDA}"/>
          </ac:spMkLst>
        </pc:spChg>
        <pc:spChg chg="mod">
          <ac:chgData name="Manal El Bakkouri" userId="8b130982-2e3f-4164-b881-fd3a2e4b2453" providerId="ADAL" clId="{4457FA57-250B-44AC-8655-05D46C5A3D8A}" dt="2023-06-01T14:49:56.696" v="1842" actId="1036"/>
          <ac:spMkLst>
            <pc:docMk/>
            <pc:sldMk cId="2967782731" sldId="230717674"/>
            <ac:spMk id="87" creationId="{C6201B35-1C44-4A1A-B975-2D44538BBD6E}"/>
          </ac:spMkLst>
        </pc:spChg>
        <pc:spChg chg="mod">
          <ac:chgData name="Manal El Bakkouri" userId="8b130982-2e3f-4164-b881-fd3a2e4b2453" providerId="ADAL" clId="{4457FA57-250B-44AC-8655-05D46C5A3D8A}" dt="2023-06-01T14:49:56.696" v="1842" actId="1036"/>
          <ac:spMkLst>
            <pc:docMk/>
            <pc:sldMk cId="2967782731" sldId="230717674"/>
            <ac:spMk id="88" creationId="{79A6E942-0EA6-4BA2-9C73-2A7E2FD95500}"/>
          </ac:spMkLst>
        </pc:spChg>
        <pc:spChg chg="mod">
          <ac:chgData name="Manal El Bakkouri" userId="8b130982-2e3f-4164-b881-fd3a2e4b2453" providerId="ADAL" clId="{4457FA57-250B-44AC-8655-05D46C5A3D8A}" dt="2023-06-01T14:49:56.696" v="1842" actId="1036"/>
          <ac:spMkLst>
            <pc:docMk/>
            <pc:sldMk cId="2967782731" sldId="230717674"/>
            <ac:spMk id="89" creationId="{20B800E2-51B5-406B-B6A9-22FBE63A1D5D}"/>
          </ac:spMkLst>
        </pc:spChg>
        <pc:spChg chg="mod">
          <ac:chgData name="Manal El Bakkouri" userId="8b130982-2e3f-4164-b881-fd3a2e4b2453" providerId="ADAL" clId="{4457FA57-250B-44AC-8655-05D46C5A3D8A}" dt="2023-06-01T14:49:56.696" v="1842" actId="1036"/>
          <ac:spMkLst>
            <pc:docMk/>
            <pc:sldMk cId="2967782731" sldId="230717674"/>
            <ac:spMk id="90" creationId="{8946967C-39B0-4F55-8B1A-BE414D6ACB33}"/>
          </ac:spMkLst>
        </pc:spChg>
        <pc:spChg chg="mod">
          <ac:chgData name="Manal El Bakkouri" userId="8b130982-2e3f-4164-b881-fd3a2e4b2453" providerId="ADAL" clId="{4457FA57-250B-44AC-8655-05D46C5A3D8A}" dt="2023-06-01T14:49:56.696" v="1842" actId="1036"/>
          <ac:spMkLst>
            <pc:docMk/>
            <pc:sldMk cId="2967782731" sldId="230717674"/>
            <ac:spMk id="91" creationId="{3F84F896-1CD0-4B31-ABF6-CF6776532793}"/>
          </ac:spMkLst>
        </pc:spChg>
        <pc:spChg chg="mod">
          <ac:chgData name="Manal El Bakkouri" userId="8b130982-2e3f-4164-b881-fd3a2e4b2453" providerId="ADAL" clId="{4457FA57-250B-44AC-8655-05D46C5A3D8A}" dt="2023-06-01T14:49:56.696" v="1842" actId="1036"/>
          <ac:spMkLst>
            <pc:docMk/>
            <pc:sldMk cId="2967782731" sldId="230717674"/>
            <ac:spMk id="92" creationId="{E819E4D5-7F91-4DB1-B345-E050C4E1E405}"/>
          </ac:spMkLst>
        </pc:spChg>
        <pc:spChg chg="mod">
          <ac:chgData name="Manal El Bakkouri" userId="8b130982-2e3f-4164-b881-fd3a2e4b2453" providerId="ADAL" clId="{4457FA57-250B-44AC-8655-05D46C5A3D8A}" dt="2023-06-01T14:49:56.696" v="1842" actId="1036"/>
          <ac:spMkLst>
            <pc:docMk/>
            <pc:sldMk cId="2967782731" sldId="230717674"/>
            <ac:spMk id="93" creationId="{14A62F39-049B-406A-9423-63F68218BD1B}"/>
          </ac:spMkLst>
        </pc:spChg>
        <pc:spChg chg="mod">
          <ac:chgData name="Manal El Bakkouri" userId="8b130982-2e3f-4164-b881-fd3a2e4b2453" providerId="ADAL" clId="{4457FA57-250B-44AC-8655-05D46C5A3D8A}" dt="2023-06-01T14:49:56.696" v="1842" actId="1036"/>
          <ac:spMkLst>
            <pc:docMk/>
            <pc:sldMk cId="2967782731" sldId="230717674"/>
            <ac:spMk id="94" creationId="{D3C81889-4AC5-4F15-BC14-E3748165DD13}"/>
          </ac:spMkLst>
        </pc:spChg>
        <pc:spChg chg="mod">
          <ac:chgData name="Manal El Bakkouri" userId="8b130982-2e3f-4164-b881-fd3a2e4b2453" providerId="ADAL" clId="{4457FA57-250B-44AC-8655-05D46C5A3D8A}" dt="2023-06-01T14:49:56.696" v="1842" actId="1036"/>
          <ac:spMkLst>
            <pc:docMk/>
            <pc:sldMk cId="2967782731" sldId="230717674"/>
            <ac:spMk id="95" creationId="{1F143561-5342-4FC4-BDEB-8BC7D9835AAE}"/>
          </ac:spMkLst>
        </pc:spChg>
        <pc:spChg chg="mod">
          <ac:chgData name="Manal El Bakkouri" userId="8b130982-2e3f-4164-b881-fd3a2e4b2453" providerId="ADAL" clId="{4457FA57-250B-44AC-8655-05D46C5A3D8A}" dt="2023-06-01T14:49:56.696" v="1842" actId="1036"/>
          <ac:spMkLst>
            <pc:docMk/>
            <pc:sldMk cId="2967782731" sldId="230717674"/>
            <ac:spMk id="96" creationId="{EEB1FA40-535E-4681-A186-CEA49919D321}"/>
          </ac:spMkLst>
        </pc:spChg>
        <pc:spChg chg="mod">
          <ac:chgData name="Manal El Bakkouri" userId="8b130982-2e3f-4164-b881-fd3a2e4b2453" providerId="ADAL" clId="{4457FA57-250B-44AC-8655-05D46C5A3D8A}" dt="2023-06-01T14:49:56.696" v="1842" actId="1036"/>
          <ac:spMkLst>
            <pc:docMk/>
            <pc:sldMk cId="2967782731" sldId="230717674"/>
            <ac:spMk id="98" creationId="{AD763904-CEB3-438F-82AA-1C668D5A2D78}"/>
          </ac:spMkLst>
        </pc:spChg>
        <pc:spChg chg="mod">
          <ac:chgData name="Manal El Bakkouri" userId="8b130982-2e3f-4164-b881-fd3a2e4b2453" providerId="ADAL" clId="{4457FA57-250B-44AC-8655-05D46C5A3D8A}" dt="2023-06-01T14:49:56.696" v="1842" actId="1036"/>
          <ac:spMkLst>
            <pc:docMk/>
            <pc:sldMk cId="2967782731" sldId="230717674"/>
            <ac:spMk id="99" creationId="{14F092D8-2F17-4D65-9263-2FEC1BEF3833}"/>
          </ac:spMkLst>
        </pc:spChg>
        <pc:spChg chg="mod">
          <ac:chgData name="Manal El Bakkouri" userId="8b130982-2e3f-4164-b881-fd3a2e4b2453" providerId="ADAL" clId="{4457FA57-250B-44AC-8655-05D46C5A3D8A}" dt="2023-06-01T14:49:56.696" v="1842" actId="1036"/>
          <ac:spMkLst>
            <pc:docMk/>
            <pc:sldMk cId="2967782731" sldId="230717674"/>
            <ac:spMk id="100" creationId="{161A7066-4CF0-42B0-9340-0A1866F038C4}"/>
          </ac:spMkLst>
        </pc:spChg>
        <pc:spChg chg="mod">
          <ac:chgData name="Manal El Bakkouri" userId="8b130982-2e3f-4164-b881-fd3a2e4b2453" providerId="ADAL" clId="{4457FA57-250B-44AC-8655-05D46C5A3D8A}" dt="2023-06-01T14:49:56.696" v="1842" actId="1036"/>
          <ac:spMkLst>
            <pc:docMk/>
            <pc:sldMk cId="2967782731" sldId="230717674"/>
            <ac:spMk id="101" creationId="{D89FECCE-0B95-4F57-8EEF-30B36A5B16BC}"/>
          </ac:spMkLst>
        </pc:spChg>
        <pc:spChg chg="mod">
          <ac:chgData name="Manal El Bakkouri" userId="8b130982-2e3f-4164-b881-fd3a2e4b2453" providerId="ADAL" clId="{4457FA57-250B-44AC-8655-05D46C5A3D8A}" dt="2023-06-01T14:49:56.696" v="1842" actId="1036"/>
          <ac:spMkLst>
            <pc:docMk/>
            <pc:sldMk cId="2967782731" sldId="230717674"/>
            <ac:spMk id="102" creationId="{10AB4179-22DC-4D44-99B6-391A7134EEF6}"/>
          </ac:spMkLst>
        </pc:spChg>
        <pc:spChg chg="mod">
          <ac:chgData name="Manal El Bakkouri" userId="8b130982-2e3f-4164-b881-fd3a2e4b2453" providerId="ADAL" clId="{4457FA57-250B-44AC-8655-05D46C5A3D8A}" dt="2023-06-01T14:49:56.696" v="1842" actId="1036"/>
          <ac:spMkLst>
            <pc:docMk/>
            <pc:sldMk cId="2967782731" sldId="230717674"/>
            <ac:spMk id="103" creationId="{CEF21229-D30D-47DC-A71A-49436C36AE12}"/>
          </ac:spMkLst>
        </pc:spChg>
        <pc:spChg chg="mod">
          <ac:chgData name="Manal El Bakkouri" userId="8b130982-2e3f-4164-b881-fd3a2e4b2453" providerId="ADAL" clId="{4457FA57-250B-44AC-8655-05D46C5A3D8A}" dt="2023-06-01T14:49:56.696" v="1842" actId="1036"/>
          <ac:spMkLst>
            <pc:docMk/>
            <pc:sldMk cId="2967782731" sldId="230717674"/>
            <ac:spMk id="104" creationId="{603B7635-5200-4C5C-8B16-AF6970B82736}"/>
          </ac:spMkLst>
        </pc:spChg>
        <pc:spChg chg="add mod topLvl">
          <ac:chgData name="Manal El Bakkouri" userId="8b130982-2e3f-4164-b881-fd3a2e4b2453" providerId="ADAL" clId="{4457FA57-250B-44AC-8655-05D46C5A3D8A}" dt="2023-06-04T12:24:42.187" v="7340" actId="1035"/>
          <ac:spMkLst>
            <pc:docMk/>
            <pc:sldMk cId="2967782731" sldId="230717674"/>
            <ac:spMk id="105" creationId="{84F808D5-E799-443C-8D74-7B74612931CE}"/>
          </ac:spMkLst>
        </pc:spChg>
        <pc:spChg chg="add del mod">
          <ac:chgData name="Manal El Bakkouri" userId="8b130982-2e3f-4164-b881-fd3a2e4b2453" providerId="ADAL" clId="{4457FA57-250B-44AC-8655-05D46C5A3D8A}" dt="2023-06-09T11:29:43.582" v="21756" actId="478"/>
          <ac:spMkLst>
            <pc:docMk/>
            <pc:sldMk cId="2967782731" sldId="230717674"/>
            <ac:spMk id="110" creationId="{CF6A875B-C818-4B27-9DB8-99EC67AB3695}"/>
          </ac:spMkLst>
        </pc:spChg>
        <pc:spChg chg="add del mod">
          <ac:chgData name="Manal El Bakkouri" userId="8b130982-2e3f-4164-b881-fd3a2e4b2453" providerId="ADAL" clId="{4457FA57-250B-44AC-8655-05D46C5A3D8A}" dt="2023-06-09T11:29:43.582" v="21756" actId="478"/>
          <ac:spMkLst>
            <pc:docMk/>
            <pc:sldMk cId="2967782731" sldId="230717674"/>
            <ac:spMk id="111" creationId="{8CBF42A6-679C-40E0-B9FE-D83692A3A04A}"/>
          </ac:spMkLst>
        </pc:spChg>
        <pc:spChg chg="add del mod">
          <ac:chgData name="Manal El Bakkouri" userId="8b130982-2e3f-4164-b881-fd3a2e4b2453" providerId="ADAL" clId="{4457FA57-250B-44AC-8655-05D46C5A3D8A}" dt="2023-06-09T11:29:43.582" v="21756" actId="478"/>
          <ac:spMkLst>
            <pc:docMk/>
            <pc:sldMk cId="2967782731" sldId="230717674"/>
            <ac:spMk id="112" creationId="{21F5B556-35B2-4FB1-9B59-A69AA847F1B3}"/>
          </ac:spMkLst>
        </pc:spChg>
        <pc:spChg chg="add mod">
          <ac:chgData name="Manal El Bakkouri" userId="8b130982-2e3f-4164-b881-fd3a2e4b2453" providerId="ADAL" clId="{4457FA57-250B-44AC-8655-05D46C5A3D8A}" dt="2023-06-01T15:08:26.662" v="2003"/>
          <ac:spMkLst>
            <pc:docMk/>
            <pc:sldMk cId="2967782731" sldId="230717674"/>
            <ac:spMk id="113" creationId="{AF6930FB-7551-4297-B257-2E9F2B198D19}"/>
          </ac:spMkLst>
        </pc:spChg>
        <pc:spChg chg="add mod">
          <ac:chgData name="Manal El Bakkouri" userId="8b130982-2e3f-4164-b881-fd3a2e4b2453" providerId="ADAL" clId="{4457FA57-250B-44AC-8655-05D46C5A3D8A}" dt="2023-06-01T15:08:26.662" v="2003"/>
          <ac:spMkLst>
            <pc:docMk/>
            <pc:sldMk cId="2967782731" sldId="230717674"/>
            <ac:spMk id="115" creationId="{E82B954D-DDAD-44FB-A71C-A26EA2981A5D}"/>
          </ac:spMkLst>
        </pc:spChg>
        <pc:spChg chg="add mod">
          <ac:chgData name="Manal El Bakkouri" userId="8b130982-2e3f-4164-b881-fd3a2e4b2453" providerId="ADAL" clId="{4457FA57-250B-44AC-8655-05D46C5A3D8A}" dt="2023-06-01T15:08:26.662" v="2003"/>
          <ac:spMkLst>
            <pc:docMk/>
            <pc:sldMk cId="2967782731" sldId="230717674"/>
            <ac:spMk id="117" creationId="{1F14A46F-BFDC-4C11-A286-5DAAB9362AF3}"/>
          </ac:spMkLst>
        </pc:spChg>
        <pc:spChg chg="add mod">
          <ac:chgData name="Manal El Bakkouri" userId="8b130982-2e3f-4164-b881-fd3a2e4b2453" providerId="ADAL" clId="{4457FA57-250B-44AC-8655-05D46C5A3D8A}" dt="2023-06-01T15:08:26.662" v="2003"/>
          <ac:spMkLst>
            <pc:docMk/>
            <pc:sldMk cId="2967782731" sldId="230717674"/>
            <ac:spMk id="118" creationId="{2964A4D8-1D6E-44EE-A17D-3F496F0BE061}"/>
          </ac:spMkLst>
        </pc:spChg>
        <pc:spChg chg="add mod">
          <ac:chgData name="Manal El Bakkouri" userId="8b130982-2e3f-4164-b881-fd3a2e4b2453" providerId="ADAL" clId="{4457FA57-250B-44AC-8655-05D46C5A3D8A}" dt="2023-06-01T15:08:26.662" v="2003"/>
          <ac:spMkLst>
            <pc:docMk/>
            <pc:sldMk cId="2967782731" sldId="230717674"/>
            <ac:spMk id="119" creationId="{59CDF07D-71F6-46CB-B958-BDC4CAF7D508}"/>
          </ac:spMkLst>
        </pc:spChg>
        <pc:spChg chg="add mod">
          <ac:chgData name="Manal El Bakkouri" userId="8b130982-2e3f-4164-b881-fd3a2e4b2453" providerId="ADAL" clId="{4457FA57-250B-44AC-8655-05D46C5A3D8A}" dt="2023-06-01T15:08:26.662" v="2003"/>
          <ac:spMkLst>
            <pc:docMk/>
            <pc:sldMk cId="2967782731" sldId="230717674"/>
            <ac:spMk id="120" creationId="{88A59C8F-F1C6-4CCB-B533-1C48D4F15A05}"/>
          </ac:spMkLst>
        </pc:spChg>
        <pc:spChg chg="add mod">
          <ac:chgData name="Manal El Bakkouri" userId="8b130982-2e3f-4164-b881-fd3a2e4b2453" providerId="ADAL" clId="{4457FA57-250B-44AC-8655-05D46C5A3D8A}" dt="2023-06-04T13:11:13.380" v="7673" actId="20577"/>
          <ac:spMkLst>
            <pc:docMk/>
            <pc:sldMk cId="2967782731" sldId="230717674"/>
            <ac:spMk id="121" creationId="{02921F93-96BF-47BD-81C8-17C486CCDDAB}"/>
          </ac:spMkLst>
        </pc:spChg>
        <pc:spChg chg="add del mod">
          <ac:chgData name="Manal El Bakkouri" userId="8b130982-2e3f-4164-b881-fd3a2e4b2453" providerId="ADAL" clId="{4457FA57-250B-44AC-8655-05D46C5A3D8A}" dt="2023-06-09T11:29:41.839" v="21755"/>
          <ac:spMkLst>
            <pc:docMk/>
            <pc:sldMk cId="2967782731" sldId="230717674"/>
            <ac:spMk id="122" creationId="{CF77B6C2-6F2F-4F07-A256-750DF47B88D6}"/>
          </ac:spMkLst>
        </pc:spChg>
        <pc:spChg chg="add del mod">
          <ac:chgData name="Manal El Bakkouri" userId="8b130982-2e3f-4164-b881-fd3a2e4b2453" providerId="ADAL" clId="{4457FA57-250B-44AC-8655-05D46C5A3D8A}" dt="2023-06-09T11:29:41.839" v="21755"/>
          <ac:spMkLst>
            <pc:docMk/>
            <pc:sldMk cId="2967782731" sldId="230717674"/>
            <ac:spMk id="123" creationId="{E8ACE2D3-1815-4380-BF2B-4617B09E7449}"/>
          </ac:spMkLst>
        </pc:spChg>
        <pc:spChg chg="add del mod">
          <ac:chgData name="Manal El Bakkouri" userId="8b130982-2e3f-4164-b881-fd3a2e4b2453" providerId="ADAL" clId="{4457FA57-250B-44AC-8655-05D46C5A3D8A}" dt="2023-06-09T11:29:41.839" v="21755"/>
          <ac:spMkLst>
            <pc:docMk/>
            <pc:sldMk cId="2967782731" sldId="230717674"/>
            <ac:spMk id="124" creationId="{358E9F94-F30B-43D4-B363-8E04244BC5F6}"/>
          </ac:spMkLst>
        </pc:spChg>
        <pc:spChg chg="add del mod">
          <ac:chgData name="Manal El Bakkouri" userId="8b130982-2e3f-4164-b881-fd3a2e4b2453" providerId="ADAL" clId="{4457FA57-250B-44AC-8655-05D46C5A3D8A}" dt="2023-06-09T11:29:41.839" v="21755"/>
          <ac:spMkLst>
            <pc:docMk/>
            <pc:sldMk cId="2967782731" sldId="230717674"/>
            <ac:spMk id="125" creationId="{F7F398B3-B849-42E1-8728-16F772678754}"/>
          </ac:spMkLst>
        </pc:spChg>
        <pc:spChg chg="add mod">
          <ac:chgData name="Manal El Bakkouri" userId="8b130982-2e3f-4164-b881-fd3a2e4b2453" providerId="ADAL" clId="{4457FA57-250B-44AC-8655-05D46C5A3D8A}" dt="2023-06-09T11:29:44.294" v="21757"/>
          <ac:spMkLst>
            <pc:docMk/>
            <pc:sldMk cId="2967782731" sldId="230717674"/>
            <ac:spMk id="126" creationId="{705E6B0A-1DA6-403E-8BFD-28325761767B}"/>
          </ac:spMkLst>
        </pc:spChg>
        <pc:spChg chg="add mod">
          <ac:chgData name="Manal El Bakkouri" userId="8b130982-2e3f-4164-b881-fd3a2e4b2453" providerId="ADAL" clId="{4457FA57-250B-44AC-8655-05D46C5A3D8A}" dt="2023-06-09T11:29:44.294" v="21757"/>
          <ac:spMkLst>
            <pc:docMk/>
            <pc:sldMk cId="2967782731" sldId="230717674"/>
            <ac:spMk id="127" creationId="{6A99024D-105E-4007-9906-5BE014EF618F}"/>
          </ac:spMkLst>
        </pc:spChg>
        <pc:spChg chg="add mod">
          <ac:chgData name="Manal El Bakkouri" userId="8b130982-2e3f-4164-b881-fd3a2e4b2453" providerId="ADAL" clId="{4457FA57-250B-44AC-8655-05D46C5A3D8A}" dt="2023-06-09T11:29:44.294" v="21757"/>
          <ac:spMkLst>
            <pc:docMk/>
            <pc:sldMk cId="2967782731" sldId="230717674"/>
            <ac:spMk id="128" creationId="{88E33169-F35E-464E-A9C2-7BBF9AFB1E89}"/>
          </ac:spMkLst>
        </pc:spChg>
        <pc:spChg chg="add mod">
          <ac:chgData name="Manal El Bakkouri" userId="8b130982-2e3f-4164-b881-fd3a2e4b2453" providerId="ADAL" clId="{4457FA57-250B-44AC-8655-05D46C5A3D8A}" dt="2023-06-09T11:29:44.294" v="21757"/>
          <ac:spMkLst>
            <pc:docMk/>
            <pc:sldMk cId="2967782731" sldId="230717674"/>
            <ac:spMk id="129" creationId="{D36BA187-AC4B-441A-B144-458AC66A436D}"/>
          </ac:spMkLst>
        </pc:spChg>
        <pc:grpChg chg="add del mod">
          <ac:chgData name="Manal El Bakkouri" userId="8b130982-2e3f-4164-b881-fd3a2e4b2453" providerId="ADAL" clId="{4457FA57-250B-44AC-8655-05D46C5A3D8A}" dt="2023-06-04T12:24:40.524" v="7338" actId="165"/>
          <ac:grpSpMkLst>
            <pc:docMk/>
            <pc:sldMk cId="2967782731" sldId="230717674"/>
            <ac:grpSpMk id="17" creationId="{582BB546-F293-462D-A06F-669129A1FDF5}"/>
          </ac:grpSpMkLst>
        </pc:grpChg>
        <pc:grpChg chg="mod">
          <ac:chgData name="Manal El Bakkouri" userId="8b130982-2e3f-4164-b881-fd3a2e4b2453" providerId="ADAL" clId="{4457FA57-250B-44AC-8655-05D46C5A3D8A}" dt="2023-06-01T14:49:56.696" v="1842" actId="1036"/>
          <ac:grpSpMkLst>
            <pc:docMk/>
            <pc:sldMk cId="2967782731" sldId="230717674"/>
            <ac:grpSpMk id="21" creationId="{FA285611-BDDC-4E3A-95EC-1B5A3BBED2CF}"/>
          </ac:grpSpMkLst>
        </pc:grpChg>
        <pc:grpChg chg="mod">
          <ac:chgData name="Manal El Bakkouri" userId="8b130982-2e3f-4164-b881-fd3a2e4b2453" providerId="ADAL" clId="{4457FA57-250B-44AC-8655-05D46C5A3D8A}" dt="2023-06-01T14:49:56.696" v="1842" actId="1036"/>
          <ac:grpSpMkLst>
            <pc:docMk/>
            <pc:sldMk cId="2967782731" sldId="230717674"/>
            <ac:grpSpMk id="38" creationId="{9B067AA3-85C5-4DAD-869A-097E6C426828}"/>
          </ac:grpSpMkLst>
        </pc:grpChg>
        <pc:grpChg chg="mod">
          <ac:chgData name="Manal El Bakkouri" userId="8b130982-2e3f-4164-b881-fd3a2e4b2453" providerId="ADAL" clId="{4457FA57-250B-44AC-8655-05D46C5A3D8A}" dt="2023-06-01T14:49:56.696" v="1842" actId="1036"/>
          <ac:grpSpMkLst>
            <pc:docMk/>
            <pc:sldMk cId="2967782731" sldId="230717674"/>
            <ac:grpSpMk id="47" creationId="{00D9A43F-F4B6-42AD-AEF0-416A635CCBA6}"/>
          </ac:grpSpMkLst>
        </pc:grpChg>
        <pc:grpChg chg="mod">
          <ac:chgData name="Manal El Bakkouri" userId="8b130982-2e3f-4164-b881-fd3a2e4b2453" providerId="ADAL" clId="{4457FA57-250B-44AC-8655-05D46C5A3D8A}" dt="2023-06-01T14:49:56.696" v="1842" actId="1036"/>
          <ac:grpSpMkLst>
            <pc:docMk/>
            <pc:sldMk cId="2967782731" sldId="230717674"/>
            <ac:grpSpMk id="76" creationId="{525BAAE3-8ADC-45E1-8BE0-88C3FB4BBC56}"/>
          </ac:grpSpMkLst>
        </pc:grpChg>
        <pc:grpChg chg="mod">
          <ac:chgData name="Manal El Bakkouri" userId="8b130982-2e3f-4164-b881-fd3a2e4b2453" providerId="ADAL" clId="{4457FA57-250B-44AC-8655-05D46C5A3D8A}" dt="2023-06-01T14:49:56.696" v="1842" actId="1036"/>
          <ac:grpSpMkLst>
            <pc:docMk/>
            <pc:sldMk cId="2967782731" sldId="230717674"/>
            <ac:grpSpMk id="77" creationId="{79F0E37A-E275-4D96-BB22-B4951C48FD8F}"/>
          </ac:grpSpMkLst>
        </pc:grpChg>
        <pc:grpChg chg="mod">
          <ac:chgData name="Manal El Bakkouri" userId="8b130982-2e3f-4164-b881-fd3a2e4b2453" providerId="ADAL" clId="{4457FA57-250B-44AC-8655-05D46C5A3D8A}" dt="2023-06-01T14:49:56.696" v="1842" actId="1036"/>
          <ac:grpSpMkLst>
            <pc:docMk/>
            <pc:sldMk cId="2967782731" sldId="230717674"/>
            <ac:grpSpMk id="81" creationId="{4B3674FE-46FA-44F2-9F9B-8ACC90714508}"/>
          </ac:grpSpMkLst>
        </pc:grpChg>
        <pc:grpChg chg="mod">
          <ac:chgData name="Manal El Bakkouri" userId="8b130982-2e3f-4164-b881-fd3a2e4b2453" providerId="ADAL" clId="{4457FA57-250B-44AC-8655-05D46C5A3D8A}" dt="2023-06-01T14:49:56.696" v="1842" actId="1036"/>
          <ac:grpSpMkLst>
            <pc:docMk/>
            <pc:sldMk cId="2967782731" sldId="230717674"/>
            <ac:grpSpMk id="82" creationId="{683AFD9D-3F95-4A5A-8B8F-05344F399631}"/>
          </ac:grpSpMkLst>
        </pc:grpChg>
        <pc:grpChg chg="mod">
          <ac:chgData name="Manal El Bakkouri" userId="8b130982-2e3f-4164-b881-fd3a2e4b2453" providerId="ADAL" clId="{4457FA57-250B-44AC-8655-05D46C5A3D8A}" dt="2023-06-01T14:49:56.696" v="1842" actId="1036"/>
          <ac:grpSpMkLst>
            <pc:docMk/>
            <pc:sldMk cId="2967782731" sldId="230717674"/>
            <ac:grpSpMk id="83" creationId="{E6070819-F788-4E94-BF6E-7E26100EF2C4}"/>
          </ac:grpSpMkLst>
        </pc:grpChg>
        <pc:grpChg chg="mod">
          <ac:chgData name="Manal El Bakkouri" userId="8b130982-2e3f-4164-b881-fd3a2e4b2453" providerId="ADAL" clId="{4457FA57-250B-44AC-8655-05D46C5A3D8A}" dt="2023-06-01T14:49:56.696" v="1842" actId="1036"/>
          <ac:grpSpMkLst>
            <pc:docMk/>
            <pc:sldMk cId="2967782731" sldId="230717674"/>
            <ac:grpSpMk id="84" creationId="{860A7801-8E35-46CC-9020-DB52C8C212F8}"/>
          </ac:grpSpMkLst>
        </pc:grpChg>
        <pc:grpChg chg="mod">
          <ac:chgData name="Manal El Bakkouri" userId="8b130982-2e3f-4164-b881-fd3a2e4b2453" providerId="ADAL" clId="{4457FA57-250B-44AC-8655-05D46C5A3D8A}" dt="2023-06-01T14:54:18.635" v="1949" actId="1037"/>
          <ac:grpSpMkLst>
            <pc:docMk/>
            <pc:sldMk cId="2967782731" sldId="230717674"/>
            <ac:grpSpMk id="97" creationId="{7E46AF87-AFF8-4B6E-B66E-5AC3CFDDA11B}"/>
          </ac:grpSpMkLst>
        </pc:grpChg>
        <pc:grpChg chg="add mod">
          <ac:chgData name="Manal El Bakkouri" userId="8b130982-2e3f-4164-b881-fd3a2e4b2453" providerId="ADAL" clId="{4457FA57-250B-44AC-8655-05D46C5A3D8A}" dt="2023-06-02T14:03:22.388" v="4629"/>
          <ac:grpSpMkLst>
            <pc:docMk/>
            <pc:sldMk cId="2967782731" sldId="230717674"/>
            <ac:grpSpMk id="106" creationId="{E3E84233-8EEA-461E-A599-E2BE08D45417}"/>
          </ac:grpSpMkLst>
        </pc:grpChg>
        <pc:grpChg chg="mod">
          <ac:chgData name="Manal El Bakkouri" userId="8b130982-2e3f-4164-b881-fd3a2e4b2453" providerId="ADAL" clId="{4457FA57-250B-44AC-8655-05D46C5A3D8A}" dt="2023-06-01T14:49:56.696" v="1842" actId="1036"/>
          <ac:grpSpMkLst>
            <pc:docMk/>
            <pc:sldMk cId="2967782731" sldId="230717674"/>
            <ac:grpSpMk id="116" creationId="{8D472827-A91E-405E-B4C6-F62E3D91693A}"/>
          </ac:grpSpMkLst>
        </pc:grpChg>
        <pc:picChg chg="add mod ord">
          <ac:chgData name="Manal El Bakkouri" userId="8b130982-2e3f-4164-b881-fd3a2e4b2453" providerId="ADAL" clId="{4457FA57-250B-44AC-8655-05D46C5A3D8A}" dt="2023-06-01T14:49:56.696" v="1842" actId="1036"/>
          <ac:picMkLst>
            <pc:docMk/>
            <pc:sldMk cId="2967782731" sldId="230717674"/>
            <ac:picMk id="4" creationId="{5F911F2F-25A7-4CB0-964B-DBD176537CDC}"/>
          </ac:picMkLst>
        </pc:picChg>
        <pc:picChg chg="add mod ord">
          <ac:chgData name="Manal El Bakkouri" userId="8b130982-2e3f-4164-b881-fd3a2e4b2453" providerId="ADAL" clId="{4457FA57-250B-44AC-8655-05D46C5A3D8A}" dt="2023-06-01T14:49:56.696" v="1842" actId="1036"/>
          <ac:picMkLst>
            <pc:docMk/>
            <pc:sldMk cId="2967782731" sldId="230717674"/>
            <ac:picMk id="6" creationId="{701D2516-A1BB-439E-9D5B-B8ED88A07E82}"/>
          </ac:picMkLst>
        </pc:picChg>
        <pc:picChg chg="add mod ord">
          <ac:chgData name="Manal El Bakkouri" userId="8b130982-2e3f-4164-b881-fd3a2e4b2453" providerId="ADAL" clId="{4457FA57-250B-44AC-8655-05D46C5A3D8A}" dt="2023-06-01T14:49:56.696" v="1842" actId="1036"/>
          <ac:picMkLst>
            <pc:docMk/>
            <pc:sldMk cId="2967782731" sldId="230717674"/>
            <ac:picMk id="13" creationId="{D217BE0A-D1ED-4DB5-93A2-C7600B682457}"/>
          </ac:picMkLst>
        </pc:picChg>
        <pc:picChg chg="add del mod">
          <ac:chgData name="Manal El Bakkouri" userId="8b130982-2e3f-4164-b881-fd3a2e4b2453" providerId="ADAL" clId="{4457FA57-250B-44AC-8655-05D46C5A3D8A}" dt="2023-06-01T14:45:27.708" v="1730" actId="478"/>
          <ac:picMkLst>
            <pc:docMk/>
            <pc:sldMk cId="2967782731" sldId="230717674"/>
            <ac:picMk id="106" creationId="{B3DF3C81-F775-4866-8AC0-AA6B740F1077}"/>
          </ac:picMkLst>
        </pc:picChg>
        <pc:picChg chg="mod">
          <ac:chgData name="Manal El Bakkouri" userId="8b130982-2e3f-4164-b881-fd3a2e4b2453" providerId="ADAL" clId="{4457FA57-250B-44AC-8655-05D46C5A3D8A}" dt="2023-06-02T14:03:22.388" v="4629"/>
          <ac:picMkLst>
            <pc:docMk/>
            <pc:sldMk cId="2967782731" sldId="230717674"/>
            <ac:picMk id="107" creationId="{1EF7E97A-0C87-4AE1-8C76-027F4A6B2015}"/>
          </ac:picMkLst>
        </pc:picChg>
        <pc:picChg chg="add del mod">
          <ac:chgData name="Manal El Bakkouri" userId="8b130982-2e3f-4164-b881-fd3a2e4b2453" providerId="ADAL" clId="{4457FA57-250B-44AC-8655-05D46C5A3D8A}" dt="2023-06-01T14:49:31.660" v="1808" actId="478"/>
          <ac:picMkLst>
            <pc:docMk/>
            <pc:sldMk cId="2967782731" sldId="230717674"/>
            <ac:picMk id="107" creationId="{FC622C5F-5CCA-47C9-B567-2EA6DD80078A}"/>
          </ac:picMkLst>
        </pc:picChg>
        <pc:picChg chg="mod">
          <ac:chgData name="Manal El Bakkouri" userId="8b130982-2e3f-4164-b881-fd3a2e4b2453" providerId="ADAL" clId="{4457FA57-250B-44AC-8655-05D46C5A3D8A}" dt="2023-06-02T14:03:22.388" v="4629"/>
          <ac:picMkLst>
            <pc:docMk/>
            <pc:sldMk cId="2967782731" sldId="230717674"/>
            <ac:picMk id="108" creationId="{BC708925-46D0-4114-BC86-FAC4A85CDA8F}"/>
          </ac:picMkLst>
        </pc:picChg>
        <pc:picChg chg="add del mod">
          <ac:chgData name="Manal El Bakkouri" userId="8b130982-2e3f-4164-b881-fd3a2e4b2453" providerId="ADAL" clId="{4457FA57-250B-44AC-8655-05D46C5A3D8A}" dt="2023-06-01T14:46:11.855" v="1761" actId="478"/>
          <ac:picMkLst>
            <pc:docMk/>
            <pc:sldMk cId="2967782731" sldId="230717674"/>
            <ac:picMk id="108" creationId="{E3B66726-9088-4C83-BF1A-5D757149AAB7}"/>
          </ac:picMkLst>
        </pc:picChg>
        <pc:picChg chg="mod">
          <ac:chgData name="Manal El Bakkouri" userId="8b130982-2e3f-4164-b881-fd3a2e4b2453" providerId="ADAL" clId="{4457FA57-250B-44AC-8655-05D46C5A3D8A}" dt="2023-06-01T14:49:56.696" v="1842" actId="1036"/>
          <ac:picMkLst>
            <pc:docMk/>
            <pc:sldMk cId="2967782731" sldId="230717674"/>
            <ac:picMk id="109" creationId="{FD061C2C-ADA5-455B-9DFA-D389F30FC118}"/>
          </ac:picMkLst>
        </pc:picChg>
        <pc:picChg chg="mod">
          <ac:chgData name="Manal El Bakkouri" userId="8b130982-2e3f-4164-b881-fd3a2e4b2453" providerId="ADAL" clId="{4457FA57-250B-44AC-8655-05D46C5A3D8A}" dt="2023-06-01T14:49:56.696" v="1842" actId="1036"/>
          <ac:picMkLst>
            <pc:docMk/>
            <pc:sldMk cId="2967782731" sldId="230717674"/>
            <ac:picMk id="114" creationId="{0B9C056A-1EA4-4ADA-BD0C-B7C812F29443}"/>
          </ac:picMkLst>
        </pc:picChg>
      </pc:sldChg>
      <pc:sldChg chg="addSp delSp modSp new del mod modTransition">
        <pc:chgData name="Manal El Bakkouri" userId="8b130982-2e3f-4164-b881-fd3a2e4b2453" providerId="ADAL" clId="{4457FA57-250B-44AC-8655-05D46C5A3D8A}" dt="2023-06-01T20:34:27.887" v="3316" actId="2696"/>
        <pc:sldMkLst>
          <pc:docMk/>
          <pc:sldMk cId="3551530450" sldId="230717675"/>
        </pc:sldMkLst>
        <pc:spChg chg="del">
          <ac:chgData name="Manal El Bakkouri" userId="8b130982-2e3f-4164-b881-fd3a2e4b2453" providerId="ADAL" clId="{4457FA57-250B-44AC-8655-05D46C5A3D8A}" dt="2023-06-01T15:05:06.509" v="1964" actId="478"/>
          <ac:spMkLst>
            <pc:docMk/>
            <pc:sldMk cId="3551530450" sldId="230717675"/>
            <ac:spMk id="2" creationId="{5FCD2DC6-63B3-427C-A410-049A05437D26}"/>
          </ac:spMkLst>
        </pc:spChg>
        <pc:spChg chg="add mod">
          <ac:chgData name="Manal El Bakkouri" userId="8b130982-2e3f-4164-b881-fd3a2e4b2453" providerId="ADAL" clId="{4457FA57-250B-44AC-8655-05D46C5A3D8A}" dt="2023-06-01T19:13:47.034" v="2506" actId="1076"/>
          <ac:spMkLst>
            <pc:docMk/>
            <pc:sldMk cId="3551530450" sldId="230717675"/>
            <ac:spMk id="2" creationId="{CF6A968B-CB80-43F3-9D47-7E50BD5702DC}"/>
          </ac:spMkLst>
        </pc:spChg>
        <pc:spChg chg="del">
          <ac:chgData name="Manal El Bakkouri" userId="8b130982-2e3f-4164-b881-fd3a2e4b2453" providerId="ADAL" clId="{4457FA57-250B-44AC-8655-05D46C5A3D8A}" dt="2023-06-01T15:05:07.582" v="1965" actId="478"/>
          <ac:spMkLst>
            <pc:docMk/>
            <pc:sldMk cId="3551530450" sldId="230717675"/>
            <ac:spMk id="3" creationId="{674149DB-9DBE-4106-902C-20807A5790C0}"/>
          </ac:spMkLst>
        </pc:spChg>
        <pc:spChg chg="add del">
          <ac:chgData name="Manal El Bakkouri" userId="8b130982-2e3f-4164-b881-fd3a2e4b2453" providerId="ADAL" clId="{4457FA57-250B-44AC-8655-05D46C5A3D8A}" dt="2023-06-01T19:13:15.316" v="2498" actId="478"/>
          <ac:spMkLst>
            <pc:docMk/>
            <pc:sldMk cId="3551530450" sldId="230717675"/>
            <ac:spMk id="3" creationId="{C39C897C-C81E-45B7-892E-6663EB613D8A}"/>
          </ac:spMkLst>
        </pc:spChg>
        <pc:spChg chg="del">
          <ac:chgData name="Manal El Bakkouri" userId="8b130982-2e3f-4164-b881-fd3a2e4b2453" providerId="ADAL" clId="{4457FA57-250B-44AC-8655-05D46C5A3D8A}" dt="2023-06-01T15:05:08.769" v="1966" actId="478"/>
          <ac:spMkLst>
            <pc:docMk/>
            <pc:sldMk cId="3551530450" sldId="230717675"/>
            <ac:spMk id="4" creationId="{D9E8674C-0725-4DF7-A4AB-098058275AE1}"/>
          </ac:spMkLst>
        </pc:spChg>
        <pc:spChg chg="add del mod">
          <ac:chgData name="Manal El Bakkouri" userId="8b130982-2e3f-4164-b881-fd3a2e4b2453" providerId="ADAL" clId="{4457FA57-250B-44AC-8655-05D46C5A3D8A}" dt="2023-06-01T15:08:31.318" v="2004" actId="478"/>
          <ac:spMkLst>
            <pc:docMk/>
            <pc:sldMk cId="3551530450" sldId="230717675"/>
            <ac:spMk id="5" creationId="{0411A64B-C40E-46DF-AAF0-3FEA562E904B}"/>
          </ac:spMkLst>
        </pc:spChg>
        <pc:spChg chg="add del mod">
          <ac:chgData name="Manal El Bakkouri" userId="8b130982-2e3f-4164-b881-fd3a2e4b2453" providerId="ADAL" clId="{4457FA57-250B-44AC-8655-05D46C5A3D8A}" dt="2023-06-01T15:08:31.318" v="2004" actId="478"/>
          <ac:spMkLst>
            <pc:docMk/>
            <pc:sldMk cId="3551530450" sldId="230717675"/>
            <ac:spMk id="6" creationId="{775A4863-C5A6-49F5-A508-9061191C285B}"/>
          </ac:spMkLst>
        </pc:spChg>
        <pc:spChg chg="add del mod">
          <ac:chgData name="Manal El Bakkouri" userId="8b130982-2e3f-4164-b881-fd3a2e4b2453" providerId="ADAL" clId="{4457FA57-250B-44AC-8655-05D46C5A3D8A}" dt="2023-06-01T15:08:31.318" v="2004" actId="478"/>
          <ac:spMkLst>
            <pc:docMk/>
            <pc:sldMk cId="3551530450" sldId="230717675"/>
            <ac:spMk id="7" creationId="{0329EF61-8B3C-46B8-A748-33050F56E265}"/>
          </ac:spMkLst>
        </pc:spChg>
        <pc:spChg chg="add del mod">
          <ac:chgData name="Manal El Bakkouri" userId="8b130982-2e3f-4164-b881-fd3a2e4b2453" providerId="ADAL" clId="{4457FA57-250B-44AC-8655-05D46C5A3D8A}" dt="2023-06-01T15:08:31.318" v="2004" actId="478"/>
          <ac:spMkLst>
            <pc:docMk/>
            <pc:sldMk cId="3551530450" sldId="230717675"/>
            <ac:spMk id="8" creationId="{5596D00A-E8E7-4D7F-A07F-1DBC069BBAC9}"/>
          </ac:spMkLst>
        </pc:spChg>
        <pc:spChg chg="add del mod">
          <ac:chgData name="Manal El Bakkouri" userId="8b130982-2e3f-4164-b881-fd3a2e4b2453" providerId="ADAL" clId="{4457FA57-250B-44AC-8655-05D46C5A3D8A}" dt="2023-06-01T15:08:31.318" v="2004" actId="478"/>
          <ac:spMkLst>
            <pc:docMk/>
            <pc:sldMk cId="3551530450" sldId="230717675"/>
            <ac:spMk id="9" creationId="{8A666E4E-DFCE-47E9-8C02-F3EBAC7BFC7B}"/>
          </ac:spMkLst>
        </pc:spChg>
        <pc:spChg chg="add del mod">
          <ac:chgData name="Manal El Bakkouri" userId="8b130982-2e3f-4164-b881-fd3a2e4b2453" providerId="ADAL" clId="{4457FA57-250B-44AC-8655-05D46C5A3D8A}" dt="2023-06-01T15:08:31.318" v="2004" actId="478"/>
          <ac:spMkLst>
            <pc:docMk/>
            <pc:sldMk cId="3551530450" sldId="230717675"/>
            <ac:spMk id="10" creationId="{D6502562-28BC-4868-9323-C7083F9243C9}"/>
          </ac:spMkLst>
        </pc:spChg>
        <pc:spChg chg="add del mod">
          <ac:chgData name="Manal El Bakkouri" userId="8b130982-2e3f-4164-b881-fd3a2e4b2453" providerId="ADAL" clId="{4457FA57-250B-44AC-8655-05D46C5A3D8A}" dt="2023-06-01T15:08:31.318" v="2004" actId="478"/>
          <ac:spMkLst>
            <pc:docMk/>
            <pc:sldMk cId="3551530450" sldId="230717675"/>
            <ac:spMk id="11" creationId="{D48D507E-956E-47E9-96A4-6D1CFE013771}"/>
          </ac:spMkLst>
        </pc:spChg>
        <pc:spChg chg="add del mod">
          <ac:chgData name="Manal El Bakkouri" userId="8b130982-2e3f-4164-b881-fd3a2e4b2453" providerId="ADAL" clId="{4457FA57-250B-44AC-8655-05D46C5A3D8A}" dt="2023-06-01T15:08:31.318" v="2004" actId="478"/>
          <ac:spMkLst>
            <pc:docMk/>
            <pc:sldMk cId="3551530450" sldId="230717675"/>
            <ac:spMk id="12" creationId="{351ED316-B6B3-440F-857F-7A2116A5554F}"/>
          </ac:spMkLst>
        </pc:spChg>
        <pc:spChg chg="add del mod">
          <ac:chgData name="Manal El Bakkouri" userId="8b130982-2e3f-4164-b881-fd3a2e4b2453" providerId="ADAL" clId="{4457FA57-250B-44AC-8655-05D46C5A3D8A}" dt="2023-06-01T20:34:14.950" v="3315" actId="478"/>
          <ac:spMkLst>
            <pc:docMk/>
            <pc:sldMk cId="3551530450" sldId="230717675"/>
            <ac:spMk id="13" creationId="{58D01D22-B74F-4F68-A946-3479DCE31B62}"/>
          </ac:spMkLst>
        </pc:spChg>
        <pc:spChg chg="add del mod">
          <ac:chgData name="Manal El Bakkouri" userId="8b130982-2e3f-4164-b881-fd3a2e4b2453" providerId="ADAL" clId="{4457FA57-250B-44AC-8655-05D46C5A3D8A}" dt="2023-06-01T15:08:31.318" v="2004" actId="478"/>
          <ac:spMkLst>
            <pc:docMk/>
            <pc:sldMk cId="3551530450" sldId="230717675"/>
            <ac:spMk id="13" creationId="{5A36CB73-8F3C-4ACE-AB87-8CC3F5FE1D08}"/>
          </ac:spMkLst>
        </pc:spChg>
        <pc:spChg chg="add mod">
          <ac:chgData name="Manal El Bakkouri" userId="8b130982-2e3f-4164-b881-fd3a2e4b2453" providerId="ADAL" clId="{4457FA57-250B-44AC-8655-05D46C5A3D8A}" dt="2023-06-01T15:08:32.381" v="2005"/>
          <ac:spMkLst>
            <pc:docMk/>
            <pc:sldMk cId="3551530450" sldId="230717675"/>
            <ac:spMk id="14" creationId="{B08DFD07-6E33-4072-823A-52E54D4C1D97}"/>
          </ac:spMkLst>
        </pc:spChg>
        <pc:spChg chg="add mod">
          <ac:chgData name="Manal El Bakkouri" userId="8b130982-2e3f-4164-b881-fd3a2e4b2453" providerId="ADAL" clId="{4457FA57-250B-44AC-8655-05D46C5A3D8A}" dt="2023-06-01T15:08:32.381" v="2005"/>
          <ac:spMkLst>
            <pc:docMk/>
            <pc:sldMk cId="3551530450" sldId="230717675"/>
            <ac:spMk id="15" creationId="{FB7A3366-B924-45F5-A887-21AFF439AF4F}"/>
          </ac:spMkLst>
        </pc:spChg>
        <pc:spChg chg="add mod">
          <ac:chgData name="Manal El Bakkouri" userId="8b130982-2e3f-4164-b881-fd3a2e4b2453" providerId="ADAL" clId="{4457FA57-250B-44AC-8655-05D46C5A3D8A}" dt="2023-06-01T15:08:32.381" v="2005"/>
          <ac:spMkLst>
            <pc:docMk/>
            <pc:sldMk cId="3551530450" sldId="230717675"/>
            <ac:spMk id="16" creationId="{A8B90A34-D563-4612-8810-724F1BC01C39}"/>
          </ac:spMkLst>
        </pc:spChg>
        <pc:spChg chg="add mod">
          <ac:chgData name="Manal El Bakkouri" userId="8b130982-2e3f-4164-b881-fd3a2e4b2453" providerId="ADAL" clId="{4457FA57-250B-44AC-8655-05D46C5A3D8A}" dt="2023-06-01T15:08:56.501" v="2012" actId="207"/>
          <ac:spMkLst>
            <pc:docMk/>
            <pc:sldMk cId="3551530450" sldId="230717675"/>
            <ac:spMk id="17" creationId="{5DE8349A-DA28-4904-B6E3-7CC707607C41}"/>
          </ac:spMkLst>
        </pc:spChg>
        <pc:spChg chg="add mod">
          <ac:chgData name="Manal El Bakkouri" userId="8b130982-2e3f-4164-b881-fd3a2e4b2453" providerId="ADAL" clId="{4457FA57-250B-44AC-8655-05D46C5A3D8A}" dt="2023-06-01T15:08:32.381" v="2005"/>
          <ac:spMkLst>
            <pc:docMk/>
            <pc:sldMk cId="3551530450" sldId="230717675"/>
            <ac:spMk id="18" creationId="{B61F6727-9AC2-4F96-8507-9ED50E03DC1C}"/>
          </ac:spMkLst>
        </pc:spChg>
        <pc:spChg chg="add mod">
          <ac:chgData name="Manal El Bakkouri" userId="8b130982-2e3f-4164-b881-fd3a2e4b2453" providerId="ADAL" clId="{4457FA57-250B-44AC-8655-05D46C5A3D8A}" dt="2023-06-01T15:08:43.376" v="2008" actId="14100"/>
          <ac:spMkLst>
            <pc:docMk/>
            <pc:sldMk cId="3551530450" sldId="230717675"/>
            <ac:spMk id="19" creationId="{C1B13544-DAFE-440A-A255-339C2949B5C5}"/>
          </ac:spMkLst>
        </pc:spChg>
        <pc:spChg chg="add mod">
          <ac:chgData name="Manal El Bakkouri" userId="8b130982-2e3f-4164-b881-fd3a2e4b2453" providerId="ADAL" clId="{4457FA57-250B-44AC-8655-05D46C5A3D8A}" dt="2023-06-01T15:08:32.381" v="2005"/>
          <ac:spMkLst>
            <pc:docMk/>
            <pc:sldMk cId="3551530450" sldId="230717675"/>
            <ac:spMk id="20" creationId="{D0ED360C-E4E2-4306-BD64-0306EA18BF05}"/>
          </ac:spMkLst>
        </pc:spChg>
        <pc:spChg chg="add mod">
          <ac:chgData name="Manal El Bakkouri" userId="8b130982-2e3f-4164-b881-fd3a2e4b2453" providerId="ADAL" clId="{4457FA57-250B-44AC-8655-05D46C5A3D8A}" dt="2023-06-01T15:08:48.132" v="2010" actId="207"/>
          <ac:spMkLst>
            <pc:docMk/>
            <pc:sldMk cId="3551530450" sldId="230717675"/>
            <ac:spMk id="21" creationId="{432A98CC-DC8B-4D5C-A382-BFB64F138686}"/>
          </ac:spMkLst>
        </pc:spChg>
        <pc:spChg chg="add mod">
          <ac:chgData name="Manal El Bakkouri" userId="8b130982-2e3f-4164-b881-fd3a2e4b2453" providerId="ADAL" clId="{4457FA57-250B-44AC-8655-05D46C5A3D8A}" dt="2023-06-01T15:08:52.584" v="2011" actId="207"/>
          <ac:spMkLst>
            <pc:docMk/>
            <pc:sldMk cId="3551530450" sldId="230717675"/>
            <ac:spMk id="22" creationId="{CA615672-F678-45A9-ADEF-1E8E792352AB}"/>
          </ac:spMkLst>
        </pc:spChg>
        <pc:spChg chg="add del mod">
          <ac:chgData name="Manal El Bakkouri" userId="8b130982-2e3f-4164-b881-fd3a2e4b2453" providerId="ADAL" clId="{4457FA57-250B-44AC-8655-05D46C5A3D8A}" dt="2023-06-01T20:34:14.950" v="3315" actId="478"/>
          <ac:spMkLst>
            <pc:docMk/>
            <pc:sldMk cId="3551530450" sldId="230717675"/>
            <ac:spMk id="23" creationId="{4DE32E9C-6482-4CF1-8337-D0A9CB1FD129}"/>
          </ac:spMkLst>
        </pc:spChg>
        <pc:spChg chg="add del mod">
          <ac:chgData name="Manal El Bakkouri" userId="8b130982-2e3f-4164-b881-fd3a2e4b2453" providerId="ADAL" clId="{4457FA57-250B-44AC-8655-05D46C5A3D8A}" dt="2023-06-01T20:34:14.950" v="3315" actId="478"/>
          <ac:spMkLst>
            <pc:docMk/>
            <pc:sldMk cId="3551530450" sldId="230717675"/>
            <ac:spMk id="24" creationId="{92B445FE-FA6A-45CA-B4E4-2735E7116E06}"/>
          </ac:spMkLst>
        </pc:spChg>
        <pc:spChg chg="add del mod">
          <ac:chgData name="Manal El Bakkouri" userId="8b130982-2e3f-4164-b881-fd3a2e4b2453" providerId="ADAL" clId="{4457FA57-250B-44AC-8655-05D46C5A3D8A}" dt="2023-06-01T20:34:14.950" v="3315" actId="478"/>
          <ac:spMkLst>
            <pc:docMk/>
            <pc:sldMk cId="3551530450" sldId="230717675"/>
            <ac:spMk id="25" creationId="{C200A663-85B0-4816-8ADC-9EDD684C5600}"/>
          </ac:spMkLst>
        </pc:spChg>
        <pc:spChg chg="mod">
          <ac:chgData name="Manal El Bakkouri" userId="8b130982-2e3f-4164-b881-fd3a2e4b2453" providerId="ADAL" clId="{4457FA57-250B-44AC-8655-05D46C5A3D8A}" dt="2023-06-01T19:13:43.997" v="2505" actId="1076"/>
          <ac:spMkLst>
            <pc:docMk/>
            <pc:sldMk cId="3551530450" sldId="230717675"/>
            <ac:spMk id="27" creationId="{074B4DD4-991B-40F9-846E-F750D92B9FCE}"/>
          </ac:spMkLst>
        </pc:spChg>
        <pc:spChg chg="mod">
          <ac:chgData name="Manal El Bakkouri" userId="8b130982-2e3f-4164-b881-fd3a2e4b2453" providerId="ADAL" clId="{4457FA57-250B-44AC-8655-05D46C5A3D8A}" dt="2023-06-01T19:13:43.997" v="2505" actId="1076"/>
          <ac:spMkLst>
            <pc:docMk/>
            <pc:sldMk cId="3551530450" sldId="230717675"/>
            <ac:spMk id="28" creationId="{BFD54ADA-7062-4B0C-BFA1-FEDD4FCCEF0E}"/>
          </ac:spMkLst>
        </pc:spChg>
        <pc:spChg chg="mod">
          <ac:chgData name="Manal El Bakkouri" userId="8b130982-2e3f-4164-b881-fd3a2e4b2453" providerId="ADAL" clId="{4457FA57-250B-44AC-8655-05D46C5A3D8A}" dt="2023-06-01T19:13:43.997" v="2505" actId="1076"/>
          <ac:spMkLst>
            <pc:docMk/>
            <pc:sldMk cId="3551530450" sldId="230717675"/>
            <ac:spMk id="29" creationId="{517C48D3-BF96-4278-8F76-A2CE48B2207C}"/>
          </ac:spMkLst>
        </pc:spChg>
        <pc:spChg chg="mod">
          <ac:chgData name="Manal El Bakkouri" userId="8b130982-2e3f-4164-b881-fd3a2e4b2453" providerId="ADAL" clId="{4457FA57-250B-44AC-8655-05D46C5A3D8A}" dt="2023-06-01T19:13:43.997" v="2505" actId="1076"/>
          <ac:spMkLst>
            <pc:docMk/>
            <pc:sldMk cId="3551530450" sldId="230717675"/>
            <ac:spMk id="31" creationId="{F5152603-725B-4A22-BF66-359389929654}"/>
          </ac:spMkLst>
        </pc:spChg>
        <pc:spChg chg="mod">
          <ac:chgData name="Manal El Bakkouri" userId="8b130982-2e3f-4164-b881-fd3a2e4b2453" providerId="ADAL" clId="{4457FA57-250B-44AC-8655-05D46C5A3D8A}" dt="2023-06-01T19:13:43.997" v="2505" actId="1076"/>
          <ac:spMkLst>
            <pc:docMk/>
            <pc:sldMk cId="3551530450" sldId="230717675"/>
            <ac:spMk id="32" creationId="{5EB9E099-11DE-4984-A01D-F9821B4EFD64}"/>
          </ac:spMkLst>
        </pc:spChg>
        <pc:spChg chg="mod">
          <ac:chgData name="Manal El Bakkouri" userId="8b130982-2e3f-4164-b881-fd3a2e4b2453" providerId="ADAL" clId="{4457FA57-250B-44AC-8655-05D46C5A3D8A}" dt="2023-06-01T19:13:43.997" v="2505" actId="1076"/>
          <ac:spMkLst>
            <pc:docMk/>
            <pc:sldMk cId="3551530450" sldId="230717675"/>
            <ac:spMk id="33" creationId="{7AE0883A-83DA-45FE-9306-95866BC15988}"/>
          </ac:spMkLst>
        </pc:spChg>
        <pc:spChg chg="mod">
          <ac:chgData name="Manal El Bakkouri" userId="8b130982-2e3f-4164-b881-fd3a2e4b2453" providerId="ADAL" clId="{4457FA57-250B-44AC-8655-05D46C5A3D8A}" dt="2023-06-01T19:13:43.997" v="2505" actId="1076"/>
          <ac:spMkLst>
            <pc:docMk/>
            <pc:sldMk cId="3551530450" sldId="230717675"/>
            <ac:spMk id="34" creationId="{36C23BAC-0405-4CEA-BB2E-A0EB3A47552C}"/>
          </ac:spMkLst>
        </pc:spChg>
        <pc:spChg chg="mod">
          <ac:chgData name="Manal El Bakkouri" userId="8b130982-2e3f-4164-b881-fd3a2e4b2453" providerId="ADAL" clId="{4457FA57-250B-44AC-8655-05D46C5A3D8A}" dt="2023-06-01T19:13:43.997" v="2505" actId="1076"/>
          <ac:spMkLst>
            <pc:docMk/>
            <pc:sldMk cId="3551530450" sldId="230717675"/>
            <ac:spMk id="35" creationId="{39C6E888-A2FC-47F2-B2FF-839DA89A5700}"/>
          </ac:spMkLst>
        </pc:spChg>
        <pc:spChg chg="mod">
          <ac:chgData name="Manal El Bakkouri" userId="8b130982-2e3f-4164-b881-fd3a2e4b2453" providerId="ADAL" clId="{4457FA57-250B-44AC-8655-05D46C5A3D8A}" dt="2023-06-01T19:13:43.997" v="2505" actId="1076"/>
          <ac:spMkLst>
            <pc:docMk/>
            <pc:sldMk cId="3551530450" sldId="230717675"/>
            <ac:spMk id="36" creationId="{7F38B636-C942-4904-A4FC-E5581C1D6A32}"/>
          </ac:spMkLst>
        </pc:spChg>
        <pc:spChg chg="mod">
          <ac:chgData name="Manal El Bakkouri" userId="8b130982-2e3f-4164-b881-fd3a2e4b2453" providerId="ADAL" clId="{4457FA57-250B-44AC-8655-05D46C5A3D8A}" dt="2023-06-01T19:13:43.997" v="2505" actId="1076"/>
          <ac:spMkLst>
            <pc:docMk/>
            <pc:sldMk cId="3551530450" sldId="230717675"/>
            <ac:spMk id="37" creationId="{DAB6BC1F-F1D7-4D5D-9A96-5E00C47E1D09}"/>
          </ac:spMkLst>
        </pc:spChg>
        <pc:spChg chg="mod">
          <ac:chgData name="Manal El Bakkouri" userId="8b130982-2e3f-4164-b881-fd3a2e4b2453" providerId="ADAL" clId="{4457FA57-250B-44AC-8655-05D46C5A3D8A}" dt="2023-06-01T19:13:43.997" v="2505" actId="1076"/>
          <ac:spMkLst>
            <pc:docMk/>
            <pc:sldMk cId="3551530450" sldId="230717675"/>
            <ac:spMk id="38" creationId="{842209A6-61B5-4EB5-8E4F-1825292171CB}"/>
          </ac:spMkLst>
        </pc:spChg>
        <pc:spChg chg="mod">
          <ac:chgData name="Manal El Bakkouri" userId="8b130982-2e3f-4164-b881-fd3a2e4b2453" providerId="ADAL" clId="{4457FA57-250B-44AC-8655-05D46C5A3D8A}" dt="2023-06-01T19:13:43.997" v="2505" actId="1076"/>
          <ac:spMkLst>
            <pc:docMk/>
            <pc:sldMk cId="3551530450" sldId="230717675"/>
            <ac:spMk id="39" creationId="{4FFD1E72-E1BD-4070-95EE-6F24631E845C}"/>
          </ac:spMkLst>
        </pc:spChg>
        <pc:spChg chg="mod">
          <ac:chgData name="Manal El Bakkouri" userId="8b130982-2e3f-4164-b881-fd3a2e4b2453" providerId="ADAL" clId="{4457FA57-250B-44AC-8655-05D46C5A3D8A}" dt="2023-06-01T19:13:43.997" v="2505" actId="1076"/>
          <ac:spMkLst>
            <pc:docMk/>
            <pc:sldMk cId="3551530450" sldId="230717675"/>
            <ac:spMk id="40" creationId="{1313E3AA-14EC-4250-89C7-192A54DE5844}"/>
          </ac:spMkLst>
        </pc:spChg>
        <pc:spChg chg="mod">
          <ac:chgData name="Manal El Bakkouri" userId="8b130982-2e3f-4164-b881-fd3a2e4b2453" providerId="ADAL" clId="{4457FA57-250B-44AC-8655-05D46C5A3D8A}" dt="2023-06-01T19:13:43.997" v="2505" actId="1076"/>
          <ac:spMkLst>
            <pc:docMk/>
            <pc:sldMk cId="3551530450" sldId="230717675"/>
            <ac:spMk id="41" creationId="{885A1211-0FE4-4650-B18A-9F5444DDF02F}"/>
          </ac:spMkLst>
        </pc:spChg>
        <pc:spChg chg="mod">
          <ac:chgData name="Manal El Bakkouri" userId="8b130982-2e3f-4164-b881-fd3a2e4b2453" providerId="ADAL" clId="{4457FA57-250B-44AC-8655-05D46C5A3D8A}" dt="2023-06-01T19:13:43.997" v="2505" actId="1076"/>
          <ac:spMkLst>
            <pc:docMk/>
            <pc:sldMk cId="3551530450" sldId="230717675"/>
            <ac:spMk id="42" creationId="{9E9BC6C5-B8C7-4F2A-9E7F-5F9E63C05AEE}"/>
          </ac:spMkLst>
        </pc:spChg>
        <pc:spChg chg="mod">
          <ac:chgData name="Manal El Bakkouri" userId="8b130982-2e3f-4164-b881-fd3a2e4b2453" providerId="ADAL" clId="{4457FA57-250B-44AC-8655-05D46C5A3D8A}" dt="2023-06-01T19:13:43.997" v="2505" actId="1076"/>
          <ac:spMkLst>
            <pc:docMk/>
            <pc:sldMk cId="3551530450" sldId="230717675"/>
            <ac:spMk id="43" creationId="{DA5F580C-1E7C-4A09-B18E-123CE00D1E5F}"/>
          </ac:spMkLst>
        </pc:spChg>
        <pc:spChg chg="mod">
          <ac:chgData name="Manal El Bakkouri" userId="8b130982-2e3f-4164-b881-fd3a2e4b2453" providerId="ADAL" clId="{4457FA57-250B-44AC-8655-05D46C5A3D8A}" dt="2023-06-01T19:13:43.997" v="2505" actId="1076"/>
          <ac:spMkLst>
            <pc:docMk/>
            <pc:sldMk cId="3551530450" sldId="230717675"/>
            <ac:spMk id="44" creationId="{A86B69B9-FD52-4EE7-8301-EB975B1BE469}"/>
          </ac:spMkLst>
        </pc:spChg>
        <pc:spChg chg="mod">
          <ac:chgData name="Manal El Bakkouri" userId="8b130982-2e3f-4164-b881-fd3a2e4b2453" providerId="ADAL" clId="{4457FA57-250B-44AC-8655-05D46C5A3D8A}" dt="2023-06-01T19:13:43.997" v="2505" actId="1076"/>
          <ac:spMkLst>
            <pc:docMk/>
            <pc:sldMk cId="3551530450" sldId="230717675"/>
            <ac:spMk id="45" creationId="{57A57414-C23C-40DE-A2BF-94E88AB41F6E}"/>
          </ac:spMkLst>
        </pc:spChg>
        <pc:spChg chg="mod">
          <ac:chgData name="Manal El Bakkouri" userId="8b130982-2e3f-4164-b881-fd3a2e4b2453" providerId="ADAL" clId="{4457FA57-250B-44AC-8655-05D46C5A3D8A}" dt="2023-06-01T19:13:43.997" v="2505" actId="1076"/>
          <ac:spMkLst>
            <pc:docMk/>
            <pc:sldMk cId="3551530450" sldId="230717675"/>
            <ac:spMk id="46" creationId="{37F0ADA0-CFC7-4358-AFF5-F4B8067A894D}"/>
          </ac:spMkLst>
        </pc:spChg>
        <pc:spChg chg="mod">
          <ac:chgData name="Manal El Bakkouri" userId="8b130982-2e3f-4164-b881-fd3a2e4b2453" providerId="ADAL" clId="{4457FA57-250B-44AC-8655-05D46C5A3D8A}" dt="2023-06-01T19:13:43.997" v="2505" actId="1076"/>
          <ac:spMkLst>
            <pc:docMk/>
            <pc:sldMk cId="3551530450" sldId="230717675"/>
            <ac:spMk id="47" creationId="{0CDAC5AB-0E89-4C56-B3B8-781FF1E111FD}"/>
          </ac:spMkLst>
        </pc:spChg>
        <pc:spChg chg="mod">
          <ac:chgData name="Manal El Bakkouri" userId="8b130982-2e3f-4164-b881-fd3a2e4b2453" providerId="ADAL" clId="{4457FA57-250B-44AC-8655-05D46C5A3D8A}" dt="2023-06-01T19:13:43.997" v="2505" actId="1076"/>
          <ac:spMkLst>
            <pc:docMk/>
            <pc:sldMk cId="3551530450" sldId="230717675"/>
            <ac:spMk id="48" creationId="{030D447B-8D4E-4AA4-9DEF-E42D800AAF6C}"/>
          </ac:spMkLst>
        </pc:spChg>
        <pc:spChg chg="mod">
          <ac:chgData name="Manal El Bakkouri" userId="8b130982-2e3f-4164-b881-fd3a2e4b2453" providerId="ADAL" clId="{4457FA57-250B-44AC-8655-05D46C5A3D8A}" dt="2023-06-01T19:13:43.997" v="2505" actId="1076"/>
          <ac:spMkLst>
            <pc:docMk/>
            <pc:sldMk cId="3551530450" sldId="230717675"/>
            <ac:spMk id="49" creationId="{DD14ECEB-19B9-4888-A635-1493A1CA1BCA}"/>
          </ac:spMkLst>
        </pc:spChg>
        <pc:spChg chg="mod">
          <ac:chgData name="Manal El Bakkouri" userId="8b130982-2e3f-4164-b881-fd3a2e4b2453" providerId="ADAL" clId="{4457FA57-250B-44AC-8655-05D46C5A3D8A}" dt="2023-06-01T19:13:58.214" v="2510" actId="207"/>
          <ac:spMkLst>
            <pc:docMk/>
            <pc:sldMk cId="3551530450" sldId="230717675"/>
            <ac:spMk id="51" creationId="{EBB58A0F-6B99-464F-88C4-CCC64EA7E16B}"/>
          </ac:spMkLst>
        </pc:spChg>
        <pc:spChg chg="mod">
          <ac:chgData name="Manal El Bakkouri" userId="8b130982-2e3f-4164-b881-fd3a2e4b2453" providerId="ADAL" clId="{4457FA57-250B-44AC-8655-05D46C5A3D8A}" dt="2023-06-01T19:13:58.214" v="2510" actId="207"/>
          <ac:spMkLst>
            <pc:docMk/>
            <pc:sldMk cId="3551530450" sldId="230717675"/>
            <ac:spMk id="52" creationId="{26110755-1C80-48BE-9A7C-224F5876159A}"/>
          </ac:spMkLst>
        </pc:spChg>
        <pc:spChg chg="mod">
          <ac:chgData name="Manal El Bakkouri" userId="8b130982-2e3f-4164-b881-fd3a2e4b2453" providerId="ADAL" clId="{4457FA57-250B-44AC-8655-05D46C5A3D8A}" dt="2023-06-01T19:14:12.621" v="2512" actId="207"/>
          <ac:spMkLst>
            <pc:docMk/>
            <pc:sldMk cId="3551530450" sldId="230717675"/>
            <ac:spMk id="53" creationId="{753D4280-EED1-43AA-917D-0E266A64FBBE}"/>
          </ac:spMkLst>
        </pc:spChg>
        <pc:spChg chg="mod">
          <ac:chgData name="Manal El Bakkouri" userId="8b130982-2e3f-4164-b881-fd3a2e4b2453" providerId="ADAL" clId="{4457FA57-250B-44AC-8655-05D46C5A3D8A}" dt="2023-06-01T19:13:43.997" v="2505" actId="1076"/>
          <ac:spMkLst>
            <pc:docMk/>
            <pc:sldMk cId="3551530450" sldId="230717675"/>
            <ac:spMk id="55" creationId="{5E5E209A-6394-41CE-9AB8-262C24B87293}"/>
          </ac:spMkLst>
        </pc:spChg>
        <pc:spChg chg="mod">
          <ac:chgData name="Manal El Bakkouri" userId="8b130982-2e3f-4164-b881-fd3a2e4b2453" providerId="ADAL" clId="{4457FA57-250B-44AC-8655-05D46C5A3D8A}" dt="2023-06-01T19:13:43.997" v="2505" actId="1076"/>
          <ac:spMkLst>
            <pc:docMk/>
            <pc:sldMk cId="3551530450" sldId="230717675"/>
            <ac:spMk id="56" creationId="{0A078D36-6E33-4D1F-B41D-878AAE37DE69}"/>
          </ac:spMkLst>
        </pc:spChg>
        <pc:spChg chg="mod">
          <ac:chgData name="Manal El Bakkouri" userId="8b130982-2e3f-4164-b881-fd3a2e4b2453" providerId="ADAL" clId="{4457FA57-250B-44AC-8655-05D46C5A3D8A}" dt="2023-06-01T19:13:43.997" v="2505" actId="1076"/>
          <ac:spMkLst>
            <pc:docMk/>
            <pc:sldMk cId="3551530450" sldId="230717675"/>
            <ac:spMk id="57" creationId="{8FCCC237-124E-44A9-A8B6-4175452B2A7C}"/>
          </ac:spMkLst>
        </pc:spChg>
        <pc:spChg chg="mod">
          <ac:chgData name="Manal El Bakkouri" userId="8b130982-2e3f-4164-b881-fd3a2e4b2453" providerId="ADAL" clId="{4457FA57-250B-44AC-8655-05D46C5A3D8A}" dt="2023-06-01T19:13:43.997" v="2505" actId="1076"/>
          <ac:spMkLst>
            <pc:docMk/>
            <pc:sldMk cId="3551530450" sldId="230717675"/>
            <ac:spMk id="59" creationId="{9A9DEF32-4A7A-4379-88F2-8509B4E0B96A}"/>
          </ac:spMkLst>
        </pc:spChg>
        <pc:spChg chg="mod">
          <ac:chgData name="Manal El Bakkouri" userId="8b130982-2e3f-4164-b881-fd3a2e4b2453" providerId="ADAL" clId="{4457FA57-250B-44AC-8655-05D46C5A3D8A}" dt="2023-06-01T19:13:43.997" v="2505" actId="1076"/>
          <ac:spMkLst>
            <pc:docMk/>
            <pc:sldMk cId="3551530450" sldId="230717675"/>
            <ac:spMk id="60" creationId="{DDB3EC62-2A31-40B6-AB81-7BE93699FF45}"/>
          </ac:spMkLst>
        </pc:spChg>
        <pc:spChg chg="mod">
          <ac:chgData name="Manal El Bakkouri" userId="8b130982-2e3f-4164-b881-fd3a2e4b2453" providerId="ADAL" clId="{4457FA57-250B-44AC-8655-05D46C5A3D8A}" dt="2023-06-01T19:13:43.997" v="2505" actId="1076"/>
          <ac:spMkLst>
            <pc:docMk/>
            <pc:sldMk cId="3551530450" sldId="230717675"/>
            <ac:spMk id="61" creationId="{F4BCB227-150B-4F57-A51C-223F06F558C4}"/>
          </ac:spMkLst>
        </pc:spChg>
        <pc:spChg chg="mod">
          <ac:chgData name="Manal El Bakkouri" userId="8b130982-2e3f-4164-b881-fd3a2e4b2453" providerId="ADAL" clId="{4457FA57-250B-44AC-8655-05D46C5A3D8A}" dt="2023-06-01T19:13:43.997" v="2505" actId="1076"/>
          <ac:spMkLst>
            <pc:docMk/>
            <pc:sldMk cId="3551530450" sldId="230717675"/>
            <ac:spMk id="63" creationId="{5450CAE2-8B33-402E-9752-D7DD55563672}"/>
          </ac:spMkLst>
        </pc:spChg>
        <pc:spChg chg="mod">
          <ac:chgData name="Manal El Bakkouri" userId="8b130982-2e3f-4164-b881-fd3a2e4b2453" providerId="ADAL" clId="{4457FA57-250B-44AC-8655-05D46C5A3D8A}" dt="2023-06-01T19:13:43.997" v="2505" actId="1076"/>
          <ac:spMkLst>
            <pc:docMk/>
            <pc:sldMk cId="3551530450" sldId="230717675"/>
            <ac:spMk id="64" creationId="{B86CD4D3-38CB-4541-83D6-DB9D6633D4BB}"/>
          </ac:spMkLst>
        </pc:spChg>
        <pc:spChg chg="mod">
          <ac:chgData name="Manal El Bakkouri" userId="8b130982-2e3f-4164-b881-fd3a2e4b2453" providerId="ADAL" clId="{4457FA57-250B-44AC-8655-05D46C5A3D8A}" dt="2023-06-01T19:13:43.997" v="2505" actId="1076"/>
          <ac:spMkLst>
            <pc:docMk/>
            <pc:sldMk cId="3551530450" sldId="230717675"/>
            <ac:spMk id="65" creationId="{B833381D-1C45-4A0F-9ECC-8B1C90D67C0E}"/>
          </ac:spMkLst>
        </pc:spChg>
        <pc:spChg chg="mod">
          <ac:chgData name="Manal El Bakkouri" userId="8b130982-2e3f-4164-b881-fd3a2e4b2453" providerId="ADAL" clId="{4457FA57-250B-44AC-8655-05D46C5A3D8A}" dt="2023-06-01T19:13:43.997" v="2505" actId="1076"/>
          <ac:spMkLst>
            <pc:docMk/>
            <pc:sldMk cId="3551530450" sldId="230717675"/>
            <ac:spMk id="67" creationId="{2F740633-2776-4957-A98C-1541EF853BB4}"/>
          </ac:spMkLst>
        </pc:spChg>
        <pc:spChg chg="mod">
          <ac:chgData name="Manal El Bakkouri" userId="8b130982-2e3f-4164-b881-fd3a2e4b2453" providerId="ADAL" clId="{4457FA57-250B-44AC-8655-05D46C5A3D8A}" dt="2023-06-01T19:13:43.997" v="2505" actId="1076"/>
          <ac:spMkLst>
            <pc:docMk/>
            <pc:sldMk cId="3551530450" sldId="230717675"/>
            <ac:spMk id="68" creationId="{A781CBB1-2EA3-423D-B296-6FDA1361CCA5}"/>
          </ac:spMkLst>
        </pc:spChg>
        <pc:spChg chg="mod">
          <ac:chgData name="Manal El Bakkouri" userId="8b130982-2e3f-4164-b881-fd3a2e4b2453" providerId="ADAL" clId="{4457FA57-250B-44AC-8655-05D46C5A3D8A}" dt="2023-06-01T19:13:43.997" v="2505" actId="1076"/>
          <ac:spMkLst>
            <pc:docMk/>
            <pc:sldMk cId="3551530450" sldId="230717675"/>
            <ac:spMk id="69" creationId="{CDCA50C8-8A94-421F-A901-C2135DC2998A}"/>
          </ac:spMkLst>
        </pc:spChg>
        <pc:spChg chg="add del mod">
          <ac:chgData name="Manal El Bakkouri" userId="8b130982-2e3f-4164-b881-fd3a2e4b2453" providerId="ADAL" clId="{4457FA57-250B-44AC-8655-05D46C5A3D8A}" dt="2023-06-01T20:34:14.950" v="3315" actId="478"/>
          <ac:spMkLst>
            <pc:docMk/>
            <pc:sldMk cId="3551530450" sldId="230717675"/>
            <ac:spMk id="70" creationId="{EDDD1912-A3F6-4BC3-B8A2-3BBA1B19CAAE}"/>
          </ac:spMkLst>
        </pc:spChg>
        <pc:spChg chg="add del mod">
          <ac:chgData name="Manal El Bakkouri" userId="8b130982-2e3f-4164-b881-fd3a2e4b2453" providerId="ADAL" clId="{4457FA57-250B-44AC-8655-05D46C5A3D8A}" dt="2023-06-01T19:14:25.267" v="2514" actId="478"/>
          <ac:spMkLst>
            <pc:docMk/>
            <pc:sldMk cId="3551530450" sldId="230717675"/>
            <ac:spMk id="71" creationId="{F510D74D-1A0F-46AC-A088-9A1950A55E5D}"/>
          </ac:spMkLst>
        </pc:spChg>
        <pc:spChg chg="add del mod">
          <ac:chgData name="Manal El Bakkouri" userId="8b130982-2e3f-4164-b881-fd3a2e4b2453" providerId="ADAL" clId="{4457FA57-250B-44AC-8655-05D46C5A3D8A}" dt="2023-06-01T20:34:14.950" v="3315" actId="478"/>
          <ac:spMkLst>
            <pc:docMk/>
            <pc:sldMk cId="3551530450" sldId="230717675"/>
            <ac:spMk id="72" creationId="{C4335041-AFEC-4380-91AF-445CF2029A84}"/>
          </ac:spMkLst>
        </pc:spChg>
        <pc:spChg chg="add del mod">
          <ac:chgData name="Manal El Bakkouri" userId="8b130982-2e3f-4164-b881-fd3a2e4b2453" providerId="ADAL" clId="{4457FA57-250B-44AC-8655-05D46C5A3D8A}" dt="2023-06-01T20:34:14.950" v="3315" actId="478"/>
          <ac:spMkLst>
            <pc:docMk/>
            <pc:sldMk cId="3551530450" sldId="230717675"/>
            <ac:spMk id="73" creationId="{15BA8158-CAA4-4AD7-89EA-7B5DA1ACD97C}"/>
          </ac:spMkLst>
        </pc:spChg>
        <pc:spChg chg="add del mod">
          <ac:chgData name="Manal El Bakkouri" userId="8b130982-2e3f-4164-b881-fd3a2e4b2453" providerId="ADAL" clId="{4457FA57-250B-44AC-8655-05D46C5A3D8A}" dt="2023-06-01T20:34:14.950" v="3315" actId="478"/>
          <ac:spMkLst>
            <pc:docMk/>
            <pc:sldMk cId="3551530450" sldId="230717675"/>
            <ac:spMk id="74" creationId="{EAB80E16-063F-4DDB-AFAA-CA3CDCA8CD07}"/>
          </ac:spMkLst>
        </pc:spChg>
        <pc:spChg chg="add del mod">
          <ac:chgData name="Manal El Bakkouri" userId="8b130982-2e3f-4164-b881-fd3a2e4b2453" providerId="ADAL" clId="{4457FA57-250B-44AC-8655-05D46C5A3D8A}" dt="2023-06-01T20:34:14.950" v="3315" actId="478"/>
          <ac:spMkLst>
            <pc:docMk/>
            <pc:sldMk cId="3551530450" sldId="230717675"/>
            <ac:spMk id="75" creationId="{0212B5EB-D9E7-4D8B-93BD-678290915FB3}"/>
          </ac:spMkLst>
        </pc:spChg>
        <pc:spChg chg="add del mod">
          <ac:chgData name="Manal El Bakkouri" userId="8b130982-2e3f-4164-b881-fd3a2e4b2453" providerId="ADAL" clId="{4457FA57-250B-44AC-8655-05D46C5A3D8A}" dt="2023-06-01T20:34:14.950" v="3315" actId="478"/>
          <ac:spMkLst>
            <pc:docMk/>
            <pc:sldMk cId="3551530450" sldId="230717675"/>
            <ac:spMk id="76" creationId="{BA7279AC-8F1A-4C1D-B878-0118833A97FF}"/>
          </ac:spMkLst>
        </pc:spChg>
        <pc:spChg chg="add del mod">
          <ac:chgData name="Manal El Bakkouri" userId="8b130982-2e3f-4164-b881-fd3a2e4b2453" providerId="ADAL" clId="{4457FA57-250B-44AC-8655-05D46C5A3D8A}" dt="2023-06-01T20:31:51.475" v="3314" actId="478"/>
          <ac:spMkLst>
            <pc:docMk/>
            <pc:sldMk cId="3551530450" sldId="230717675"/>
            <ac:spMk id="77" creationId="{8371C823-AE11-4A33-A2E6-B7C6C2E6A30B}"/>
          </ac:spMkLst>
        </pc:spChg>
        <pc:spChg chg="add del mod">
          <ac:chgData name="Manal El Bakkouri" userId="8b130982-2e3f-4164-b881-fd3a2e4b2453" providerId="ADAL" clId="{4457FA57-250B-44AC-8655-05D46C5A3D8A}" dt="2023-06-01T20:34:14.950" v="3315" actId="478"/>
          <ac:spMkLst>
            <pc:docMk/>
            <pc:sldMk cId="3551530450" sldId="230717675"/>
            <ac:spMk id="78" creationId="{5EE6173B-A52D-4DCD-A5A9-B70B1B336D6E}"/>
          </ac:spMkLst>
        </pc:spChg>
        <pc:spChg chg="add del mod">
          <ac:chgData name="Manal El Bakkouri" userId="8b130982-2e3f-4164-b881-fd3a2e4b2453" providerId="ADAL" clId="{4457FA57-250B-44AC-8655-05D46C5A3D8A}" dt="2023-06-01T20:34:14.950" v="3315" actId="478"/>
          <ac:spMkLst>
            <pc:docMk/>
            <pc:sldMk cId="3551530450" sldId="230717675"/>
            <ac:spMk id="79" creationId="{F0066DD4-D6B6-44C9-A404-A6424902C50F}"/>
          </ac:spMkLst>
        </pc:spChg>
        <pc:spChg chg="add del mod">
          <ac:chgData name="Manal El Bakkouri" userId="8b130982-2e3f-4164-b881-fd3a2e4b2453" providerId="ADAL" clId="{4457FA57-250B-44AC-8655-05D46C5A3D8A}" dt="2023-06-01T20:34:14.950" v="3315" actId="478"/>
          <ac:spMkLst>
            <pc:docMk/>
            <pc:sldMk cId="3551530450" sldId="230717675"/>
            <ac:spMk id="80" creationId="{E89FE716-6159-4A5A-A682-4DFF375311B5}"/>
          </ac:spMkLst>
        </pc:spChg>
        <pc:spChg chg="add del mod">
          <ac:chgData name="Manal El Bakkouri" userId="8b130982-2e3f-4164-b881-fd3a2e4b2453" providerId="ADAL" clId="{4457FA57-250B-44AC-8655-05D46C5A3D8A}" dt="2023-06-01T20:34:14.950" v="3315" actId="478"/>
          <ac:spMkLst>
            <pc:docMk/>
            <pc:sldMk cId="3551530450" sldId="230717675"/>
            <ac:spMk id="81" creationId="{17C03CA3-760A-42D3-B4DE-99864A63FAA6}"/>
          </ac:spMkLst>
        </pc:spChg>
        <pc:spChg chg="add del mod">
          <ac:chgData name="Manal El Bakkouri" userId="8b130982-2e3f-4164-b881-fd3a2e4b2453" providerId="ADAL" clId="{4457FA57-250B-44AC-8655-05D46C5A3D8A}" dt="2023-06-01T20:34:14.950" v="3315" actId="478"/>
          <ac:spMkLst>
            <pc:docMk/>
            <pc:sldMk cId="3551530450" sldId="230717675"/>
            <ac:spMk id="82" creationId="{A49745B6-2E9A-4BB8-866F-353E1E71166C}"/>
          </ac:spMkLst>
        </pc:spChg>
        <pc:spChg chg="add del mod">
          <ac:chgData name="Manal El Bakkouri" userId="8b130982-2e3f-4164-b881-fd3a2e4b2453" providerId="ADAL" clId="{4457FA57-250B-44AC-8655-05D46C5A3D8A}" dt="2023-06-01T20:34:14.950" v="3315" actId="478"/>
          <ac:spMkLst>
            <pc:docMk/>
            <pc:sldMk cId="3551530450" sldId="230717675"/>
            <ac:spMk id="83" creationId="{344278D5-ED77-4A7E-887B-F51E2F32F25A}"/>
          </ac:spMkLst>
        </pc:spChg>
        <pc:spChg chg="add del mod">
          <ac:chgData name="Manal El Bakkouri" userId="8b130982-2e3f-4164-b881-fd3a2e4b2453" providerId="ADAL" clId="{4457FA57-250B-44AC-8655-05D46C5A3D8A}" dt="2023-06-01T20:34:14.950" v="3315" actId="478"/>
          <ac:spMkLst>
            <pc:docMk/>
            <pc:sldMk cId="3551530450" sldId="230717675"/>
            <ac:spMk id="84" creationId="{99D43FFB-4934-45D9-9E48-9C83D0D4B7A4}"/>
          </ac:spMkLst>
        </pc:spChg>
        <pc:grpChg chg="add del mod">
          <ac:chgData name="Manal El Bakkouri" userId="8b130982-2e3f-4164-b881-fd3a2e4b2453" providerId="ADAL" clId="{4457FA57-250B-44AC-8655-05D46C5A3D8A}" dt="2023-06-01T20:34:14.950" v="3315" actId="478"/>
          <ac:grpSpMkLst>
            <pc:docMk/>
            <pc:sldMk cId="3551530450" sldId="230717675"/>
            <ac:grpSpMk id="26" creationId="{C843D972-9242-4083-840E-4E90B2393474}"/>
          </ac:grpSpMkLst>
        </pc:grpChg>
        <pc:grpChg chg="mod">
          <ac:chgData name="Manal El Bakkouri" userId="8b130982-2e3f-4164-b881-fd3a2e4b2453" providerId="ADAL" clId="{4457FA57-250B-44AC-8655-05D46C5A3D8A}" dt="2023-06-01T19:13:43.997" v="2505" actId="1076"/>
          <ac:grpSpMkLst>
            <pc:docMk/>
            <pc:sldMk cId="3551530450" sldId="230717675"/>
            <ac:grpSpMk id="30" creationId="{B88C1125-3F43-460C-80FD-67C2A8773EC2}"/>
          </ac:grpSpMkLst>
        </pc:grpChg>
        <pc:grpChg chg="add del mod">
          <ac:chgData name="Manal El Bakkouri" userId="8b130982-2e3f-4164-b881-fd3a2e4b2453" providerId="ADAL" clId="{4457FA57-250B-44AC-8655-05D46C5A3D8A}" dt="2023-06-01T20:34:14.950" v="3315" actId="478"/>
          <ac:grpSpMkLst>
            <pc:docMk/>
            <pc:sldMk cId="3551530450" sldId="230717675"/>
            <ac:grpSpMk id="50" creationId="{495B5C5E-9EB0-44F3-B92B-2DDD3BE743E6}"/>
          </ac:grpSpMkLst>
        </pc:grpChg>
        <pc:grpChg chg="add del mod">
          <ac:chgData name="Manal El Bakkouri" userId="8b130982-2e3f-4164-b881-fd3a2e4b2453" providerId="ADAL" clId="{4457FA57-250B-44AC-8655-05D46C5A3D8A}" dt="2023-06-01T20:34:14.950" v="3315" actId="478"/>
          <ac:grpSpMkLst>
            <pc:docMk/>
            <pc:sldMk cId="3551530450" sldId="230717675"/>
            <ac:grpSpMk id="54" creationId="{D707E470-0326-4BAB-9546-7CB9F9E45F42}"/>
          </ac:grpSpMkLst>
        </pc:grpChg>
        <pc:grpChg chg="add del mod">
          <ac:chgData name="Manal El Bakkouri" userId="8b130982-2e3f-4164-b881-fd3a2e4b2453" providerId="ADAL" clId="{4457FA57-250B-44AC-8655-05D46C5A3D8A}" dt="2023-06-01T20:34:14.950" v="3315" actId="478"/>
          <ac:grpSpMkLst>
            <pc:docMk/>
            <pc:sldMk cId="3551530450" sldId="230717675"/>
            <ac:grpSpMk id="58" creationId="{778BB182-4610-43D8-BBE5-5347B550CFFC}"/>
          </ac:grpSpMkLst>
        </pc:grpChg>
        <pc:grpChg chg="add del mod">
          <ac:chgData name="Manal El Bakkouri" userId="8b130982-2e3f-4164-b881-fd3a2e4b2453" providerId="ADAL" clId="{4457FA57-250B-44AC-8655-05D46C5A3D8A}" dt="2023-06-01T20:34:14.950" v="3315" actId="478"/>
          <ac:grpSpMkLst>
            <pc:docMk/>
            <pc:sldMk cId="3551530450" sldId="230717675"/>
            <ac:grpSpMk id="62" creationId="{A0C87EB1-1D33-4D3C-BB8E-9B5DF2F3A8A3}"/>
          </ac:grpSpMkLst>
        </pc:grpChg>
        <pc:grpChg chg="add del mod">
          <ac:chgData name="Manal El Bakkouri" userId="8b130982-2e3f-4164-b881-fd3a2e4b2453" providerId="ADAL" clId="{4457FA57-250B-44AC-8655-05D46C5A3D8A}" dt="2023-06-01T20:34:14.950" v="3315" actId="478"/>
          <ac:grpSpMkLst>
            <pc:docMk/>
            <pc:sldMk cId="3551530450" sldId="230717675"/>
            <ac:grpSpMk id="66" creationId="{A612F742-6123-474F-B6E2-A161D5C7DB36}"/>
          </ac:grpSpMkLst>
        </pc:grpChg>
      </pc:sldChg>
      <pc:sldChg chg="addSp delSp modSp add del mod ord modShow">
        <pc:chgData name="Manal El Bakkouri" userId="8b130982-2e3f-4164-b881-fd3a2e4b2453" providerId="ADAL" clId="{4457FA57-250B-44AC-8655-05D46C5A3D8A}" dt="2023-06-06T10:56:05.496" v="9824" actId="2696"/>
        <pc:sldMkLst>
          <pc:docMk/>
          <pc:sldMk cId="3287529172" sldId="230717676"/>
        </pc:sldMkLst>
        <pc:spChg chg="add del mod">
          <ac:chgData name="Manal El Bakkouri" userId="8b130982-2e3f-4164-b881-fd3a2e4b2453" providerId="ADAL" clId="{4457FA57-250B-44AC-8655-05D46C5A3D8A}" dt="2023-06-04T11:52:17.777" v="6981" actId="478"/>
          <ac:spMkLst>
            <pc:docMk/>
            <pc:sldMk cId="3287529172" sldId="230717676"/>
            <ac:spMk id="21" creationId="{3E54EB38-7704-4E86-A026-44E71720CEA1}"/>
          </ac:spMkLst>
        </pc:spChg>
        <pc:spChg chg="add del mod">
          <ac:chgData name="Manal El Bakkouri" userId="8b130982-2e3f-4164-b881-fd3a2e4b2453" providerId="ADAL" clId="{4457FA57-250B-44AC-8655-05D46C5A3D8A}" dt="2023-06-04T11:49:10.449" v="6967" actId="478"/>
          <ac:spMkLst>
            <pc:docMk/>
            <pc:sldMk cId="3287529172" sldId="230717676"/>
            <ac:spMk id="122" creationId="{8013A7A0-8574-49B8-B8AF-730F1E10CA2C}"/>
          </ac:spMkLst>
        </pc:spChg>
        <pc:spChg chg="add del mod">
          <ac:chgData name="Manal El Bakkouri" userId="8b130982-2e3f-4164-b881-fd3a2e4b2453" providerId="ADAL" clId="{4457FA57-250B-44AC-8655-05D46C5A3D8A}" dt="2023-06-04T11:49:13.646" v="6971" actId="478"/>
          <ac:spMkLst>
            <pc:docMk/>
            <pc:sldMk cId="3287529172" sldId="230717676"/>
            <ac:spMk id="123" creationId="{A22DE341-11B5-4CEE-93DB-27953AC3E4B8}"/>
          </ac:spMkLst>
        </pc:spChg>
        <pc:spChg chg="add del mod">
          <ac:chgData name="Manal El Bakkouri" userId="8b130982-2e3f-4164-b881-fd3a2e4b2453" providerId="ADAL" clId="{4457FA57-250B-44AC-8655-05D46C5A3D8A}" dt="2023-06-04T11:49:12.868" v="6970" actId="478"/>
          <ac:spMkLst>
            <pc:docMk/>
            <pc:sldMk cId="3287529172" sldId="230717676"/>
            <ac:spMk id="124" creationId="{8E5EDC48-768B-4B1B-9B4B-288529CC15FE}"/>
          </ac:spMkLst>
        </pc:spChg>
        <pc:spChg chg="add mod">
          <ac:chgData name="Manal El Bakkouri" userId="8b130982-2e3f-4164-b881-fd3a2e4b2453" providerId="ADAL" clId="{4457FA57-250B-44AC-8655-05D46C5A3D8A}" dt="2023-06-01T15:19:23.681" v="2117" actId="1076"/>
          <ac:spMkLst>
            <pc:docMk/>
            <pc:sldMk cId="3287529172" sldId="230717676"/>
            <ac:spMk id="125" creationId="{5A0FE61C-629B-4D99-B2CD-51B4C993CA51}"/>
          </ac:spMkLst>
        </pc:spChg>
        <pc:grpChg chg="del">
          <ac:chgData name="Manal El Bakkouri" userId="8b130982-2e3f-4164-b881-fd3a2e4b2453" providerId="ADAL" clId="{4457FA57-250B-44AC-8655-05D46C5A3D8A}" dt="2023-06-01T15:09:10.335" v="2014" actId="478"/>
          <ac:grpSpMkLst>
            <pc:docMk/>
            <pc:sldMk cId="3287529172" sldId="230717676"/>
            <ac:grpSpMk id="17" creationId="{582BB546-F293-462D-A06F-669129A1FDF5}"/>
          </ac:grpSpMkLst>
        </pc:grpChg>
        <pc:grpChg chg="del">
          <ac:chgData name="Manal El Bakkouri" userId="8b130982-2e3f-4164-b881-fd3a2e4b2453" providerId="ADAL" clId="{4457FA57-250B-44AC-8655-05D46C5A3D8A}" dt="2023-06-01T15:09:10.335" v="2014" actId="478"/>
          <ac:grpSpMkLst>
            <pc:docMk/>
            <pc:sldMk cId="3287529172" sldId="230717676"/>
            <ac:grpSpMk id="76" creationId="{525BAAE3-8ADC-45E1-8BE0-88C3FB4BBC56}"/>
          </ac:grpSpMkLst>
        </pc:grpChg>
        <pc:grpChg chg="add del">
          <ac:chgData name="Manal El Bakkouri" userId="8b130982-2e3f-4164-b881-fd3a2e4b2453" providerId="ADAL" clId="{4457FA57-250B-44AC-8655-05D46C5A3D8A}" dt="2023-06-01T15:11:58.987" v="2019" actId="478"/>
          <ac:grpSpMkLst>
            <pc:docMk/>
            <pc:sldMk cId="3287529172" sldId="230717676"/>
            <ac:grpSpMk id="77" creationId="{79F0E37A-E275-4D96-BB22-B4951C48FD8F}"/>
          </ac:grpSpMkLst>
        </pc:grpChg>
        <pc:grpChg chg="del">
          <ac:chgData name="Manal El Bakkouri" userId="8b130982-2e3f-4164-b881-fd3a2e4b2453" providerId="ADAL" clId="{4457FA57-250B-44AC-8655-05D46C5A3D8A}" dt="2023-06-01T15:09:10.335" v="2014" actId="478"/>
          <ac:grpSpMkLst>
            <pc:docMk/>
            <pc:sldMk cId="3287529172" sldId="230717676"/>
            <ac:grpSpMk id="81" creationId="{4B3674FE-46FA-44F2-9F9B-8ACC90714508}"/>
          </ac:grpSpMkLst>
        </pc:grpChg>
        <pc:grpChg chg="del">
          <ac:chgData name="Manal El Bakkouri" userId="8b130982-2e3f-4164-b881-fd3a2e4b2453" providerId="ADAL" clId="{4457FA57-250B-44AC-8655-05D46C5A3D8A}" dt="2023-06-01T15:09:10.335" v="2014" actId="478"/>
          <ac:grpSpMkLst>
            <pc:docMk/>
            <pc:sldMk cId="3287529172" sldId="230717676"/>
            <ac:grpSpMk id="97" creationId="{7E46AF87-AFF8-4B6E-B66E-5AC3CFDDA11B}"/>
          </ac:grpSpMkLst>
        </pc:grpChg>
        <pc:grpChg chg="del">
          <ac:chgData name="Manal El Bakkouri" userId="8b130982-2e3f-4164-b881-fd3a2e4b2453" providerId="ADAL" clId="{4457FA57-250B-44AC-8655-05D46C5A3D8A}" dt="2023-06-01T15:09:10.335" v="2014" actId="478"/>
          <ac:grpSpMkLst>
            <pc:docMk/>
            <pc:sldMk cId="3287529172" sldId="230717676"/>
            <ac:grpSpMk id="116" creationId="{8D472827-A91E-405E-B4C6-F62E3D91693A}"/>
          </ac:grpSpMkLst>
        </pc:grpChg>
        <pc:graphicFrameChg chg="add del mod">
          <ac:chgData name="Manal El Bakkouri" userId="8b130982-2e3f-4164-b881-fd3a2e4b2453" providerId="ADAL" clId="{4457FA57-250B-44AC-8655-05D46C5A3D8A}" dt="2023-06-04T11:52:27.724" v="6983" actId="478"/>
          <ac:graphicFrameMkLst>
            <pc:docMk/>
            <pc:sldMk cId="3287529172" sldId="230717676"/>
            <ac:graphicFrameMk id="2" creationId="{9C6147DE-ED8B-4E39-8720-B1B4A4D66B35}"/>
          </ac:graphicFrameMkLst>
        </pc:graphicFrameChg>
        <pc:graphicFrameChg chg="add del mod">
          <ac:chgData name="Manal El Bakkouri" userId="8b130982-2e3f-4164-b881-fd3a2e4b2453" providerId="ADAL" clId="{4457FA57-250B-44AC-8655-05D46C5A3D8A}" dt="2023-06-04T11:52:53.217" v="6986" actId="478"/>
          <ac:graphicFrameMkLst>
            <pc:docMk/>
            <pc:sldMk cId="3287529172" sldId="230717676"/>
            <ac:graphicFrameMk id="4" creationId="{15955805-FF82-4F29-9B9B-70532610D4B9}"/>
          </ac:graphicFrameMkLst>
        </pc:graphicFrameChg>
        <pc:graphicFrameChg chg="add del mod">
          <ac:chgData name="Manal El Bakkouri" userId="8b130982-2e3f-4164-b881-fd3a2e4b2453" providerId="ADAL" clId="{4457FA57-250B-44AC-8655-05D46C5A3D8A}" dt="2023-06-01T15:23:00.734" v="2224" actId="478"/>
          <ac:graphicFrameMkLst>
            <pc:docMk/>
            <pc:sldMk cId="3287529172" sldId="230717676"/>
            <ac:graphicFrameMk id="5" creationId="{5C9ECEDA-53D0-4EF8-827B-20F8F09220B3}"/>
          </ac:graphicFrameMkLst>
        </pc:graphicFrameChg>
        <pc:graphicFrameChg chg="add del mod">
          <ac:chgData name="Manal El Bakkouri" userId="8b130982-2e3f-4164-b881-fd3a2e4b2453" providerId="ADAL" clId="{4457FA57-250B-44AC-8655-05D46C5A3D8A}" dt="2023-06-01T15:23:23.812" v="2228" actId="478"/>
          <ac:graphicFrameMkLst>
            <pc:docMk/>
            <pc:sldMk cId="3287529172" sldId="230717676"/>
            <ac:graphicFrameMk id="7" creationId="{B93D9BE9-7C79-4ADD-B919-2F7FCFDC3E22}"/>
          </ac:graphicFrameMkLst>
        </pc:graphicFrameChg>
        <pc:graphicFrameChg chg="add del mod">
          <ac:chgData name="Manal El Bakkouri" userId="8b130982-2e3f-4164-b881-fd3a2e4b2453" providerId="ADAL" clId="{4457FA57-250B-44AC-8655-05D46C5A3D8A}" dt="2023-06-01T15:36:04.379" v="2363"/>
          <ac:graphicFrameMkLst>
            <pc:docMk/>
            <pc:sldMk cId="3287529172" sldId="230717676"/>
            <ac:graphicFrameMk id="8" creationId="{CEC4DA82-BF69-425D-B528-BE84AA55CE12}"/>
          </ac:graphicFrameMkLst>
        </pc:graphicFrameChg>
        <pc:graphicFrameChg chg="add mod modGraphic">
          <ac:chgData name="Manal El Bakkouri" userId="8b130982-2e3f-4164-b881-fd3a2e4b2453" providerId="ADAL" clId="{4457FA57-250B-44AC-8655-05D46C5A3D8A}" dt="2023-06-01T15:38:38.369" v="2416" actId="790"/>
          <ac:graphicFrameMkLst>
            <pc:docMk/>
            <pc:sldMk cId="3287529172" sldId="230717676"/>
            <ac:graphicFrameMk id="107" creationId="{1229709E-9C3C-4EBB-A2CA-A4D40D71EB5E}"/>
          </ac:graphicFrameMkLst>
        </pc:graphicFrameChg>
        <pc:graphicFrameChg chg="add mod modGraphic">
          <ac:chgData name="Manal El Bakkouri" userId="8b130982-2e3f-4164-b881-fd3a2e4b2453" providerId="ADAL" clId="{4457FA57-250B-44AC-8655-05D46C5A3D8A}" dt="2023-06-01T18:52:05.711" v="2477" actId="14734"/>
          <ac:graphicFrameMkLst>
            <pc:docMk/>
            <pc:sldMk cId="3287529172" sldId="230717676"/>
            <ac:graphicFrameMk id="108" creationId="{DCCA0860-A467-4B4B-BBC5-55CD543F72BF}"/>
          </ac:graphicFrameMkLst>
        </pc:graphicFrameChg>
        <pc:graphicFrameChg chg="add mod modGraphic">
          <ac:chgData name="Manal El Bakkouri" userId="8b130982-2e3f-4164-b881-fd3a2e4b2453" providerId="ADAL" clId="{4457FA57-250B-44AC-8655-05D46C5A3D8A}" dt="2023-06-04T11:49:37.967" v="6974"/>
          <ac:graphicFrameMkLst>
            <pc:docMk/>
            <pc:sldMk cId="3287529172" sldId="230717676"/>
            <ac:graphicFrameMk id="121" creationId="{57210991-A099-44AA-B191-F67738BB1B82}"/>
          </ac:graphicFrameMkLst>
        </pc:graphicFrameChg>
        <pc:graphicFrameChg chg="add mod">
          <ac:chgData name="Manal El Bakkouri" userId="8b130982-2e3f-4164-b881-fd3a2e4b2453" providerId="ADAL" clId="{4457FA57-250B-44AC-8655-05D46C5A3D8A}" dt="2023-06-01T15:22:37.535" v="2221"/>
          <ac:graphicFrameMkLst>
            <pc:docMk/>
            <pc:sldMk cId="3287529172" sldId="230717676"/>
            <ac:graphicFrameMk id="126" creationId="{48E38F6C-2B6D-45A0-9116-311B72FF96C8}"/>
          </ac:graphicFrameMkLst>
        </pc:graphicFrameChg>
        <pc:picChg chg="del">
          <ac:chgData name="Manal El Bakkouri" userId="8b130982-2e3f-4164-b881-fd3a2e4b2453" providerId="ADAL" clId="{4457FA57-250B-44AC-8655-05D46C5A3D8A}" dt="2023-06-01T15:09:10.335" v="2014" actId="478"/>
          <ac:picMkLst>
            <pc:docMk/>
            <pc:sldMk cId="3287529172" sldId="230717676"/>
            <ac:picMk id="4" creationId="{5F911F2F-25A7-4CB0-964B-DBD176537CDC}"/>
          </ac:picMkLst>
        </pc:picChg>
        <pc:picChg chg="del">
          <ac:chgData name="Manal El Bakkouri" userId="8b130982-2e3f-4164-b881-fd3a2e4b2453" providerId="ADAL" clId="{4457FA57-250B-44AC-8655-05D46C5A3D8A}" dt="2023-06-01T15:09:10.335" v="2014" actId="478"/>
          <ac:picMkLst>
            <pc:docMk/>
            <pc:sldMk cId="3287529172" sldId="230717676"/>
            <ac:picMk id="6" creationId="{701D2516-A1BB-439E-9D5B-B8ED88A07E82}"/>
          </ac:picMkLst>
        </pc:picChg>
        <pc:picChg chg="del">
          <ac:chgData name="Manal El Bakkouri" userId="8b130982-2e3f-4164-b881-fd3a2e4b2453" providerId="ADAL" clId="{4457FA57-250B-44AC-8655-05D46C5A3D8A}" dt="2023-06-01T15:09:10.335" v="2014" actId="478"/>
          <ac:picMkLst>
            <pc:docMk/>
            <pc:sldMk cId="3287529172" sldId="230717676"/>
            <ac:picMk id="13" creationId="{D217BE0A-D1ED-4DB5-93A2-C7600B682457}"/>
          </ac:picMkLst>
        </pc:picChg>
        <pc:cxnChg chg="add mod">
          <ac:chgData name="Manal El Bakkouri" userId="8b130982-2e3f-4164-b881-fd3a2e4b2453" providerId="ADAL" clId="{4457FA57-250B-44AC-8655-05D46C5A3D8A}" dt="2023-06-01T15:19:35.267" v="2118" actId="14100"/>
          <ac:cxnSpMkLst>
            <pc:docMk/>
            <pc:sldMk cId="3287529172" sldId="230717676"/>
            <ac:cxnSpMk id="106" creationId="{90D5CD47-0627-4415-A626-885842926B67}"/>
          </ac:cxnSpMkLst>
        </pc:cxnChg>
      </pc:sldChg>
      <pc:sldChg chg="addSp delSp modSp add mod delAnim modAnim modNotesTx">
        <pc:chgData name="Manal El Bakkouri" userId="8b130982-2e3f-4164-b881-fd3a2e4b2453" providerId="ADAL" clId="{4457FA57-250B-44AC-8655-05D46C5A3D8A}" dt="2023-06-09T11:29:49.814" v="21759"/>
        <pc:sldMkLst>
          <pc:docMk/>
          <pc:sldMk cId="421651600" sldId="230717677"/>
        </pc:sldMkLst>
        <pc:spChg chg="del">
          <ac:chgData name="Manal El Bakkouri" userId="8b130982-2e3f-4164-b881-fd3a2e4b2453" providerId="ADAL" clId="{4457FA57-250B-44AC-8655-05D46C5A3D8A}" dt="2023-06-01T19:22:14.096" v="2629" actId="478"/>
          <ac:spMkLst>
            <pc:docMk/>
            <pc:sldMk cId="421651600" sldId="230717677"/>
            <ac:spMk id="2" creationId="{CF6A968B-CB80-43F3-9D47-7E50BD5702DC}"/>
          </ac:spMkLst>
        </pc:spChg>
        <pc:spChg chg="add del mod">
          <ac:chgData name="Manal El Bakkouri" userId="8b130982-2e3f-4164-b881-fd3a2e4b2453" providerId="ADAL" clId="{4457FA57-250B-44AC-8655-05D46C5A3D8A}" dt="2023-06-01T19:19:35.065" v="2552"/>
          <ac:spMkLst>
            <pc:docMk/>
            <pc:sldMk cId="421651600" sldId="230717677"/>
            <ac:spMk id="6" creationId="{D5F6D667-34C0-4467-BA01-00C74734A268}"/>
          </ac:spMkLst>
        </pc:spChg>
        <pc:spChg chg="add del mod">
          <ac:chgData name="Manal El Bakkouri" userId="8b130982-2e3f-4164-b881-fd3a2e4b2453" providerId="ADAL" clId="{4457FA57-250B-44AC-8655-05D46C5A3D8A}" dt="2023-06-01T19:44:25.078" v="2834" actId="478"/>
          <ac:spMkLst>
            <pc:docMk/>
            <pc:sldMk cId="421651600" sldId="230717677"/>
            <ac:spMk id="9" creationId="{88E1310D-62DE-48DC-AA29-B3873FC994C0}"/>
          </ac:spMkLst>
        </pc:spChg>
        <pc:spChg chg="del">
          <ac:chgData name="Manal El Bakkouri" userId="8b130982-2e3f-4164-b881-fd3a2e4b2453" providerId="ADAL" clId="{4457FA57-250B-44AC-8655-05D46C5A3D8A}" dt="2023-06-01T19:15:14.453" v="2541" actId="478"/>
          <ac:spMkLst>
            <pc:docMk/>
            <pc:sldMk cId="421651600" sldId="230717677"/>
            <ac:spMk id="13" creationId="{58D01D22-B74F-4F68-A946-3479DCE31B62}"/>
          </ac:spMkLst>
        </pc:spChg>
        <pc:spChg chg="del">
          <ac:chgData name="Manal El Bakkouri" userId="8b130982-2e3f-4164-b881-fd3a2e4b2453" providerId="ADAL" clId="{4457FA57-250B-44AC-8655-05D46C5A3D8A}" dt="2023-06-09T11:29:49.411" v="21758" actId="478"/>
          <ac:spMkLst>
            <pc:docMk/>
            <pc:sldMk cId="421651600" sldId="230717677"/>
            <ac:spMk id="14" creationId="{B08DFD07-6E33-4072-823A-52E54D4C1D97}"/>
          </ac:spMkLst>
        </pc:spChg>
        <pc:spChg chg="del">
          <ac:chgData name="Manal El Bakkouri" userId="8b130982-2e3f-4164-b881-fd3a2e4b2453" providerId="ADAL" clId="{4457FA57-250B-44AC-8655-05D46C5A3D8A}" dt="2023-06-09T11:29:49.411" v="21758" actId="478"/>
          <ac:spMkLst>
            <pc:docMk/>
            <pc:sldMk cId="421651600" sldId="230717677"/>
            <ac:spMk id="15" creationId="{FB7A3366-B924-45F5-A887-21AFF439AF4F}"/>
          </ac:spMkLst>
        </pc:spChg>
        <pc:spChg chg="del">
          <ac:chgData name="Manal El Bakkouri" userId="8b130982-2e3f-4164-b881-fd3a2e4b2453" providerId="ADAL" clId="{4457FA57-250B-44AC-8655-05D46C5A3D8A}" dt="2023-06-09T11:29:49.411" v="21758" actId="478"/>
          <ac:spMkLst>
            <pc:docMk/>
            <pc:sldMk cId="421651600" sldId="230717677"/>
            <ac:spMk id="16" creationId="{A8B90A34-D563-4612-8810-724F1BC01C39}"/>
          </ac:spMkLst>
        </pc:spChg>
        <pc:spChg chg="del">
          <ac:chgData name="Manal El Bakkouri" userId="8b130982-2e3f-4164-b881-fd3a2e4b2453" providerId="ADAL" clId="{4457FA57-250B-44AC-8655-05D46C5A3D8A}" dt="2023-06-01T19:15:14.453" v="2541" actId="478"/>
          <ac:spMkLst>
            <pc:docMk/>
            <pc:sldMk cId="421651600" sldId="230717677"/>
            <ac:spMk id="23" creationId="{4DE32E9C-6482-4CF1-8337-D0A9CB1FD129}"/>
          </ac:spMkLst>
        </pc:spChg>
        <pc:spChg chg="del">
          <ac:chgData name="Manal El Bakkouri" userId="8b130982-2e3f-4164-b881-fd3a2e4b2453" providerId="ADAL" clId="{4457FA57-250B-44AC-8655-05D46C5A3D8A}" dt="2023-06-01T19:15:14.453" v="2541" actId="478"/>
          <ac:spMkLst>
            <pc:docMk/>
            <pc:sldMk cId="421651600" sldId="230717677"/>
            <ac:spMk id="24" creationId="{92B445FE-FA6A-45CA-B4E4-2735E7116E06}"/>
          </ac:spMkLst>
        </pc:spChg>
        <pc:spChg chg="del">
          <ac:chgData name="Manal El Bakkouri" userId="8b130982-2e3f-4164-b881-fd3a2e4b2453" providerId="ADAL" clId="{4457FA57-250B-44AC-8655-05D46C5A3D8A}" dt="2023-06-01T19:15:14.453" v="2541" actId="478"/>
          <ac:spMkLst>
            <pc:docMk/>
            <pc:sldMk cId="421651600" sldId="230717677"/>
            <ac:spMk id="25" creationId="{C200A663-85B0-4816-8ADC-9EDD684C5600}"/>
          </ac:spMkLst>
        </pc:spChg>
        <pc:spChg chg="mod">
          <ac:chgData name="Manal El Bakkouri" userId="8b130982-2e3f-4164-b881-fd3a2e4b2453" providerId="ADAL" clId="{4457FA57-250B-44AC-8655-05D46C5A3D8A}" dt="2023-06-08T17:15:16.022" v="21087" actId="571"/>
          <ac:spMkLst>
            <pc:docMk/>
            <pc:sldMk cId="421651600" sldId="230717677"/>
            <ac:spMk id="47" creationId="{4B6665CC-659D-4ACC-BC41-48DDB86AFF07}"/>
          </ac:spMkLst>
        </pc:spChg>
        <pc:spChg chg="mod">
          <ac:chgData name="Manal El Bakkouri" userId="8b130982-2e3f-4164-b881-fd3a2e4b2453" providerId="ADAL" clId="{4457FA57-250B-44AC-8655-05D46C5A3D8A}" dt="2023-06-08T17:15:16.022" v="21087" actId="571"/>
          <ac:spMkLst>
            <pc:docMk/>
            <pc:sldMk cId="421651600" sldId="230717677"/>
            <ac:spMk id="48" creationId="{D6EFC45D-D9A1-4DBA-84BB-E747995ACA06}"/>
          </ac:spMkLst>
        </pc:spChg>
        <pc:spChg chg="add mod">
          <ac:chgData name="Manal El Bakkouri" userId="8b130982-2e3f-4164-b881-fd3a2e4b2453" providerId="ADAL" clId="{4457FA57-250B-44AC-8655-05D46C5A3D8A}" dt="2023-06-09T11:29:49.814" v="21759"/>
          <ac:spMkLst>
            <pc:docMk/>
            <pc:sldMk cId="421651600" sldId="230717677"/>
            <ac:spMk id="52" creationId="{3B91E6F8-240B-4D9B-8F32-B35DB8252A34}"/>
          </ac:spMkLst>
        </pc:spChg>
        <pc:spChg chg="add mod">
          <ac:chgData name="Manal El Bakkouri" userId="8b130982-2e3f-4164-b881-fd3a2e4b2453" providerId="ADAL" clId="{4457FA57-250B-44AC-8655-05D46C5A3D8A}" dt="2023-06-09T11:29:49.814" v="21759"/>
          <ac:spMkLst>
            <pc:docMk/>
            <pc:sldMk cId="421651600" sldId="230717677"/>
            <ac:spMk id="53" creationId="{332C27C5-2F31-4D21-BAFC-7FEDEC90A95A}"/>
          </ac:spMkLst>
        </pc:spChg>
        <pc:spChg chg="add mod">
          <ac:chgData name="Manal El Bakkouri" userId="8b130982-2e3f-4164-b881-fd3a2e4b2453" providerId="ADAL" clId="{4457FA57-250B-44AC-8655-05D46C5A3D8A}" dt="2023-06-09T11:29:49.814" v="21759"/>
          <ac:spMkLst>
            <pc:docMk/>
            <pc:sldMk cId="421651600" sldId="230717677"/>
            <ac:spMk id="54" creationId="{946B8E16-ADE4-46F7-B901-F753707AB567}"/>
          </ac:spMkLst>
        </pc:spChg>
        <pc:spChg chg="add mod">
          <ac:chgData name="Manal El Bakkouri" userId="8b130982-2e3f-4164-b881-fd3a2e4b2453" providerId="ADAL" clId="{4457FA57-250B-44AC-8655-05D46C5A3D8A}" dt="2023-06-09T11:29:49.814" v="21759"/>
          <ac:spMkLst>
            <pc:docMk/>
            <pc:sldMk cId="421651600" sldId="230717677"/>
            <ac:spMk id="55" creationId="{AC268416-1950-4A52-A531-893DBC8C7B26}"/>
          </ac:spMkLst>
        </pc:spChg>
        <pc:spChg chg="del">
          <ac:chgData name="Manal El Bakkouri" userId="8b130982-2e3f-4164-b881-fd3a2e4b2453" providerId="ADAL" clId="{4457FA57-250B-44AC-8655-05D46C5A3D8A}" dt="2023-06-01T19:15:14.453" v="2541" actId="478"/>
          <ac:spMkLst>
            <pc:docMk/>
            <pc:sldMk cId="421651600" sldId="230717677"/>
            <ac:spMk id="70" creationId="{EDDD1912-A3F6-4BC3-B8A2-3BBA1B19CAAE}"/>
          </ac:spMkLst>
        </pc:spChg>
        <pc:spChg chg="del">
          <ac:chgData name="Manal El Bakkouri" userId="8b130982-2e3f-4164-b881-fd3a2e4b2453" providerId="ADAL" clId="{4457FA57-250B-44AC-8655-05D46C5A3D8A}" dt="2023-06-01T19:15:14.453" v="2541" actId="478"/>
          <ac:spMkLst>
            <pc:docMk/>
            <pc:sldMk cId="421651600" sldId="230717677"/>
            <ac:spMk id="72" creationId="{C4335041-AFEC-4380-91AF-445CF2029A84}"/>
          </ac:spMkLst>
        </pc:spChg>
        <pc:spChg chg="del">
          <ac:chgData name="Manal El Bakkouri" userId="8b130982-2e3f-4164-b881-fd3a2e4b2453" providerId="ADAL" clId="{4457FA57-250B-44AC-8655-05D46C5A3D8A}" dt="2023-06-01T19:15:14.453" v="2541" actId="478"/>
          <ac:spMkLst>
            <pc:docMk/>
            <pc:sldMk cId="421651600" sldId="230717677"/>
            <ac:spMk id="73" creationId="{15BA8158-CAA4-4AD7-89EA-7B5DA1ACD97C}"/>
          </ac:spMkLst>
        </pc:spChg>
        <pc:spChg chg="del">
          <ac:chgData name="Manal El Bakkouri" userId="8b130982-2e3f-4164-b881-fd3a2e4b2453" providerId="ADAL" clId="{4457FA57-250B-44AC-8655-05D46C5A3D8A}" dt="2023-06-01T19:15:14.453" v="2541" actId="478"/>
          <ac:spMkLst>
            <pc:docMk/>
            <pc:sldMk cId="421651600" sldId="230717677"/>
            <ac:spMk id="74" creationId="{EAB80E16-063F-4DDB-AFAA-CA3CDCA8CD07}"/>
          </ac:spMkLst>
        </pc:spChg>
        <pc:spChg chg="del">
          <ac:chgData name="Manal El Bakkouri" userId="8b130982-2e3f-4164-b881-fd3a2e4b2453" providerId="ADAL" clId="{4457FA57-250B-44AC-8655-05D46C5A3D8A}" dt="2023-06-01T19:15:14.453" v="2541" actId="478"/>
          <ac:spMkLst>
            <pc:docMk/>
            <pc:sldMk cId="421651600" sldId="230717677"/>
            <ac:spMk id="75" creationId="{0212B5EB-D9E7-4D8B-93BD-678290915FB3}"/>
          </ac:spMkLst>
        </pc:spChg>
        <pc:spChg chg="del">
          <ac:chgData name="Manal El Bakkouri" userId="8b130982-2e3f-4164-b881-fd3a2e4b2453" providerId="ADAL" clId="{4457FA57-250B-44AC-8655-05D46C5A3D8A}" dt="2023-06-01T19:15:14.453" v="2541" actId="478"/>
          <ac:spMkLst>
            <pc:docMk/>
            <pc:sldMk cId="421651600" sldId="230717677"/>
            <ac:spMk id="76" creationId="{BA7279AC-8F1A-4C1D-B878-0118833A97FF}"/>
          </ac:spMkLst>
        </pc:spChg>
        <pc:spChg chg="del">
          <ac:chgData name="Manal El Bakkouri" userId="8b130982-2e3f-4164-b881-fd3a2e4b2453" providerId="ADAL" clId="{4457FA57-250B-44AC-8655-05D46C5A3D8A}" dt="2023-06-01T19:15:14.453" v="2541" actId="478"/>
          <ac:spMkLst>
            <pc:docMk/>
            <pc:sldMk cId="421651600" sldId="230717677"/>
            <ac:spMk id="77" creationId="{8371C823-AE11-4A33-A2E6-B7C6C2E6A30B}"/>
          </ac:spMkLst>
        </pc:spChg>
        <pc:spChg chg="del">
          <ac:chgData name="Manal El Bakkouri" userId="8b130982-2e3f-4164-b881-fd3a2e4b2453" providerId="ADAL" clId="{4457FA57-250B-44AC-8655-05D46C5A3D8A}" dt="2023-06-01T19:15:14.453" v="2541" actId="478"/>
          <ac:spMkLst>
            <pc:docMk/>
            <pc:sldMk cId="421651600" sldId="230717677"/>
            <ac:spMk id="78" creationId="{5EE6173B-A52D-4DCD-A5A9-B70B1B336D6E}"/>
          </ac:spMkLst>
        </pc:spChg>
        <pc:spChg chg="del">
          <ac:chgData name="Manal El Bakkouri" userId="8b130982-2e3f-4164-b881-fd3a2e4b2453" providerId="ADAL" clId="{4457FA57-250B-44AC-8655-05D46C5A3D8A}" dt="2023-06-01T19:15:14.453" v="2541" actId="478"/>
          <ac:spMkLst>
            <pc:docMk/>
            <pc:sldMk cId="421651600" sldId="230717677"/>
            <ac:spMk id="79" creationId="{F0066DD4-D6B6-44C9-A404-A6424902C50F}"/>
          </ac:spMkLst>
        </pc:spChg>
        <pc:spChg chg="del">
          <ac:chgData name="Manal El Bakkouri" userId="8b130982-2e3f-4164-b881-fd3a2e4b2453" providerId="ADAL" clId="{4457FA57-250B-44AC-8655-05D46C5A3D8A}" dt="2023-06-01T19:15:14.453" v="2541" actId="478"/>
          <ac:spMkLst>
            <pc:docMk/>
            <pc:sldMk cId="421651600" sldId="230717677"/>
            <ac:spMk id="80" creationId="{E89FE716-6159-4A5A-A682-4DFF375311B5}"/>
          </ac:spMkLst>
        </pc:spChg>
        <pc:spChg chg="del">
          <ac:chgData name="Manal El Bakkouri" userId="8b130982-2e3f-4164-b881-fd3a2e4b2453" providerId="ADAL" clId="{4457FA57-250B-44AC-8655-05D46C5A3D8A}" dt="2023-06-01T19:15:14.453" v="2541" actId="478"/>
          <ac:spMkLst>
            <pc:docMk/>
            <pc:sldMk cId="421651600" sldId="230717677"/>
            <ac:spMk id="81" creationId="{17C03CA3-760A-42D3-B4DE-99864A63FAA6}"/>
          </ac:spMkLst>
        </pc:spChg>
        <pc:spChg chg="del">
          <ac:chgData name="Manal El Bakkouri" userId="8b130982-2e3f-4164-b881-fd3a2e4b2453" providerId="ADAL" clId="{4457FA57-250B-44AC-8655-05D46C5A3D8A}" dt="2023-06-01T19:15:14.453" v="2541" actId="478"/>
          <ac:spMkLst>
            <pc:docMk/>
            <pc:sldMk cId="421651600" sldId="230717677"/>
            <ac:spMk id="82" creationId="{A49745B6-2E9A-4BB8-866F-353E1E71166C}"/>
          </ac:spMkLst>
        </pc:spChg>
        <pc:spChg chg="del">
          <ac:chgData name="Manal El Bakkouri" userId="8b130982-2e3f-4164-b881-fd3a2e4b2453" providerId="ADAL" clId="{4457FA57-250B-44AC-8655-05D46C5A3D8A}" dt="2023-06-01T19:15:14.453" v="2541" actId="478"/>
          <ac:spMkLst>
            <pc:docMk/>
            <pc:sldMk cId="421651600" sldId="230717677"/>
            <ac:spMk id="83" creationId="{344278D5-ED77-4A7E-887B-F51E2F32F25A}"/>
          </ac:spMkLst>
        </pc:spChg>
        <pc:spChg chg="del">
          <ac:chgData name="Manal El Bakkouri" userId="8b130982-2e3f-4164-b881-fd3a2e4b2453" providerId="ADAL" clId="{4457FA57-250B-44AC-8655-05D46C5A3D8A}" dt="2023-06-01T19:15:14.453" v="2541" actId="478"/>
          <ac:spMkLst>
            <pc:docMk/>
            <pc:sldMk cId="421651600" sldId="230717677"/>
            <ac:spMk id="84" creationId="{99D43FFB-4934-45D9-9E48-9C83D0D4B7A4}"/>
          </ac:spMkLst>
        </pc:spChg>
        <pc:spChg chg="add del mod">
          <ac:chgData name="Manal El Bakkouri" userId="8b130982-2e3f-4164-b881-fd3a2e4b2453" providerId="ADAL" clId="{4457FA57-250B-44AC-8655-05D46C5A3D8A}" dt="2023-06-01T19:22:09.806" v="2628" actId="478"/>
          <ac:spMkLst>
            <pc:docMk/>
            <pc:sldMk cId="421651600" sldId="230717677"/>
            <ac:spMk id="85" creationId="{3EBD3262-4682-4F41-8DB0-583BD3B228E4}"/>
          </ac:spMkLst>
        </pc:spChg>
        <pc:spChg chg="add del mod">
          <ac:chgData name="Manal El Bakkouri" userId="8b130982-2e3f-4164-b881-fd3a2e4b2453" providerId="ADAL" clId="{4457FA57-250B-44AC-8655-05D46C5A3D8A}" dt="2023-06-01T19:31:15.477" v="2763" actId="478"/>
          <ac:spMkLst>
            <pc:docMk/>
            <pc:sldMk cId="421651600" sldId="230717677"/>
            <ac:spMk id="86" creationId="{789A8D55-AB42-4F75-971E-C53B2262726E}"/>
          </ac:spMkLst>
        </pc:spChg>
        <pc:spChg chg="add del mod">
          <ac:chgData name="Manal El Bakkouri" userId="8b130982-2e3f-4164-b881-fd3a2e4b2453" providerId="ADAL" clId="{4457FA57-250B-44AC-8655-05D46C5A3D8A}" dt="2023-06-01T19:59:02.757" v="3005" actId="478"/>
          <ac:spMkLst>
            <pc:docMk/>
            <pc:sldMk cId="421651600" sldId="230717677"/>
            <ac:spMk id="87" creationId="{6639B937-E536-4870-AE45-2BCAF44310A3}"/>
          </ac:spMkLst>
        </pc:spChg>
        <pc:spChg chg="mod">
          <ac:chgData name="Manal El Bakkouri" userId="8b130982-2e3f-4164-b881-fd3a2e4b2453" providerId="ADAL" clId="{4457FA57-250B-44AC-8655-05D46C5A3D8A}" dt="2023-06-01T20:04:37.720" v="3109" actId="1036"/>
          <ac:spMkLst>
            <pc:docMk/>
            <pc:sldMk cId="421651600" sldId="230717677"/>
            <ac:spMk id="90" creationId="{D6610449-E331-403D-8AC0-771D174866A6}"/>
          </ac:spMkLst>
        </pc:spChg>
        <pc:spChg chg="mod">
          <ac:chgData name="Manal El Bakkouri" userId="8b130982-2e3f-4164-b881-fd3a2e4b2453" providerId="ADAL" clId="{4457FA57-250B-44AC-8655-05D46C5A3D8A}" dt="2023-06-01T20:04:37.720" v="3109" actId="1036"/>
          <ac:spMkLst>
            <pc:docMk/>
            <pc:sldMk cId="421651600" sldId="230717677"/>
            <ac:spMk id="91" creationId="{2C726B18-A24A-48D4-B062-8336D525758D}"/>
          </ac:spMkLst>
        </pc:spChg>
        <pc:spChg chg="mod">
          <ac:chgData name="Manal El Bakkouri" userId="8b130982-2e3f-4164-b881-fd3a2e4b2453" providerId="ADAL" clId="{4457FA57-250B-44AC-8655-05D46C5A3D8A}" dt="2023-06-01T20:04:37.720" v="3109" actId="1036"/>
          <ac:spMkLst>
            <pc:docMk/>
            <pc:sldMk cId="421651600" sldId="230717677"/>
            <ac:spMk id="92" creationId="{583FD440-B8F6-48D4-8325-85875CA51FC8}"/>
          </ac:spMkLst>
        </pc:spChg>
        <pc:spChg chg="mod">
          <ac:chgData name="Manal El Bakkouri" userId="8b130982-2e3f-4164-b881-fd3a2e4b2453" providerId="ADAL" clId="{4457FA57-250B-44AC-8655-05D46C5A3D8A}" dt="2023-06-01T19:28:15.281" v="2743" actId="165"/>
          <ac:spMkLst>
            <pc:docMk/>
            <pc:sldMk cId="421651600" sldId="230717677"/>
            <ac:spMk id="95" creationId="{06FFFA47-58EC-4FEB-BB92-55BC7BF96DFF}"/>
          </ac:spMkLst>
        </pc:spChg>
        <pc:spChg chg="mod">
          <ac:chgData name="Manal El Bakkouri" userId="8b130982-2e3f-4164-b881-fd3a2e4b2453" providerId="ADAL" clId="{4457FA57-250B-44AC-8655-05D46C5A3D8A}" dt="2023-06-01T19:28:15.281" v="2743" actId="165"/>
          <ac:spMkLst>
            <pc:docMk/>
            <pc:sldMk cId="421651600" sldId="230717677"/>
            <ac:spMk id="96" creationId="{AF5958AF-F872-407D-86DD-F9334C0E4083}"/>
          </ac:spMkLst>
        </pc:spChg>
        <pc:spChg chg="mod">
          <ac:chgData name="Manal El Bakkouri" userId="8b130982-2e3f-4164-b881-fd3a2e4b2453" providerId="ADAL" clId="{4457FA57-250B-44AC-8655-05D46C5A3D8A}" dt="2023-06-01T19:28:15.281" v="2743" actId="165"/>
          <ac:spMkLst>
            <pc:docMk/>
            <pc:sldMk cId="421651600" sldId="230717677"/>
            <ac:spMk id="97" creationId="{D6B0A6D1-1927-4548-9768-1876B76FB755}"/>
          </ac:spMkLst>
        </pc:spChg>
        <pc:spChg chg="mod">
          <ac:chgData name="Manal El Bakkouri" userId="8b130982-2e3f-4164-b881-fd3a2e4b2453" providerId="ADAL" clId="{4457FA57-250B-44AC-8655-05D46C5A3D8A}" dt="2023-06-01T20:04:37.720" v="3109" actId="1036"/>
          <ac:spMkLst>
            <pc:docMk/>
            <pc:sldMk cId="421651600" sldId="230717677"/>
            <ac:spMk id="100" creationId="{205A0073-8A17-4028-B3F7-263DA835595C}"/>
          </ac:spMkLst>
        </pc:spChg>
        <pc:spChg chg="mod">
          <ac:chgData name="Manal El Bakkouri" userId="8b130982-2e3f-4164-b881-fd3a2e4b2453" providerId="ADAL" clId="{4457FA57-250B-44AC-8655-05D46C5A3D8A}" dt="2023-06-01T20:04:37.720" v="3109" actId="1036"/>
          <ac:spMkLst>
            <pc:docMk/>
            <pc:sldMk cId="421651600" sldId="230717677"/>
            <ac:spMk id="101" creationId="{5815294F-A3A9-4BD9-BD25-39904F784FC8}"/>
          </ac:spMkLst>
        </pc:spChg>
        <pc:spChg chg="mod">
          <ac:chgData name="Manal El Bakkouri" userId="8b130982-2e3f-4164-b881-fd3a2e4b2453" providerId="ADAL" clId="{4457FA57-250B-44AC-8655-05D46C5A3D8A}" dt="2023-06-01T20:04:37.720" v="3109" actId="1036"/>
          <ac:spMkLst>
            <pc:docMk/>
            <pc:sldMk cId="421651600" sldId="230717677"/>
            <ac:spMk id="102" creationId="{EE453199-6A13-42E4-9ADA-FB86B5E0B3DA}"/>
          </ac:spMkLst>
        </pc:spChg>
        <pc:spChg chg="mod">
          <ac:chgData name="Manal El Bakkouri" userId="8b130982-2e3f-4164-b881-fd3a2e4b2453" providerId="ADAL" clId="{4457FA57-250B-44AC-8655-05D46C5A3D8A}" dt="2023-06-01T20:04:37.720" v="3109" actId="1036"/>
          <ac:spMkLst>
            <pc:docMk/>
            <pc:sldMk cId="421651600" sldId="230717677"/>
            <ac:spMk id="105" creationId="{EFB56D00-1FE2-4EAA-9507-F86C7663EC68}"/>
          </ac:spMkLst>
        </pc:spChg>
        <pc:spChg chg="mod">
          <ac:chgData name="Manal El Bakkouri" userId="8b130982-2e3f-4164-b881-fd3a2e4b2453" providerId="ADAL" clId="{4457FA57-250B-44AC-8655-05D46C5A3D8A}" dt="2023-06-01T20:04:37.720" v="3109" actId="1036"/>
          <ac:spMkLst>
            <pc:docMk/>
            <pc:sldMk cId="421651600" sldId="230717677"/>
            <ac:spMk id="106" creationId="{61D355D4-3DAD-4860-BB49-1C545B8855BB}"/>
          </ac:spMkLst>
        </pc:spChg>
        <pc:spChg chg="mod">
          <ac:chgData name="Manal El Bakkouri" userId="8b130982-2e3f-4164-b881-fd3a2e4b2453" providerId="ADAL" clId="{4457FA57-250B-44AC-8655-05D46C5A3D8A}" dt="2023-06-01T20:04:37.720" v="3109" actId="1036"/>
          <ac:spMkLst>
            <pc:docMk/>
            <pc:sldMk cId="421651600" sldId="230717677"/>
            <ac:spMk id="107" creationId="{D0ABB2EA-3B35-4877-9639-47E0CBBEDC05}"/>
          </ac:spMkLst>
        </pc:spChg>
        <pc:spChg chg="add del mod">
          <ac:chgData name="Manal El Bakkouri" userId="8b130982-2e3f-4164-b881-fd3a2e4b2453" providerId="ADAL" clId="{4457FA57-250B-44AC-8655-05D46C5A3D8A}" dt="2023-06-01T19:28:15.281" v="2743" actId="165"/>
          <ac:spMkLst>
            <pc:docMk/>
            <pc:sldMk cId="421651600" sldId="230717677"/>
            <ac:spMk id="110" creationId="{36A9C905-8D97-42B5-81EC-04358BE99025}"/>
          </ac:spMkLst>
        </pc:spChg>
        <pc:spChg chg="add del mod">
          <ac:chgData name="Manal El Bakkouri" userId="8b130982-2e3f-4164-b881-fd3a2e4b2453" providerId="ADAL" clId="{4457FA57-250B-44AC-8655-05D46C5A3D8A}" dt="2023-06-01T19:28:15.281" v="2743" actId="165"/>
          <ac:spMkLst>
            <pc:docMk/>
            <pc:sldMk cId="421651600" sldId="230717677"/>
            <ac:spMk id="111" creationId="{2D541AB1-9D2D-440C-A80E-88A497EA8B85}"/>
          </ac:spMkLst>
        </pc:spChg>
        <pc:spChg chg="del mod">
          <ac:chgData name="Manal El Bakkouri" userId="8b130982-2e3f-4164-b881-fd3a2e4b2453" providerId="ADAL" clId="{4457FA57-250B-44AC-8655-05D46C5A3D8A}" dt="2023-06-01T19:27:08.923" v="2727" actId="478"/>
          <ac:spMkLst>
            <pc:docMk/>
            <pc:sldMk cId="421651600" sldId="230717677"/>
            <ac:spMk id="112" creationId="{5FF0C350-C6EF-484C-8FE8-629EFF97B999}"/>
          </ac:spMkLst>
        </pc:spChg>
        <pc:spChg chg="mod">
          <ac:chgData name="Manal El Bakkouri" userId="8b130982-2e3f-4164-b881-fd3a2e4b2453" providerId="ADAL" clId="{4457FA57-250B-44AC-8655-05D46C5A3D8A}" dt="2023-06-01T20:35:48.653" v="3338" actId="208"/>
          <ac:spMkLst>
            <pc:docMk/>
            <pc:sldMk cId="421651600" sldId="230717677"/>
            <ac:spMk id="115" creationId="{2558BBD9-30DC-4238-A161-85228D752387}"/>
          </ac:spMkLst>
        </pc:spChg>
        <pc:spChg chg="mod">
          <ac:chgData name="Manal El Bakkouri" userId="8b130982-2e3f-4164-b881-fd3a2e4b2453" providerId="ADAL" clId="{4457FA57-250B-44AC-8655-05D46C5A3D8A}" dt="2023-06-01T20:04:37.720" v="3109" actId="1036"/>
          <ac:spMkLst>
            <pc:docMk/>
            <pc:sldMk cId="421651600" sldId="230717677"/>
            <ac:spMk id="116" creationId="{147835CF-F09A-4DA0-ACF3-01EFEF8CADBF}"/>
          </ac:spMkLst>
        </pc:spChg>
        <pc:spChg chg="mod">
          <ac:chgData name="Manal El Bakkouri" userId="8b130982-2e3f-4164-b881-fd3a2e4b2453" providerId="ADAL" clId="{4457FA57-250B-44AC-8655-05D46C5A3D8A}" dt="2023-06-01T20:04:37.720" v="3109" actId="1036"/>
          <ac:spMkLst>
            <pc:docMk/>
            <pc:sldMk cId="421651600" sldId="230717677"/>
            <ac:spMk id="117" creationId="{809A252F-45E9-4F1B-B461-3E67C0E23B8E}"/>
          </ac:spMkLst>
        </pc:spChg>
        <pc:spChg chg="del mod">
          <ac:chgData name="Manal El Bakkouri" userId="8b130982-2e3f-4164-b881-fd3a2e4b2453" providerId="ADAL" clId="{4457FA57-250B-44AC-8655-05D46C5A3D8A}" dt="2023-06-01T19:28:03.839" v="2741" actId="478"/>
          <ac:spMkLst>
            <pc:docMk/>
            <pc:sldMk cId="421651600" sldId="230717677"/>
            <ac:spMk id="120" creationId="{86C700DE-7C33-4B71-AE25-BC572AB531B1}"/>
          </ac:spMkLst>
        </pc:spChg>
        <pc:spChg chg="del mod">
          <ac:chgData name="Manal El Bakkouri" userId="8b130982-2e3f-4164-b881-fd3a2e4b2453" providerId="ADAL" clId="{4457FA57-250B-44AC-8655-05D46C5A3D8A}" dt="2023-06-01T19:28:06.438" v="2742" actId="478"/>
          <ac:spMkLst>
            <pc:docMk/>
            <pc:sldMk cId="421651600" sldId="230717677"/>
            <ac:spMk id="121" creationId="{D3B80F6C-0FFD-4842-AD03-841BD2BD247B}"/>
          </ac:spMkLst>
        </pc:spChg>
        <pc:spChg chg="del mod">
          <ac:chgData name="Manal El Bakkouri" userId="8b130982-2e3f-4164-b881-fd3a2e4b2453" providerId="ADAL" clId="{4457FA57-250B-44AC-8655-05D46C5A3D8A}" dt="2023-06-01T19:28:00.651" v="2739" actId="478"/>
          <ac:spMkLst>
            <pc:docMk/>
            <pc:sldMk cId="421651600" sldId="230717677"/>
            <ac:spMk id="122" creationId="{A1762362-3D43-48F7-9520-4277ED8A912C}"/>
          </ac:spMkLst>
        </pc:spChg>
        <pc:spChg chg="mod">
          <ac:chgData name="Manal El Bakkouri" userId="8b130982-2e3f-4164-b881-fd3a2e4b2453" providerId="ADAL" clId="{4457FA57-250B-44AC-8655-05D46C5A3D8A}" dt="2023-06-01T19:28:15.281" v="2743" actId="165"/>
          <ac:spMkLst>
            <pc:docMk/>
            <pc:sldMk cId="421651600" sldId="230717677"/>
            <ac:spMk id="125" creationId="{9A4F9B7B-D1B1-49D0-A34B-C28E52F66D37}"/>
          </ac:spMkLst>
        </pc:spChg>
        <pc:spChg chg="mod">
          <ac:chgData name="Manal El Bakkouri" userId="8b130982-2e3f-4164-b881-fd3a2e4b2453" providerId="ADAL" clId="{4457FA57-250B-44AC-8655-05D46C5A3D8A}" dt="2023-06-01T19:28:15.281" v="2743" actId="165"/>
          <ac:spMkLst>
            <pc:docMk/>
            <pc:sldMk cId="421651600" sldId="230717677"/>
            <ac:spMk id="126" creationId="{B1421824-3BD4-4214-90BF-F61BD4D5CAFF}"/>
          </ac:spMkLst>
        </pc:spChg>
        <pc:spChg chg="mod">
          <ac:chgData name="Manal El Bakkouri" userId="8b130982-2e3f-4164-b881-fd3a2e4b2453" providerId="ADAL" clId="{4457FA57-250B-44AC-8655-05D46C5A3D8A}" dt="2023-06-01T19:28:15.281" v="2743" actId="165"/>
          <ac:spMkLst>
            <pc:docMk/>
            <pc:sldMk cId="421651600" sldId="230717677"/>
            <ac:spMk id="127" creationId="{F2F620DA-6E19-43CB-A143-2C223FEACEA7}"/>
          </ac:spMkLst>
        </pc:spChg>
        <pc:spChg chg="add del">
          <ac:chgData name="Manal El Bakkouri" userId="8b130982-2e3f-4164-b881-fd3a2e4b2453" providerId="ADAL" clId="{4457FA57-250B-44AC-8655-05D46C5A3D8A}" dt="2023-06-01T19:25:50.195" v="2692" actId="478"/>
          <ac:spMkLst>
            <pc:docMk/>
            <pc:sldMk cId="421651600" sldId="230717677"/>
            <ac:spMk id="128" creationId="{20CAF74E-2E65-48C6-99C7-8612B32CC0A1}"/>
          </ac:spMkLst>
        </pc:spChg>
        <pc:spChg chg="mod">
          <ac:chgData name="Manal El Bakkouri" userId="8b130982-2e3f-4164-b881-fd3a2e4b2453" providerId="ADAL" clId="{4457FA57-250B-44AC-8655-05D46C5A3D8A}" dt="2023-06-01T19:33:36.123" v="2768"/>
          <ac:spMkLst>
            <pc:docMk/>
            <pc:sldMk cId="421651600" sldId="230717677"/>
            <ac:spMk id="130" creationId="{E1DFC023-7517-4933-A29E-B2A707287879}"/>
          </ac:spMkLst>
        </pc:spChg>
        <pc:spChg chg="mod">
          <ac:chgData name="Manal El Bakkouri" userId="8b130982-2e3f-4164-b881-fd3a2e4b2453" providerId="ADAL" clId="{4457FA57-250B-44AC-8655-05D46C5A3D8A}" dt="2023-06-01T19:33:36.123" v="2768"/>
          <ac:spMkLst>
            <pc:docMk/>
            <pc:sldMk cId="421651600" sldId="230717677"/>
            <ac:spMk id="131" creationId="{783CEFDC-067B-4CE4-A067-07F918E764BD}"/>
          </ac:spMkLst>
        </pc:spChg>
        <pc:spChg chg="mod">
          <ac:chgData name="Manal El Bakkouri" userId="8b130982-2e3f-4164-b881-fd3a2e4b2453" providerId="ADAL" clId="{4457FA57-250B-44AC-8655-05D46C5A3D8A}" dt="2023-06-01T19:33:36.123" v="2768"/>
          <ac:spMkLst>
            <pc:docMk/>
            <pc:sldMk cId="421651600" sldId="230717677"/>
            <ac:spMk id="133" creationId="{3709B1A9-396D-4BB3-B7E9-1D5D7968899A}"/>
          </ac:spMkLst>
        </pc:spChg>
        <pc:spChg chg="mod">
          <ac:chgData name="Manal El Bakkouri" userId="8b130982-2e3f-4164-b881-fd3a2e4b2453" providerId="ADAL" clId="{4457FA57-250B-44AC-8655-05D46C5A3D8A}" dt="2023-06-01T19:33:36.123" v="2768"/>
          <ac:spMkLst>
            <pc:docMk/>
            <pc:sldMk cId="421651600" sldId="230717677"/>
            <ac:spMk id="134" creationId="{2A2F92B2-26BF-447F-BC15-147C3A3F20E7}"/>
          </ac:spMkLst>
        </pc:spChg>
        <pc:spChg chg="add del mod">
          <ac:chgData name="Manal El Bakkouri" userId="8b130982-2e3f-4164-b881-fd3a2e4b2453" providerId="ADAL" clId="{4457FA57-250B-44AC-8655-05D46C5A3D8A}" dt="2023-06-01T19:50:06.495" v="2902" actId="478"/>
          <ac:spMkLst>
            <pc:docMk/>
            <pc:sldMk cId="421651600" sldId="230717677"/>
            <ac:spMk id="137" creationId="{6F0EE736-0734-4A12-880F-82E8DDC4C5A3}"/>
          </ac:spMkLst>
        </pc:spChg>
        <pc:spChg chg="add mod">
          <ac:chgData name="Manal El Bakkouri" userId="8b130982-2e3f-4164-b881-fd3a2e4b2453" providerId="ADAL" clId="{4457FA57-250B-44AC-8655-05D46C5A3D8A}" dt="2023-06-02T15:14:58.682" v="5462" actId="1076"/>
          <ac:spMkLst>
            <pc:docMk/>
            <pc:sldMk cId="421651600" sldId="230717677"/>
            <ac:spMk id="138" creationId="{3C7AFD67-0718-42BB-803B-DC58956A673B}"/>
          </ac:spMkLst>
        </pc:spChg>
        <pc:spChg chg="add mod topLvl">
          <ac:chgData name="Manal El Bakkouri" userId="8b130982-2e3f-4164-b881-fd3a2e4b2453" providerId="ADAL" clId="{4457FA57-250B-44AC-8655-05D46C5A3D8A}" dt="2023-06-08T17:16:04.485" v="21091" actId="688"/>
          <ac:spMkLst>
            <pc:docMk/>
            <pc:sldMk cId="421651600" sldId="230717677"/>
            <ac:spMk id="139" creationId="{DF9FEF16-BEB0-4BAF-A9B0-CB25596D3237}"/>
          </ac:spMkLst>
        </pc:spChg>
        <pc:spChg chg="add mod topLvl">
          <ac:chgData name="Manal El Bakkouri" userId="8b130982-2e3f-4164-b881-fd3a2e4b2453" providerId="ADAL" clId="{4457FA57-250B-44AC-8655-05D46C5A3D8A}" dt="2023-06-01T20:07:42.511" v="3178" actId="164"/>
          <ac:spMkLst>
            <pc:docMk/>
            <pc:sldMk cId="421651600" sldId="230717677"/>
            <ac:spMk id="140" creationId="{1873143C-B064-41C2-B58C-13502B7F61A8}"/>
          </ac:spMkLst>
        </pc:spChg>
        <pc:spChg chg="add del mod topLvl">
          <ac:chgData name="Manal El Bakkouri" userId="8b130982-2e3f-4164-b881-fd3a2e4b2453" providerId="ADAL" clId="{4457FA57-250B-44AC-8655-05D46C5A3D8A}" dt="2023-06-08T17:16:59.652" v="21100" actId="478"/>
          <ac:spMkLst>
            <pc:docMk/>
            <pc:sldMk cId="421651600" sldId="230717677"/>
            <ac:spMk id="141" creationId="{23555ED6-C245-467C-BDB3-93A275518744}"/>
          </ac:spMkLst>
        </pc:spChg>
        <pc:spChg chg="add del mod topLvl">
          <ac:chgData name="Manal El Bakkouri" userId="8b130982-2e3f-4164-b881-fd3a2e4b2453" providerId="ADAL" clId="{4457FA57-250B-44AC-8655-05D46C5A3D8A}" dt="2023-06-08T17:17:05.458" v="21102" actId="478"/>
          <ac:spMkLst>
            <pc:docMk/>
            <pc:sldMk cId="421651600" sldId="230717677"/>
            <ac:spMk id="142" creationId="{B4B3E1EC-952F-412E-A077-C4E56E2F56F3}"/>
          </ac:spMkLst>
        </pc:spChg>
        <pc:spChg chg="add del mod">
          <ac:chgData name="Manal El Bakkouri" userId="8b130982-2e3f-4164-b881-fd3a2e4b2453" providerId="ADAL" clId="{4457FA57-250B-44AC-8655-05D46C5A3D8A}" dt="2023-06-01T20:05:41.845" v="3150" actId="478"/>
          <ac:spMkLst>
            <pc:docMk/>
            <pc:sldMk cId="421651600" sldId="230717677"/>
            <ac:spMk id="146" creationId="{01D57CC1-8F67-4D1C-A6C1-4FE9FD90F5C1}"/>
          </ac:spMkLst>
        </pc:spChg>
        <pc:spChg chg="add mod">
          <ac:chgData name="Manal El Bakkouri" userId="8b130982-2e3f-4164-b881-fd3a2e4b2453" providerId="ADAL" clId="{4457FA57-250B-44AC-8655-05D46C5A3D8A}" dt="2023-06-01T20:06:08.349" v="3156" actId="113"/>
          <ac:spMkLst>
            <pc:docMk/>
            <pc:sldMk cId="421651600" sldId="230717677"/>
            <ac:spMk id="147" creationId="{FA0FCAEC-592D-4DD6-B03C-C6B304452268}"/>
          </ac:spMkLst>
        </pc:spChg>
        <pc:spChg chg="add mod">
          <ac:chgData name="Manal El Bakkouri" userId="8b130982-2e3f-4164-b881-fd3a2e4b2453" providerId="ADAL" clId="{4457FA57-250B-44AC-8655-05D46C5A3D8A}" dt="2023-06-01T20:11:31.227" v="3200" actId="20577"/>
          <ac:spMkLst>
            <pc:docMk/>
            <pc:sldMk cId="421651600" sldId="230717677"/>
            <ac:spMk id="148" creationId="{EF8C07D8-088E-466E-8C9F-213D63A46337}"/>
          </ac:spMkLst>
        </pc:spChg>
        <pc:spChg chg="add mod">
          <ac:chgData name="Manal El Bakkouri" userId="8b130982-2e3f-4164-b881-fd3a2e4b2453" providerId="ADAL" clId="{4457FA57-250B-44AC-8655-05D46C5A3D8A}" dt="2023-06-04T13:13:08.640" v="7718" actId="1076"/>
          <ac:spMkLst>
            <pc:docMk/>
            <pc:sldMk cId="421651600" sldId="230717677"/>
            <ac:spMk id="153" creationId="{DEBFB27F-1D30-4436-9C94-F51B521B569C}"/>
          </ac:spMkLst>
        </pc:spChg>
        <pc:grpChg chg="add mod">
          <ac:chgData name="Manal El Bakkouri" userId="8b130982-2e3f-4164-b881-fd3a2e4b2453" providerId="ADAL" clId="{4457FA57-250B-44AC-8655-05D46C5A3D8A}" dt="2023-06-08T17:17:10.343" v="21103" actId="1076"/>
          <ac:grpSpMkLst>
            <pc:docMk/>
            <pc:sldMk cId="421651600" sldId="230717677"/>
            <ac:grpSpMk id="2" creationId="{1AE00143-1476-4858-914B-0A14237E9FCF}"/>
          </ac:grpSpMkLst>
        </pc:grpChg>
        <pc:grpChg chg="add mod">
          <ac:chgData name="Manal El Bakkouri" userId="8b130982-2e3f-4164-b881-fd3a2e4b2453" providerId="ADAL" clId="{4457FA57-250B-44AC-8655-05D46C5A3D8A}" dt="2023-06-08T17:15:30.680" v="21090" actId="164"/>
          <ac:grpSpMkLst>
            <pc:docMk/>
            <pc:sldMk cId="421651600" sldId="230717677"/>
            <ac:grpSpMk id="3" creationId="{9F825D7B-1981-42BC-A478-07EBAFCE28E9}"/>
          </ac:grpSpMkLst>
        </pc:grpChg>
        <pc:grpChg chg="add del mod">
          <ac:chgData name="Manal El Bakkouri" userId="8b130982-2e3f-4164-b881-fd3a2e4b2453" providerId="ADAL" clId="{4457FA57-250B-44AC-8655-05D46C5A3D8A}" dt="2023-06-01T19:28:15.281" v="2743" actId="165"/>
          <ac:grpSpMkLst>
            <pc:docMk/>
            <pc:sldMk cId="421651600" sldId="230717677"/>
            <ac:grpSpMk id="10" creationId="{3B6F1580-B380-46F6-8855-0182F1117331}"/>
          </ac:grpSpMkLst>
        </pc:grpChg>
        <pc:grpChg chg="del">
          <ac:chgData name="Manal El Bakkouri" userId="8b130982-2e3f-4164-b881-fd3a2e4b2453" providerId="ADAL" clId="{4457FA57-250B-44AC-8655-05D46C5A3D8A}" dt="2023-06-01T19:15:14.453" v="2541" actId="478"/>
          <ac:grpSpMkLst>
            <pc:docMk/>
            <pc:sldMk cId="421651600" sldId="230717677"/>
            <ac:grpSpMk id="26" creationId="{C843D972-9242-4083-840E-4E90B2393474}"/>
          </ac:grpSpMkLst>
        </pc:grpChg>
        <pc:grpChg chg="add mod">
          <ac:chgData name="Manal El Bakkouri" userId="8b130982-2e3f-4164-b881-fd3a2e4b2453" providerId="ADAL" clId="{4457FA57-250B-44AC-8655-05D46C5A3D8A}" dt="2023-06-08T17:15:22.214" v="21088" actId="164"/>
          <ac:grpSpMkLst>
            <pc:docMk/>
            <pc:sldMk cId="421651600" sldId="230717677"/>
            <ac:grpSpMk id="46" creationId="{A6A1C61B-0EDF-4F29-B0C1-33F827F5B899}"/>
          </ac:grpSpMkLst>
        </pc:grpChg>
        <pc:grpChg chg="del">
          <ac:chgData name="Manal El Bakkouri" userId="8b130982-2e3f-4164-b881-fd3a2e4b2453" providerId="ADAL" clId="{4457FA57-250B-44AC-8655-05D46C5A3D8A}" dt="2023-06-01T19:15:14.453" v="2541" actId="478"/>
          <ac:grpSpMkLst>
            <pc:docMk/>
            <pc:sldMk cId="421651600" sldId="230717677"/>
            <ac:grpSpMk id="50" creationId="{495B5C5E-9EB0-44F3-B92B-2DDD3BE743E6}"/>
          </ac:grpSpMkLst>
        </pc:grpChg>
        <pc:grpChg chg="del">
          <ac:chgData name="Manal El Bakkouri" userId="8b130982-2e3f-4164-b881-fd3a2e4b2453" providerId="ADAL" clId="{4457FA57-250B-44AC-8655-05D46C5A3D8A}" dt="2023-06-01T19:15:14.453" v="2541" actId="478"/>
          <ac:grpSpMkLst>
            <pc:docMk/>
            <pc:sldMk cId="421651600" sldId="230717677"/>
            <ac:grpSpMk id="54" creationId="{D707E470-0326-4BAB-9546-7CB9F9E45F42}"/>
          </ac:grpSpMkLst>
        </pc:grpChg>
        <pc:grpChg chg="del">
          <ac:chgData name="Manal El Bakkouri" userId="8b130982-2e3f-4164-b881-fd3a2e4b2453" providerId="ADAL" clId="{4457FA57-250B-44AC-8655-05D46C5A3D8A}" dt="2023-06-01T19:15:14.453" v="2541" actId="478"/>
          <ac:grpSpMkLst>
            <pc:docMk/>
            <pc:sldMk cId="421651600" sldId="230717677"/>
            <ac:grpSpMk id="58" creationId="{778BB182-4610-43D8-BBE5-5347B550CFFC}"/>
          </ac:grpSpMkLst>
        </pc:grpChg>
        <pc:grpChg chg="del">
          <ac:chgData name="Manal El Bakkouri" userId="8b130982-2e3f-4164-b881-fd3a2e4b2453" providerId="ADAL" clId="{4457FA57-250B-44AC-8655-05D46C5A3D8A}" dt="2023-06-01T19:15:14.453" v="2541" actId="478"/>
          <ac:grpSpMkLst>
            <pc:docMk/>
            <pc:sldMk cId="421651600" sldId="230717677"/>
            <ac:grpSpMk id="62" creationId="{A0C87EB1-1D33-4D3C-BB8E-9B5DF2F3A8A3}"/>
          </ac:grpSpMkLst>
        </pc:grpChg>
        <pc:grpChg chg="del">
          <ac:chgData name="Manal El Bakkouri" userId="8b130982-2e3f-4164-b881-fd3a2e4b2453" providerId="ADAL" clId="{4457FA57-250B-44AC-8655-05D46C5A3D8A}" dt="2023-06-01T19:15:14.453" v="2541" actId="478"/>
          <ac:grpSpMkLst>
            <pc:docMk/>
            <pc:sldMk cId="421651600" sldId="230717677"/>
            <ac:grpSpMk id="66" creationId="{A612F742-6123-474F-B6E2-A161D5C7DB36}"/>
          </ac:grpSpMkLst>
        </pc:grpChg>
        <pc:grpChg chg="add del mod topLvl">
          <ac:chgData name="Manal El Bakkouri" userId="8b130982-2e3f-4164-b881-fd3a2e4b2453" providerId="ADAL" clId="{4457FA57-250B-44AC-8655-05D46C5A3D8A}" dt="2023-06-01T20:04:37.720" v="3109" actId="1036"/>
          <ac:grpSpMkLst>
            <pc:docMk/>
            <pc:sldMk cId="421651600" sldId="230717677"/>
            <ac:grpSpMk id="88" creationId="{2872A3E1-00EA-4760-984A-993A493FF33A}"/>
          </ac:grpSpMkLst>
        </pc:grpChg>
        <pc:grpChg chg="mod">
          <ac:chgData name="Manal El Bakkouri" userId="8b130982-2e3f-4164-b881-fd3a2e4b2453" providerId="ADAL" clId="{4457FA57-250B-44AC-8655-05D46C5A3D8A}" dt="2023-06-01T20:04:37.720" v="3109" actId="1036"/>
          <ac:grpSpMkLst>
            <pc:docMk/>
            <pc:sldMk cId="421651600" sldId="230717677"/>
            <ac:grpSpMk id="89" creationId="{799C678B-8F01-4F57-9F1C-25D9AD07BFC9}"/>
          </ac:grpSpMkLst>
        </pc:grpChg>
        <pc:grpChg chg="add del mod topLvl">
          <ac:chgData name="Manal El Bakkouri" userId="8b130982-2e3f-4164-b881-fd3a2e4b2453" providerId="ADAL" clId="{4457FA57-250B-44AC-8655-05D46C5A3D8A}" dt="2023-06-01T19:28:23.544" v="2745" actId="478"/>
          <ac:grpSpMkLst>
            <pc:docMk/>
            <pc:sldMk cId="421651600" sldId="230717677"/>
            <ac:grpSpMk id="93" creationId="{55C21EB4-C07F-44F1-99B4-0C707BBAC192}"/>
          </ac:grpSpMkLst>
        </pc:grpChg>
        <pc:grpChg chg="mod">
          <ac:chgData name="Manal El Bakkouri" userId="8b130982-2e3f-4164-b881-fd3a2e4b2453" providerId="ADAL" clId="{4457FA57-250B-44AC-8655-05D46C5A3D8A}" dt="2023-06-01T19:28:15.281" v="2743" actId="165"/>
          <ac:grpSpMkLst>
            <pc:docMk/>
            <pc:sldMk cId="421651600" sldId="230717677"/>
            <ac:grpSpMk id="94" creationId="{3805E2BD-DE02-450C-84C5-17F910705D26}"/>
          </ac:grpSpMkLst>
        </pc:grpChg>
        <pc:grpChg chg="add del mod topLvl">
          <ac:chgData name="Manal El Bakkouri" userId="8b130982-2e3f-4164-b881-fd3a2e4b2453" providerId="ADAL" clId="{4457FA57-250B-44AC-8655-05D46C5A3D8A}" dt="2023-06-01T20:04:37.720" v="3109" actId="1036"/>
          <ac:grpSpMkLst>
            <pc:docMk/>
            <pc:sldMk cId="421651600" sldId="230717677"/>
            <ac:grpSpMk id="98" creationId="{9E6D4970-2A9A-48F5-A7F0-29C2029FF1C4}"/>
          </ac:grpSpMkLst>
        </pc:grpChg>
        <pc:grpChg chg="mod">
          <ac:chgData name="Manal El Bakkouri" userId="8b130982-2e3f-4164-b881-fd3a2e4b2453" providerId="ADAL" clId="{4457FA57-250B-44AC-8655-05D46C5A3D8A}" dt="2023-06-01T20:04:37.720" v="3109" actId="1036"/>
          <ac:grpSpMkLst>
            <pc:docMk/>
            <pc:sldMk cId="421651600" sldId="230717677"/>
            <ac:grpSpMk id="99" creationId="{A3F5B66A-9ADB-4ABE-84E4-544E040089A1}"/>
          </ac:grpSpMkLst>
        </pc:grpChg>
        <pc:grpChg chg="add del mod topLvl">
          <ac:chgData name="Manal El Bakkouri" userId="8b130982-2e3f-4164-b881-fd3a2e4b2453" providerId="ADAL" clId="{4457FA57-250B-44AC-8655-05D46C5A3D8A}" dt="2023-06-01T20:04:37.720" v="3109" actId="1036"/>
          <ac:grpSpMkLst>
            <pc:docMk/>
            <pc:sldMk cId="421651600" sldId="230717677"/>
            <ac:grpSpMk id="103" creationId="{F1552CFF-DD49-4E66-B289-5DC6FB4E49A8}"/>
          </ac:grpSpMkLst>
        </pc:grpChg>
        <pc:grpChg chg="mod">
          <ac:chgData name="Manal El Bakkouri" userId="8b130982-2e3f-4164-b881-fd3a2e4b2453" providerId="ADAL" clId="{4457FA57-250B-44AC-8655-05D46C5A3D8A}" dt="2023-06-01T20:04:37.720" v="3109" actId="1036"/>
          <ac:grpSpMkLst>
            <pc:docMk/>
            <pc:sldMk cId="421651600" sldId="230717677"/>
            <ac:grpSpMk id="104" creationId="{D6085161-DDAD-4E34-82C7-DBCAC7E987C1}"/>
          </ac:grpSpMkLst>
        </pc:grpChg>
        <pc:grpChg chg="add del mod topLvl">
          <ac:chgData name="Manal El Bakkouri" userId="8b130982-2e3f-4164-b881-fd3a2e4b2453" providerId="ADAL" clId="{4457FA57-250B-44AC-8655-05D46C5A3D8A}" dt="2023-06-01T19:28:19.023" v="2744" actId="478"/>
          <ac:grpSpMkLst>
            <pc:docMk/>
            <pc:sldMk cId="421651600" sldId="230717677"/>
            <ac:grpSpMk id="108" creationId="{DBC2E403-6E89-4254-B4B1-0B734743AC58}"/>
          </ac:grpSpMkLst>
        </pc:grpChg>
        <pc:grpChg chg="del mod">
          <ac:chgData name="Manal El Bakkouri" userId="8b130982-2e3f-4164-b881-fd3a2e4b2453" providerId="ADAL" clId="{4457FA57-250B-44AC-8655-05D46C5A3D8A}" dt="2023-06-01T19:27:08.923" v="2727" actId="478"/>
          <ac:grpSpMkLst>
            <pc:docMk/>
            <pc:sldMk cId="421651600" sldId="230717677"/>
            <ac:grpSpMk id="109" creationId="{DABC9695-2F2C-4E10-98B7-1604F9984296}"/>
          </ac:grpSpMkLst>
        </pc:grpChg>
        <pc:grpChg chg="add del mod topLvl">
          <ac:chgData name="Manal El Bakkouri" userId="8b130982-2e3f-4164-b881-fd3a2e4b2453" providerId="ADAL" clId="{4457FA57-250B-44AC-8655-05D46C5A3D8A}" dt="2023-06-01T20:04:37.720" v="3109" actId="1036"/>
          <ac:grpSpMkLst>
            <pc:docMk/>
            <pc:sldMk cId="421651600" sldId="230717677"/>
            <ac:grpSpMk id="113" creationId="{76F92B60-8904-4FD9-9037-F137E345BBDA}"/>
          </ac:grpSpMkLst>
        </pc:grpChg>
        <pc:grpChg chg="mod">
          <ac:chgData name="Manal El Bakkouri" userId="8b130982-2e3f-4164-b881-fd3a2e4b2453" providerId="ADAL" clId="{4457FA57-250B-44AC-8655-05D46C5A3D8A}" dt="2023-06-01T20:04:37.720" v="3109" actId="1036"/>
          <ac:grpSpMkLst>
            <pc:docMk/>
            <pc:sldMk cId="421651600" sldId="230717677"/>
            <ac:grpSpMk id="114" creationId="{0D313995-E8BD-4715-A3BE-8BA714210151}"/>
          </ac:grpSpMkLst>
        </pc:grpChg>
        <pc:grpChg chg="add del mod">
          <ac:chgData name="Manal El Bakkouri" userId="8b130982-2e3f-4164-b881-fd3a2e4b2453" providerId="ADAL" clId="{4457FA57-250B-44AC-8655-05D46C5A3D8A}" dt="2023-06-01T19:28:03.839" v="2741" actId="478"/>
          <ac:grpSpMkLst>
            <pc:docMk/>
            <pc:sldMk cId="421651600" sldId="230717677"/>
            <ac:grpSpMk id="118" creationId="{6DA0A855-5AD9-4555-9CBB-1789D8E35A7E}"/>
          </ac:grpSpMkLst>
        </pc:grpChg>
        <pc:grpChg chg="del mod">
          <ac:chgData name="Manal El Bakkouri" userId="8b130982-2e3f-4164-b881-fd3a2e4b2453" providerId="ADAL" clId="{4457FA57-250B-44AC-8655-05D46C5A3D8A}" dt="2023-06-01T19:28:00.651" v="2739" actId="478"/>
          <ac:grpSpMkLst>
            <pc:docMk/>
            <pc:sldMk cId="421651600" sldId="230717677"/>
            <ac:grpSpMk id="119" creationId="{50446402-BBE5-423D-BB53-98559FD123A4}"/>
          </ac:grpSpMkLst>
        </pc:grpChg>
        <pc:grpChg chg="add del mod topLvl">
          <ac:chgData name="Manal El Bakkouri" userId="8b130982-2e3f-4164-b881-fd3a2e4b2453" providerId="ADAL" clId="{4457FA57-250B-44AC-8655-05D46C5A3D8A}" dt="2023-06-01T19:28:19.023" v="2744" actId="478"/>
          <ac:grpSpMkLst>
            <pc:docMk/>
            <pc:sldMk cId="421651600" sldId="230717677"/>
            <ac:grpSpMk id="123" creationId="{96565B3E-91E4-4765-82A7-5F1FED16DF8A}"/>
          </ac:grpSpMkLst>
        </pc:grpChg>
        <pc:grpChg chg="mod">
          <ac:chgData name="Manal El Bakkouri" userId="8b130982-2e3f-4164-b881-fd3a2e4b2453" providerId="ADAL" clId="{4457FA57-250B-44AC-8655-05D46C5A3D8A}" dt="2023-06-01T19:28:15.281" v="2743" actId="165"/>
          <ac:grpSpMkLst>
            <pc:docMk/>
            <pc:sldMk cId="421651600" sldId="230717677"/>
            <ac:grpSpMk id="124" creationId="{9457D852-088C-419A-A3E2-B7EE07CE8E3E}"/>
          </ac:grpSpMkLst>
        </pc:grpChg>
        <pc:grpChg chg="add del mod">
          <ac:chgData name="Manal El Bakkouri" userId="8b130982-2e3f-4164-b881-fd3a2e4b2453" providerId="ADAL" clId="{4457FA57-250B-44AC-8655-05D46C5A3D8A}" dt="2023-06-01T19:33:56.821" v="2773" actId="478"/>
          <ac:grpSpMkLst>
            <pc:docMk/>
            <pc:sldMk cId="421651600" sldId="230717677"/>
            <ac:grpSpMk id="129" creationId="{0077492D-EB6F-4447-96FC-A609305F330C}"/>
          </ac:grpSpMkLst>
        </pc:grpChg>
        <pc:grpChg chg="add del mod">
          <ac:chgData name="Manal El Bakkouri" userId="8b130982-2e3f-4164-b881-fd3a2e4b2453" providerId="ADAL" clId="{4457FA57-250B-44AC-8655-05D46C5A3D8A}" dt="2023-06-01T19:33:56.821" v="2773" actId="478"/>
          <ac:grpSpMkLst>
            <pc:docMk/>
            <pc:sldMk cId="421651600" sldId="230717677"/>
            <ac:grpSpMk id="132" creationId="{71647889-22FD-4BA6-8864-49541A1148C9}"/>
          </ac:grpSpMkLst>
        </pc:grpChg>
        <pc:grpChg chg="add del mod">
          <ac:chgData name="Manal El Bakkouri" userId="8b130982-2e3f-4164-b881-fd3a2e4b2453" providerId="ADAL" clId="{4457FA57-250B-44AC-8655-05D46C5A3D8A}" dt="2023-06-01T20:07:32.398" v="3176" actId="165"/>
          <ac:grpSpMkLst>
            <pc:docMk/>
            <pc:sldMk cId="421651600" sldId="230717677"/>
            <ac:grpSpMk id="143" creationId="{3B1B0220-76C9-4537-A569-78240307ED4D}"/>
          </ac:grpSpMkLst>
        </pc:grpChg>
        <pc:grpChg chg="add del mod">
          <ac:chgData name="Manal El Bakkouri" userId="8b130982-2e3f-4164-b881-fd3a2e4b2453" providerId="ADAL" clId="{4457FA57-250B-44AC-8655-05D46C5A3D8A}" dt="2023-06-08T17:16:59.652" v="21100" actId="478"/>
          <ac:grpSpMkLst>
            <pc:docMk/>
            <pc:sldMk cId="421651600" sldId="230717677"/>
            <ac:grpSpMk id="149" creationId="{E10E18E9-8D2B-4541-807D-4E1BF38D4E8B}"/>
          </ac:grpSpMkLst>
        </pc:grpChg>
        <pc:grpChg chg="add mod">
          <ac:chgData name="Manal El Bakkouri" userId="8b130982-2e3f-4164-b881-fd3a2e4b2453" providerId="ADAL" clId="{4457FA57-250B-44AC-8655-05D46C5A3D8A}" dt="2023-06-08T17:15:30.680" v="21090" actId="164"/>
          <ac:grpSpMkLst>
            <pc:docMk/>
            <pc:sldMk cId="421651600" sldId="230717677"/>
            <ac:grpSpMk id="150" creationId="{D5F16558-AADD-417C-8CF5-68F38120FA03}"/>
          </ac:grpSpMkLst>
        </pc:grpChg>
        <pc:picChg chg="add mod">
          <ac:chgData name="Manal El Bakkouri" userId="8b130982-2e3f-4164-b881-fd3a2e4b2453" providerId="ADAL" clId="{4457FA57-250B-44AC-8655-05D46C5A3D8A}" dt="2023-06-01T20:04:37.720" v="3109" actId="1036"/>
          <ac:picMkLst>
            <pc:docMk/>
            <pc:sldMk cId="421651600" sldId="230717677"/>
            <ac:picMk id="4" creationId="{31D9D18B-853C-4129-8EB6-3F540F887FCF}"/>
          </ac:picMkLst>
        </pc:picChg>
        <pc:picChg chg="add mod">
          <ac:chgData name="Manal El Bakkouri" userId="8b130982-2e3f-4164-b881-fd3a2e4b2453" providerId="ADAL" clId="{4457FA57-250B-44AC-8655-05D46C5A3D8A}" dt="2023-06-08T17:15:22.214" v="21088" actId="164"/>
          <ac:picMkLst>
            <pc:docMk/>
            <pc:sldMk cId="421651600" sldId="230717677"/>
            <ac:picMk id="49" creationId="{ABA8B103-767A-408B-A80C-2F1E90AFC36E}"/>
          </ac:picMkLst>
        </pc:picChg>
        <pc:picChg chg="add del mod">
          <ac:chgData name="Manal El Bakkouri" userId="8b130982-2e3f-4164-b881-fd3a2e4b2453" providerId="ADAL" clId="{4457FA57-250B-44AC-8655-05D46C5A3D8A}" dt="2023-06-01T19:37:45.949" v="2793" actId="478"/>
          <ac:picMkLst>
            <pc:docMk/>
            <pc:sldMk cId="421651600" sldId="230717677"/>
            <ac:picMk id="71" creationId="{92150401-99F3-4B8B-A8A7-AC8319ED977F}"/>
          </ac:picMkLst>
        </pc:picChg>
        <pc:picChg chg="add del mod">
          <ac:chgData name="Manal El Bakkouri" userId="8b130982-2e3f-4164-b881-fd3a2e4b2453" providerId="ADAL" clId="{4457FA57-250B-44AC-8655-05D46C5A3D8A}" dt="2023-06-01T19:37:45.317" v="2792" actId="478"/>
          <ac:picMkLst>
            <pc:docMk/>
            <pc:sldMk cId="421651600" sldId="230717677"/>
            <ac:picMk id="135" creationId="{02C94BA4-8C88-4043-B9C7-3FEC1C76CE55}"/>
          </ac:picMkLst>
        </pc:picChg>
        <pc:picChg chg="add mod ord">
          <ac:chgData name="Manal El Bakkouri" userId="8b130982-2e3f-4164-b881-fd3a2e4b2453" providerId="ADAL" clId="{4457FA57-250B-44AC-8655-05D46C5A3D8A}" dt="2023-06-01T20:04:38.854" v="3110" actId="1076"/>
          <ac:picMkLst>
            <pc:docMk/>
            <pc:sldMk cId="421651600" sldId="230717677"/>
            <ac:picMk id="136" creationId="{1E42EEE4-355B-4F6D-BDBC-DE36D257FAAF}"/>
          </ac:picMkLst>
        </pc:picChg>
        <pc:picChg chg="add del mod">
          <ac:chgData name="Manal El Bakkouri" userId="8b130982-2e3f-4164-b881-fd3a2e4b2453" providerId="ADAL" clId="{4457FA57-250B-44AC-8655-05D46C5A3D8A}" dt="2023-06-08T17:17:01.529" v="21101" actId="478"/>
          <ac:picMkLst>
            <pc:docMk/>
            <pc:sldMk cId="421651600" sldId="230717677"/>
            <ac:picMk id="155" creationId="{4F8B433F-F50F-4DF1-92CE-798F902E7849}"/>
          </ac:picMkLst>
        </pc:picChg>
        <pc:picChg chg="add mod">
          <ac:chgData name="Manal El Bakkouri" userId="8b130982-2e3f-4164-b881-fd3a2e4b2453" providerId="ADAL" clId="{4457FA57-250B-44AC-8655-05D46C5A3D8A}" dt="2023-06-08T17:15:30.680" v="21090" actId="164"/>
          <ac:picMkLst>
            <pc:docMk/>
            <pc:sldMk cId="421651600" sldId="230717677"/>
            <ac:picMk id="157" creationId="{A08FA9AA-2D0B-4D4F-B0B8-D7F1A23F0379}"/>
          </ac:picMkLst>
        </pc:picChg>
        <pc:cxnChg chg="add del mod">
          <ac:chgData name="Manal El Bakkouri" userId="8b130982-2e3f-4164-b881-fd3a2e4b2453" providerId="ADAL" clId="{4457FA57-250B-44AC-8655-05D46C5A3D8A}" dt="2023-06-04T12:25:27.423" v="7346" actId="478"/>
          <ac:cxnSpMkLst>
            <pc:docMk/>
            <pc:sldMk cId="421651600" sldId="230717677"/>
            <ac:cxnSpMk id="145" creationId="{1955222F-0A18-40A5-ABD5-E6F537CD538F}"/>
          </ac:cxnSpMkLst>
        </pc:cxnChg>
        <pc:cxnChg chg="add mod">
          <ac:chgData name="Manal El Bakkouri" userId="8b130982-2e3f-4164-b881-fd3a2e4b2453" providerId="ADAL" clId="{4457FA57-250B-44AC-8655-05D46C5A3D8A}" dt="2023-06-04T12:25:36.603" v="7349" actId="14100"/>
          <ac:cxnSpMkLst>
            <pc:docMk/>
            <pc:sldMk cId="421651600" sldId="230717677"/>
            <ac:cxnSpMk id="151" creationId="{C042423E-6907-4655-BEF8-DE0609C682FB}"/>
          </ac:cxnSpMkLst>
        </pc:cxnChg>
      </pc:sldChg>
      <pc:sldChg chg="addSp delSp modSp add mod delAnim modAnim modNotesTx">
        <pc:chgData name="Manal El Bakkouri" userId="8b130982-2e3f-4164-b881-fd3a2e4b2453" providerId="ADAL" clId="{4457FA57-250B-44AC-8655-05D46C5A3D8A}" dt="2023-06-09T11:29:53.712" v="21761"/>
        <pc:sldMkLst>
          <pc:docMk/>
          <pc:sldMk cId="1384286971" sldId="230717678"/>
        </pc:sldMkLst>
        <pc:spChg chg="del">
          <ac:chgData name="Manal El Bakkouri" userId="8b130982-2e3f-4164-b881-fd3a2e4b2453" providerId="ADAL" clId="{4457FA57-250B-44AC-8655-05D46C5A3D8A}" dt="2023-06-09T11:29:53.407" v="21760" actId="478"/>
          <ac:spMkLst>
            <pc:docMk/>
            <pc:sldMk cId="1384286971" sldId="230717678"/>
            <ac:spMk id="14" creationId="{B08DFD07-6E33-4072-823A-52E54D4C1D97}"/>
          </ac:spMkLst>
        </pc:spChg>
        <pc:spChg chg="del">
          <ac:chgData name="Manal El Bakkouri" userId="8b130982-2e3f-4164-b881-fd3a2e4b2453" providerId="ADAL" clId="{4457FA57-250B-44AC-8655-05D46C5A3D8A}" dt="2023-06-09T11:29:53.407" v="21760" actId="478"/>
          <ac:spMkLst>
            <pc:docMk/>
            <pc:sldMk cId="1384286971" sldId="230717678"/>
            <ac:spMk id="15" creationId="{FB7A3366-B924-45F5-A887-21AFF439AF4F}"/>
          </ac:spMkLst>
        </pc:spChg>
        <pc:spChg chg="del">
          <ac:chgData name="Manal El Bakkouri" userId="8b130982-2e3f-4164-b881-fd3a2e4b2453" providerId="ADAL" clId="{4457FA57-250B-44AC-8655-05D46C5A3D8A}" dt="2023-06-09T11:29:53.407" v="21760" actId="478"/>
          <ac:spMkLst>
            <pc:docMk/>
            <pc:sldMk cId="1384286971" sldId="230717678"/>
            <ac:spMk id="16" creationId="{A8B90A34-D563-4612-8810-724F1BC01C39}"/>
          </ac:spMkLst>
        </pc:spChg>
        <pc:spChg chg="add del mod">
          <ac:chgData name="Manal El Bakkouri" userId="8b130982-2e3f-4164-b881-fd3a2e4b2453" providerId="ADAL" clId="{4457FA57-250B-44AC-8655-05D46C5A3D8A}" dt="2023-06-01T19:57:01.281" v="2984" actId="478"/>
          <ac:spMkLst>
            <pc:docMk/>
            <pc:sldMk cId="1384286971" sldId="230717678"/>
            <ac:spMk id="34" creationId="{436E32E5-5AAE-42D3-9CF8-A11DE45AD2B0}"/>
          </ac:spMkLst>
        </pc:spChg>
        <pc:spChg chg="add del mod topLvl">
          <ac:chgData name="Manal El Bakkouri" userId="8b130982-2e3f-4164-b881-fd3a2e4b2453" providerId="ADAL" clId="{4457FA57-250B-44AC-8655-05D46C5A3D8A}" dt="2023-06-01T20:03:14.796" v="3056" actId="478"/>
          <ac:spMkLst>
            <pc:docMk/>
            <pc:sldMk cId="1384286971" sldId="230717678"/>
            <ac:spMk id="35" creationId="{3401AFAE-3CDF-418E-8483-22753DD6A96F}"/>
          </ac:spMkLst>
        </pc:spChg>
        <pc:spChg chg="add del mod topLvl">
          <ac:chgData name="Manal El Bakkouri" userId="8b130982-2e3f-4164-b881-fd3a2e4b2453" providerId="ADAL" clId="{4457FA57-250B-44AC-8655-05D46C5A3D8A}" dt="2023-06-01T20:03:14.796" v="3056" actId="478"/>
          <ac:spMkLst>
            <pc:docMk/>
            <pc:sldMk cId="1384286971" sldId="230717678"/>
            <ac:spMk id="36" creationId="{F201EAC7-5CAF-4FA9-BE69-AE67940F341B}"/>
          </ac:spMkLst>
        </pc:spChg>
        <pc:spChg chg="mod">
          <ac:chgData name="Manal El Bakkouri" userId="8b130982-2e3f-4164-b881-fd3a2e4b2453" providerId="ADAL" clId="{4457FA57-250B-44AC-8655-05D46C5A3D8A}" dt="2023-06-01T19:56:17.462" v="2967"/>
          <ac:spMkLst>
            <pc:docMk/>
            <pc:sldMk cId="1384286971" sldId="230717678"/>
            <ac:spMk id="39" creationId="{678EEA8C-338C-4814-892E-F4CC03D979F8}"/>
          </ac:spMkLst>
        </pc:spChg>
        <pc:spChg chg="mod">
          <ac:chgData name="Manal El Bakkouri" userId="8b130982-2e3f-4164-b881-fd3a2e4b2453" providerId="ADAL" clId="{4457FA57-250B-44AC-8655-05D46C5A3D8A}" dt="2023-06-01T19:56:17.462" v="2967"/>
          <ac:spMkLst>
            <pc:docMk/>
            <pc:sldMk cId="1384286971" sldId="230717678"/>
            <ac:spMk id="40" creationId="{CC9FA2A9-037D-4BD8-BC2E-E66E8B641E12}"/>
          </ac:spMkLst>
        </pc:spChg>
        <pc:spChg chg="add del">
          <ac:chgData name="Manal El Bakkouri" userId="8b130982-2e3f-4164-b881-fd3a2e4b2453" providerId="ADAL" clId="{4457FA57-250B-44AC-8655-05D46C5A3D8A}" dt="2023-06-01T19:57:04.196" v="2985" actId="478"/>
          <ac:spMkLst>
            <pc:docMk/>
            <pc:sldMk cId="1384286971" sldId="230717678"/>
            <ac:spMk id="42" creationId="{6EFE17F8-1914-4505-90CC-DD92AFCE8C20}"/>
          </ac:spMkLst>
        </pc:spChg>
        <pc:spChg chg="mod">
          <ac:chgData name="Manal El Bakkouri" userId="8b130982-2e3f-4164-b881-fd3a2e4b2453" providerId="ADAL" clId="{4457FA57-250B-44AC-8655-05D46C5A3D8A}" dt="2023-06-01T19:56:46.471" v="2977"/>
          <ac:spMkLst>
            <pc:docMk/>
            <pc:sldMk cId="1384286971" sldId="230717678"/>
            <ac:spMk id="44" creationId="{2BC0F5EC-E8D9-45A8-80E0-D435CE926A74}"/>
          </ac:spMkLst>
        </pc:spChg>
        <pc:spChg chg="mod">
          <ac:chgData name="Manal El Bakkouri" userId="8b130982-2e3f-4164-b881-fd3a2e4b2453" providerId="ADAL" clId="{4457FA57-250B-44AC-8655-05D46C5A3D8A}" dt="2023-06-01T19:56:46.471" v="2977"/>
          <ac:spMkLst>
            <pc:docMk/>
            <pc:sldMk cId="1384286971" sldId="230717678"/>
            <ac:spMk id="45" creationId="{D2E51C62-DA8E-4B95-A651-073A1134D5EC}"/>
          </ac:spMkLst>
        </pc:spChg>
        <pc:spChg chg="del mod topLvl">
          <ac:chgData name="Manal El Bakkouri" userId="8b130982-2e3f-4164-b881-fd3a2e4b2453" providerId="ADAL" clId="{4457FA57-250B-44AC-8655-05D46C5A3D8A}" dt="2023-06-01T20:03:14.796" v="3056" actId="478"/>
          <ac:spMkLst>
            <pc:docMk/>
            <pc:sldMk cId="1384286971" sldId="230717678"/>
            <ac:spMk id="47" creationId="{6B7B7B16-3523-4F7F-A866-76B68DECAC5B}"/>
          </ac:spMkLst>
        </pc:spChg>
        <pc:spChg chg="del mod topLvl">
          <ac:chgData name="Manal El Bakkouri" userId="8b130982-2e3f-4164-b881-fd3a2e4b2453" providerId="ADAL" clId="{4457FA57-250B-44AC-8655-05D46C5A3D8A}" dt="2023-06-01T20:03:14.796" v="3056" actId="478"/>
          <ac:spMkLst>
            <pc:docMk/>
            <pc:sldMk cId="1384286971" sldId="230717678"/>
            <ac:spMk id="48" creationId="{800E700C-9421-431B-A358-C960681067D1}"/>
          </ac:spMkLst>
        </pc:spChg>
        <pc:spChg chg="add mod">
          <ac:chgData name="Manal El Bakkouri" userId="8b130982-2e3f-4164-b881-fd3a2e4b2453" providerId="ADAL" clId="{4457FA57-250B-44AC-8655-05D46C5A3D8A}" dt="2023-06-09T11:29:53.712" v="21761"/>
          <ac:spMkLst>
            <pc:docMk/>
            <pc:sldMk cId="1384286971" sldId="230717678"/>
            <ac:spMk id="48" creationId="{881C3F16-A752-4D37-8F8C-05A125AAB6E0}"/>
          </ac:spMkLst>
        </pc:spChg>
        <pc:spChg chg="add del mod">
          <ac:chgData name="Manal El Bakkouri" userId="8b130982-2e3f-4164-b881-fd3a2e4b2453" providerId="ADAL" clId="{4457FA57-250B-44AC-8655-05D46C5A3D8A}" dt="2023-06-01T20:01:20.062" v="3045" actId="478"/>
          <ac:spMkLst>
            <pc:docMk/>
            <pc:sldMk cId="1384286971" sldId="230717678"/>
            <ac:spMk id="49" creationId="{5F805AAA-AC21-499E-871A-5142093BE01C}"/>
          </ac:spMkLst>
        </pc:spChg>
        <pc:spChg chg="add mod">
          <ac:chgData name="Manal El Bakkouri" userId="8b130982-2e3f-4164-b881-fd3a2e4b2453" providerId="ADAL" clId="{4457FA57-250B-44AC-8655-05D46C5A3D8A}" dt="2023-06-09T11:29:53.712" v="21761"/>
          <ac:spMkLst>
            <pc:docMk/>
            <pc:sldMk cId="1384286971" sldId="230717678"/>
            <ac:spMk id="49" creationId="{F9017E51-3966-47F4-8146-E035AC70C5BD}"/>
          </ac:spMkLst>
        </pc:spChg>
        <pc:spChg chg="add mod">
          <ac:chgData name="Manal El Bakkouri" userId="8b130982-2e3f-4164-b881-fd3a2e4b2453" providerId="ADAL" clId="{4457FA57-250B-44AC-8655-05D46C5A3D8A}" dt="2023-06-09T11:29:53.712" v="21761"/>
          <ac:spMkLst>
            <pc:docMk/>
            <pc:sldMk cId="1384286971" sldId="230717678"/>
            <ac:spMk id="50" creationId="{10F5F80F-C7A0-428E-8C0A-243C51F42780}"/>
          </ac:spMkLst>
        </pc:spChg>
        <pc:spChg chg="add del mod">
          <ac:chgData name="Manal El Bakkouri" userId="8b130982-2e3f-4164-b881-fd3a2e4b2453" providerId="ADAL" clId="{4457FA57-250B-44AC-8655-05D46C5A3D8A}" dt="2023-06-01T20:35:08.028" v="3317" actId="478"/>
          <ac:spMkLst>
            <pc:docMk/>
            <pc:sldMk cId="1384286971" sldId="230717678"/>
            <ac:spMk id="50" creationId="{EBEF9AC9-15A3-428B-B9F6-C30BF4571724}"/>
          </ac:spMkLst>
        </pc:spChg>
        <pc:spChg chg="add mod">
          <ac:chgData name="Manal El Bakkouri" userId="8b130982-2e3f-4164-b881-fd3a2e4b2453" providerId="ADAL" clId="{4457FA57-250B-44AC-8655-05D46C5A3D8A}" dt="2023-06-09T11:29:53.712" v="21761"/>
          <ac:spMkLst>
            <pc:docMk/>
            <pc:sldMk cId="1384286971" sldId="230717678"/>
            <ac:spMk id="51" creationId="{7472CEC7-6FD2-4A82-90F4-3FED520C009C}"/>
          </ac:spMkLst>
        </pc:spChg>
        <pc:spChg chg="mod">
          <ac:chgData name="Manal El Bakkouri" userId="8b130982-2e3f-4164-b881-fd3a2e4b2453" providerId="ADAL" clId="{4457FA57-250B-44AC-8655-05D46C5A3D8A}" dt="2023-06-01T20:03:16.018" v="3057"/>
          <ac:spMkLst>
            <pc:docMk/>
            <pc:sldMk cId="1384286971" sldId="230717678"/>
            <ac:spMk id="52" creationId="{B7C81126-C7F5-48E5-9380-99473E3C0A2B}"/>
          </ac:spMkLst>
        </pc:spChg>
        <pc:spChg chg="mod">
          <ac:chgData name="Manal El Bakkouri" userId="8b130982-2e3f-4164-b881-fd3a2e4b2453" providerId="ADAL" clId="{4457FA57-250B-44AC-8655-05D46C5A3D8A}" dt="2023-06-01T20:03:16.018" v="3057"/>
          <ac:spMkLst>
            <pc:docMk/>
            <pc:sldMk cId="1384286971" sldId="230717678"/>
            <ac:spMk id="53" creationId="{CF66A971-9681-410E-B4F6-B16141809D96}"/>
          </ac:spMkLst>
        </pc:spChg>
        <pc:spChg chg="mod">
          <ac:chgData name="Manal El Bakkouri" userId="8b130982-2e3f-4164-b881-fd3a2e4b2453" providerId="ADAL" clId="{4457FA57-250B-44AC-8655-05D46C5A3D8A}" dt="2023-06-01T20:03:16.018" v="3057"/>
          <ac:spMkLst>
            <pc:docMk/>
            <pc:sldMk cId="1384286971" sldId="230717678"/>
            <ac:spMk id="54" creationId="{BA2B901E-E969-402B-9F51-83F11AE9D1A4}"/>
          </ac:spMkLst>
        </pc:spChg>
        <pc:spChg chg="mod">
          <ac:chgData name="Manal El Bakkouri" userId="8b130982-2e3f-4164-b881-fd3a2e4b2453" providerId="ADAL" clId="{4457FA57-250B-44AC-8655-05D46C5A3D8A}" dt="2023-06-01T20:03:16.018" v="3057"/>
          <ac:spMkLst>
            <pc:docMk/>
            <pc:sldMk cId="1384286971" sldId="230717678"/>
            <ac:spMk id="55" creationId="{1181DC28-5C40-4736-A3CE-95246A9B6B4E}"/>
          </ac:spMkLst>
        </pc:spChg>
        <pc:spChg chg="add del mod">
          <ac:chgData name="Manal El Bakkouri" userId="8b130982-2e3f-4164-b881-fd3a2e4b2453" providerId="ADAL" clId="{4457FA57-250B-44AC-8655-05D46C5A3D8A}" dt="2023-06-02T15:14:52.878" v="5459" actId="478"/>
          <ac:spMkLst>
            <pc:docMk/>
            <pc:sldMk cId="1384286971" sldId="230717678"/>
            <ac:spMk id="56" creationId="{B6AD6CD7-EA81-4489-8629-B71DD78B0A16}"/>
          </ac:spMkLst>
        </pc:spChg>
        <pc:spChg chg="mod">
          <ac:chgData name="Manal El Bakkouri" userId="8b130982-2e3f-4164-b881-fd3a2e4b2453" providerId="ADAL" clId="{4457FA57-250B-44AC-8655-05D46C5A3D8A}" dt="2023-06-01T20:43:52.702" v="3367"/>
          <ac:spMkLst>
            <pc:docMk/>
            <pc:sldMk cId="1384286971" sldId="230717678"/>
            <ac:spMk id="67" creationId="{4FD7DA1E-AFDC-4832-9775-4C5D20FEAD60}"/>
          </ac:spMkLst>
        </pc:spChg>
        <pc:spChg chg="mod">
          <ac:chgData name="Manal El Bakkouri" userId="8b130982-2e3f-4164-b881-fd3a2e4b2453" providerId="ADAL" clId="{4457FA57-250B-44AC-8655-05D46C5A3D8A}" dt="2023-06-01T20:43:52.702" v="3367"/>
          <ac:spMkLst>
            <pc:docMk/>
            <pc:sldMk cId="1384286971" sldId="230717678"/>
            <ac:spMk id="68" creationId="{3C3989A2-76DB-4F87-9198-EBC95B856354}"/>
          </ac:spMkLst>
        </pc:spChg>
        <pc:spChg chg="mod">
          <ac:chgData name="Manal El Bakkouri" userId="8b130982-2e3f-4164-b881-fd3a2e4b2453" providerId="ADAL" clId="{4457FA57-250B-44AC-8655-05D46C5A3D8A}" dt="2023-06-01T20:43:52.702" v="3367"/>
          <ac:spMkLst>
            <pc:docMk/>
            <pc:sldMk cId="1384286971" sldId="230717678"/>
            <ac:spMk id="69" creationId="{3FAEEDFB-21A3-4A8A-98BC-B76F718CF26F}"/>
          </ac:spMkLst>
        </pc:spChg>
        <pc:spChg chg="add del mod">
          <ac:chgData name="Manal El Bakkouri" userId="8b130982-2e3f-4164-b881-fd3a2e4b2453" providerId="ADAL" clId="{4457FA57-250B-44AC-8655-05D46C5A3D8A}" dt="2023-06-01T20:43:58.789" v="3370"/>
          <ac:spMkLst>
            <pc:docMk/>
            <pc:sldMk cId="1384286971" sldId="230717678"/>
            <ac:spMk id="70" creationId="{F3907A26-5BDC-4934-9515-CBA9D1B4A9A2}"/>
          </ac:spMkLst>
        </pc:spChg>
        <pc:spChg chg="add del mod">
          <ac:chgData name="Manal El Bakkouri" userId="8b130982-2e3f-4164-b881-fd3a2e4b2453" providerId="ADAL" clId="{4457FA57-250B-44AC-8655-05D46C5A3D8A}" dt="2023-06-01T20:43:58.789" v="3370"/>
          <ac:spMkLst>
            <pc:docMk/>
            <pc:sldMk cId="1384286971" sldId="230717678"/>
            <ac:spMk id="71" creationId="{9CC2D266-5A29-4FD0-96F8-5AE0D808C532}"/>
          </ac:spMkLst>
        </pc:spChg>
        <pc:spChg chg="add del mod">
          <ac:chgData name="Manal El Bakkouri" userId="8b130982-2e3f-4164-b881-fd3a2e4b2453" providerId="ADAL" clId="{4457FA57-250B-44AC-8655-05D46C5A3D8A}" dt="2023-06-01T20:43:58.789" v="3370"/>
          <ac:spMkLst>
            <pc:docMk/>
            <pc:sldMk cId="1384286971" sldId="230717678"/>
            <ac:spMk id="72" creationId="{AF6059F6-A923-45F7-9F42-935CB8D87515}"/>
          </ac:spMkLst>
        </pc:spChg>
        <pc:spChg chg="mod">
          <ac:chgData name="Manal El Bakkouri" userId="8b130982-2e3f-4164-b881-fd3a2e4b2453" providerId="ADAL" clId="{4457FA57-250B-44AC-8655-05D46C5A3D8A}" dt="2023-06-01T20:43:52.702" v="3367"/>
          <ac:spMkLst>
            <pc:docMk/>
            <pc:sldMk cId="1384286971" sldId="230717678"/>
            <ac:spMk id="74" creationId="{ED0EF686-4BA9-472B-A992-BE97B852FDF7}"/>
          </ac:spMkLst>
        </pc:spChg>
        <pc:spChg chg="mod">
          <ac:chgData name="Manal El Bakkouri" userId="8b130982-2e3f-4164-b881-fd3a2e4b2453" providerId="ADAL" clId="{4457FA57-250B-44AC-8655-05D46C5A3D8A}" dt="2023-06-01T20:43:52.702" v="3367"/>
          <ac:spMkLst>
            <pc:docMk/>
            <pc:sldMk cId="1384286971" sldId="230717678"/>
            <ac:spMk id="75" creationId="{B1DF3579-16A7-497E-813B-A51E446723B5}"/>
          </ac:spMkLst>
        </pc:spChg>
        <pc:spChg chg="mod">
          <ac:chgData name="Manal El Bakkouri" userId="8b130982-2e3f-4164-b881-fd3a2e4b2453" providerId="ADAL" clId="{4457FA57-250B-44AC-8655-05D46C5A3D8A}" dt="2023-06-01T20:43:52.702" v="3367"/>
          <ac:spMkLst>
            <pc:docMk/>
            <pc:sldMk cId="1384286971" sldId="230717678"/>
            <ac:spMk id="76" creationId="{09D99F0C-0E04-4262-BFC6-F52BDB30EE90}"/>
          </ac:spMkLst>
        </pc:spChg>
        <pc:spChg chg="mod">
          <ac:chgData name="Manal El Bakkouri" userId="8b130982-2e3f-4164-b881-fd3a2e4b2453" providerId="ADAL" clId="{4457FA57-250B-44AC-8655-05D46C5A3D8A}" dt="2023-06-01T20:43:52.702" v="3367"/>
          <ac:spMkLst>
            <pc:docMk/>
            <pc:sldMk cId="1384286971" sldId="230717678"/>
            <ac:spMk id="77" creationId="{B215A256-C1C7-44A3-8703-C1A61DAFD7D6}"/>
          </ac:spMkLst>
        </pc:spChg>
        <pc:spChg chg="mod">
          <ac:chgData name="Manal El Bakkouri" userId="8b130982-2e3f-4164-b881-fd3a2e4b2453" providerId="ADAL" clId="{4457FA57-250B-44AC-8655-05D46C5A3D8A}" dt="2023-06-01T20:43:52.702" v="3367"/>
          <ac:spMkLst>
            <pc:docMk/>
            <pc:sldMk cId="1384286971" sldId="230717678"/>
            <ac:spMk id="78" creationId="{50EF8564-6664-44A3-A2E2-453D828C7ADE}"/>
          </ac:spMkLst>
        </pc:spChg>
        <pc:spChg chg="mod">
          <ac:chgData name="Manal El Bakkouri" userId="8b130982-2e3f-4164-b881-fd3a2e4b2453" providerId="ADAL" clId="{4457FA57-250B-44AC-8655-05D46C5A3D8A}" dt="2023-06-01T20:43:52.702" v="3367"/>
          <ac:spMkLst>
            <pc:docMk/>
            <pc:sldMk cId="1384286971" sldId="230717678"/>
            <ac:spMk id="79" creationId="{D372B05D-6FC2-4B09-888D-8D0090524BFF}"/>
          </ac:spMkLst>
        </pc:spChg>
        <pc:spChg chg="mod">
          <ac:chgData name="Manal El Bakkouri" userId="8b130982-2e3f-4164-b881-fd3a2e4b2453" providerId="ADAL" clId="{4457FA57-250B-44AC-8655-05D46C5A3D8A}" dt="2023-06-01T20:43:52.702" v="3367"/>
          <ac:spMkLst>
            <pc:docMk/>
            <pc:sldMk cId="1384286971" sldId="230717678"/>
            <ac:spMk id="80" creationId="{49FEAB60-F4C9-49D8-A1CB-963A84F9FDDD}"/>
          </ac:spMkLst>
        </pc:spChg>
        <pc:spChg chg="mod">
          <ac:chgData name="Manal El Bakkouri" userId="8b130982-2e3f-4164-b881-fd3a2e4b2453" providerId="ADAL" clId="{4457FA57-250B-44AC-8655-05D46C5A3D8A}" dt="2023-06-01T20:43:52.702" v="3367"/>
          <ac:spMkLst>
            <pc:docMk/>
            <pc:sldMk cId="1384286971" sldId="230717678"/>
            <ac:spMk id="81" creationId="{FC282350-5496-4934-9DBE-93C9E5296AB3}"/>
          </ac:spMkLst>
        </pc:spChg>
        <pc:spChg chg="mod">
          <ac:chgData name="Manal El Bakkouri" userId="8b130982-2e3f-4164-b881-fd3a2e4b2453" providerId="ADAL" clId="{4457FA57-250B-44AC-8655-05D46C5A3D8A}" dt="2023-06-01T20:43:52.702" v="3367"/>
          <ac:spMkLst>
            <pc:docMk/>
            <pc:sldMk cId="1384286971" sldId="230717678"/>
            <ac:spMk id="82" creationId="{9A5BE4FF-4AE2-4EA7-A500-93739E371DA9}"/>
          </ac:spMkLst>
        </pc:spChg>
        <pc:spChg chg="mod">
          <ac:chgData name="Manal El Bakkouri" userId="8b130982-2e3f-4164-b881-fd3a2e4b2453" providerId="ADAL" clId="{4457FA57-250B-44AC-8655-05D46C5A3D8A}" dt="2023-06-01T20:43:52.702" v="3367"/>
          <ac:spMkLst>
            <pc:docMk/>
            <pc:sldMk cId="1384286971" sldId="230717678"/>
            <ac:spMk id="83" creationId="{CDB035B3-2EB7-4D80-B91B-C69B58BAE909}"/>
          </ac:spMkLst>
        </pc:spChg>
        <pc:spChg chg="mod">
          <ac:chgData name="Manal El Bakkouri" userId="8b130982-2e3f-4164-b881-fd3a2e4b2453" providerId="ADAL" clId="{4457FA57-250B-44AC-8655-05D46C5A3D8A}" dt="2023-06-01T20:43:52.702" v="3367"/>
          <ac:spMkLst>
            <pc:docMk/>
            <pc:sldMk cId="1384286971" sldId="230717678"/>
            <ac:spMk id="85" creationId="{CC6FEE51-290B-48E7-8A5C-E85A2A195CBF}"/>
          </ac:spMkLst>
        </pc:spChg>
        <pc:spChg chg="mod">
          <ac:chgData name="Manal El Bakkouri" userId="8b130982-2e3f-4164-b881-fd3a2e4b2453" providerId="ADAL" clId="{4457FA57-250B-44AC-8655-05D46C5A3D8A}" dt="2023-06-01T20:43:52.702" v="3367"/>
          <ac:spMkLst>
            <pc:docMk/>
            <pc:sldMk cId="1384286971" sldId="230717678"/>
            <ac:spMk id="86" creationId="{4A386776-94C9-4C06-A675-DCF5DA8E2D65}"/>
          </ac:spMkLst>
        </pc:spChg>
        <pc:spChg chg="del mod">
          <ac:chgData name="Manal El Bakkouri" userId="8b130982-2e3f-4164-b881-fd3a2e4b2453" providerId="ADAL" clId="{4457FA57-250B-44AC-8655-05D46C5A3D8A}" dt="2023-06-01T19:56:59.429" v="2983" actId="478"/>
          <ac:spMkLst>
            <pc:docMk/>
            <pc:sldMk cId="1384286971" sldId="230717678"/>
            <ac:spMk id="87" creationId="{6639B937-E536-4870-AE45-2BCAF44310A3}"/>
          </ac:spMkLst>
        </pc:spChg>
        <pc:spChg chg="mod">
          <ac:chgData name="Manal El Bakkouri" userId="8b130982-2e3f-4164-b881-fd3a2e4b2453" providerId="ADAL" clId="{4457FA57-250B-44AC-8655-05D46C5A3D8A}" dt="2023-06-01T20:43:52.702" v="3367"/>
          <ac:spMkLst>
            <pc:docMk/>
            <pc:sldMk cId="1384286971" sldId="230717678"/>
            <ac:spMk id="93" creationId="{8B964E19-DA99-4C5B-9634-13D9B25DF0A8}"/>
          </ac:spMkLst>
        </pc:spChg>
        <pc:spChg chg="add del mod">
          <ac:chgData name="Manal El Bakkouri" userId="8b130982-2e3f-4164-b881-fd3a2e4b2453" providerId="ADAL" clId="{4457FA57-250B-44AC-8655-05D46C5A3D8A}" dt="2023-06-01T20:43:58.789" v="3370"/>
          <ac:spMkLst>
            <pc:docMk/>
            <pc:sldMk cId="1384286971" sldId="230717678"/>
            <ac:spMk id="94" creationId="{0A927122-2921-4CCF-8C03-96CB062709A5}"/>
          </ac:spMkLst>
        </pc:spChg>
        <pc:spChg chg="add del mod">
          <ac:chgData name="Manal El Bakkouri" userId="8b130982-2e3f-4164-b881-fd3a2e4b2453" providerId="ADAL" clId="{4457FA57-250B-44AC-8655-05D46C5A3D8A}" dt="2023-06-01T20:43:58.789" v="3370"/>
          <ac:spMkLst>
            <pc:docMk/>
            <pc:sldMk cId="1384286971" sldId="230717678"/>
            <ac:spMk id="95" creationId="{DB4E674D-EA6B-4927-8AC8-04CB865315DA}"/>
          </ac:spMkLst>
        </pc:spChg>
        <pc:spChg chg="add del mod">
          <ac:chgData name="Manal El Bakkouri" userId="8b130982-2e3f-4164-b881-fd3a2e4b2453" providerId="ADAL" clId="{4457FA57-250B-44AC-8655-05D46C5A3D8A}" dt="2023-06-01T20:43:58.789" v="3370"/>
          <ac:spMkLst>
            <pc:docMk/>
            <pc:sldMk cId="1384286971" sldId="230717678"/>
            <ac:spMk id="96" creationId="{730B06E6-AA4D-4D7E-9F59-10799E6BCE71}"/>
          </ac:spMkLst>
        </pc:spChg>
        <pc:spChg chg="mod">
          <ac:chgData name="Manal El Bakkouri" userId="8b130982-2e3f-4164-b881-fd3a2e4b2453" providerId="ADAL" clId="{4457FA57-250B-44AC-8655-05D46C5A3D8A}" dt="2023-06-01T20:43:52.702" v="3367"/>
          <ac:spMkLst>
            <pc:docMk/>
            <pc:sldMk cId="1384286971" sldId="230717678"/>
            <ac:spMk id="108" creationId="{BFD6C5A7-3ACD-4CAF-A837-E327450BCAE1}"/>
          </ac:spMkLst>
        </pc:spChg>
        <pc:spChg chg="mod">
          <ac:chgData name="Manal El Bakkouri" userId="8b130982-2e3f-4164-b881-fd3a2e4b2453" providerId="ADAL" clId="{4457FA57-250B-44AC-8655-05D46C5A3D8A}" dt="2023-06-01T20:43:52.702" v="3367"/>
          <ac:spMkLst>
            <pc:docMk/>
            <pc:sldMk cId="1384286971" sldId="230717678"/>
            <ac:spMk id="109" creationId="{8CA900ED-1002-4E40-B7A2-CB4F2C7C8181}"/>
          </ac:spMkLst>
        </pc:spChg>
        <pc:spChg chg="mod">
          <ac:chgData name="Manal El Bakkouri" userId="8b130982-2e3f-4164-b881-fd3a2e4b2453" providerId="ADAL" clId="{4457FA57-250B-44AC-8655-05D46C5A3D8A}" dt="2023-06-01T20:43:52.702" v="3367"/>
          <ac:spMkLst>
            <pc:docMk/>
            <pc:sldMk cId="1384286971" sldId="230717678"/>
            <ac:spMk id="110" creationId="{949BC47B-1A67-48D1-8167-71FA5C071B6A}"/>
          </ac:spMkLst>
        </pc:spChg>
        <pc:spChg chg="mod">
          <ac:chgData name="Manal El Bakkouri" userId="8b130982-2e3f-4164-b881-fd3a2e4b2453" providerId="ADAL" clId="{4457FA57-250B-44AC-8655-05D46C5A3D8A}" dt="2023-06-01T20:43:52.702" v="3367"/>
          <ac:spMkLst>
            <pc:docMk/>
            <pc:sldMk cId="1384286971" sldId="230717678"/>
            <ac:spMk id="111" creationId="{863F0D23-E740-4287-BB60-476E1EB4891F}"/>
          </ac:spMkLst>
        </pc:spChg>
        <pc:spChg chg="mod">
          <ac:chgData name="Manal El Bakkouri" userId="8b130982-2e3f-4164-b881-fd3a2e4b2453" providerId="ADAL" clId="{4457FA57-250B-44AC-8655-05D46C5A3D8A}" dt="2023-06-01T20:43:52.702" v="3367"/>
          <ac:spMkLst>
            <pc:docMk/>
            <pc:sldMk cId="1384286971" sldId="230717678"/>
            <ac:spMk id="112" creationId="{03B64D6A-D7A1-45C4-AB2D-C63E22AE476E}"/>
          </ac:spMkLst>
        </pc:spChg>
        <pc:spChg chg="mod">
          <ac:chgData name="Manal El Bakkouri" userId="8b130982-2e3f-4164-b881-fd3a2e4b2453" providerId="ADAL" clId="{4457FA57-250B-44AC-8655-05D46C5A3D8A}" dt="2023-06-01T20:43:52.702" v="3367"/>
          <ac:spMkLst>
            <pc:docMk/>
            <pc:sldMk cId="1384286971" sldId="230717678"/>
            <ac:spMk id="118" creationId="{62391A02-3B51-4C7E-BB3A-6439861BEA3B}"/>
          </ac:spMkLst>
        </pc:spChg>
        <pc:spChg chg="mod">
          <ac:chgData name="Manal El Bakkouri" userId="8b130982-2e3f-4164-b881-fd3a2e4b2453" providerId="ADAL" clId="{4457FA57-250B-44AC-8655-05D46C5A3D8A}" dt="2023-06-01T20:43:52.702" v="3367"/>
          <ac:spMkLst>
            <pc:docMk/>
            <pc:sldMk cId="1384286971" sldId="230717678"/>
            <ac:spMk id="119" creationId="{53475F3F-2529-43EC-86B4-B6607418156E}"/>
          </ac:spMkLst>
        </pc:spChg>
        <pc:spChg chg="mod">
          <ac:chgData name="Manal El Bakkouri" userId="8b130982-2e3f-4164-b881-fd3a2e4b2453" providerId="ADAL" clId="{4457FA57-250B-44AC-8655-05D46C5A3D8A}" dt="2023-06-01T20:43:52.702" v="3367"/>
          <ac:spMkLst>
            <pc:docMk/>
            <pc:sldMk cId="1384286971" sldId="230717678"/>
            <ac:spMk id="120" creationId="{26729FA5-2F22-4727-A8E3-0300677657DA}"/>
          </ac:spMkLst>
        </pc:spChg>
        <pc:spChg chg="mod">
          <ac:chgData name="Manal El Bakkouri" userId="8b130982-2e3f-4164-b881-fd3a2e4b2453" providerId="ADAL" clId="{4457FA57-250B-44AC-8655-05D46C5A3D8A}" dt="2023-06-01T20:43:52.702" v="3367"/>
          <ac:spMkLst>
            <pc:docMk/>
            <pc:sldMk cId="1384286971" sldId="230717678"/>
            <ac:spMk id="121" creationId="{22627E3E-8767-480E-8CDD-C4075BE2EE1A}"/>
          </ac:spMkLst>
        </pc:spChg>
        <pc:spChg chg="mod">
          <ac:chgData name="Manal El Bakkouri" userId="8b130982-2e3f-4164-b881-fd3a2e4b2453" providerId="ADAL" clId="{4457FA57-250B-44AC-8655-05D46C5A3D8A}" dt="2023-06-01T20:43:52.702" v="3367"/>
          <ac:spMkLst>
            <pc:docMk/>
            <pc:sldMk cId="1384286971" sldId="230717678"/>
            <ac:spMk id="122" creationId="{0E02DCDE-60D4-4F58-BAA8-6FB75C9AED1B}"/>
          </ac:spMkLst>
        </pc:spChg>
        <pc:spChg chg="mod">
          <ac:chgData name="Manal El Bakkouri" userId="8b130982-2e3f-4164-b881-fd3a2e4b2453" providerId="ADAL" clId="{4457FA57-250B-44AC-8655-05D46C5A3D8A}" dt="2023-06-01T20:43:52.702" v="3367"/>
          <ac:spMkLst>
            <pc:docMk/>
            <pc:sldMk cId="1384286971" sldId="230717678"/>
            <ac:spMk id="124" creationId="{D40BEA72-3AB5-4118-AEC4-E19D4EFFA931}"/>
          </ac:spMkLst>
        </pc:spChg>
        <pc:spChg chg="mod">
          <ac:chgData name="Manal El Bakkouri" userId="8b130982-2e3f-4164-b881-fd3a2e4b2453" providerId="ADAL" clId="{4457FA57-250B-44AC-8655-05D46C5A3D8A}" dt="2023-06-01T20:43:52.702" v="3367"/>
          <ac:spMkLst>
            <pc:docMk/>
            <pc:sldMk cId="1384286971" sldId="230717678"/>
            <ac:spMk id="125" creationId="{BBB6AA90-922A-4669-A45F-47CC240D2172}"/>
          </ac:spMkLst>
        </pc:spChg>
        <pc:spChg chg="mod">
          <ac:chgData name="Manal El Bakkouri" userId="8b130982-2e3f-4164-b881-fd3a2e4b2453" providerId="ADAL" clId="{4457FA57-250B-44AC-8655-05D46C5A3D8A}" dt="2023-06-01T20:43:52.702" v="3367"/>
          <ac:spMkLst>
            <pc:docMk/>
            <pc:sldMk cId="1384286971" sldId="230717678"/>
            <ac:spMk id="126" creationId="{927E47D7-63EF-4458-9AA9-87E2588BF383}"/>
          </ac:spMkLst>
        </pc:spChg>
        <pc:spChg chg="add del mod">
          <ac:chgData name="Manal El Bakkouri" userId="8b130982-2e3f-4164-b881-fd3a2e4b2453" providerId="ADAL" clId="{4457FA57-250B-44AC-8655-05D46C5A3D8A}" dt="2023-06-01T20:43:58.789" v="3370"/>
          <ac:spMkLst>
            <pc:docMk/>
            <pc:sldMk cId="1384286971" sldId="230717678"/>
            <ac:spMk id="127" creationId="{6B066948-FCB1-40EC-A44D-86AE35F215E6}"/>
          </ac:spMkLst>
        </pc:spChg>
        <pc:spChg chg="add del mod">
          <ac:chgData name="Manal El Bakkouri" userId="8b130982-2e3f-4164-b881-fd3a2e4b2453" providerId="ADAL" clId="{4457FA57-250B-44AC-8655-05D46C5A3D8A}" dt="2023-06-01T20:43:58.789" v="3370"/>
          <ac:spMkLst>
            <pc:docMk/>
            <pc:sldMk cId="1384286971" sldId="230717678"/>
            <ac:spMk id="128" creationId="{6FE16523-874D-4BD7-A72D-F38267E54AFC}"/>
          </ac:spMkLst>
        </pc:spChg>
        <pc:spChg chg="add del mod">
          <ac:chgData name="Manal El Bakkouri" userId="8b130982-2e3f-4164-b881-fd3a2e4b2453" providerId="ADAL" clId="{4457FA57-250B-44AC-8655-05D46C5A3D8A}" dt="2023-06-01T20:43:58.789" v="3370"/>
          <ac:spMkLst>
            <pc:docMk/>
            <pc:sldMk cId="1384286971" sldId="230717678"/>
            <ac:spMk id="129" creationId="{E4399C69-D23E-4E13-84DE-3803AEE7400A}"/>
          </ac:spMkLst>
        </pc:spChg>
        <pc:spChg chg="mod">
          <ac:chgData name="Manal El Bakkouri" userId="8b130982-2e3f-4164-b881-fd3a2e4b2453" providerId="ADAL" clId="{4457FA57-250B-44AC-8655-05D46C5A3D8A}" dt="2023-06-01T20:43:52.702" v="3367"/>
          <ac:spMkLst>
            <pc:docMk/>
            <pc:sldMk cId="1384286971" sldId="230717678"/>
            <ac:spMk id="131" creationId="{FA5F92DD-8A8E-4D4B-B371-533513849E84}"/>
          </ac:spMkLst>
        </pc:spChg>
        <pc:spChg chg="mod">
          <ac:chgData name="Manal El Bakkouri" userId="8b130982-2e3f-4164-b881-fd3a2e4b2453" providerId="ADAL" clId="{4457FA57-250B-44AC-8655-05D46C5A3D8A}" dt="2023-06-01T20:43:52.702" v="3367"/>
          <ac:spMkLst>
            <pc:docMk/>
            <pc:sldMk cId="1384286971" sldId="230717678"/>
            <ac:spMk id="132" creationId="{F09EE7A6-8AAA-4CB9-A682-CEC34542B8AC}"/>
          </ac:spMkLst>
        </pc:spChg>
        <pc:spChg chg="mod">
          <ac:chgData name="Manal El Bakkouri" userId="8b130982-2e3f-4164-b881-fd3a2e4b2453" providerId="ADAL" clId="{4457FA57-250B-44AC-8655-05D46C5A3D8A}" dt="2023-06-01T20:43:52.702" v="3367"/>
          <ac:spMkLst>
            <pc:docMk/>
            <pc:sldMk cId="1384286971" sldId="230717678"/>
            <ac:spMk id="133" creationId="{45FF8781-96AE-41FD-8F05-F98292FDAECD}"/>
          </ac:spMkLst>
        </pc:spChg>
        <pc:spChg chg="mod">
          <ac:chgData name="Manal El Bakkouri" userId="8b130982-2e3f-4164-b881-fd3a2e4b2453" providerId="ADAL" clId="{4457FA57-250B-44AC-8655-05D46C5A3D8A}" dt="2023-06-01T20:43:52.702" v="3367"/>
          <ac:spMkLst>
            <pc:docMk/>
            <pc:sldMk cId="1384286971" sldId="230717678"/>
            <ac:spMk id="134" creationId="{522C6A02-A15B-4731-AD5F-ABB880FE2E4D}"/>
          </ac:spMkLst>
        </pc:spChg>
        <pc:spChg chg="mod">
          <ac:chgData name="Manal El Bakkouri" userId="8b130982-2e3f-4164-b881-fd3a2e4b2453" providerId="ADAL" clId="{4457FA57-250B-44AC-8655-05D46C5A3D8A}" dt="2023-06-01T20:43:52.702" v="3367"/>
          <ac:spMkLst>
            <pc:docMk/>
            <pc:sldMk cId="1384286971" sldId="230717678"/>
            <ac:spMk id="135" creationId="{21718CB4-4562-4914-9FD0-D266FC9DFBCE}"/>
          </ac:spMkLst>
        </pc:spChg>
        <pc:spChg chg="mod">
          <ac:chgData name="Manal El Bakkouri" userId="8b130982-2e3f-4164-b881-fd3a2e4b2453" providerId="ADAL" clId="{4457FA57-250B-44AC-8655-05D46C5A3D8A}" dt="2023-06-01T20:43:52.702" v="3367"/>
          <ac:spMkLst>
            <pc:docMk/>
            <pc:sldMk cId="1384286971" sldId="230717678"/>
            <ac:spMk id="137" creationId="{D5D59089-24B7-4716-B909-9CD2ADB88C26}"/>
          </ac:spMkLst>
        </pc:spChg>
        <pc:spChg chg="mod">
          <ac:chgData name="Manal El Bakkouri" userId="8b130982-2e3f-4164-b881-fd3a2e4b2453" providerId="ADAL" clId="{4457FA57-250B-44AC-8655-05D46C5A3D8A}" dt="2023-06-01T20:43:52.702" v="3367"/>
          <ac:spMkLst>
            <pc:docMk/>
            <pc:sldMk cId="1384286971" sldId="230717678"/>
            <ac:spMk id="138" creationId="{E441106A-8E4A-428E-91EF-F27AB231849A}"/>
          </ac:spMkLst>
        </pc:spChg>
        <pc:spChg chg="mod">
          <ac:chgData name="Manal El Bakkouri" userId="8b130982-2e3f-4164-b881-fd3a2e4b2453" providerId="ADAL" clId="{4457FA57-250B-44AC-8655-05D46C5A3D8A}" dt="2023-06-01T20:43:52.702" v="3367"/>
          <ac:spMkLst>
            <pc:docMk/>
            <pc:sldMk cId="1384286971" sldId="230717678"/>
            <ac:spMk id="139" creationId="{E69BDAAE-11DA-4892-BAD8-EB302839E397}"/>
          </ac:spMkLst>
        </pc:spChg>
        <pc:spChg chg="mod">
          <ac:chgData name="Manal El Bakkouri" userId="8b130982-2e3f-4164-b881-fd3a2e4b2453" providerId="ADAL" clId="{4457FA57-250B-44AC-8655-05D46C5A3D8A}" dt="2023-06-01T20:43:52.702" v="3367"/>
          <ac:spMkLst>
            <pc:docMk/>
            <pc:sldMk cId="1384286971" sldId="230717678"/>
            <ac:spMk id="140" creationId="{AB1D7C43-2DA0-49C7-B56A-7E5C364B6E63}"/>
          </ac:spMkLst>
        </pc:spChg>
        <pc:spChg chg="mod">
          <ac:chgData name="Manal El Bakkouri" userId="8b130982-2e3f-4164-b881-fd3a2e4b2453" providerId="ADAL" clId="{4457FA57-250B-44AC-8655-05D46C5A3D8A}" dt="2023-06-01T20:43:52.702" v="3367"/>
          <ac:spMkLst>
            <pc:docMk/>
            <pc:sldMk cId="1384286971" sldId="230717678"/>
            <ac:spMk id="141" creationId="{5C39CEDE-8814-436B-AE6B-F13A94EB2A9A}"/>
          </ac:spMkLst>
        </pc:spChg>
        <pc:spChg chg="mod">
          <ac:chgData name="Manal El Bakkouri" userId="8b130982-2e3f-4164-b881-fd3a2e4b2453" providerId="ADAL" clId="{4457FA57-250B-44AC-8655-05D46C5A3D8A}" dt="2023-06-01T20:43:52.702" v="3367"/>
          <ac:spMkLst>
            <pc:docMk/>
            <pc:sldMk cId="1384286971" sldId="230717678"/>
            <ac:spMk id="143" creationId="{CDA9F479-1D5E-4085-9C0C-1BD6426CAA33}"/>
          </ac:spMkLst>
        </pc:spChg>
        <pc:spChg chg="mod">
          <ac:chgData name="Manal El Bakkouri" userId="8b130982-2e3f-4164-b881-fd3a2e4b2453" providerId="ADAL" clId="{4457FA57-250B-44AC-8655-05D46C5A3D8A}" dt="2023-06-01T20:43:52.702" v="3367"/>
          <ac:spMkLst>
            <pc:docMk/>
            <pc:sldMk cId="1384286971" sldId="230717678"/>
            <ac:spMk id="144" creationId="{4D5D773A-C15C-4DF7-949F-C61250D30AE9}"/>
          </ac:spMkLst>
        </pc:spChg>
        <pc:spChg chg="mod">
          <ac:chgData name="Manal El Bakkouri" userId="8b130982-2e3f-4164-b881-fd3a2e4b2453" providerId="ADAL" clId="{4457FA57-250B-44AC-8655-05D46C5A3D8A}" dt="2023-06-01T20:43:52.702" v="3367"/>
          <ac:spMkLst>
            <pc:docMk/>
            <pc:sldMk cId="1384286971" sldId="230717678"/>
            <ac:spMk id="145" creationId="{738461DA-0ACD-4886-AC1F-F430F5984FF3}"/>
          </ac:spMkLst>
        </pc:spChg>
        <pc:spChg chg="add del mod">
          <ac:chgData name="Manal El Bakkouri" userId="8b130982-2e3f-4164-b881-fd3a2e4b2453" providerId="ADAL" clId="{4457FA57-250B-44AC-8655-05D46C5A3D8A}" dt="2023-06-01T20:43:58.789" v="3370"/>
          <ac:spMkLst>
            <pc:docMk/>
            <pc:sldMk cId="1384286971" sldId="230717678"/>
            <ac:spMk id="146" creationId="{58687820-E286-4FFD-98E8-4122321B418B}"/>
          </ac:spMkLst>
        </pc:spChg>
        <pc:spChg chg="add del mod">
          <ac:chgData name="Manal El Bakkouri" userId="8b130982-2e3f-4164-b881-fd3a2e4b2453" providerId="ADAL" clId="{4457FA57-250B-44AC-8655-05D46C5A3D8A}" dt="2023-06-01T20:43:58.789" v="3370"/>
          <ac:spMkLst>
            <pc:docMk/>
            <pc:sldMk cId="1384286971" sldId="230717678"/>
            <ac:spMk id="147" creationId="{63F3E51E-7018-45E7-82A7-335E4DECBB77}"/>
          </ac:spMkLst>
        </pc:spChg>
        <pc:spChg chg="add del mod">
          <ac:chgData name="Manal El Bakkouri" userId="8b130982-2e3f-4164-b881-fd3a2e4b2453" providerId="ADAL" clId="{4457FA57-250B-44AC-8655-05D46C5A3D8A}" dt="2023-06-01T20:43:58.789" v="3370"/>
          <ac:spMkLst>
            <pc:docMk/>
            <pc:sldMk cId="1384286971" sldId="230717678"/>
            <ac:spMk id="148" creationId="{530544DE-4FF0-4677-8EB3-C53E3270BE65}"/>
          </ac:spMkLst>
        </pc:spChg>
        <pc:spChg chg="add del mod">
          <ac:chgData name="Manal El Bakkouri" userId="8b130982-2e3f-4164-b881-fd3a2e4b2453" providerId="ADAL" clId="{4457FA57-250B-44AC-8655-05D46C5A3D8A}" dt="2023-06-01T20:43:58.789" v="3370"/>
          <ac:spMkLst>
            <pc:docMk/>
            <pc:sldMk cId="1384286971" sldId="230717678"/>
            <ac:spMk id="149" creationId="{9145FF9A-9A82-4076-A7AD-5BC560BDA2C3}"/>
          </ac:spMkLst>
        </pc:spChg>
        <pc:spChg chg="add del mod">
          <ac:chgData name="Manal El Bakkouri" userId="8b130982-2e3f-4164-b881-fd3a2e4b2453" providerId="ADAL" clId="{4457FA57-250B-44AC-8655-05D46C5A3D8A}" dt="2023-06-01T20:43:58.789" v="3370"/>
          <ac:spMkLst>
            <pc:docMk/>
            <pc:sldMk cId="1384286971" sldId="230717678"/>
            <ac:spMk id="150" creationId="{2984B4D9-8F24-4901-A73B-117BE668B362}"/>
          </ac:spMkLst>
        </pc:spChg>
        <pc:spChg chg="add del mod">
          <ac:chgData name="Manal El Bakkouri" userId="8b130982-2e3f-4164-b881-fd3a2e4b2453" providerId="ADAL" clId="{4457FA57-250B-44AC-8655-05D46C5A3D8A}" dt="2023-06-01T20:43:58.789" v="3370"/>
          <ac:spMkLst>
            <pc:docMk/>
            <pc:sldMk cId="1384286971" sldId="230717678"/>
            <ac:spMk id="151" creationId="{FE284C71-854D-4A3B-AF20-389EBC913FF7}"/>
          </ac:spMkLst>
        </pc:spChg>
        <pc:spChg chg="add del mod">
          <ac:chgData name="Manal El Bakkouri" userId="8b130982-2e3f-4164-b881-fd3a2e4b2453" providerId="ADAL" clId="{4457FA57-250B-44AC-8655-05D46C5A3D8A}" dt="2023-06-01T20:43:58.789" v="3370"/>
          <ac:spMkLst>
            <pc:docMk/>
            <pc:sldMk cId="1384286971" sldId="230717678"/>
            <ac:spMk id="152" creationId="{E38CC4E7-CBC0-4562-8AE1-EFA73B5D7ADD}"/>
          </ac:spMkLst>
        </pc:spChg>
        <pc:spChg chg="add del mod">
          <ac:chgData name="Manal El Bakkouri" userId="8b130982-2e3f-4164-b881-fd3a2e4b2453" providerId="ADAL" clId="{4457FA57-250B-44AC-8655-05D46C5A3D8A}" dt="2023-06-01T20:43:58.789" v="3370"/>
          <ac:spMkLst>
            <pc:docMk/>
            <pc:sldMk cId="1384286971" sldId="230717678"/>
            <ac:spMk id="153" creationId="{DBF78A9C-87BE-445F-97CA-B95323D46E14}"/>
          </ac:spMkLst>
        </pc:spChg>
        <pc:spChg chg="add del mod">
          <ac:chgData name="Manal El Bakkouri" userId="8b130982-2e3f-4164-b881-fd3a2e4b2453" providerId="ADAL" clId="{4457FA57-250B-44AC-8655-05D46C5A3D8A}" dt="2023-06-01T20:43:58.789" v="3370"/>
          <ac:spMkLst>
            <pc:docMk/>
            <pc:sldMk cId="1384286971" sldId="230717678"/>
            <ac:spMk id="154" creationId="{CB8D8A90-CB79-4E0B-8727-5659A5145F08}"/>
          </ac:spMkLst>
        </pc:spChg>
        <pc:spChg chg="add del mod">
          <ac:chgData name="Manal El Bakkouri" userId="8b130982-2e3f-4164-b881-fd3a2e4b2453" providerId="ADAL" clId="{4457FA57-250B-44AC-8655-05D46C5A3D8A}" dt="2023-06-01T20:43:58.789" v="3370"/>
          <ac:spMkLst>
            <pc:docMk/>
            <pc:sldMk cId="1384286971" sldId="230717678"/>
            <ac:spMk id="155" creationId="{C0F1ECEA-151E-4E9A-9262-0E9539AEB35B}"/>
          </ac:spMkLst>
        </pc:spChg>
        <pc:spChg chg="add del mod">
          <ac:chgData name="Manal El Bakkouri" userId="8b130982-2e3f-4164-b881-fd3a2e4b2453" providerId="ADAL" clId="{4457FA57-250B-44AC-8655-05D46C5A3D8A}" dt="2023-06-01T20:43:58.789" v="3370"/>
          <ac:spMkLst>
            <pc:docMk/>
            <pc:sldMk cId="1384286971" sldId="230717678"/>
            <ac:spMk id="156" creationId="{5D51131A-C7A9-4B83-BC01-BBCE87A9A916}"/>
          </ac:spMkLst>
        </pc:spChg>
        <pc:spChg chg="add del mod">
          <ac:chgData name="Manal El Bakkouri" userId="8b130982-2e3f-4164-b881-fd3a2e4b2453" providerId="ADAL" clId="{4457FA57-250B-44AC-8655-05D46C5A3D8A}" dt="2023-06-01T20:43:58.789" v="3370"/>
          <ac:spMkLst>
            <pc:docMk/>
            <pc:sldMk cId="1384286971" sldId="230717678"/>
            <ac:spMk id="157" creationId="{0DE7D620-1CF1-4C7A-83CA-50ACA308362E}"/>
          </ac:spMkLst>
        </pc:spChg>
        <pc:spChg chg="add del mod">
          <ac:chgData name="Manal El Bakkouri" userId="8b130982-2e3f-4164-b881-fd3a2e4b2453" providerId="ADAL" clId="{4457FA57-250B-44AC-8655-05D46C5A3D8A}" dt="2023-06-01T20:43:58.789" v="3370"/>
          <ac:spMkLst>
            <pc:docMk/>
            <pc:sldMk cId="1384286971" sldId="230717678"/>
            <ac:spMk id="158" creationId="{EEC34494-66FE-40B0-BB8C-2EC2AC9B4B97}"/>
          </ac:spMkLst>
        </pc:spChg>
        <pc:spChg chg="add del mod">
          <ac:chgData name="Manal El Bakkouri" userId="8b130982-2e3f-4164-b881-fd3a2e4b2453" providerId="ADAL" clId="{4457FA57-250B-44AC-8655-05D46C5A3D8A}" dt="2023-06-01T20:43:58.789" v="3370"/>
          <ac:spMkLst>
            <pc:docMk/>
            <pc:sldMk cId="1384286971" sldId="230717678"/>
            <ac:spMk id="159" creationId="{77A5D306-D500-48F6-BEFA-1344687BDD68}"/>
          </ac:spMkLst>
        </pc:spChg>
        <pc:spChg chg="add del mod">
          <ac:chgData name="Manal El Bakkouri" userId="8b130982-2e3f-4164-b881-fd3a2e4b2453" providerId="ADAL" clId="{4457FA57-250B-44AC-8655-05D46C5A3D8A}" dt="2023-06-01T20:43:58.789" v="3370"/>
          <ac:spMkLst>
            <pc:docMk/>
            <pc:sldMk cId="1384286971" sldId="230717678"/>
            <ac:spMk id="160" creationId="{2D962B87-7005-48DF-91CB-355980FD413E}"/>
          </ac:spMkLst>
        </pc:spChg>
        <pc:spChg chg="mod">
          <ac:chgData name="Manal El Bakkouri" userId="8b130982-2e3f-4164-b881-fd3a2e4b2453" providerId="ADAL" clId="{4457FA57-250B-44AC-8655-05D46C5A3D8A}" dt="2023-06-01T20:43:52.702" v="3367"/>
          <ac:spMkLst>
            <pc:docMk/>
            <pc:sldMk cId="1384286971" sldId="230717678"/>
            <ac:spMk id="162" creationId="{DA2789CA-5236-431F-B4C7-7AAD56A1F55E}"/>
          </ac:spMkLst>
        </pc:spChg>
        <pc:spChg chg="mod">
          <ac:chgData name="Manal El Bakkouri" userId="8b130982-2e3f-4164-b881-fd3a2e4b2453" providerId="ADAL" clId="{4457FA57-250B-44AC-8655-05D46C5A3D8A}" dt="2023-06-01T20:43:52.702" v="3367"/>
          <ac:spMkLst>
            <pc:docMk/>
            <pc:sldMk cId="1384286971" sldId="230717678"/>
            <ac:spMk id="163" creationId="{46AA761A-8D57-4AED-B5F5-7923F6684815}"/>
          </ac:spMkLst>
        </pc:spChg>
        <pc:spChg chg="mod">
          <ac:chgData name="Manal El Bakkouri" userId="8b130982-2e3f-4164-b881-fd3a2e4b2453" providerId="ADAL" clId="{4457FA57-250B-44AC-8655-05D46C5A3D8A}" dt="2023-06-01T20:43:52.702" v="3367"/>
          <ac:spMkLst>
            <pc:docMk/>
            <pc:sldMk cId="1384286971" sldId="230717678"/>
            <ac:spMk id="165" creationId="{F538482D-C1D0-4931-B888-B6480A0B8368}"/>
          </ac:spMkLst>
        </pc:spChg>
        <pc:spChg chg="mod">
          <ac:chgData name="Manal El Bakkouri" userId="8b130982-2e3f-4164-b881-fd3a2e4b2453" providerId="ADAL" clId="{4457FA57-250B-44AC-8655-05D46C5A3D8A}" dt="2023-06-01T20:43:52.702" v="3367"/>
          <ac:spMkLst>
            <pc:docMk/>
            <pc:sldMk cId="1384286971" sldId="230717678"/>
            <ac:spMk id="166" creationId="{1C41601B-7183-44E3-9760-BA0CE6218BA7}"/>
          </ac:spMkLst>
        </pc:spChg>
        <pc:spChg chg="mod">
          <ac:chgData name="Manal El Bakkouri" userId="8b130982-2e3f-4164-b881-fd3a2e4b2453" providerId="ADAL" clId="{4457FA57-250B-44AC-8655-05D46C5A3D8A}" dt="2023-06-01T20:43:52.702" v="3367"/>
          <ac:spMkLst>
            <pc:docMk/>
            <pc:sldMk cId="1384286971" sldId="230717678"/>
            <ac:spMk id="168" creationId="{24DEA5A5-4D89-488E-BD5E-F9D4CC53DF41}"/>
          </ac:spMkLst>
        </pc:spChg>
        <pc:spChg chg="mod">
          <ac:chgData name="Manal El Bakkouri" userId="8b130982-2e3f-4164-b881-fd3a2e4b2453" providerId="ADAL" clId="{4457FA57-250B-44AC-8655-05D46C5A3D8A}" dt="2023-06-01T20:43:52.702" v="3367"/>
          <ac:spMkLst>
            <pc:docMk/>
            <pc:sldMk cId="1384286971" sldId="230717678"/>
            <ac:spMk id="169" creationId="{A6406196-F709-4595-B0F0-FEA45E5DFBA7}"/>
          </ac:spMkLst>
        </pc:spChg>
        <pc:spChg chg="mod">
          <ac:chgData name="Manal El Bakkouri" userId="8b130982-2e3f-4164-b881-fd3a2e4b2453" providerId="ADAL" clId="{4457FA57-250B-44AC-8655-05D46C5A3D8A}" dt="2023-06-01T20:43:52.702" v="3367"/>
          <ac:spMkLst>
            <pc:docMk/>
            <pc:sldMk cId="1384286971" sldId="230717678"/>
            <ac:spMk id="171" creationId="{D195CE56-1A40-477D-9E4D-03C4221AE997}"/>
          </ac:spMkLst>
        </pc:spChg>
        <pc:spChg chg="mod">
          <ac:chgData name="Manal El Bakkouri" userId="8b130982-2e3f-4164-b881-fd3a2e4b2453" providerId="ADAL" clId="{4457FA57-250B-44AC-8655-05D46C5A3D8A}" dt="2023-06-01T20:43:52.702" v="3367"/>
          <ac:spMkLst>
            <pc:docMk/>
            <pc:sldMk cId="1384286971" sldId="230717678"/>
            <ac:spMk id="172" creationId="{2BCFF467-D07D-4FF5-8D9C-78F03919A42B}"/>
          </ac:spMkLst>
        </pc:spChg>
        <pc:spChg chg="mod">
          <ac:chgData name="Manal El Bakkouri" userId="8b130982-2e3f-4164-b881-fd3a2e4b2453" providerId="ADAL" clId="{4457FA57-250B-44AC-8655-05D46C5A3D8A}" dt="2023-06-01T20:43:52.702" v="3367"/>
          <ac:spMkLst>
            <pc:docMk/>
            <pc:sldMk cId="1384286971" sldId="230717678"/>
            <ac:spMk id="174" creationId="{8C6E911A-1C38-4525-B67C-101B20A7D6E6}"/>
          </ac:spMkLst>
        </pc:spChg>
        <pc:spChg chg="mod">
          <ac:chgData name="Manal El Bakkouri" userId="8b130982-2e3f-4164-b881-fd3a2e4b2453" providerId="ADAL" clId="{4457FA57-250B-44AC-8655-05D46C5A3D8A}" dt="2023-06-01T20:43:52.702" v="3367"/>
          <ac:spMkLst>
            <pc:docMk/>
            <pc:sldMk cId="1384286971" sldId="230717678"/>
            <ac:spMk id="175" creationId="{CEBAF7E7-2EFD-41E1-B519-FFA4591DA6D2}"/>
          </ac:spMkLst>
        </pc:spChg>
        <pc:spChg chg="mod">
          <ac:chgData name="Manal El Bakkouri" userId="8b130982-2e3f-4164-b881-fd3a2e4b2453" providerId="ADAL" clId="{4457FA57-250B-44AC-8655-05D46C5A3D8A}" dt="2023-06-01T20:43:52.702" v="3367"/>
          <ac:spMkLst>
            <pc:docMk/>
            <pc:sldMk cId="1384286971" sldId="230717678"/>
            <ac:spMk id="177" creationId="{AECD03C1-F5AF-4AF5-9ACA-6542CACF8453}"/>
          </ac:spMkLst>
        </pc:spChg>
        <pc:spChg chg="mod">
          <ac:chgData name="Manal El Bakkouri" userId="8b130982-2e3f-4164-b881-fd3a2e4b2453" providerId="ADAL" clId="{4457FA57-250B-44AC-8655-05D46C5A3D8A}" dt="2023-06-01T20:43:52.702" v="3367"/>
          <ac:spMkLst>
            <pc:docMk/>
            <pc:sldMk cId="1384286971" sldId="230717678"/>
            <ac:spMk id="178" creationId="{BC0D6BFE-5919-4073-BAAD-D02F1ADE3F6D}"/>
          </ac:spMkLst>
        </pc:spChg>
        <pc:spChg chg="mod">
          <ac:chgData name="Manal El Bakkouri" userId="8b130982-2e3f-4164-b881-fd3a2e4b2453" providerId="ADAL" clId="{4457FA57-250B-44AC-8655-05D46C5A3D8A}" dt="2023-06-01T20:44:17.032" v="3373" actId="1076"/>
          <ac:spMkLst>
            <pc:docMk/>
            <pc:sldMk cId="1384286971" sldId="230717678"/>
            <ac:spMk id="180" creationId="{5F018933-331A-4DDD-910B-FF4B614CF89E}"/>
          </ac:spMkLst>
        </pc:spChg>
        <pc:spChg chg="mod">
          <ac:chgData name="Manal El Bakkouri" userId="8b130982-2e3f-4164-b881-fd3a2e4b2453" providerId="ADAL" clId="{4457FA57-250B-44AC-8655-05D46C5A3D8A}" dt="2023-06-01T20:44:17.032" v="3373" actId="1076"/>
          <ac:spMkLst>
            <pc:docMk/>
            <pc:sldMk cId="1384286971" sldId="230717678"/>
            <ac:spMk id="181" creationId="{BDF09F37-D0AA-4BAD-B1C4-3DF7D1A5F2FC}"/>
          </ac:spMkLst>
        </pc:spChg>
        <pc:spChg chg="mod">
          <ac:chgData name="Manal El Bakkouri" userId="8b130982-2e3f-4164-b881-fd3a2e4b2453" providerId="ADAL" clId="{4457FA57-250B-44AC-8655-05D46C5A3D8A}" dt="2023-06-01T20:44:17.032" v="3373" actId="1076"/>
          <ac:spMkLst>
            <pc:docMk/>
            <pc:sldMk cId="1384286971" sldId="230717678"/>
            <ac:spMk id="182" creationId="{E723C2C8-7AC2-48D8-9BB3-23699C7D6A70}"/>
          </ac:spMkLst>
        </pc:spChg>
        <pc:spChg chg="add mod">
          <ac:chgData name="Manal El Bakkouri" userId="8b130982-2e3f-4164-b881-fd3a2e4b2453" providerId="ADAL" clId="{4457FA57-250B-44AC-8655-05D46C5A3D8A}" dt="2023-06-01T20:51:14.437" v="3459" actId="207"/>
          <ac:spMkLst>
            <pc:docMk/>
            <pc:sldMk cId="1384286971" sldId="230717678"/>
            <ac:spMk id="183" creationId="{DA1FC4E6-0B06-4EBB-9F1C-1B82D66ECDF6}"/>
          </ac:spMkLst>
        </pc:spChg>
        <pc:spChg chg="add mod">
          <ac:chgData name="Manal El Bakkouri" userId="8b130982-2e3f-4164-b881-fd3a2e4b2453" providerId="ADAL" clId="{4457FA57-250B-44AC-8655-05D46C5A3D8A}" dt="2023-06-01T20:44:17.032" v="3373" actId="1076"/>
          <ac:spMkLst>
            <pc:docMk/>
            <pc:sldMk cId="1384286971" sldId="230717678"/>
            <ac:spMk id="184" creationId="{FD53738C-A654-47CF-9A61-A80E2114FCBF}"/>
          </ac:spMkLst>
        </pc:spChg>
        <pc:spChg chg="add mod">
          <ac:chgData name="Manal El Bakkouri" userId="8b130982-2e3f-4164-b881-fd3a2e4b2453" providerId="ADAL" clId="{4457FA57-250B-44AC-8655-05D46C5A3D8A}" dt="2023-06-01T20:51:10.116" v="3458" actId="207"/>
          <ac:spMkLst>
            <pc:docMk/>
            <pc:sldMk cId="1384286971" sldId="230717678"/>
            <ac:spMk id="185" creationId="{FB8ACB29-1DF9-4607-A912-D5378A031FF5}"/>
          </ac:spMkLst>
        </pc:spChg>
        <pc:spChg chg="mod">
          <ac:chgData name="Manal El Bakkouri" userId="8b130982-2e3f-4164-b881-fd3a2e4b2453" providerId="ADAL" clId="{4457FA57-250B-44AC-8655-05D46C5A3D8A}" dt="2023-06-01T20:44:17.032" v="3373" actId="1076"/>
          <ac:spMkLst>
            <pc:docMk/>
            <pc:sldMk cId="1384286971" sldId="230717678"/>
            <ac:spMk id="187" creationId="{F0CE70D5-A290-4C63-959D-4563B8DD42FC}"/>
          </ac:spMkLst>
        </pc:spChg>
        <pc:spChg chg="mod">
          <ac:chgData name="Manal El Bakkouri" userId="8b130982-2e3f-4164-b881-fd3a2e4b2453" providerId="ADAL" clId="{4457FA57-250B-44AC-8655-05D46C5A3D8A}" dt="2023-06-01T20:44:17.032" v="3373" actId="1076"/>
          <ac:spMkLst>
            <pc:docMk/>
            <pc:sldMk cId="1384286971" sldId="230717678"/>
            <ac:spMk id="188" creationId="{C633A115-8935-42A4-9224-B660EF15881E}"/>
          </ac:spMkLst>
        </pc:spChg>
        <pc:spChg chg="mod">
          <ac:chgData name="Manal El Bakkouri" userId="8b130982-2e3f-4164-b881-fd3a2e4b2453" providerId="ADAL" clId="{4457FA57-250B-44AC-8655-05D46C5A3D8A}" dt="2023-06-01T20:44:17.032" v="3373" actId="1076"/>
          <ac:spMkLst>
            <pc:docMk/>
            <pc:sldMk cId="1384286971" sldId="230717678"/>
            <ac:spMk id="189" creationId="{80DC7F9D-0988-45E8-ABA1-3C6070AEF187}"/>
          </ac:spMkLst>
        </pc:spChg>
        <pc:spChg chg="mod">
          <ac:chgData name="Manal El Bakkouri" userId="8b130982-2e3f-4164-b881-fd3a2e4b2453" providerId="ADAL" clId="{4457FA57-250B-44AC-8655-05D46C5A3D8A}" dt="2023-06-01T20:44:17.032" v="3373" actId="1076"/>
          <ac:spMkLst>
            <pc:docMk/>
            <pc:sldMk cId="1384286971" sldId="230717678"/>
            <ac:spMk id="190" creationId="{5849CD7B-D900-496D-AD10-985FBF63541C}"/>
          </ac:spMkLst>
        </pc:spChg>
        <pc:spChg chg="mod">
          <ac:chgData name="Manal El Bakkouri" userId="8b130982-2e3f-4164-b881-fd3a2e4b2453" providerId="ADAL" clId="{4457FA57-250B-44AC-8655-05D46C5A3D8A}" dt="2023-06-01T20:44:17.032" v="3373" actId="1076"/>
          <ac:spMkLst>
            <pc:docMk/>
            <pc:sldMk cId="1384286971" sldId="230717678"/>
            <ac:spMk id="191" creationId="{41E0B3F2-4481-41F8-AF20-9FB237FDDDE5}"/>
          </ac:spMkLst>
        </pc:spChg>
        <pc:spChg chg="mod">
          <ac:chgData name="Manal El Bakkouri" userId="8b130982-2e3f-4164-b881-fd3a2e4b2453" providerId="ADAL" clId="{4457FA57-250B-44AC-8655-05D46C5A3D8A}" dt="2023-06-01T20:44:17.032" v="3373" actId="1076"/>
          <ac:spMkLst>
            <pc:docMk/>
            <pc:sldMk cId="1384286971" sldId="230717678"/>
            <ac:spMk id="192" creationId="{942B11C1-6BE4-4D69-933B-B9B2134CF0C3}"/>
          </ac:spMkLst>
        </pc:spChg>
        <pc:spChg chg="mod">
          <ac:chgData name="Manal El Bakkouri" userId="8b130982-2e3f-4164-b881-fd3a2e4b2453" providerId="ADAL" clId="{4457FA57-250B-44AC-8655-05D46C5A3D8A}" dt="2023-06-01T20:44:17.032" v="3373" actId="1076"/>
          <ac:spMkLst>
            <pc:docMk/>
            <pc:sldMk cId="1384286971" sldId="230717678"/>
            <ac:spMk id="193" creationId="{E7AC4C32-DBB4-4E35-8F54-A00BE365937A}"/>
          </ac:spMkLst>
        </pc:spChg>
        <pc:spChg chg="mod">
          <ac:chgData name="Manal El Bakkouri" userId="8b130982-2e3f-4164-b881-fd3a2e4b2453" providerId="ADAL" clId="{4457FA57-250B-44AC-8655-05D46C5A3D8A}" dt="2023-06-01T20:44:17.032" v="3373" actId="1076"/>
          <ac:spMkLst>
            <pc:docMk/>
            <pc:sldMk cId="1384286971" sldId="230717678"/>
            <ac:spMk id="194" creationId="{1D053BAC-CA19-420D-A540-691AEBECC314}"/>
          </ac:spMkLst>
        </pc:spChg>
        <pc:spChg chg="mod">
          <ac:chgData name="Manal El Bakkouri" userId="8b130982-2e3f-4164-b881-fd3a2e4b2453" providerId="ADAL" clId="{4457FA57-250B-44AC-8655-05D46C5A3D8A}" dt="2023-06-01T20:44:17.032" v="3373" actId="1076"/>
          <ac:spMkLst>
            <pc:docMk/>
            <pc:sldMk cId="1384286971" sldId="230717678"/>
            <ac:spMk id="195" creationId="{0E19ACAF-A75E-42EC-A13C-9FDFFF9A1CA6}"/>
          </ac:spMkLst>
        </pc:spChg>
        <pc:spChg chg="mod">
          <ac:chgData name="Manal El Bakkouri" userId="8b130982-2e3f-4164-b881-fd3a2e4b2453" providerId="ADAL" clId="{4457FA57-250B-44AC-8655-05D46C5A3D8A}" dt="2023-06-01T20:44:17.032" v="3373" actId="1076"/>
          <ac:spMkLst>
            <pc:docMk/>
            <pc:sldMk cId="1384286971" sldId="230717678"/>
            <ac:spMk id="196" creationId="{E2D7170B-59DA-4A56-B784-2B9D2269ACEC}"/>
          </ac:spMkLst>
        </pc:spChg>
        <pc:spChg chg="mod">
          <ac:chgData name="Manal El Bakkouri" userId="8b130982-2e3f-4164-b881-fd3a2e4b2453" providerId="ADAL" clId="{4457FA57-250B-44AC-8655-05D46C5A3D8A}" dt="2023-06-01T20:44:17.032" v="3373" actId="1076"/>
          <ac:spMkLst>
            <pc:docMk/>
            <pc:sldMk cId="1384286971" sldId="230717678"/>
            <ac:spMk id="198" creationId="{724FE4FA-A2A2-4D63-AAD6-813C9145A5C6}"/>
          </ac:spMkLst>
        </pc:spChg>
        <pc:spChg chg="mod">
          <ac:chgData name="Manal El Bakkouri" userId="8b130982-2e3f-4164-b881-fd3a2e4b2453" providerId="ADAL" clId="{4457FA57-250B-44AC-8655-05D46C5A3D8A}" dt="2023-06-01T20:44:17.032" v="3373" actId="1076"/>
          <ac:spMkLst>
            <pc:docMk/>
            <pc:sldMk cId="1384286971" sldId="230717678"/>
            <ac:spMk id="199" creationId="{A88D5C49-08AD-4E7D-8EF8-9D9EE1B5E14A}"/>
          </ac:spMkLst>
        </pc:spChg>
        <pc:spChg chg="mod">
          <ac:chgData name="Manal El Bakkouri" userId="8b130982-2e3f-4164-b881-fd3a2e4b2453" providerId="ADAL" clId="{4457FA57-250B-44AC-8655-05D46C5A3D8A}" dt="2023-06-01T20:44:17.032" v="3373" actId="1076"/>
          <ac:spMkLst>
            <pc:docMk/>
            <pc:sldMk cId="1384286971" sldId="230717678"/>
            <ac:spMk id="200" creationId="{60FC6F29-4920-4BB0-B4CE-E5E9B89AAA3C}"/>
          </ac:spMkLst>
        </pc:spChg>
        <pc:spChg chg="add mod">
          <ac:chgData name="Manal El Bakkouri" userId="8b130982-2e3f-4164-b881-fd3a2e4b2453" providerId="ADAL" clId="{4457FA57-250B-44AC-8655-05D46C5A3D8A}" dt="2023-06-01T20:44:17.032" v="3373" actId="1076"/>
          <ac:spMkLst>
            <pc:docMk/>
            <pc:sldMk cId="1384286971" sldId="230717678"/>
            <ac:spMk id="201" creationId="{384CDD65-DE5F-4FE7-918A-0BF883765E2E}"/>
          </ac:spMkLst>
        </pc:spChg>
        <pc:spChg chg="add mod">
          <ac:chgData name="Manal El Bakkouri" userId="8b130982-2e3f-4164-b881-fd3a2e4b2453" providerId="ADAL" clId="{4457FA57-250B-44AC-8655-05D46C5A3D8A}" dt="2023-06-01T20:44:17.032" v="3373" actId="1076"/>
          <ac:spMkLst>
            <pc:docMk/>
            <pc:sldMk cId="1384286971" sldId="230717678"/>
            <ac:spMk id="202" creationId="{9FB6A365-8C03-465F-B78B-98E2602B25FA}"/>
          </ac:spMkLst>
        </pc:spChg>
        <pc:spChg chg="add mod">
          <ac:chgData name="Manal El Bakkouri" userId="8b130982-2e3f-4164-b881-fd3a2e4b2453" providerId="ADAL" clId="{4457FA57-250B-44AC-8655-05D46C5A3D8A}" dt="2023-06-01T20:44:17.032" v="3373" actId="1076"/>
          <ac:spMkLst>
            <pc:docMk/>
            <pc:sldMk cId="1384286971" sldId="230717678"/>
            <ac:spMk id="203" creationId="{9A29B085-E377-47FF-B23E-4E37C9064B8F}"/>
          </ac:spMkLst>
        </pc:spChg>
        <pc:spChg chg="mod">
          <ac:chgData name="Manal El Bakkouri" userId="8b130982-2e3f-4164-b881-fd3a2e4b2453" providerId="ADAL" clId="{4457FA57-250B-44AC-8655-05D46C5A3D8A}" dt="2023-06-01T20:44:17.032" v="3373" actId="1076"/>
          <ac:spMkLst>
            <pc:docMk/>
            <pc:sldMk cId="1384286971" sldId="230717678"/>
            <ac:spMk id="205" creationId="{0978CEF3-870E-423C-BF9D-A32A03643BF8}"/>
          </ac:spMkLst>
        </pc:spChg>
        <pc:spChg chg="mod">
          <ac:chgData name="Manal El Bakkouri" userId="8b130982-2e3f-4164-b881-fd3a2e4b2453" providerId="ADAL" clId="{4457FA57-250B-44AC-8655-05D46C5A3D8A}" dt="2023-06-01T20:44:17.032" v="3373" actId="1076"/>
          <ac:spMkLst>
            <pc:docMk/>
            <pc:sldMk cId="1384286971" sldId="230717678"/>
            <ac:spMk id="206" creationId="{D681657F-01B4-48E5-84C1-487E419794A8}"/>
          </ac:spMkLst>
        </pc:spChg>
        <pc:spChg chg="mod">
          <ac:chgData name="Manal El Bakkouri" userId="8b130982-2e3f-4164-b881-fd3a2e4b2453" providerId="ADAL" clId="{4457FA57-250B-44AC-8655-05D46C5A3D8A}" dt="2023-06-01T20:44:17.032" v="3373" actId="1076"/>
          <ac:spMkLst>
            <pc:docMk/>
            <pc:sldMk cId="1384286971" sldId="230717678"/>
            <ac:spMk id="207" creationId="{BEA51D2E-A938-48ED-9191-EA15BCF28C18}"/>
          </ac:spMkLst>
        </pc:spChg>
        <pc:spChg chg="mod">
          <ac:chgData name="Manal El Bakkouri" userId="8b130982-2e3f-4164-b881-fd3a2e4b2453" providerId="ADAL" clId="{4457FA57-250B-44AC-8655-05D46C5A3D8A}" dt="2023-06-01T20:44:17.032" v="3373" actId="1076"/>
          <ac:spMkLst>
            <pc:docMk/>
            <pc:sldMk cId="1384286971" sldId="230717678"/>
            <ac:spMk id="208" creationId="{0A3C3460-E830-49C6-A62C-BACA292768E6}"/>
          </ac:spMkLst>
        </pc:spChg>
        <pc:spChg chg="mod">
          <ac:chgData name="Manal El Bakkouri" userId="8b130982-2e3f-4164-b881-fd3a2e4b2453" providerId="ADAL" clId="{4457FA57-250B-44AC-8655-05D46C5A3D8A}" dt="2023-06-01T20:44:17.032" v="3373" actId="1076"/>
          <ac:spMkLst>
            <pc:docMk/>
            <pc:sldMk cId="1384286971" sldId="230717678"/>
            <ac:spMk id="209" creationId="{D3066B8A-51E8-4CC7-AF7C-C81D6CFD7301}"/>
          </ac:spMkLst>
        </pc:spChg>
        <pc:spChg chg="mod">
          <ac:chgData name="Manal El Bakkouri" userId="8b130982-2e3f-4164-b881-fd3a2e4b2453" providerId="ADAL" clId="{4457FA57-250B-44AC-8655-05D46C5A3D8A}" dt="2023-06-01T20:44:17.032" v="3373" actId="1076"/>
          <ac:spMkLst>
            <pc:docMk/>
            <pc:sldMk cId="1384286971" sldId="230717678"/>
            <ac:spMk id="210" creationId="{2E05FC82-82CF-4E02-A918-0ECA42E8D4D1}"/>
          </ac:spMkLst>
        </pc:spChg>
        <pc:spChg chg="mod">
          <ac:chgData name="Manal El Bakkouri" userId="8b130982-2e3f-4164-b881-fd3a2e4b2453" providerId="ADAL" clId="{4457FA57-250B-44AC-8655-05D46C5A3D8A}" dt="2023-06-01T20:44:17.032" v="3373" actId="1076"/>
          <ac:spMkLst>
            <pc:docMk/>
            <pc:sldMk cId="1384286971" sldId="230717678"/>
            <ac:spMk id="211" creationId="{2E5A6ACB-5253-47B4-AE0D-CE51353D3DC2}"/>
          </ac:spMkLst>
        </pc:spChg>
        <pc:spChg chg="mod">
          <ac:chgData name="Manal El Bakkouri" userId="8b130982-2e3f-4164-b881-fd3a2e4b2453" providerId="ADAL" clId="{4457FA57-250B-44AC-8655-05D46C5A3D8A}" dt="2023-06-01T20:44:17.032" v="3373" actId="1076"/>
          <ac:spMkLst>
            <pc:docMk/>
            <pc:sldMk cId="1384286971" sldId="230717678"/>
            <ac:spMk id="212" creationId="{E8B79B98-7EE2-4FFA-B76E-3A701946D632}"/>
          </ac:spMkLst>
        </pc:spChg>
        <pc:spChg chg="mod">
          <ac:chgData name="Manal El Bakkouri" userId="8b130982-2e3f-4164-b881-fd3a2e4b2453" providerId="ADAL" clId="{4457FA57-250B-44AC-8655-05D46C5A3D8A}" dt="2023-06-01T20:44:17.032" v="3373" actId="1076"/>
          <ac:spMkLst>
            <pc:docMk/>
            <pc:sldMk cId="1384286971" sldId="230717678"/>
            <ac:spMk id="213" creationId="{9E1424BE-D3CA-48E8-AC67-D6F968FFB249}"/>
          </ac:spMkLst>
        </pc:spChg>
        <pc:spChg chg="mod">
          <ac:chgData name="Manal El Bakkouri" userId="8b130982-2e3f-4164-b881-fd3a2e4b2453" providerId="ADAL" clId="{4457FA57-250B-44AC-8655-05D46C5A3D8A}" dt="2023-06-01T20:44:17.032" v="3373" actId="1076"/>
          <ac:spMkLst>
            <pc:docMk/>
            <pc:sldMk cId="1384286971" sldId="230717678"/>
            <ac:spMk id="214" creationId="{73D33CFC-FEC5-40C8-94CE-EBB8DF3B80E1}"/>
          </ac:spMkLst>
        </pc:spChg>
        <pc:spChg chg="mod">
          <ac:chgData name="Manal El Bakkouri" userId="8b130982-2e3f-4164-b881-fd3a2e4b2453" providerId="ADAL" clId="{4457FA57-250B-44AC-8655-05D46C5A3D8A}" dt="2023-06-01T20:44:17.032" v="3373" actId="1076"/>
          <ac:spMkLst>
            <pc:docMk/>
            <pc:sldMk cId="1384286971" sldId="230717678"/>
            <ac:spMk id="216" creationId="{C200DAC9-D361-4A9B-81CA-19FD3DDCBC6A}"/>
          </ac:spMkLst>
        </pc:spChg>
        <pc:spChg chg="mod">
          <ac:chgData name="Manal El Bakkouri" userId="8b130982-2e3f-4164-b881-fd3a2e4b2453" providerId="ADAL" clId="{4457FA57-250B-44AC-8655-05D46C5A3D8A}" dt="2023-06-01T20:44:17.032" v="3373" actId="1076"/>
          <ac:spMkLst>
            <pc:docMk/>
            <pc:sldMk cId="1384286971" sldId="230717678"/>
            <ac:spMk id="217" creationId="{5346883B-1EDF-443D-84F1-A85CEEC12A61}"/>
          </ac:spMkLst>
        </pc:spChg>
        <pc:spChg chg="mod">
          <ac:chgData name="Manal El Bakkouri" userId="8b130982-2e3f-4164-b881-fd3a2e4b2453" providerId="ADAL" clId="{4457FA57-250B-44AC-8655-05D46C5A3D8A}" dt="2023-06-01T20:44:17.032" v="3373" actId="1076"/>
          <ac:spMkLst>
            <pc:docMk/>
            <pc:sldMk cId="1384286971" sldId="230717678"/>
            <ac:spMk id="218" creationId="{FCDC0F20-ED15-47FB-811A-1B3E12D819BF}"/>
          </ac:spMkLst>
        </pc:spChg>
        <pc:spChg chg="add mod topLvl">
          <ac:chgData name="Manal El Bakkouri" userId="8b130982-2e3f-4164-b881-fd3a2e4b2453" providerId="ADAL" clId="{4457FA57-250B-44AC-8655-05D46C5A3D8A}" dt="2023-06-02T09:28:25.283" v="4129" actId="165"/>
          <ac:spMkLst>
            <pc:docMk/>
            <pc:sldMk cId="1384286971" sldId="230717678"/>
            <ac:spMk id="219" creationId="{CE250EEC-ADAC-49CD-9026-A473AB009DBD}"/>
          </ac:spMkLst>
        </pc:spChg>
        <pc:spChg chg="add mod topLvl">
          <ac:chgData name="Manal El Bakkouri" userId="8b130982-2e3f-4164-b881-fd3a2e4b2453" providerId="ADAL" clId="{4457FA57-250B-44AC-8655-05D46C5A3D8A}" dt="2023-06-02T09:28:25.283" v="4129" actId="165"/>
          <ac:spMkLst>
            <pc:docMk/>
            <pc:sldMk cId="1384286971" sldId="230717678"/>
            <ac:spMk id="220" creationId="{9468B8E1-D409-4D45-B105-2FECC1CA291A}"/>
          </ac:spMkLst>
        </pc:spChg>
        <pc:spChg chg="add mod topLvl">
          <ac:chgData name="Manal El Bakkouri" userId="8b130982-2e3f-4164-b881-fd3a2e4b2453" providerId="ADAL" clId="{4457FA57-250B-44AC-8655-05D46C5A3D8A}" dt="2023-06-02T09:28:25.283" v="4129" actId="165"/>
          <ac:spMkLst>
            <pc:docMk/>
            <pc:sldMk cId="1384286971" sldId="230717678"/>
            <ac:spMk id="221" creationId="{EF2FD853-AE05-446F-8970-C5528DFFCA2E}"/>
          </ac:spMkLst>
        </pc:spChg>
        <pc:spChg chg="mod">
          <ac:chgData name="Manal El Bakkouri" userId="8b130982-2e3f-4164-b881-fd3a2e4b2453" providerId="ADAL" clId="{4457FA57-250B-44AC-8655-05D46C5A3D8A}" dt="2023-06-02T09:28:25.283" v="4129" actId="165"/>
          <ac:spMkLst>
            <pc:docMk/>
            <pc:sldMk cId="1384286971" sldId="230717678"/>
            <ac:spMk id="223" creationId="{76B13E2C-0B7B-45F1-8027-30A26F868E8E}"/>
          </ac:spMkLst>
        </pc:spChg>
        <pc:spChg chg="mod">
          <ac:chgData name="Manal El Bakkouri" userId="8b130982-2e3f-4164-b881-fd3a2e4b2453" providerId="ADAL" clId="{4457FA57-250B-44AC-8655-05D46C5A3D8A}" dt="2023-06-02T09:28:25.283" v="4129" actId="165"/>
          <ac:spMkLst>
            <pc:docMk/>
            <pc:sldMk cId="1384286971" sldId="230717678"/>
            <ac:spMk id="224" creationId="{934EFD6D-5D94-4579-AB71-8F88F52BB196}"/>
          </ac:spMkLst>
        </pc:spChg>
        <pc:spChg chg="mod">
          <ac:chgData name="Manal El Bakkouri" userId="8b130982-2e3f-4164-b881-fd3a2e4b2453" providerId="ADAL" clId="{4457FA57-250B-44AC-8655-05D46C5A3D8A}" dt="2023-06-02T09:28:25.283" v="4129" actId="165"/>
          <ac:spMkLst>
            <pc:docMk/>
            <pc:sldMk cId="1384286971" sldId="230717678"/>
            <ac:spMk id="225" creationId="{707D12EB-79DF-4812-9BD6-81340F59DFDA}"/>
          </ac:spMkLst>
        </pc:spChg>
        <pc:spChg chg="mod">
          <ac:chgData name="Manal El Bakkouri" userId="8b130982-2e3f-4164-b881-fd3a2e4b2453" providerId="ADAL" clId="{4457FA57-250B-44AC-8655-05D46C5A3D8A}" dt="2023-06-02T09:28:25.283" v="4129" actId="165"/>
          <ac:spMkLst>
            <pc:docMk/>
            <pc:sldMk cId="1384286971" sldId="230717678"/>
            <ac:spMk id="226" creationId="{19AB3CA5-266C-4B28-86EE-A987C05EE82F}"/>
          </ac:spMkLst>
        </pc:spChg>
        <pc:spChg chg="mod">
          <ac:chgData name="Manal El Bakkouri" userId="8b130982-2e3f-4164-b881-fd3a2e4b2453" providerId="ADAL" clId="{4457FA57-250B-44AC-8655-05D46C5A3D8A}" dt="2023-06-02T09:28:25.283" v="4129" actId="165"/>
          <ac:spMkLst>
            <pc:docMk/>
            <pc:sldMk cId="1384286971" sldId="230717678"/>
            <ac:spMk id="227" creationId="{16886A52-993C-446B-92C4-35DC98D00796}"/>
          </ac:spMkLst>
        </pc:spChg>
        <pc:spChg chg="mod">
          <ac:chgData name="Manal El Bakkouri" userId="8b130982-2e3f-4164-b881-fd3a2e4b2453" providerId="ADAL" clId="{4457FA57-250B-44AC-8655-05D46C5A3D8A}" dt="2023-06-02T09:28:25.283" v="4129" actId="165"/>
          <ac:spMkLst>
            <pc:docMk/>
            <pc:sldMk cId="1384286971" sldId="230717678"/>
            <ac:spMk id="228" creationId="{551BAD6A-41F8-4A67-BBAF-B10BCA6CED8A}"/>
          </ac:spMkLst>
        </pc:spChg>
        <pc:spChg chg="mod">
          <ac:chgData name="Manal El Bakkouri" userId="8b130982-2e3f-4164-b881-fd3a2e4b2453" providerId="ADAL" clId="{4457FA57-250B-44AC-8655-05D46C5A3D8A}" dt="2023-06-02T09:28:25.283" v="4129" actId="165"/>
          <ac:spMkLst>
            <pc:docMk/>
            <pc:sldMk cId="1384286971" sldId="230717678"/>
            <ac:spMk id="229" creationId="{424DF614-913B-42FB-8D47-876E11892411}"/>
          </ac:spMkLst>
        </pc:spChg>
        <pc:spChg chg="mod">
          <ac:chgData name="Manal El Bakkouri" userId="8b130982-2e3f-4164-b881-fd3a2e4b2453" providerId="ADAL" clId="{4457FA57-250B-44AC-8655-05D46C5A3D8A}" dt="2023-06-02T09:28:25.283" v="4129" actId="165"/>
          <ac:spMkLst>
            <pc:docMk/>
            <pc:sldMk cId="1384286971" sldId="230717678"/>
            <ac:spMk id="230" creationId="{65ECFA7F-370F-4E9F-9371-54EB4477BD66}"/>
          </ac:spMkLst>
        </pc:spChg>
        <pc:spChg chg="mod">
          <ac:chgData name="Manal El Bakkouri" userId="8b130982-2e3f-4164-b881-fd3a2e4b2453" providerId="ADAL" clId="{4457FA57-250B-44AC-8655-05D46C5A3D8A}" dt="2023-06-02T09:28:25.283" v="4129" actId="165"/>
          <ac:spMkLst>
            <pc:docMk/>
            <pc:sldMk cId="1384286971" sldId="230717678"/>
            <ac:spMk id="231" creationId="{4AD93E96-09B6-44AC-94A6-52A2140C5FE8}"/>
          </ac:spMkLst>
        </pc:spChg>
        <pc:spChg chg="mod">
          <ac:chgData name="Manal El Bakkouri" userId="8b130982-2e3f-4164-b881-fd3a2e4b2453" providerId="ADAL" clId="{4457FA57-250B-44AC-8655-05D46C5A3D8A}" dt="2023-06-02T09:28:25.283" v="4129" actId="165"/>
          <ac:spMkLst>
            <pc:docMk/>
            <pc:sldMk cId="1384286971" sldId="230717678"/>
            <ac:spMk id="232" creationId="{8FD70FD8-5FCF-4650-BDB6-EA446954A937}"/>
          </ac:spMkLst>
        </pc:spChg>
        <pc:spChg chg="mod">
          <ac:chgData name="Manal El Bakkouri" userId="8b130982-2e3f-4164-b881-fd3a2e4b2453" providerId="ADAL" clId="{4457FA57-250B-44AC-8655-05D46C5A3D8A}" dt="2023-06-02T09:28:25.283" v="4129" actId="165"/>
          <ac:spMkLst>
            <pc:docMk/>
            <pc:sldMk cId="1384286971" sldId="230717678"/>
            <ac:spMk id="234" creationId="{08809472-3ADE-4DC4-9352-8BA31D313568}"/>
          </ac:spMkLst>
        </pc:spChg>
        <pc:spChg chg="mod">
          <ac:chgData name="Manal El Bakkouri" userId="8b130982-2e3f-4164-b881-fd3a2e4b2453" providerId="ADAL" clId="{4457FA57-250B-44AC-8655-05D46C5A3D8A}" dt="2023-06-02T09:28:25.283" v="4129" actId="165"/>
          <ac:spMkLst>
            <pc:docMk/>
            <pc:sldMk cId="1384286971" sldId="230717678"/>
            <ac:spMk id="235" creationId="{680117EE-B637-4EEA-868C-F012B01B3650}"/>
          </ac:spMkLst>
        </pc:spChg>
        <pc:spChg chg="mod">
          <ac:chgData name="Manal El Bakkouri" userId="8b130982-2e3f-4164-b881-fd3a2e4b2453" providerId="ADAL" clId="{4457FA57-250B-44AC-8655-05D46C5A3D8A}" dt="2023-06-02T09:28:25.283" v="4129" actId="165"/>
          <ac:spMkLst>
            <pc:docMk/>
            <pc:sldMk cId="1384286971" sldId="230717678"/>
            <ac:spMk id="236" creationId="{0F49A166-9414-415F-8F4E-CBB9EF986E9A}"/>
          </ac:spMkLst>
        </pc:spChg>
        <pc:spChg chg="add mod">
          <ac:chgData name="Manal El Bakkouri" userId="8b130982-2e3f-4164-b881-fd3a2e4b2453" providerId="ADAL" clId="{4457FA57-250B-44AC-8655-05D46C5A3D8A}" dt="2023-06-01T20:46:50.199" v="3417" actId="1076"/>
          <ac:spMkLst>
            <pc:docMk/>
            <pc:sldMk cId="1384286971" sldId="230717678"/>
            <ac:spMk id="237" creationId="{907086B0-DDA4-4E08-865D-ADA0E3DBBB98}"/>
          </ac:spMkLst>
        </pc:spChg>
        <pc:spChg chg="add mod">
          <ac:chgData name="Manal El Bakkouri" userId="8b130982-2e3f-4164-b881-fd3a2e4b2453" providerId="ADAL" clId="{4457FA57-250B-44AC-8655-05D46C5A3D8A}" dt="2023-06-01T20:44:17.032" v="3373" actId="1076"/>
          <ac:spMkLst>
            <pc:docMk/>
            <pc:sldMk cId="1384286971" sldId="230717678"/>
            <ac:spMk id="238" creationId="{7589FFE4-00C6-4E96-89F6-560E71AEBEDC}"/>
          </ac:spMkLst>
        </pc:spChg>
        <pc:spChg chg="add mod">
          <ac:chgData name="Manal El Bakkouri" userId="8b130982-2e3f-4164-b881-fd3a2e4b2453" providerId="ADAL" clId="{4457FA57-250B-44AC-8655-05D46C5A3D8A}" dt="2023-06-01T20:49:02.782" v="3441" actId="1076"/>
          <ac:spMkLst>
            <pc:docMk/>
            <pc:sldMk cId="1384286971" sldId="230717678"/>
            <ac:spMk id="239" creationId="{DE2A9265-73B6-47BD-AB11-11989051CEB5}"/>
          </ac:spMkLst>
        </pc:spChg>
        <pc:spChg chg="add mod">
          <ac:chgData name="Manal El Bakkouri" userId="8b130982-2e3f-4164-b881-fd3a2e4b2453" providerId="ADAL" clId="{4457FA57-250B-44AC-8655-05D46C5A3D8A}" dt="2023-06-01T20:44:17.032" v="3373" actId="1076"/>
          <ac:spMkLst>
            <pc:docMk/>
            <pc:sldMk cId="1384286971" sldId="230717678"/>
            <ac:spMk id="240" creationId="{E5911C3B-7644-464D-A817-1054A1DD28AF}"/>
          </ac:spMkLst>
        </pc:spChg>
        <pc:spChg chg="add mod topLvl">
          <ac:chgData name="Manal El Bakkouri" userId="8b130982-2e3f-4164-b881-fd3a2e4b2453" providerId="ADAL" clId="{4457FA57-250B-44AC-8655-05D46C5A3D8A}" dt="2023-06-02T09:28:25.283" v="4129" actId="165"/>
          <ac:spMkLst>
            <pc:docMk/>
            <pc:sldMk cId="1384286971" sldId="230717678"/>
            <ac:spMk id="241" creationId="{2B99B28A-2254-459A-9CAD-6C4085C8060B}"/>
          </ac:spMkLst>
        </pc:spChg>
        <pc:spChg chg="add mod topLvl">
          <ac:chgData name="Manal El Bakkouri" userId="8b130982-2e3f-4164-b881-fd3a2e4b2453" providerId="ADAL" clId="{4457FA57-250B-44AC-8655-05D46C5A3D8A}" dt="2023-06-02T09:28:25.283" v="4129" actId="165"/>
          <ac:spMkLst>
            <pc:docMk/>
            <pc:sldMk cId="1384286971" sldId="230717678"/>
            <ac:spMk id="242" creationId="{9478CA70-5A3B-4DA8-BC35-21CCDD84D178}"/>
          </ac:spMkLst>
        </pc:spChg>
        <pc:spChg chg="add del mod">
          <ac:chgData name="Manal El Bakkouri" userId="8b130982-2e3f-4164-b881-fd3a2e4b2453" providerId="ADAL" clId="{4457FA57-250B-44AC-8655-05D46C5A3D8A}" dt="2023-06-01T20:50:03.460" v="3451" actId="478"/>
          <ac:spMkLst>
            <pc:docMk/>
            <pc:sldMk cId="1384286971" sldId="230717678"/>
            <ac:spMk id="243" creationId="{D9987263-5EC8-4AB9-A65F-5F3AFB1C3CBD}"/>
          </ac:spMkLst>
        </pc:spChg>
        <pc:spChg chg="add del mod">
          <ac:chgData name="Manal El Bakkouri" userId="8b130982-2e3f-4164-b881-fd3a2e4b2453" providerId="ADAL" clId="{4457FA57-250B-44AC-8655-05D46C5A3D8A}" dt="2023-06-01T20:50:03.460" v="3451" actId="478"/>
          <ac:spMkLst>
            <pc:docMk/>
            <pc:sldMk cId="1384286971" sldId="230717678"/>
            <ac:spMk id="244" creationId="{789BEC96-E5FC-4E91-B628-FD7E6982B2A4}"/>
          </ac:spMkLst>
        </pc:spChg>
        <pc:spChg chg="add del mod">
          <ac:chgData name="Manal El Bakkouri" userId="8b130982-2e3f-4164-b881-fd3a2e4b2453" providerId="ADAL" clId="{4457FA57-250B-44AC-8655-05D46C5A3D8A}" dt="2023-06-01T20:50:03.460" v="3451" actId="478"/>
          <ac:spMkLst>
            <pc:docMk/>
            <pc:sldMk cId="1384286971" sldId="230717678"/>
            <ac:spMk id="245" creationId="{03417B1A-0E08-4CE4-9D37-C63C551B18B4}"/>
          </ac:spMkLst>
        </pc:spChg>
        <pc:spChg chg="add del mod">
          <ac:chgData name="Manal El Bakkouri" userId="8b130982-2e3f-4164-b881-fd3a2e4b2453" providerId="ADAL" clId="{4457FA57-250B-44AC-8655-05D46C5A3D8A}" dt="2023-06-01T20:50:03.460" v="3451" actId="478"/>
          <ac:spMkLst>
            <pc:docMk/>
            <pc:sldMk cId="1384286971" sldId="230717678"/>
            <ac:spMk id="246" creationId="{FDF89188-471B-44F7-BB45-F8B52C406102}"/>
          </ac:spMkLst>
        </pc:spChg>
        <pc:spChg chg="add del mod">
          <ac:chgData name="Manal El Bakkouri" userId="8b130982-2e3f-4164-b881-fd3a2e4b2453" providerId="ADAL" clId="{4457FA57-250B-44AC-8655-05D46C5A3D8A}" dt="2023-06-01T20:50:03.460" v="3451" actId="478"/>
          <ac:spMkLst>
            <pc:docMk/>
            <pc:sldMk cId="1384286971" sldId="230717678"/>
            <ac:spMk id="247" creationId="{F7FE9B33-7598-4E4C-AA13-1A7B1D567A24}"/>
          </ac:spMkLst>
        </pc:spChg>
        <pc:spChg chg="add del mod">
          <ac:chgData name="Manal El Bakkouri" userId="8b130982-2e3f-4164-b881-fd3a2e4b2453" providerId="ADAL" clId="{4457FA57-250B-44AC-8655-05D46C5A3D8A}" dt="2023-06-01T20:50:03.460" v="3451" actId="478"/>
          <ac:spMkLst>
            <pc:docMk/>
            <pc:sldMk cId="1384286971" sldId="230717678"/>
            <ac:spMk id="248" creationId="{4549F348-07E9-4D5C-B732-41E039F26735}"/>
          </ac:spMkLst>
        </pc:spChg>
        <pc:spChg chg="add del mod">
          <ac:chgData name="Manal El Bakkouri" userId="8b130982-2e3f-4164-b881-fd3a2e4b2453" providerId="ADAL" clId="{4457FA57-250B-44AC-8655-05D46C5A3D8A}" dt="2023-06-01T20:50:03.460" v="3451" actId="478"/>
          <ac:spMkLst>
            <pc:docMk/>
            <pc:sldMk cId="1384286971" sldId="230717678"/>
            <ac:spMk id="249" creationId="{8F7A03D7-5C6B-4BB2-8FF7-C3E7B3DA3FA2}"/>
          </ac:spMkLst>
        </pc:spChg>
        <pc:spChg chg="add del mod">
          <ac:chgData name="Manal El Bakkouri" userId="8b130982-2e3f-4164-b881-fd3a2e4b2453" providerId="ADAL" clId="{4457FA57-250B-44AC-8655-05D46C5A3D8A}" dt="2023-06-01T20:50:03.460" v="3451" actId="478"/>
          <ac:spMkLst>
            <pc:docMk/>
            <pc:sldMk cId="1384286971" sldId="230717678"/>
            <ac:spMk id="250" creationId="{2A111236-A863-401D-8FB8-CEF2B774AE28}"/>
          </ac:spMkLst>
        </pc:spChg>
        <pc:spChg chg="add del mod">
          <ac:chgData name="Manal El Bakkouri" userId="8b130982-2e3f-4164-b881-fd3a2e4b2453" providerId="ADAL" clId="{4457FA57-250B-44AC-8655-05D46C5A3D8A}" dt="2023-06-01T20:50:03.460" v="3451" actId="478"/>
          <ac:spMkLst>
            <pc:docMk/>
            <pc:sldMk cId="1384286971" sldId="230717678"/>
            <ac:spMk id="251" creationId="{C718BCA3-850C-4A43-BCE4-F5DC713B1B45}"/>
          </ac:spMkLst>
        </pc:spChg>
        <pc:spChg chg="mod">
          <ac:chgData name="Manal El Bakkouri" userId="8b130982-2e3f-4164-b881-fd3a2e4b2453" providerId="ADAL" clId="{4457FA57-250B-44AC-8655-05D46C5A3D8A}" dt="2023-06-01T20:44:17.032" v="3373" actId="1076"/>
          <ac:spMkLst>
            <pc:docMk/>
            <pc:sldMk cId="1384286971" sldId="230717678"/>
            <ac:spMk id="253" creationId="{1CAA2B86-55C3-446A-A712-41F366266F23}"/>
          </ac:spMkLst>
        </pc:spChg>
        <pc:spChg chg="mod">
          <ac:chgData name="Manal El Bakkouri" userId="8b130982-2e3f-4164-b881-fd3a2e4b2453" providerId="ADAL" clId="{4457FA57-250B-44AC-8655-05D46C5A3D8A}" dt="2023-06-01T20:44:17.032" v="3373" actId="1076"/>
          <ac:spMkLst>
            <pc:docMk/>
            <pc:sldMk cId="1384286971" sldId="230717678"/>
            <ac:spMk id="254" creationId="{0C7122BA-635C-4010-BC14-6D4A883963B6}"/>
          </ac:spMkLst>
        </pc:spChg>
        <pc:spChg chg="mod">
          <ac:chgData name="Manal El Bakkouri" userId="8b130982-2e3f-4164-b881-fd3a2e4b2453" providerId="ADAL" clId="{4457FA57-250B-44AC-8655-05D46C5A3D8A}" dt="2023-06-01T20:44:17.032" v="3373" actId="1076"/>
          <ac:spMkLst>
            <pc:docMk/>
            <pc:sldMk cId="1384286971" sldId="230717678"/>
            <ac:spMk id="256" creationId="{9BB1D210-7DA4-4101-9A98-725EA8CA8B93}"/>
          </ac:spMkLst>
        </pc:spChg>
        <pc:spChg chg="mod">
          <ac:chgData name="Manal El Bakkouri" userId="8b130982-2e3f-4164-b881-fd3a2e4b2453" providerId="ADAL" clId="{4457FA57-250B-44AC-8655-05D46C5A3D8A}" dt="2023-06-01T20:44:17.032" v="3373" actId="1076"/>
          <ac:spMkLst>
            <pc:docMk/>
            <pc:sldMk cId="1384286971" sldId="230717678"/>
            <ac:spMk id="257" creationId="{C3EE1B6B-6E14-48C6-8CFF-9B2A0DF2EDE2}"/>
          </ac:spMkLst>
        </pc:spChg>
        <pc:spChg chg="del mod">
          <ac:chgData name="Manal El Bakkouri" userId="8b130982-2e3f-4164-b881-fd3a2e4b2453" providerId="ADAL" clId="{4457FA57-250B-44AC-8655-05D46C5A3D8A}" dt="2023-06-01T20:59:40.008" v="3556" actId="478"/>
          <ac:spMkLst>
            <pc:docMk/>
            <pc:sldMk cId="1384286971" sldId="230717678"/>
            <ac:spMk id="259" creationId="{938E2533-CE1B-4A4D-B379-CC9358446D4F}"/>
          </ac:spMkLst>
        </pc:spChg>
        <pc:spChg chg="del mod">
          <ac:chgData name="Manal El Bakkouri" userId="8b130982-2e3f-4164-b881-fd3a2e4b2453" providerId="ADAL" clId="{4457FA57-250B-44AC-8655-05D46C5A3D8A}" dt="2023-06-01T20:59:37.084" v="3555" actId="478"/>
          <ac:spMkLst>
            <pc:docMk/>
            <pc:sldMk cId="1384286971" sldId="230717678"/>
            <ac:spMk id="260" creationId="{6557FC74-B3A7-4D25-A687-E23E8EA8AC7E}"/>
          </ac:spMkLst>
        </pc:spChg>
        <pc:spChg chg="mod">
          <ac:chgData name="Manal El Bakkouri" userId="8b130982-2e3f-4164-b881-fd3a2e4b2453" providerId="ADAL" clId="{4457FA57-250B-44AC-8655-05D46C5A3D8A}" dt="2023-06-01T20:44:17.032" v="3373" actId="1076"/>
          <ac:spMkLst>
            <pc:docMk/>
            <pc:sldMk cId="1384286971" sldId="230717678"/>
            <ac:spMk id="262" creationId="{BC8287AB-D729-4E2D-982A-02359DF9B86E}"/>
          </ac:spMkLst>
        </pc:spChg>
        <pc:spChg chg="mod">
          <ac:chgData name="Manal El Bakkouri" userId="8b130982-2e3f-4164-b881-fd3a2e4b2453" providerId="ADAL" clId="{4457FA57-250B-44AC-8655-05D46C5A3D8A}" dt="2023-06-01T20:44:17.032" v="3373" actId="1076"/>
          <ac:spMkLst>
            <pc:docMk/>
            <pc:sldMk cId="1384286971" sldId="230717678"/>
            <ac:spMk id="263" creationId="{A07EFECC-F729-440D-8B5E-3E6B7C27D335}"/>
          </ac:spMkLst>
        </pc:spChg>
        <pc:spChg chg="mod">
          <ac:chgData name="Manal El Bakkouri" userId="8b130982-2e3f-4164-b881-fd3a2e4b2453" providerId="ADAL" clId="{4457FA57-250B-44AC-8655-05D46C5A3D8A}" dt="2023-06-01T20:44:17.032" v="3373" actId="1076"/>
          <ac:spMkLst>
            <pc:docMk/>
            <pc:sldMk cId="1384286971" sldId="230717678"/>
            <ac:spMk id="265" creationId="{AF96F1BD-E65B-4890-9013-056DBB809793}"/>
          </ac:spMkLst>
        </pc:spChg>
        <pc:spChg chg="mod">
          <ac:chgData name="Manal El Bakkouri" userId="8b130982-2e3f-4164-b881-fd3a2e4b2453" providerId="ADAL" clId="{4457FA57-250B-44AC-8655-05D46C5A3D8A}" dt="2023-06-01T20:44:17.032" v="3373" actId="1076"/>
          <ac:spMkLst>
            <pc:docMk/>
            <pc:sldMk cId="1384286971" sldId="230717678"/>
            <ac:spMk id="266" creationId="{F5A6EDFE-0203-4BA4-A2AE-21F4C83EF5D0}"/>
          </ac:spMkLst>
        </pc:spChg>
        <pc:spChg chg="mod">
          <ac:chgData name="Manal El Bakkouri" userId="8b130982-2e3f-4164-b881-fd3a2e4b2453" providerId="ADAL" clId="{4457FA57-250B-44AC-8655-05D46C5A3D8A}" dt="2023-06-01T20:44:17.032" v="3373" actId="1076"/>
          <ac:spMkLst>
            <pc:docMk/>
            <pc:sldMk cId="1384286971" sldId="230717678"/>
            <ac:spMk id="268" creationId="{4E8364CC-F832-4557-B0B6-F4E463B1E36F}"/>
          </ac:spMkLst>
        </pc:spChg>
        <pc:spChg chg="mod">
          <ac:chgData name="Manal El Bakkouri" userId="8b130982-2e3f-4164-b881-fd3a2e4b2453" providerId="ADAL" clId="{4457FA57-250B-44AC-8655-05D46C5A3D8A}" dt="2023-06-01T20:44:17.032" v="3373" actId="1076"/>
          <ac:spMkLst>
            <pc:docMk/>
            <pc:sldMk cId="1384286971" sldId="230717678"/>
            <ac:spMk id="269" creationId="{41D40735-773B-4944-BF9A-E00A36B0CCED}"/>
          </ac:spMkLst>
        </pc:spChg>
        <pc:spChg chg="add mod">
          <ac:chgData name="Manal El Bakkouri" userId="8b130982-2e3f-4164-b881-fd3a2e4b2453" providerId="ADAL" clId="{4457FA57-250B-44AC-8655-05D46C5A3D8A}" dt="2023-06-01T20:50:21.967" v="3453" actId="571"/>
          <ac:spMkLst>
            <pc:docMk/>
            <pc:sldMk cId="1384286971" sldId="230717678"/>
            <ac:spMk id="270" creationId="{61E48E89-BA03-46B7-8E61-2AC14D13B3FD}"/>
          </ac:spMkLst>
        </pc:spChg>
        <pc:spChg chg="mod topLvl">
          <ac:chgData name="Manal El Bakkouri" userId="8b130982-2e3f-4164-b881-fd3a2e4b2453" providerId="ADAL" clId="{4457FA57-250B-44AC-8655-05D46C5A3D8A}" dt="2023-06-01T21:00:50.662" v="3566" actId="165"/>
          <ac:spMkLst>
            <pc:docMk/>
            <pc:sldMk cId="1384286971" sldId="230717678"/>
            <ac:spMk id="272" creationId="{7E1DDCAB-860D-4D5B-B04C-B08A60590651}"/>
          </ac:spMkLst>
        </pc:spChg>
        <pc:spChg chg="mod topLvl">
          <ac:chgData name="Manal El Bakkouri" userId="8b130982-2e3f-4164-b881-fd3a2e4b2453" providerId="ADAL" clId="{4457FA57-250B-44AC-8655-05D46C5A3D8A}" dt="2023-06-01T21:00:50.662" v="3566" actId="165"/>
          <ac:spMkLst>
            <pc:docMk/>
            <pc:sldMk cId="1384286971" sldId="230717678"/>
            <ac:spMk id="273" creationId="{BCC0A54D-1C1E-4C06-BF7C-1414A583989F}"/>
          </ac:spMkLst>
        </pc:spChg>
        <pc:spChg chg="mod topLvl">
          <ac:chgData name="Manal El Bakkouri" userId="8b130982-2e3f-4164-b881-fd3a2e4b2453" providerId="ADAL" clId="{4457FA57-250B-44AC-8655-05D46C5A3D8A}" dt="2023-06-01T21:00:50.662" v="3566" actId="165"/>
          <ac:spMkLst>
            <pc:docMk/>
            <pc:sldMk cId="1384286971" sldId="230717678"/>
            <ac:spMk id="274" creationId="{478BFE02-F071-4A8F-ABF8-FA5B9AD045E6}"/>
          </ac:spMkLst>
        </pc:spChg>
        <pc:spChg chg="del mod topLvl">
          <ac:chgData name="Manal El Bakkouri" userId="8b130982-2e3f-4164-b881-fd3a2e4b2453" providerId="ADAL" clId="{4457FA57-250B-44AC-8655-05D46C5A3D8A}" dt="2023-06-06T09:33:15.489" v="9157" actId="478"/>
          <ac:spMkLst>
            <pc:docMk/>
            <pc:sldMk cId="1384286971" sldId="230717678"/>
            <ac:spMk id="277" creationId="{5827CEB6-8D48-422D-B08C-B1EA14C31C34}"/>
          </ac:spMkLst>
        </pc:spChg>
        <pc:spChg chg="del mod topLvl">
          <ac:chgData name="Manal El Bakkouri" userId="8b130982-2e3f-4164-b881-fd3a2e4b2453" providerId="ADAL" clId="{4457FA57-250B-44AC-8655-05D46C5A3D8A}" dt="2023-06-06T09:33:15.489" v="9157" actId="478"/>
          <ac:spMkLst>
            <pc:docMk/>
            <pc:sldMk cId="1384286971" sldId="230717678"/>
            <ac:spMk id="278" creationId="{ADAB3BD5-1944-49EA-9972-D0B9B7BA549E}"/>
          </ac:spMkLst>
        </pc:spChg>
        <pc:spChg chg="mod">
          <ac:chgData name="Manal El Bakkouri" userId="8b130982-2e3f-4164-b881-fd3a2e4b2453" providerId="ADAL" clId="{4457FA57-250B-44AC-8655-05D46C5A3D8A}" dt="2023-06-01T21:00:50.662" v="3566" actId="165"/>
          <ac:spMkLst>
            <pc:docMk/>
            <pc:sldMk cId="1384286971" sldId="230717678"/>
            <ac:spMk id="280" creationId="{F738E884-70FE-472E-9BD1-8083BAE6A520}"/>
          </ac:spMkLst>
        </pc:spChg>
        <pc:spChg chg="mod">
          <ac:chgData name="Manal El Bakkouri" userId="8b130982-2e3f-4164-b881-fd3a2e4b2453" providerId="ADAL" clId="{4457FA57-250B-44AC-8655-05D46C5A3D8A}" dt="2023-06-01T21:00:50.662" v="3566" actId="165"/>
          <ac:spMkLst>
            <pc:docMk/>
            <pc:sldMk cId="1384286971" sldId="230717678"/>
            <ac:spMk id="281" creationId="{76676A91-C3FE-4E08-926F-660599B4A9C6}"/>
          </ac:spMkLst>
        </pc:spChg>
        <pc:spChg chg="mod">
          <ac:chgData name="Manal El Bakkouri" userId="8b130982-2e3f-4164-b881-fd3a2e4b2453" providerId="ADAL" clId="{4457FA57-250B-44AC-8655-05D46C5A3D8A}" dt="2023-06-01T21:00:50.662" v="3566" actId="165"/>
          <ac:spMkLst>
            <pc:docMk/>
            <pc:sldMk cId="1384286971" sldId="230717678"/>
            <ac:spMk id="282" creationId="{A129B018-1E27-4C2C-9CC8-B263B27CA55D}"/>
          </ac:spMkLst>
        </pc:spChg>
        <pc:spChg chg="mod">
          <ac:chgData name="Manal El Bakkouri" userId="8b130982-2e3f-4164-b881-fd3a2e4b2453" providerId="ADAL" clId="{4457FA57-250B-44AC-8655-05D46C5A3D8A}" dt="2023-06-01T21:00:50.662" v="3566" actId="165"/>
          <ac:spMkLst>
            <pc:docMk/>
            <pc:sldMk cId="1384286971" sldId="230717678"/>
            <ac:spMk id="283" creationId="{A1D27255-4417-4019-9D98-6FE899F1A71B}"/>
          </ac:spMkLst>
        </pc:spChg>
        <pc:spChg chg="mod">
          <ac:chgData name="Manal El Bakkouri" userId="8b130982-2e3f-4164-b881-fd3a2e4b2453" providerId="ADAL" clId="{4457FA57-250B-44AC-8655-05D46C5A3D8A}" dt="2023-06-01T21:00:50.662" v="3566" actId="165"/>
          <ac:spMkLst>
            <pc:docMk/>
            <pc:sldMk cId="1384286971" sldId="230717678"/>
            <ac:spMk id="284" creationId="{90D1A769-02C7-41F9-BBE6-5EAE0738B74B}"/>
          </ac:spMkLst>
        </pc:spChg>
        <pc:spChg chg="mod">
          <ac:chgData name="Manal El Bakkouri" userId="8b130982-2e3f-4164-b881-fd3a2e4b2453" providerId="ADAL" clId="{4457FA57-250B-44AC-8655-05D46C5A3D8A}" dt="2023-06-01T21:00:50.662" v="3566" actId="165"/>
          <ac:spMkLst>
            <pc:docMk/>
            <pc:sldMk cId="1384286971" sldId="230717678"/>
            <ac:spMk id="285" creationId="{22F8F731-93CA-463F-926B-4372AD04B2EF}"/>
          </ac:spMkLst>
        </pc:spChg>
        <pc:spChg chg="mod">
          <ac:chgData name="Manal El Bakkouri" userId="8b130982-2e3f-4164-b881-fd3a2e4b2453" providerId="ADAL" clId="{4457FA57-250B-44AC-8655-05D46C5A3D8A}" dt="2023-06-01T21:00:50.662" v="3566" actId="165"/>
          <ac:spMkLst>
            <pc:docMk/>
            <pc:sldMk cId="1384286971" sldId="230717678"/>
            <ac:spMk id="286" creationId="{CA9F8687-8152-49E2-BAF6-50215DBFD6E7}"/>
          </ac:spMkLst>
        </pc:spChg>
        <pc:spChg chg="mod">
          <ac:chgData name="Manal El Bakkouri" userId="8b130982-2e3f-4164-b881-fd3a2e4b2453" providerId="ADAL" clId="{4457FA57-250B-44AC-8655-05D46C5A3D8A}" dt="2023-06-01T21:00:50.662" v="3566" actId="165"/>
          <ac:spMkLst>
            <pc:docMk/>
            <pc:sldMk cId="1384286971" sldId="230717678"/>
            <ac:spMk id="287" creationId="{601386A7-4313-4345-9D0B-9776E9B29391}"/>
          </ac:spMkLst>
        </pc:spChg>
        <pc:spChg chg="mod">
          <ac:chgData name="Manal El Bakkouri" userId="8b130982-2e3f-4164-b881-fd3a2e4b2453" providerId="ADAL" clId="{4457FA57-250B-44AC-8655-05D46C5A3D8A}" dt="2023-06-01T21:00:50.662" v="3566" actId="165"/>
          <ac:spMkLst>
            <pc:docMk/>
            <pc:sldMk cId="1384286971" sldId="230717678"/>
            <ac:spMk id="288" creationId="{D04D338B-DF35-4AFD-A368-D983857B9426}"/>
          </ac:spMkLst>
        </pc:spChg>
        <pc:spChg chg="mod">
          <ac:chgData name="Manal El Bakkouri" userId="8b130982-2e3f-4164-b881-fd3a2e4b2453" providerId="ADAL" clId="{4457FA57-250B-44AC-8655-05D46C5A3D8A}" dt="2023-06-01T21:00:50.662" v="3566" actId="165"/>
          <ac:spMkLst>
            <pc:docMk/>
            <pc:sldMk cId="1384286971" sldId="230717678"/>
            <ac:spMk id="289" creationId="{EB49636D-5187-433B-8D4C-2B277E959E98}"/>
          </ac:spMkLst>
        </pc:spChg>
        <pc:spChg chg="mod">
          <ac:chgData name="Manal El Bakkouri" userId="8b130982-2e3f-4164-b881-fd3a2e4b2453" providerId="ADAL" clId="{4457FA57-250B-44AC-8655-05D46C5A3D8A}" dt="2023-06-01T21:00:50.662" v="3566" actId="165"/>
          <ac:spMkLst>
            <pc:docMk/>
            <pc:sldMk cId="1384286971" sldId="230717678"/>
            <ac:spMk id="290" creationId="{578EE789-6269-4FE1-ACE1-C90AC479A46E}"/>
          </ac:spMkLst>
        </pc:spChg>
        <pc:spChg chg="mod">
          <ac:chgData name="Manal El Bakkouri" userId="8b130982-2e3f-4164-b881-fd3a2e4b2453" providerId="ADAL" clId="{4457FA57-250B-44AC-8655-05D46C5A3D8A}" dt="2023-06-01T21:00:50.662" v="3566" actId="165"/>
          <ac:spMkLst>
            <pc:docMk/>
            <pc:sldMk cId="1384286971" sldId="230717678"/>
            <ac:spMk id="291" creationId="{20D562AE-0E2C-419F-A72C-50826D988E32}"/>
          </ac:spMkLst>
        </pc:spChg>
        <pc:spChg chg="mod">
          <ac:chgData name="Manal El Bakkouri" userId="8b130982-2e3f-4164-b881-fd3a2e4b2453" providerId="ADAL" clId="{4457FA57-250B-44AC-8655-05D46C5A3D8A}" dt="2023-06-01T21:00:50.662" v="3566" actId="165"/>
          <ac:spMkLst>
            <pc:docMk/>
            <pc:sldMk cId="1384286971" sldId="230717678"/>
            <ac:spMk id="292" creationId="{40180B7D-1814-4F1C-9980-52EDE2AC0FF0}"/>
          </ac:spMkLst>
        </pc:spChg>
        <pc:spChg chg="mod">
          <ac:chgData name="Manal El Bakkouri" userId="8b130982-2e3f-4164-b881-fd3a2e4b2453" providerId="ADAL" clId="{4457FA57-250B-44AC-8655-05D46C5A3D8A}" dt="2023-06-01T21:00:50.662" v="3566" actId="165"/>
          <ac:spMkLst>
            <pc:docMk/>
            <pc:sldMk cId="1384286971" sldId="230717678"/>
            <ac:spMk id="293" creationId="{5065B987-7CC3-4A68-AFD6-464ACBEB52B8}"/>
          </ac:spMkLst>
        </pc:spChg>
        <pc:spChg chg="mod">
          <ac:chgData name="Manal El Bakkouri" userId="8b130982-2e3f-4164-b881-fd3a2e4b2453" providerId="ADAL" clId="{4457FA57-250B-44AC-8655-05D46C5A3D8A}" dt="2023-06-01T21:00:50.662" v="3566" actId="165"/>
          <ac:spMkLst>
            <pc:docMk/>
            <pc:sldMk cId="1384286971" sldId="230717678"/>
            <ac:spMk id="294" creationId="{735FADAD-0241-40B2-8DC0-B65767F23D62}"/>
          </ac:spMkLst>
        </pc:spChg>
        <pc:spChg chg="mod topLvl">
          <ac:chgData name="Manal El Bakkouri" userId="8b130982-2e3f-4164-b881-fd3a2e4b2453" providerId="ADAL" clId="{4457FA57-250B-44AC-8655-05D46C5A3D8A}" dt="2023-06-01T21:01:12.195" v="3570" actId="165"/>
          <ac:spMkLst>
            <pc:docMk/>
            <pc:sldMk cId="1384286971" sldId="230717678"/>
            <ac:spMk id="296" creationId="{0C78CC53-5B38-437A-A062-910DBCF08B90}"/>
          </ac:spMkLst>
        </pc:spChg>
        <pc:spChg chg="mod topLvl">
          <ac:chgData name="Manal El Bakkouri" userId="8b130982-2e3f-4164-b881-fd3a2e4b2453" providerId="ADAL" clId="{4457FA57-250B-44AC-8655-05D46C5A3D8A}" dt="2023-06-01T21:01:12.195" v="3570" actId="165"/>
          <ac:spMkLst>
            <pc:docMk/>
            <pc:sldMk cId="1384286971" sldId="230717678"/>
            <ac:spMk id="297" creationId="{0D45248C-E2D1-4D34-A8FF-F8829028E7BE}"/>
          </ac:spMkLst>
        </pc:spChg>
        <pc:spChg chg="mod topLvl">
          <ac:chgData name="Manal El Bakkouri" userId="8b130982-2e3f-4164-b881-fd3a2e4b2453" providerId="ADAL" clId="{4457FA57-250B-44AC-8655-05D46C5A3D8A}" dt="2023-06-01T21:01:12.195" v="3570" actId="165"/>
          <ac:spMkLst>
            <pc:docMk/>
            <pc:sldMk cId="1384286971" sldId="230717678"/>
            <ac:spMk id="298" creationId="{A7B03ECD-5EB5-43FE-9A5F-D7C8959E924A}"/>
          </ac:spMkLst>
        </pc:spChg>
        <pc:spChg chg="mod topLvl">
          <ac:chgData name="Manal El Bakkouri" userId="8b130982-2e3f-4164-b881-fd3a2e4b2453" providerId="ADAL" clId="{4457FA57-250B-44AC-8655-05D46C5A3D8A}" dt="2023-06-06T09:33:45.640" v="9163" actId="1076"/>
          <ac:spMkLst>
            <pc:docMk/>
            <pc:sldMk cId="1384286971" sldId="230717678"/>
            <ac:spMk id="301" creationId="{F78BFFE4-3702-488C-A71F-167F28CB1B36}"/>
          </ac:spMkLst>
        </pc:spChg>
        <pc:spChg chg="mod topLvl">
          <ac:chgData name="Manal El Bakkouri" userId="8b130982-2e3f-4164-b881-fd3a2e4b2453" providerId="ADAL" clId="{4457FA57-250B-44AC-8655-05D46C5A3D8A}" dt="2023-06-06T09:33:51.708" v="9167" actId="20577"/>
          <ac:spMkLst>
            <pc:docMk/>
            <pc:sldMk cId="1384286971" sldId="230717678"/>
            <ac:spMk id="302" creationId="{C29E40C7-9746-4780-A19E-2343B3816D06}"/>
          </ac:spMkLst>
        </pc:spChg>
        <pc:spChg chg="mod">
          <ac:chgData name="Manal El Bakkouri" userId="8b130982-2e3f-4164-b881-fd3a2e4b2453" providerId="ADAL" clId="{4457FA57-250B-44AC-8655-05D46C5A3D8A}" dt="2023-06-01T21:01:12.195" v="3570" actId="165"/>
          <ac:spMkLst>
            <pc:docMk/>
            <pc:sldMk cId="1384286971" sldId="230717678"/>
            <ac:spMk id="304" creationId="{8C85DC57-5684-4837-A7B6-C3A46D9A73CF}"/>
          </ac:spMkLst>
        </pc:spChg>
        <pc:spChg chg="mod">
          <ac:chgData name="Manal El Bakkouri" userId="8b130982-2e3f-4164-b881-fd3a2e4b2453" providerId="ADAL" clId="{4457FA57-250B-44AC-8655-05D46C5A3D8A}" dt="2023-06-01T21:01:12.195" v="3570" actId="165"/>
          <ac:spMkLst>
            <pc:docMk/>
            <pc:sldMk cId="1384286971" sldId="230717678"/>
            <ac:spMk id="305" creationId="{6A913604-634D-4F61-ADE7-DEEE92D61A8B}"/>
          </ac:spMkLst>
        </pc:spChg>
        <pc:spChg chg="mod">
          <ac:chgData name="Manal El Bakkouri" userId="8b130982-2e3f-4164-b881-fd3a2e4b2453" providerId="ADAL" clId="{4457FA57-250B-44AC-8655-05D46C5A3D8A}" dt="2023-06-01T21:01:12.195" v="3570" actId="165"/>
          <ac:spMkLst>
            <pc:docMk/>
            <pc:sldMk cId="1384286971" sldId="230717678"/>
            <ac:spMk id="306" creationId="{A5BA2D37-75C0-424F-ADC4-46C95D42BBC8}"/>
          </ac:spMkLst>
        </pc:spChg>
        <pc:spChg chg="mod">
          <ac:chgData name="Manal El Bakkouri" userId="8b130982-2e3f-4164-b881-fd3a2e4b2453" providerId="ADAL" clId="{4457FA57-250B-44AC-8655-05D46C5A3D8A}" dt="2023-06-01T21:01:12.195" v="3570" actId="165"/>
          <ac:spMkLst>
            <pc:docMk/>
            <pc:sldMk cId="1384286971" sldId="230717678"/>
            <ac:spMk id="307" creationId="{04D3EE8E-4F33-4E49-B17C-39D25943B487}"/>
          </ac:spMkLst>
        </pc:spChg>
        <pc:spChg chg="mod">
          <ac:chgData name="Manal El Bakkouri" userId="8b130982-2e3f-4164-b881-fd3a2e4b2453" providerId="ADAL" clId="{4457FA57-250B-44AC-8655-05D46C5A3D8A}" dt="2023-06-01T21:01:12.195" v="3570" actId="165"/>
          <ac:spMkLst>
            <pc:docMk/>
            <pc:sldMk cId="1384286971" sldId="230717678"/>
            <ac:spMk id="308" creationId="{540B39A4-FCD1-45BC-AC5A-EAF0BFAC142F}"/>
          </ac:spMkLst>
        </pc:spChg>
        <pc:spChg chg="mod">
          <ac:chgData name="Manal El Bakkouri" userId="8b130982-2e3f-4164-b881-fd3a2e4b2453" providerId="ADAL" clId="{4457FA57-250B-44AC-8655-05D46C5A3D8A}" dt="2023-06-01T21:01:12.195" v="3570" actId="165"/>
          <ac:spMkLst>
            <pc:docMk/>
            <pc:sldMk cId="1384286971" sldId="230717678"/>
            <ac:spMk id="309" creationId="{C9C8296D-9EE7-44CD-BCD4-F1235776688C}"/>
          </ac:spMkLst>
        </pc:spChg>
        <pc:spChg chg="mod">
          <ac:chgData name="Manal El Bakkouri" userId="8b130982-2e3f-4164-b881-fd3a2e4b2453" providerId="ADAL" clId="{4457FA57-250B-44AC-8655-05D46C5A3D8A}" dt="2023-06-01T21:01:12.195" v="3570" actId="165"/>
          <ac:spMkLst>
            <pc:docMk/>
            <pc:sldMk cId="1384286971" sldId="230717678"/>
            <ac:spMk id="310" creationId="{1C851C0B-41E0-49A8-A673-0ECEE400A188}"/>
          </ac:spMkLst>
        </pc:spChg>
        <pc:spChg chg="mod">
          <ac:chgData name="Manal El Bakkouri" userId="8b130982-2e3f-4164-b881-fd3a2e4b2453" providerId="ADAL" clId="{4457FA57-250B-44AC-8655-05D46C5A3D8A}" dt="2023-06-01T21:01:12.195" v="3570" actId="165"/>
          <ac:spMkLst>
            <pc:docMk/>
            <pc:sldMk cId="1384286971" sldId="230717678"/>
            <ac:spMk id="311" creationId="{87320F85-0C41-4839-A72B-2B5D8DCA222A}"/>
          </ac:spMkLst>
        </pc:spChg>
        <pc:spChg chg="mod">
          <ac:chgData name="Manal El Bakkouri" userId="8b130982-2e3f-4164-b881-fd3a2e4b2453" providerId="ADAL" clId="{4457FA57-250B-44AC-8655-05D46C5A3D8A}" dt="2023-06-01T21:01:12.195" v="3570" actId="165"/>
          <ac:spMkLst>
            <pc:docMk/>
            <pc:sldMk cId="1384286971" sldId="230717678"/>
            <ac:spMk id="312" creationId="{248E5AC6-B1A2-4797-85B0-650532736CAB}"/>
          </ac:spMkLst>
        </pc:spChg>
        <pc:spChg chg="mod">
          <ac:chgData name="Manal El Bakkouri" userId="8b130982-2e3f-4164-b881-fd3a2e4b2453" providerId="ADAL" clId="{4457FA57-250B-44AC-8655-05D46C5A3D8A}" dt="2023-06-01T21:01:12.195" v="3570" actId="165"/>
          <ac:spMkLst>
            <pc:docMk/>
            <pc:sldMk cId="1384286971" sldId="230717678"/>
            <ac:spMk id="313" creationId="{CC0204EC-199A-4B51-92BC-7F5CCD1AB2EA}"/>
          </ac:spMkLst>
        </pc:spChg>
        <pc:spChg chg="mod">
          <ac:chgData name="Manal El Bakkouri" userId="8b130982-2e3f-4164-b881-fd3a2e4b2453" providerId="ADAL" clId="{4457FA57-250B-44AC-8655-05D46C5A3D8A}" dt="2023-06-01T21:01:12.195" v="3570" actId="165"/>
          <ac:spMkLst>
            <pc:docMk/>
            <pc:sldMk cId="1384286971" sldId="230717678"/>
            <ac:spMk id="314" creationId="{00FF8F75-0713-45A9-A14C-020C8A07B4AE}"/>
          </ac:spMkLst>
        </pc:spChg>
        <pc:spChg chg="mod">
          <ac:chgData name="Manal El Bakkouri" userId="8b130982-2e3f-4164-b881-fd3a2e4b2453" providerId="ADAL" clId="{4457FA57-250B-44AC-8655-05D46C5A3D8A}" dt="2023-06-01T21:01:12.195" v="3570" actId="165"/>
          <ac:spMkLst>
            <pc:docMk/>
            <pc:sldMk cId="1384286971" sldId="230717678"/>
            <ac:spMk id="315" creationId="{E0BA414C-0807-438E-8350-9773A070A409}"/>
          </ac:spMkLst>
        </pc:spChg>
        <pc:spChg chg="mod">
          <ac:chgData name="Manal El Bakkouri" userId="8b130982-2e3f-4164-b881-fd3a2e4b2453" providerId="ADAL" clId="{4457FA57-250B-44AC-8655-05D46C5A3D8A}" dt="2023-06-01T21:01:12.195" v="3570" actId="165"/>
          <ac:spMkLst>
            <pc:docMk/>
            <pc:sldMk cId="1384286971" sldId="230717678"/>
            <ac:spMk id="316" creationId="{5D9080EF-C3C7-4F5C-99FA-2D9D8EBD26C2}"/>
          </ac:spMkLst>
        </pc:spChg>
        <pc:spChg chg="mod">
          <ac:chgData name="Manal El Bakkouri" userId="8b130982-2e3f-4164-b881-fd3a2e4b2453" providerId="ADAL" clId="{4457FA57-250B-44AC-8655-05D46C5A3D8A}" dt="2023-06-01T21:01:12.195" v="3570" actId="165"/>
          <ac:spMkLst>
            <pc:docMk/>
            <pc:sldMk cId="1384286971" sldId="230717678"/>
            <ac:spMk id="317" creationId="{B7173B90-6B80-4C0E-91A7-C076DAD724AB}"/>
          </ac:spMkLst>
        </pc:spChg>
        <pc:spChg chg="mod">
          <ac:chgData name="Manal El Bakkouri" userId="8b130982-2e3f-4164-b881-fd3a2e4b2453" providerId="ADAL" clId="{4457FA57-250B-44AC-8655-05D46C5A3D8A}" dt="2023-06-01T21:01:12.195" v="3570" actId="165"/>
          <ac:spMkLst>
            <pc:docMk/>
            <pc:sldMk cId="1384286971" sldId="230717678"/>
            <ac:spMk id="318" creationId="{69FCAD8D-B015-431C-B75F-19488E037CE3}"/>
          </ac:spMkLst>
        </pc:spChg>
        <pc:spChg chg="add mod">
          <ac:chgData name="Manal El Bakkouri" userId="8b130982-2e3f-4164-b881-fd3a2e4b2453" providerId="ADAL" clId="{4457FA57-250B-44AC-8655-05D46C5A3D8A}" dt="2023-06-02T15:14:53.196" v="5460"/>
          <ac:spMkLst>
            <pc:docMk/>
            <pc:sldMk cId="1384286971" sldId="230717678"/>
            <ac:spMk id="319" creationId="{452AD193-0C52-43E4-8891-F2D3ABD37C9B}"/>
          </ac:spMkLst>
        </pc:spChg>
        <pc:spChg chg="add del mod">
          <ac:chgData name="Manal El Bakkouri" userId="8b130982-2e3f-4164-b881-fd3a2e4b2453" providerId="ADAL" clId="{4457FA57-250B-44AC-8655-05D46C5A3D8A}" dt="2023-06-04T13:13:18.488" v="7719" actId="478"/>
          <ac:spMkLst>
            <pc:docMk/>
            <pc:sldMk cId="1384286971" sldId="230717678"/>
            <ac:spMk id="320" creationId="{D0179E94-383B-4411-B04B-082354C84C80}"/>
          </ac:spMkLst>
        </pc:spChg>
        <pc:spChg chg="add mod">
          <ac:chgData name="Manal El Bakkouri" userId="8b130982-2e3f-4164-b881-fd3a2e4b2453" providerId="ADAL" clId="{4457FA57-250B-44AC-8655-05D46C5A3D8A}" dt="2023-06-04T13:13:22.479" v="7722" actId="20577"/>
          <ac:spMkLst>
            <pc:docMk/>
            <pc:sldMk cId="1384286971" sldId="230717678"/>
            <ac:spMk id="321" creationId="{2FF950F0-24F3-4E72-A1AE-9B52F8108CFF}"/>
          </ac:spMkLst>
        </pc:spChg>
        <pc:spChg chg="add mod">
          <ac:chgData name="Manal El Bakkouri" userId="8b130982-2e3f-4164-b881-fd3a2e4b2453" providerId="ADAL" clId="{4457FA57-250B-44AC-8655-05D46C5A3D8A}" dt="2023-06-06T09:33:26.165" v="9159" actId="571"/>
          <ac:spMkLst>
            <pc:docMk/>
            <pc:sldMk cId="1384286971" sldId="230717678"/>
            <ac:spMk id="322" creationId="{DFC33633-2174-42AB-9764-5D2068EAEA13}"/>
          </ac:spMkLst>
        </pc:spChg>
        <pc:spChg chg="add mod">
          <ac:chgData name="Manal El Bakkouri" userId="8b130982-2e3f-4164-b881-fd3a2e4b2453" providerId="ADAL" clId="{4457FA57-250B-44AC-8655-05D46C5A3D8A}" dt="2023-06-06T09:33:26.165" v="9159" actId="571"/>
          <ac:spMkLst>
            <pc:docMk/>
            <pc:sldMk cId="1384286971" sldId="230717678"/>
            <ac:spMk id="323" creationId="{44FAFAF8-4AD3-4B52-B9FD-5B0698FD7EA3}"/>
          </ac:spMkLst>
        </pc:spChg>
        <pc:spChg chg="add mod">
          <ac:chgData name="Manal El Bakkouri" userId="8b130982-2e3f-4164-b881-fd3a2e4b2453" providerId="ADAL" clId="{4457FA57-250B-44AC-8655-05D46C5A3D8A}" dt="2023-06-06T09:33:42.298" v="9162" actId="1076"/>
          <ac:spMkLst>
            <pc:docMk/>
            <pc:sldMk cId="1384286971" sldId="230717678"/>
            <ac:spMk id="325" creationId="{8322AB39-797D-400B-9F68-CCE77734D376}"/>
          </ac:spMkLst>
        </pc:spChg>
        <pc:spChg chg="add mod">
          <ac:chgData name="Manal El Bakkouri" userId="8b130982-2e3f-4164-b881-fd3a2e4b2453" providerId="ADAL" clId="{4457FA57-250B-44AC-8655-05D46C5A3D8A}" dt="2023-06-06T09:33:54.739" v="9169" actId="20577"/>
          <ac:spMkLst>
            <pc:docMk/>
            <pc:sldMk cId="1384286971" sldId="230717678"/>
            <ac:spMk id="326" creationId="{28503D66-86A9-43BC-8F1B-EC6EC0C7163D}"/>
          </ac:spMkLst>
        </pc:spChg>
        <pc:grpChg chg="add del mod">
          <ac:chgData name="Manal El Bakkouri" userId="8b130982-2e3f-4164-b881-fd3a2e4b2453" providerId="ADAL" clId="{4457FA57-250B-44AC-8655-05D46C5A3D8A}" dt="2023-06-01T19:57:53.364" v="2995" actId="165"/>
          <ac:grpSpMkLst>
            <pc:docMk/>
            <pc:sldMk cId="1384286971" sldId="230717678"/>
            <ac:grpSpMk id="2" creationId="{FF6CD06E-484F-407B-8B7E-A3C1CF9DE1A1}"/>
          </ac:grpSpMkLst>
        </pc:grpChg>
        <pc:grpChg chg="add del mod">
          <ac:chgData name="Manal El Bakkouri" userId="8b130982-2e3f-4164-b881-fd3a2e4b2453" providerId="ADAL" clId="{4457FA57-250B-44AC-8655-05D46C5A3D8A}" dt="2023-06-02T09:28:25.283" v="4129" actId="165"/>
          <ac:grpSpMkLst>
            <pc:docMk/>
            <pc:sldMk cId="1384286971" sldId="230717678"/>
            <ac:grpSpMk id="13" creationId="{FDB68C30-8CB3-4303-8206-D2653DE00B48}"/>
          </ac:grpSpMkLst>
        </pc:grpChg>
        <pc:grpChg chg="add mod">
          <ac:chgData name="Manal El Bakkouri" userId="8b130982-2e3f-4164-b881-fd3a2e4b2453" providerId="ADAL" clId="{4457FA57-250B-44AC-8655-05D46C5A3D8A}" dt="2023-06-01T19:56:17.462" v="2967"/>
          <ac:grpSpMkLst>
            <pc:docMk/>
            <pc:sldMk cId="1384286971" sldId="230717678"/>
            <ac:grpSpMk id="38" creationId="{BDFDE0A1-48DF-4865-8B08-0741B39EEB8D}"/>
          </ac:grpSpMkLst>
        </pc:grpChg>
        <pc:grpChg chg="add mod">
          <ac:chgData name="Manal El Bakkouri" userId="8b130982-2e3f-4164-b881-fd3a2e4b2453" providerId="ADAL" clId="{4457FA57-250B-44AC-8655-05D46C5A3D8A}" dt="2023-06-01T19:56:46.471" v="2977"/>
          <ac:grpSpMkLst>
            <pc:docMk/>
            <pc:sldMk cId="1384286971" sldId="230717678"/>
            <ac:grpSpMk id="43" creationId="{F2D956A6-A040-4CB0-BF4C-6BBF49D0333D}"/>
          </ac:grpSpMkLst>
        </pc:grpChg>
        <pc:grpChg chg="add del mod">
          <ac:chgData name="Manal El Bakkouri" userId="8b130982-2e3f-4164-b881-fd3a2e4b2453" providerId="ADAL" clId="{4457FA57-250B-44AC-8655-05D46C5A3D8A}" dt="2023-06-01T19:57:53.364" v="2995" actId="165"/>
          <ac:grpSpMkLst>
            <pc:docMk/>
            <pc:sldMk cId="1384286971" sldId="230717678"/>
            <ac:grpSpMk id="46" creationId="{38DE0282-0098-4208-8E8D-037DCC5E4295}"/>
          </ac:grpSpMkLst>
        </pc:grpChg>
        <pc:grpChg chg="add del mod">
          <ac:chgData name="Manal El Bakkouri" userId="8b130982-2e3f-4164-b881-fd3a2e4b2453" providerId="ADAL" clId="{4457FA57-250B-44AC-8655-05D46C5A3D8A}" dt="2023-06-01T20:03:21.969" v="3059" actId="478"/>
          <ac:grpSpMkLst>
            <pc:docMk/>
            <pc:sldMk cId="1384286971" sldId="230717678"/>
            <ac:grpSpMk id="51" creationId="{BBC1E386-FCF0-4994-8FAE-C66C2328E7BD}"/>
          </ac:grpSpMkLst>
        </pc:grpChg>
        <pc:grpChg chg="add del mod">
          <ac:chgData name="Manal El Bakkouri" userId="8b130982-2e3f-4164-b881-fd3a2e4b2453" providerId="ADAL" clId="{4457FA57-250B-44AC-8655-05D46C5A3D8A}" dt="2023-06-01T20:43:58.789" v="3370"/>
          <ac:grpSpMkLst>
            <pc:docMk/>
            <pc:sldMk cId="1384286971" sldId="230717678"/>
            <ac:grpSpMk id="66" creationId="{B8BDD081-7868-473C-B6F5-A601D556DC84}"/>
          </ac:grpSpMkLst>
        </pc:grpChg>
        <pc:grpChg chg="add del mod">
          <ac:chgData name="Manal El Bakkouri" userId="8b130982-2e3f-4164-b881-fd3a2e4b2453" providerId="ADAL" clId="{4457FA57-250B-44AC-8655-05D46C5A3D8A}" dt="2023-06-01T20:43:58.789" v="3370"/>
          <ac:grpSpMkLst>
            <pc:docMk/>
            <pc:sldMk cId="1384286971" sldId="230717678"/>
            <ac:grpSpMk id="73" creationId="{A9B19E1E-0CA5-47BB-B807-74121DECFDE9}"/>
          </ac:grpSpMkLst>
        </pc:grpChg>
        <pc:grpChg chg="add del mod">
          <ac:chgData name="Manal El Bakkouri" userId="8b130982-2e3f-4164-b881-fd3a2e4b2453" providerId="ADAL" clId="{4457FA57-250B-44AC-8655-05D46C5A3D8A}" dt="2023-06-01T20:43:58.789" v="3370"/>
          <ac:grpSpMkLst>
            <pc:docMk/>
            <pc:sldMk cId="1384286971" sldId="230717678"/>
            <ac:grpSpMk id="84" creationId="{6FB24E45-DBB2-4FB2-99D5-3735D12E0F91}"/>
          </ac:grpSpMkLst>
        </pc:grpChg>
        <pc:grpChg chg="del">
          <ac:chgData name="Manal El Bakkouri" userId="8b130982-2e3f-4164-b881-fd3a2e4b2453" providerId="ADAL" clId="{4457FA57-250B-44AC-8655-05D46C5A3D8A}" dt="2023-06-01T19:52:14.853" v="2908" actId="478"/>
          <ac:grpSpMkLst>
            <pc:docMk/>
            <pc:sldMk cId="1384286971" sldId="230717678"/>
            <ac:grpSpMk id="88" creationId="{2872A3E1-00EA-4760-984A-993A493FF33A}"/>
          </ac:grpSpMkLst>
        </pc:grpChg>
        <pc:grpChg chg="add del mod">
          <ac:chgData name="Manal El Bakkouri" userId="8b130982-2e3f-4164-b881-fd3a2e4b2453" providerId="ADAL" clId="{4457FA57-250B-44AC-8655-05D46C5A3D8A}" dt="2023-06-01T20:43:58.789" v="3370"/>
          <ac:grpSpMkLst>
            <pc:docMk/>
            <pc:sldMk cId="1384286971" sldId="230717678"/>
            <ac:grpSpMk id="97" creationId="{113F429E-D33A-435F-8810-409D1DA302B7}"/>
          </ac:grpSpMkLst>
        </pc:grpChg>
        <pc:grpChg chg="del">
          <ac:chgData name="Manal El Bakkouri" userId="8b130982-2e3f-4164-b881-fd3a2e4b2453" providerId="ADAL" clId="{4457FA57-250B-44AC-8655-05D46C5A3D8A}" dt="2023-06-01T19:52:13.420" v="2907" actId="478"/>
          <ac:grpSpMkLst>
            <pc:docMk/>
            <pc:sldMk cId="1384286971" sldId="230717678"/>
            <ac:grpSpMk id="98" creationId="{9E6D4970-2A9A-48F5-A7F0-29C2029FF1C4}"/>
          </ac:grpSpMkLst>
        </pc:grpChg>
        <pc:grpChg chg="del">
          <ac:chgData name="Manal El Bakkouri" userId="8b130982-2e3f-4164-b881-fd3a2e4b2453" providerId="ADAL" clId="{4457FA57-250B-44AC-8655-05D46C5A3D8A}" dt="2023-06-01T19:52:15.856" v="2909" actId="478"/>
          <ac:grpSpMkLst>
            <pc:docMk/>
            <pc:sldMk cId="1384286971" sldId="230717678"/>
            <ac:grpSpMk id="103" creationId="{F1552CFF-DD49-4E66-B289-5DC6FB4E49A8}"/>
          </ac:grpSpMkLst>
        </pc:grpChg>
        <pc:grpChg chg="del">
          <ac:chgData name="Manal El Bakkouri" userId="8b130982-2e3f-4164-b881-fd3a2e4b2453" providerId="ADAL" clId="{4457FA57-250B-44AC-8655-05D46C5A3D8A}" dt="2023-06-01T19:52:17.217" v="2910" actId="478"/>
          <ac:grpSpMkLst>
            <pc:docMk/>
            <pc:sldMk cId="1384286971" sldId="230717678"/>
            <ac:grpSpMk id="113" creationId="{76F92B60-8904-4FD9-9037-F137E345BBDA}"/>
          </ac:grpSpMkLst>
        </pc:grpChg>
        <pc:grpChg chg="add del mod">
          <ac:chgData name="Manal El Bakkouri" userId="8b130982-2e3f-4164-b881-fd3a2e4b2453" providerId="ADAL" clId="{4457FA57-250B-44AC-8655-05D46C5A3D8A}" dt="2023-06-01T20:43:58.789" v="3370"/>
          <ac:grpSpMkLst>
            <pc:docMk/>
            <pc:sldMk cId="1384286971" sldId="230717678"/>
            <ac:grpSpMk id="123" creationId="{BCA599C5-83EB-4408-A3AA-ABDDB7911085}"/>
          </ac:grpSpMkLst>
        </pc:grpChg>
        <pc:grpChg chg="add del mod">
          <ac:chgData name="Manal El Bakkouri" userId="8b130982-2e3f-4164-b881-fd3a2e4b2453" providerId="ADAL" clId="{4457FA57-250B-44AC-8655-05D46C5A3D8A}" dt="2023-06-01T20:43:58.789" v="3370"/>
          <ac:grpSpMkLst>
            <pc:docMk/>
            <pc:sldMk cId="1384286971" sldId="230717678"/>
            <ac:grpSpMk id="130" creationId="{EDD2D227-79AB-411D-B21A-4E2826131A4B}"/>
          </ac:grpSpMkLst>
        </pc:grpChg>
        <pc:grpChg chg="add del mod">
          <ac:chgData name="Manal El Bakkouri" userId="8b130982-2e3f-4164-b881-fd3a2e4b2453" providerId="ADAL" clId="{4457FA57-250B-44AC-8655-05D46C5A3D8A}" dt="2023-06-01T20:43:58.789" v="3370"/>
          <ac:grpSpMkLst>
            <pc:docMk/>
            <pc:sldMk cId="1384286971" sldId="230717678"/>
            <ac:grpSpMk id="142" creationId="{474ECCEC-BF69-4271-89D3-32AF0AD79D13}"/>
          </ac:grpSpMkLst>
        </pc:grpChg>
        <pc:grpChg chg="add del mod">
          <ac:chgData name="Manal El Bakkouri" userId="8b130982-2e3f-4164-b881-fd3a2e4b2453" providerId="ADAL" clId="{4457FA57-250B-44AC-8655-05D46C5A3D8A}" dt="2023-06-01T20:43:58.789" v="3370"/>
          <ac:grpSpMkLst>
            <pc:docMk/>
            <pc:sldMk cId="1384286971" sldId="230717678"/>
            <ac:grpSpMk id="161" creationId="{BBB9CCAA-7F14-477A-A6D0-D715D57416E1}"/>
          </ac:grpSpMkLst>
        </pc:grpChg>
        <pc:grpChg chg="add del mod">
          <ac:chgData name="Manal El Bakkouri" userId="8b130982-2e3f-4164-b881-fd3a2e4b2453" providerId="ADAL" clId="{4457FA57-250B-44AC-8655-05D46C5A3D8A}" dt="2023-06-01T20:43:58.789" v="3370"/>
          <ac:grpSpMkLst>
            <pc:docMk/>
            <pc:sldMk cId="1384286971" sldId="230717678"/>
            <ac:grpSpMk id="164" creationId="{90079640-6276-4972-B357-2E4137234907}"/>
          </ac:grpSpMkLst>
        </pc:grpChg>
        <pc:grpChg chg="add del mod">
          <ac:chgData name="Manal El Bakkouri" userId="8b130982-2e3f-4164-b881-fd3a2e4b2453" providerId="ADAL" clId="{4457FA57-250B-44AC-8655-05D46C5A3D8A}" dt="2023-06-01T20:43:58.789" v="3370"/>
          <ac:grpSpMkLst>
            <pc:docMk/>
            <pc:sldMk cId="1384286971" sldId="230717678"/>
            <ac:grpSpMk id="167" creationId="{0DA3B2FD-9DBE-403B-9767-E1FCEA2C69A5}"/>
          </ac:grpSpMkLst>
        </pc:grpChg>
        <pc:grpChg chg="add del mod">
          <ac:chgData name="Manal El Bakkouri" userId="8b130982-2e3f-4164-b881-fd3a2e4b2453" providerId="ADAL" clId="{4457FA57-250B-44AC-8655-05D46C5A3D8A}" dt="2023-06-01T20:43:58.789" v="3370"/>
          <ac:grpSpMkLst>
            <pc:docMk/>
            <pc:sldMk cId="1384286971" sldId="230717678"/>
            <ac:grpSpMk id="170" creationId="{9BC9D579-17E1-45D4-A7C5-67395D8D1537}"/>
          </ac:grpSpMkLst>
        </pc:grpChg>
        <pc:grpChg chg="add del mod">
          <ac:chgData name="Manal El Bakkouri" userId="8b130982-2e3f-4164-b881-fd3a2e4b2453" providerId="ADAL" clId="{4457FA57-250B-44AC-8655-05D46C5A3D8A}" dt="2023-06-01T20:43:58.789" v="3370"/>
          <ac:grpSpMkLst>
            <pc:docMk/>
            <pc:sldMk cId="1384286971" sldId="230717678"/>
            <ac:grpSpMk id="173" creationId="{76833EBF-F214-4B25-A0D2-1DD446F7060A}"/>
          </ac:grpSpMkLst>
        </pc:grpChg>
        <pc:grpChg chg="add del mod">
          <ac:chgData name="Manal El Bakkouri" userId="8b130982-2e3f-4164-b881-fd3a2e4b2453" providerId="ADAL" clId="{4457FA57-250B-44AC-8655-05D46C5A3D8A}" dt="2023-06-01T20:43:58.789" v="3370"/>
          <ac:grpSpMkLst>
            <pc:docMk/>
            <pc:sldMk cId="1384286971" sldId="230717678"/>
            <ac:grpSpMk id="176" creationId="{56015D96-8484-462F-83D5-E046DFE9B2D5}"/>
          </ac:grpSpMkLst>
        </pc:grpChg>
        <pc:grpChg chg="add mod">
          <ac:chgData name="Manal El Bakkouri" userId="8b130982-2e3f-4164-b881-fd3a2e4b2453" providerId="ADAL" clId="{4457FA57-250B-44AC-8655-05D46C5A3D8A}" dt="2023-06-01T20:44:17.032" v="3373" actId="1076"/>
          <ac:grpSpMkLst>
            <pc:docMk/>
            <pc:sldMk cId="1384286971" sldId="230717678"/>
            <ac:grpSpMk id="179" creationId="{A88D32F9-A61D-4EA3-BD03-88DC8D790FA5}"/>
          </ac:grpSpMkLst>
        </pc:grpChg>
        <pc:grpChg chg="add del mod">
          <ac:chgData name="Manal El Bakkouri" userId="8b130982-2e3f-4164-b881-fd3a2e4b2453" providerId="ADAL" clId="{4457FA57-250B-44AC-8655-05D46C5A3D8A}" dt="2023-06-02T09:29:12.563" v="4130" actId="478"/>
          <ac:grpSpMkLst>
            <pc:docMk/>
            <pc:sldMk cId="1384286971" sldId="230717678"/>
            <ac:grpSpMk id="186" creationId="{5F33E25D-ABE9-4E8F-8A6F-4A3CCCC4B14F}"/>
          </ac:grpSpMkLst>
        </pc:grpChg>
        <pc:grpChg chg="add del mod">
          <ac:chgData name="Manal El Bakkouri" userId="8b130982-2e3f-4164-b881-fd3a2e4b2453" providerId="ADAL" clId="{4457FA57-250B-44AC-8655-05D46C5A3D8A}" dt="2023-06-02T09:29:12.563" v="4130" actId="478"/>
          <ac:grpSpMkLst>
            <pc:docMk/>
            <pc:sldMk cId="1384286971" sldId="230717678"/>
            <ac:grpSpMk id="197" creationId="{6F275CF8-48E0-4EFF-A442-FE18771AAF48}"/>
          </ac:grpSpMkLst>
        </pc:grpChg>
        <pc:grpChg chg="add del mod">
          <ac:chgData name="Manal El Bakkouri" userId="8b130982-2e3f-4164-b881-fd3a2e4b2453" providerId="ADAL" clId="{4457FA57-250B-44AC-8655-05D46C5A3D8A}" dt="2023-06-02T09:29:12.563" v="4130" actId="478"/>
          <ac:grpSpMkLst>
            <pc:docMk/>
            <pc:sldMk cId="1384286971" sldId="230717678"/>
            <ac:grpSpMk id="204" creationId="{87B242A8-A867-4C54-8D2C-1D66F0752934}"/>
          </ac:grpSpMkLst>
        </pc:grpChg>
        <pc:grpChg chg="add del mod">
          <ac:chgData name="Manal El Bakkouri" userId="8b130982-2e3f-4164-b881-fd3a2e4b2453" providerId="ADAL" clId="{4457FA57-250B-44AC-8655-05D46C5A3D8A}" dt="2023-06-02T09:29:12.563" v="4130" actId="478"/>
          <ac:grpSpMkLst>
            <pc:docMk/>
            <pc:sldMk cId="1384286971" sldId="230717678"/>
            <ac:grpSpMk id="215" creationId="{1F058373-2274-4583-9DA6-DCED3E21738F}"/>
          </ac:grpSpMkLst>
        </pc:grpChg>
        <pc:grpChg chg="add del mod topLvl">
          <ac:chgData name="Manal El Bakkouri" userId="8b130982-2e3f-4164-b881-fd3a2e4b2453" providerId="ADAL" clId="{4457FA57-250B-44AC-8655-05D46C5A3D8A}" dt="2023-06-02T09:29:12.563" v="4130" actId="478"/>
          <ac:grpSpMkLst>
            <pc:docMk/>
            <pc:sldMk cId="1384286971" sldId="230717678"/>
            <ac:grpSpMk id="222" creationId="{7936A507-DE05-4618-8A9F-BAC9821D371E}"/>
          </ac:grpSpMkLst>
        </pc:grpChg>
        <pc:grpChg chg="add del mod topLvl">
          <ac:chgData name="Manal El Bakkouri" userId="8b130982-2e3f-4164-b881-fd3a2e4b2453" providerId="ADAL" clId="{4457FA57-250B-44AC-8655-05D46C5A3D8A}" dt="2023-06-02T09:29:12.563" v="4130" actId="478"/>
          <ac:grpSpMkLst>
            <pc:docMk/>
            <pc:sldMk cId="1384286971" sldId="230717678"/>
            <ac:grpSpMk id="233" creationId="{C7C367E7-C4EB-42EE-A8D7-7CA6A8082F5B}"/>
          </ac:grpSpMkLst>
        </pc:grpChg>
        <pc:grpChg chg="add del mod">
          <ac:chgData name="Manal El Bakkouri" userId="8b130982-2e3f-4164-b881-fd3a2e4b2453" providerId="ADAL" clId="{4457FA57-250B-44AC-8655-05D46C5A3D8A}" dt="2023-06-01T20:57:30.581" v="3508" actId="478"/>
          <ac:grpSpMkLst>
            <pc:docMk/>
            <pc:sldMk cId="1384286971" sldId="230717678"/>
            <ac:grpSpMk id="252" creationId="{F918C230-9B03-48B6-9440-C13A01D6FF57}"/>
          </ac:grpSpMkLst>
        </pc:grpChg>
        <pc:grpChg chg="add del mod">
          <ac:chgData name="Manal El Bakkouri" userId="8b130982-2e3f-4164-b881-fd3a2e4b2453" providerId="ADAL" clId="{4457FA57-250B-44AC-8655-05D46C5A3D8A}" dt="2023-06-01T20:58:44.671" v="3547" actId="478"/>
          <ac:grpSpMkLst>
            <pc:docMk/>
            <pc:sldMk cId="1384286971" sldId="230717678"/>
            <ac:grpSpMk id="255" creationId="{B603ADB0-1E68-41CC-9198-95EF94C52BE1}"/>
          </ac:grpSpMkLst>
        </pc:grpChg>
        <pc:grpChg chg="add del mod">
          <ac:chgData name="Manal El Bakkouri" userId="8b130982-2e3f-4164-b881-fd3a2e4b2453" providerId="ADAL" clId="{4457FA57-250B-44AC-8655-05D46C5A3D8A}" dt="2023-06-01T20:59:37.084" v="3555" actId="478"/>
          <ac:grpSpMkLst>
            <pc:docMk/>
            <pc:sldMk cId="1384286971" sldId="230717678"/>
            <ac:grpSpMk id="258" creationId="{6BD0AE59-9B4D-464B-A514-CB437FB61686}"/>
          </ac:grpSpMkLst>
        </pc:grpChg>
        <pc:grpChg chg="add del mod">
          <ac:chgData name="Manal El Bakkouri" userId="8b130982-2e3f-4164-b881-fd3a2e4b2453" providerId="ADAL" clId="{4457FA57-250B-44AC-8655-05D46C5A3D8A}" dt="2023-06-01T20:50:03.460" v="3451" actId="478"/>
          <ac:grpSpMkLst>
            <pc:docMk/>
            <pc:sldMk cId="1384286971" sldId="230717678"/>
            <ac:grpSpMk id="261" creationId="{5F40C1E7-FC41-4442-83A3-03249B3CCC1A}"/>
          </ac:grpSpMkLst>
        </pc:grpChg>
        <pc:grpChg chg="add del mod">
          <ac:chgData name="Manal El Bakkouri" userId="8b130982-2e3f-4164-b881-fd3a2e4b2453" providerId="ADAL" clId="{4457FA57-250B-44AC-8655-05D46C5A3D8A}" dt="2023-06-01T20:50:03.460" v="3451" actId="478"/>
          <ac:grpSpMkLst>
            <pc:docMk/>
            <pc:sldMk cId="1384286971" sldId="230717678"/>
            <ac:grpSpMk id="264" creationId="{2ACD0BCD-852A-4E21-AC1B-42E6686B8D28}"/>
          </ac:grpSpMkLst>
        </pc:grpChg>
        <pc:grpChg chg="add del mod">
          <ac:chgData name="Manal El Bakkouri" userId="8b130982-2e3f-4164-b881-fd3a2e4b2453" providerId="ADAL" clId="{4457FA57-250B-44AC-8655-05D46C5A3D8A}" dt="2023-06-01T20:50:03.460" v="3451" actId="478"/>
          <ac:grpSpMkLst>
            <pc:docMk/>
            <pc:sldMk cId="1384286971" sldId="230717678"/>
            <ac:grpSpMk id="267" creationId="{32829701-FAA2-4746-8A5F-28DBCA8D3B17}"/>
          </ac:grpSpMkLst>
        </pc:grpChg>
        <pc:grpChg chg="add del mod">
          <ac:chgData name="Manal El Bakkouri" userId="8b130982-2e3f-4164-b881-fd3a2e4b2453" providerId="ADAL" clId="{4457FA57-250B-44AC-8655-05D46C5A3D8A}" dt="2023-06-01T21:00:50.662" v="3566" actId="165"/>
          <ac:grpSpMkLst>
            <pc:docMk/>
            <pc:sldMk cId="1384286971" sldId="230717678"/>
            <ac:grpSpMk id="271" creationId="{9571DA16-B620-41FD-BF30-1597E094C440}"/>
          </ac:grpSpMkLst>
        </pc:grpChg>
        <pc:grpChg chg="del mod topLvl">
          <ac:chgData name="Manal El Bakkouri" userId="8b130982-2e3f-4164-b881-fd3a2e4b2453" providerId="ADAL" clId="{4457FA57-250B-44AC-8655-05D46C5A3D8A}" dt="2023-06-02T09:29:12.563" v="4130" actId="478"/>
          <ac:grpSpMkLst>
            <pc:docMk/>
            <pc:sldMk cId="1384286971" sldId="230717678"/>
            <ac:grpSpMk id="275" creationId="{DE15EE6C-EED8-40D9-8F8E-ACFE8AADFCBA}"/>
          </ac:grpSpMkLst>
        </pc:grpChg>
        <pc:grpChg chg="del mod topLvl">
          <ac:chgData name="Manal El Bakkouri" userId="8b130982-2e3f-4164-b881-fd3a2e4b2453" providerId="ADAL" clId="{4457FA57-250B-44AC-8655-05D46C5A3D8A}" dt="2023-06-02T09:29:12.563" v="4130" actId="478"/>
          <ac:grpSpMkLst>
            <pc:docMk/>
            <pc:sldMk cId="1384286971" sldId="230717678"/>
            <ac:grpSpMk id="276" creationId="{F32E8A98-13A2-48A7-BE94-A23D369B56F0}"/>
          </ac:grpSpMkLst>
        </pc:grpChg>
        <pc:grpChg chg="del mod topLvl">
          <ac:chgData name="Manal El Bakkouri" userId="8b130982-2e3f-4164-b881-fd3a2e4b2453" providerId="ADAL" clId="{4457FA57-250B-44AC-8655-05D46C5A3D8A}" dt="2023-06-01T21:00:56.531" v="3567" actId="478"/>
          <ac:grpSpMkLst>
            <pc:docMk/>
            <pc:sldMk cId="1384286971" sldId="230717678"/>
            <ac:grpSpMk id="279" creationId="{78BD7C9D-AA4A-420B-B175-BAFB3BE038F1}"/>
          </ac:grpSpMkLst>
        </pc:grpChg>
        <pc:grpChg chg="add del mod">
          <ac:chgData name="Manal El Bakkouri" userId="8b130982-2e3f-4164-b881-fd3a2e4b2453" providerId="ADAL" clId="{4457FA57-250B-44AC-8655-05D46C5A3D8A}" dt="2023-06-01T21:01:12.195" v="3570" actId="165"/>
          <ac:grpSpMkLst>
            <pc:docMk/>
            <pc:sldMk cId="1384286971" sldId="230717678"/>
            <ac:grpSpMk id="295" creationId="{9E0432C5-01FA-4FC4-B17D-B92CF981D190}"/>
          </ac:grpSpMkLst>
        </pc:grpChg>
        <pc:grpChg chg="del mod topLvl">
          <ac:chgData name="Manal El Bakkouri" userId="8b130982-2e3f-4164-b881-fd3a2e4b2453" providerId="ADAL" clId="{4457FA57-250B-44AC-8655-05D46C5A3D8A}" dt="2023-06-02T09:29:12.563" v="4130" actId="478"/>
          <ac:grpSpMkLst>
            <pc:docMk/>
            <pc:sldMk cId="1384286971" sldId="230717678"/>
            <ac:grpSpMk id="299" creationId="{D953461C-ECF6-4D35-ABB1-A2629150F891}"/>
          </ac:grpSpMkLst>
        </pc:grpChg>
        <pc:grpChg chg="del mod topLvl">
          <ac:chgData name="Manal El Bakkouri" userId="8b130982-2e3f-4164-b881-fd3a2e4b2453" providerId="ADAL" clId="{4457FA57-250B-44AC-8655-05D46C5A3D8A}" dt="2023-06-02T09:29:12.563" v="4130" actId="478"/>
          <ac:grpSpMkLst>
            <pc:docMk/>
            <pc:sldMk cId="1384286971" sldId="230717678"/>
            <ac:grpSpMk id="300" creationId="{8D88BF56-77DB-47D6-9FF6-B2CD74E5ACE9}"/>
          </ac:grpSpMkLst>
        </pc:grpChg>
        <pc:grpChg chg="del mod topLvl">
          <ac:chgData name="Manal El Bakkouri" userId="8b130982-2e3f-4164-b881-fd3a2e4b2453" providerId="ADAL" clId="{4457FA57-250B-44AC-8655-05D46C5A3D8A}" dt="2023-06-01T21:01:16.976" v="3571" actId="478"/>
          <ac:grpSpMkLst>
            <pc:docMk/>
            <pc:sldMk cId="1384286971" sldId="230717678"/>
            <ac:grpSpMk id="303" creationId="{E62CA290-42BD-44D3-8ECF-868BFA9DC481}"/>
          </ac:grpSpMkLst>
        </pc:grpChg>
        <pc:picChg chg="del">
          <ac:chgData name="Manal El Bakkouri" userId="8b130982-2e3f-4164-b881-fd3a2e4b2453" providerId="ADAL" clId="{4457FA57-250B-44AC-8655-05D46C5A3D8A}" dt="2023-06-01T20:26:24.833" v="3233" actId="478"/>
          <ac:picMkLst>
            <pc:docMk/>
            <pc:sldMk cId="1384286971" sldId="230717678"/>
            <ac:picMk id="4" creationId="{31D9D18B-853C-4129-8EB6-3F540F887FCF}"/>
          </ac:picMkLst>
        </pc:picChg>
        <pc:picChg chg="add del mod">
          <ac:chgData name="Manal El Bakkouri" userId="8b130982-2e3f-4164-b881-fd3a2e4b2453" providerId="ADAL" clId="{4457FA57-250B-44AC-8655-05D46C5A3D8A}" dt="2023-06-01T20:36:48.603" v="3341" actId="478"/>
          <ac:picMkLst>
            <pc:docMk/>
            <pc:sldMk cId="1384286971" sldId="230717678"/>
            <ac:picMk id="6" creationId="{78E1C778-A1A9-4982-A6F0-765BD6B8646C}"/>
          </ac:picMkLst>
        </pc:picChg>
        <pc:picChg chg="add del mod">
          <ac:chgData name="Manal El Bakkouri" userId="8b130982-2e3f-4164-b881-fd3a2e4b2453" providerId="ADAL" clId="{4457FA57-250B-44AC-8655-05D46C5A3D8A}" dt="2023-06-01T20:39:15.932" v="3353" actId="478"/>
          <ac:picMkLst>
            <pc:docMk/>
            <pc:sldMk cId="1384286971" sldId="230717678"/>
            <ac:picMk id="8" creationId="{2BBBE246-B372-45FB-96A4-37D372BF2DE3}"/>
          </ac:picMkLst>
        </pc:picChg>
        <pc:picChg chg="add del mod">
          <ac:chgData name="Manal El Bakkouri" userId="8b130982-2e3f-4164-b881-fd3a2e4b2453" providerId="ADAL" clId="{4457FA57-250B-44AC-8655-05D46C5A3D8A}" dt="2023-06-01T21:03:49.688" v="3589" actId="478"/>
          <ac:picMkLst>
            <pc:docMk/>
            <pc:sldMk cId="1384286971" sldId="230717678"/>
            <ac:picMk id="10" creationId="{90401B66-8202-444D-AE62-6E20AC93A874}"/>
          </ac:picMkLst>
        </pc:picChg>
        <pc:picChg chg="add del mod">
          <ac:chgData name="Manal El Bakkouri" userId="8b130982-2e3f-4164-b881-fd3a2e4b2453" providerId="ADAL" clId="{4457FA57-250B-44AC-8655-05D46C5A3D8A}" dt="2023-06-01T21:03:48.774" v="3588" actId="478"/>
          <ac:picMkLst>
            <pc:docMk/>
            <pc:sldMk cId="1384286971" sldId="230717678"/>
            <ac:picMk id="12" creationId="{ECB9EA54-1E7D-4C41-B934-C8A70D797E4B}"/>
          </ac:picMkLst>
        </pc:picChg>
        <pc:picChg chg="add del mod">
          <ac:chgData name="Manal El Bakkouri" userId="8b130982-2e3f-4164-b881-fd3a2e4b2453" providerId="ADAL" clId="{4457FA57-250B-44AC-8655-05D46C5A3D8A}" dt="2023-06-01T20:57:39.230" v="3545" actId="1036"/>
          <ac:picMkLst>
            <pc:docMk/>
            <pc:sldMk cId="1384286971" sldId="230717678"/>
            <ac:picMk id="24" creationId="{2D2C3054-2D7A-469B-8216-075534B1DF29}"/>
          </ac:picMkLst>
        </pc:picChg>
        <pc:picChg chg="add mod">
          <ac:chgData name="Manal El Bakkouri" userId="8b130982-2e3f-4164-b881-fd3a2e4b2453" providerId="ADAL" clId="{4457FA57-250B-44AC-8655-05D46C5A3D8A}" dt="2023-06-01T20:59:22.964" v="3552" actId="1076"/>
          <ac:picMkLst>
            <pc:docMk/>
            <pc:sldMk cId="1384286971" sldId="230717678"/>
            <ac:picMk id="26" creationId="{DCA36B17-D25C-444A-A6B6-28D4B4B06C01}"/>
          </ac:picMkLst>
        </pc:picChg>
        <pc:picChg chg="add mod">
          <ac:chgData name="Manal El Bakkouri" userId="8b130982-2e3f-4164-b881-fd3a2e4b2453" providerId="ADAL" clId="{4457FA57-250B-44AC-8655-05D46C5A3D8A}" dt="2023-06-01T21:00:08.987" v="3561" actId="1076"/>
          <ac:picMkLst>
            <pc:docMk/>
            <pc:sldMk cId="1384286971" sldId="230717678"/>
            <ac:picMk id="28" creationId="{45ADA4EF-0402-431D-B481-E48973DF36F6}"/>
          </ac:picMkLst>
        </pc:picChg>
        <pc:picChg chg="add del mod">
          <ac:chgData name="Manal El Bakkouri" userId="8b130982-2e3f-4164-b881-fd3a2e4b2453" providerId="ADAL" clId="{4457FA57-250B-44AC-8655-05D46C5A3D8A}" dt="2023-06-06T09:33:15.489" v="9157" actId="478"/>
          <ac:picMkLst>
            <pc:docMk/>
            <pc:sldMk cId="1384286971" sldId="230717678"/>
            <ac:picMk id="30" creationId="{BF491D0C-38A4-4AA2-BA19-BE8647810F1B}"/>
          </ac:picMkLst>
        </pc:picChg>
        <pc:picChg chg="add mod">
          <ac:chgData name="Manal El Bakkouri" userId="8b130982-2e3f-4164-b881-fd3a2e4b2453" providerId="ADAL" clId="{4457FA57-250B-44AC-8655-05D46C5A3D8A}" dt="2023-06-06T09:33:34.296" v="9160" actId="1076"/>
          <ac:picMkLst>
            <pc:docMk/>
            <pc:sldMk cId="1384286971" sldId="230717678"/>
            <ac:picMk id="32" creationId="{BFD1551C-3003-4074-96A8-71BCFEE5E1CD}"/>
          </ac:picMkLst>
        </pc:picChg>
        <pc:picChg chg="add del mod modCrop">
          <ac:chgData name="Manal El Bakkouri" userId="8b130982-2e3f-4164-b881-fd3a2e4b2453" providerId="ADAL" clId="{4457FA57-250B-44AC-8655-05D46C5A3D8A}" dt="2023-06-01T20:40:32.976" v="3365" actId="478"/>
          <ac:picMkLst>
            <pc:docMk/>
            <pc:sldMk cId="1384286971" sldId="230717678"/>
            <ac:picMk id="65" creationId="{53B430CB-066B-420E-BC0D-80EC01C230EB}"/>
          </ac:picMkLst>
        </pc:picChg>
        <pc:picChg chg="mod">
          <ac:chgData name="Manal El Bakkouri" userId="8b130982-2e3f-4164-b881-fd3a2e4b2453" providerId="ADAL" clId="{4457FA57-250B-44AC-8655-05D46C5A3D8A}" dt="2023-06-06T09:32:14.009" v="9148" actId="1076"/>
          <ac:picMkLst>
            <pc:docMk/>
            <pc:sldMk cId="1384286971" sldId="230717678"/>
            <ac:picMk id="136" creationId="{1E42EEE4-355B-4F6D-BDBC-DE36D257FAAF}"/>
          </ac:picMkLst>
        </pc:picChg>
        <pc:picChg chg="add mod">
          <ac:chgData name="Manal El Bakkouri" userId="8b130982-2e3f-4164-b881-fd3a2e4b2453" providerId="ADAL" clId="{4457FA57-250B-44AC-8655-05D46C5A3D8A}" dt="2023-06-06T09:33:26.165" v="9159" actId="571"/>
          <ac:picMkLst>
            <pc:docMk/>
            <pc:sldMk cId="1384286971" sldId="230717678"/>
            <ac:picMk id="324" creationId="{4CE10B50-D2DE-45CE-9255-11B2AEE0AD8A}"/>
          </ac:picMkLst>
        </pc:picChg>
        <pc:picChg chg="add mod">
          <ac:chgData name="Manal El Bakkouri" userId="8b130982-2e3f-4164-b881-fd3a2e4b2453" providerId="ADAL" clId="{4457FA57-250B-44AC-8655-05D46C5A3D8A}" dt="2023-06-06T09:33:42.298" v="9162" actId="1076"/>
          <ac:picMkLst>
            <pc:docMk/>
            <pc:sldMk cId="1384286971" sldId="230717678"/>
            <ac:picMk id="327" creationId="{CC54CBFE-459D-40EB-A401-572AF013F5AE}"/>
          </ac:picMkLst>
        </pc:picChg>
      </pc:sldChg>
      <pc:sldChg chg="addSp delSp modSp add mod modAnim modNotesTx">
        <pc:chgData name="Manal El Bakkouri" userId="8b130982-2e3f-4164-b881-fd3a2e4b2453" providerId="ADAL" clId="{4457FA57-250B-44AC-8655-05D46C5A3D8A}" dt="2023-06-09T11:29:57.940" v="21763"/>
        <pc:sldMkLst>
          <pc:docMk/>
          <pc:sldMk cId="1796768274" sldId="230717679"/>
        </pc:sldMkLst>
        <pc:spChg chg="del">
          <ac:chgData name="Manal El Bakkouri" userId="8b130982-2e3f-4164-b881-fd3a2e4b2453" providerId="ADAL" clId="{4457FA57-250B-44AC-8655-05D46C5A3D8A}" dt="2023-06-09T11:29:57.646" v="21762" actId="478"/>
          <ac:spMkLst>
            <pc:docMk/>
            <pc:sldMk cId="1796768274" sldId="230717679"/>
            <ac:spMk id="14" creationId="{B08DFD07-6E33-4072-823A-52E54D4C1D97}"/>
          </ac:spMkLst>
        </pc:spChg>
        <pc:spChg chg="del">
          <ac:chgData name="Manal El Bakkouri" userId="8b130982-2e3f-4164-b881-fd3a2e4b2453" providerId="ADAL" clId="{4457FA57-250B-44AC-8655-05D46C5A3D8A}" dt="2023-06-09T11:29:57.646" v="21762" actId="478"/>
          <ac:spMkLst>
            <pc:docMk/>
            <pc:sldMk cId="1796768274" sldId="230717679"/>
            <ac:spMk id="15" creationId="{FB7A3366-B924-45F5-A887-21AFF439AF4F}"/>
          </ac:spMkLst>
        </pc:spChg>
        <pc:spChg chg="del">
          <ac:chgData name="Manal El Bakkouri" userId="8b130982-2e3f-4164-b881-fd3a2e4b2453" providerId="ADAL" clId="{4457FA57-250B-44AC-8655-05D46C5A3D8A}" dt="2023-06-09T11:29:57.646" v="21762" actId="478"/>
          <ac:spMkLst>
            <pc:docMk/>
            <pc:sldMk cId="1796768274" sldId="230717679"/>
            <ac:spMk id="16" creationId="{A8B90A34-D563-4612-8810-724F1BC01C39}"/>
          </ac:spMkLst>
        </pc:spChg>
        <pc:spChg chg="add mod">
          <ac:chgData name="Manal El Bakkouri" userId="8b130982-2e3f-4164-b881-fd3a2e4b2453" providerId="ADAL" clId="{4457FA57-250B-44AC-8655-05D46C5A3D8A}" dt="2023-06-09T11:29:57.940" v="21763"/>
          <ac:spMkLst>
            <pc:docMk/>
            <pc:sldMk cId="1796768274" sldId="230717679"/>
            <ac:spMk id="48" creationId="{7B64BF32-1F77-4083-9B1A-2CBAABE12EFD}"/>
          </ac:spMkLst>
        </pc:spChg>
        <pc:spChg chg="add mod">
          <ac:chgData name="Manal El Bakkouri" userId="8b130982-2e3f-4164-b881-fd3a2e4b2453" providerId="ADAL" clId="{4457FA57-250B-44AC-8655-05D46C5A3D8A}" dt="2023-06-09T11:29:57.940" v="21763"/>
          <ac:spMkLst>
            <pc:docMk/>
            <pc:sldMk cId="1796768274" sldId="230717679"/>
            <ac:spMk id="49" creationId="{1D3E52B6-45FA-4681-879F-4C661A22EA65}"/>
          </ac:spMkLst>
        </pc:spChg>
        <pc:spChg chg="add mod">
          <ac:chgData name="Manal El Bakkouri" userId="8b130982-2e3f-4164-b881-fd3a2e4b2453" providerId="ADAL" clId="{4457FA57-250B-44AC-8655-05D46C5A3D8A}" dt="2023-06-09T11:29:57.940" v="21763"/>
          <ac:spMkLst>
            <pc:docMk/>
            <pc:sldMk cId="1796768274" sldId="230717679"/>
            <ac:spMk id="50" creationId="{2FAB07FF-61C3-473C-AF13-B6CAACAB58DF}"/>
          </ac:spMkLst>
        </pc:spChg>
        <pc:spChg chg="add mod">
          <ac:chgData name="Manal El Bakkouri" userId="8b130982-2e3f-4164-b881-fd3a2e4b2453" providerId="ADAL" clId="{4457FA57-250B-44AC-8655-05D46C5A3D8A}" dt="2023-06-09T11:29:57.940" v="21763"/>
          <ac:spMkLst>
            <pc:docMk/>
            <pc:sldMk cId="1796768274" sldId="230717679"/>
            <ac:spMk id="51" creationId="{00E5496B-444A-4873-92CC-0C692897DCB8}"/>
          </ac:spMkLst>
        </pc:spChg>
        <pc:spChg chg="del">
          <ac:chgData name="Manal El Bakkouri" userId="8b130982-2e3f-4164-b881-fd3a2e4b2453" providerId="ADAL" clId="{4457FA57-250B-44AC-8655-05D46C5A3D8A}" dt="2023-06-02T15:14:49.808" v="5457" actId="478"/>
          <ac:spMkLst>
            <pc:docMk/>
            <pc:sldMk cId="1796768274" sldId="230717679"/>
            <ac:spMk id="56" creationId="{B6AD6CD7-EA81-4489-8629-B71DD78B0A16}"/>
          </ac:spMkLst>
        </pc:spChg>
        <pc:spChg chg="add mod">
          <ac:chgData name="Manal El Bakkouri" userId="8b130982-2e3f-4164-b881-fd3a2e4b2453" providerId="ADAL" clId="{4457FA57-250B-44AC-8655-05D46C5A3D8A}" dt="2023-06-02T15:14:50.136" v="5458"/>
          <ac:spMkLst>
            <pc:docMk/>
            <pc:sldMk cId="1796768274" sldId="230717679"/>
            <ac:spMk id="125" creationId="{B13A2A16-8C2E-481C-A667-CF9C7C4FEC51}"/>
          </ac:spMkLst>
        </pc:spChg>
        <pc:spChg chg="add del mod">
          <ac:chgData name="Manal El Bakkouri" userId="8b130982-2e3f-4164-b881-fd3a2e4b2453" providerId="ADAL" clId="{4457FA57-250B-44AC-8655-05D46C5A3D8A}" dt="2023-06-04T13:13:28.383" v="7723" actId="478"/>
          <ac:spMkLst>
            <pc:docMk/>
            <pc:sldMk cId="1796768274" sldId="230717679"/>
            <ac:spMk id="126" creationId="{DC83A6E8-B70B-4E22-8C34-3128A788D5B5}"/>
          </ac:spMkLst>
        </pc:spChg>
        <pc:spChg chg="add mod">
          <ac:chgData name="Manal El Bakkouri" userId="8b130982-2e3f-4164-b881-fd3a2e4b2453" providerId="ADAL" clId="{4457FA57-250B-44AC-8655-05D46C5A3D8A}" dt="2023-06-04T13:13:28.696" v="7724"/>
          <ac:spMkLst>
            <pc:docMk/>
            <pc:sldMk cId="1796768274" sldId="230717679"/>
            <ac:spMk id="127" creationId="{23127442-D8BD-4127-98E3-CFC617786C46}"/>
          </ac:spMkLst>
        </pc:spChg>
        <pc:spChg chg="add mod">
          <ac:chgData name="Manal El Bakkouri" userId="8b130982-2e3f-4164-b881-fd3a2e4b2453" providerId="ADAL" clId="{4457FA57-250B-44AC-8655-05D46C5A3D8A}" dt="2023-06-06T09:34:09.175" v="9171"/>
          <ac:spMkLst>
            <pc:docMk/>
            <pc:sldMk cId="1796768274" sldId="230717679"/>
            <ac:spMk id="128" creationId="{BC14654A-8B22-43FE-9092-16A72F62F1D4}"/>
          </ac:spMkLst>
        </pc:spChg>
        <pc:spChg chg="add mod">
          <ac:chgData name="Manal El Bakkouri" userId="8b130982-2e3f-4164-b881-fd3a2e4b2453" providerId="ADAL" clId="{4457FA57-250B-44AC-8655-05D46C5A3D8A}" dt="2023-06-06T09:34:09.175" v="9171"/>
          <ac:spMkLst>
            <pc:docMk/>
            <pc:sldMk cId="1796768274" sldId="230717679"/>
            <ac:spMk id="129" creationId="{13C7390C-C296-484F-AB7C-223A2975E46D}"/>
          </ac:spMkLst>
        </pc:spChg>
        <pc:spChg chg="add mod">
          <ac:chgData name="Manal El Bakkouri" userId="8b130982-2e3f-4164-b881-fd3a2e4b2453" providerId="ADAL" clId="{4457FA57-250B-44AC-8655-05D46C5A3D8A}" dt="2023-06-06T09:34:09.175" v="9171"/>
          <ac:spMkLst>
            <pc:docMk/>
            <pc:sldMk cId="1796768274" sldId="230717679"/>
            <ac:spMk id="130" creationId="{6608CE72-48EE-489F-BD51-392A0CD13F69}"/>
          </ac:spMkLst>
        </pc:spChg>
        <pc:spChg chg="add mod">
          <ac:chgData name="Manal El Bakkouri" userId="8b130982-2e3f-4164-b881-fd3a2e4b2453" providerId="ADAL" clId="{4457FA57-250B-44AC-8655-05D46C5A3D8A}" dt="2023-06-06T09:34:09.175" v="9171"/>
          <ac:spMkLst>
            <pc:docMk/>
            <pc:sldMk cId="1796768274" sldId="230717679"/>
            <ac:spMk id="131" creationId="{C0D32440-338D-4FA5-ADA9-4E29E8F0AB62}"/>
          </ac:spMkLst>
        </pc:spChg>
        <pc:spChg chg="add mod">
          <ac:chgData name="Manal El Bakkouri" userId="8b130982-2e3f-4164-b881-fd3a2e4b2453" providerId="ADAL" clId="{4457FA57-250B-44AC-8655-05D46C5A3D8A}" dt="2023-06-06T09:34:09.175" v="9171"/>
          <ac:spMkLst>
            <pc:docMk/>
            <pc:sldMk cId="1796768274" sldId="230717679"/>
            <ac:spMk id="132" creationId="{EE122197-15D8-4B3E-9AE4-026BBBC459F6}"/>
          </ac:spMkLst>
        </pc:spChg>
        <pc:spChg chg="add mod">
          <ac:chgData name="Manal El Bakkouri" userId="8b130982-2e3f-4164-b881-fd3a2e4b2453" providerId="ADAL" clId="{4457FA57-250B-44AC-8655-05D46C5A3D8A}" dt="2023-06-06T09:34:09.175" v="9171"/>
          <ac:spMkLst>
            <pc:docMk/>
            <pc:sldMk cId="1796768274" sldId="230717679"/>
            <ac:spMk id="133" creationId="{BC707877-961D-44DD-9C14-F896A108270C}"/>
          </ac:spMkLst>
        </pc:spChg>
        <pc:spChg chg="add mod">
          <ac:chgData name="Manal El Bakkouri" userId="8b130982-2e3f-4164-b881-fd3a2e4b2453" providerId="ADAL" clId="{4457FA57-250B-44AC-8655-05D46C5A3D8A}" dt="2023-06-06T09:34:09.175" v="9171"/>
          <ac:spMkLst>
            <pc:docMk/>
            <pc:sldMk cId="1796768274" sldId="230717679"/>
            <ac:spMk id="134" creationId="{B46BB861-DB9E-4BFE-86D5-6F595825F172}"/>
          </ac:spMkLst>
        </pc:spChg>
        <pc:spChg chg="add mod">
          <ac:chgData name="Manal El Bakkouri" userId="8b130982-2e3f-4164-b881-fd3a2e4b2453" providerId="ADAL" clId="{4457FA57-250B-44AC-8655-05D46C5A3D8A}" dt="2023-06-06T09:34:09.175" v="9171"/>
          <ac:spMkLst>
            <pc:docMk/>
            <pc:sldMk cId="1796768274" sldId="230717679"/>
            <ac:spMk id="135" creationId="{73BCE9A8-CBAD-45F5-9822-3DB82CA9BAA0}"/>
          </ac:spMkLst>
        </pc:spChg>
        <pc:spChg chg="add mod">
          <ac:chgData name="Manal El Bakkouri" userId="8b130982-2e3f-4164-b881-fd3a2e4b2453" providerId="ADAL" clId="{4457FA57-250B-44AC-8655-05D46C5A3D8A}" dt="2023-06-06T09:34:09.175" v="9171"/>
          <ac:spMkLst>
            <pc:docMk/>
            <pc:sldMk cId="1796768274" sldId="230717679"/>
            <ac:spMk id="138" creationId="{4B92A2FC-9247-4FFE-B09C-F16470631455}"/>
          </ac:spMkLst>
        </pc:spChg>
        <pc:spChg chg="add mod">
          <ac:chgData name="Manal El Bakkouri" userId="8b130982-2e3f-4164-b881-fd3a2e4b2453" providerId="ADAL" clId="{4457FA57-250B-44AC-8655-05D46C5A3D8A}" dt="2023-06-06T09:34:09.175" v="9171"/>
          <ac:spMkLst>
            <pc:docMk/>
            <pc:sldMk cId="1796768274" sldId="230717679"/>
            <ac:spMk id="139" creationId="{60A19388-5A39-4088-9381-3FE9DF31AB3E}"/>
          </ac:spMkLst>
        </pc:spChg>
        <pc:spChg chg="mod">
          <ac:chgData name="Manal El Bakkouri" userId="8b130982-2e3f-4164-b881-fd3a2e4b2453" providerId="ADAL" clId="{4457FA57-250B-44AC-8655-05D46C5A3D8A}" dt="2023-06-01T21:02:26.177" v="3583" actId="1037"/>
          <ac:spMkLst>
            <pc:docMk/>
            <pc:sldMk cId="1796768274" sldId="230717679"/>
            <ac:spMk id="180" creationId="{5F018933-331A-4DDD-910B-FF4B614CF89E}"/>
          </ac:spMkLst>
        </pc:spChg>
        <pc:spChg chg="mod">
          <ac:chgData name="Manal El Bakkouri" userId="8b130982-2e3f-4164-b881-fd3a2e4b2453" providerId="ADAL" clId="{4457FA57-250B-44AC-8655-05D46C5A3D8A}" dt="2023-06-01T21:02:26.177" v="3583" actId="1037"/>
          <ac:spMkLst>
            <pc:docMk/>
            <pc:sldMk cId="1796768274" sldId="230717679"/>
            <ac:spMk id="181" creationId="{BDF09F37-D0AA-4BAD-B1C4-3DF7D1A5F2FC}"/>
          </ac:spMkLst>
        </pc:spChg>
        <pc:spChg chg="mod">
          <ac:chgData name="Manal El Bakkouri" userId="8b130982-2e3f-4164-b881-fd3a2e4b2453" providerId="ADAL" clId="{4457FA57-250B-44AC-8655-05D46C5A3D8A}" dt="2023-06-01T21:02:26.177" v="3583" actId="1037"/>
          <ac:spMkLst>
            <pc:docMk/>
            <pc:sldMk cId="1796768274" sldId="230717679"/>
            <ac:spMk id="182" creationId="{E723C2C8-7AC2-48D8-9BB3-23699C7D6A70}"/>
          </ac:spMkLst>
        </pc:spChg>
        <pc:spChg chg="mod topLvl">
          <ac:chgData name="Manal El Bakkouri" userId="8b130982-2e3f-4164-b881-fd3a2e4b2453" providerId="ADAL" clId="{4457FA57-250B-44AC-8655-05D46C5A3D8A}" dt="2023-06-02T09:27:22.970" v="4127" actId="165"/>
          <ac:spMkLst>
            <pc:docMk/>
            <pc:sldMk cId="1796768274" sldId="230717679"/>
            <ac:spMk id="219" creationId="{CE250EEC-ADAC-49CD-9026-A473AB009DBD}"/>
          </ac:spMkLst>
        </pc:spChg>
        <pc:spChg chg="mod topLvl">
          <ac:chgData name="Manal El Bakkouri" userId="8b130982-2e3f-4164-b881-fd3a2e4b2453" providerId="ADAL" clId="{4457FA57-250B-44AC-8655-05D46C5A3D8A}" dt="2023-06-02T09:27:22.970" v="4127" actId="165"/>
          <ac:spMkLst>
            <pc:docMk/>
            <pc:sldMk cId="1796768274" sldId="230717679"/>
            <ac:spMk id="220" creationId="{9468B8E1-D409-4D45-B105-2FECC1CA291A}"/>
          </ac:spMkLst>
        </pc:spChg>
        <pc:spChg chg="mod topLvl">
          <ac:chgData name="Manal El Bakkouri" userId="8b130982-2e3f-4164-b881-fd3a2e4b2453" providerId="ADAL" clId="{4457FA57-250B-44AC-8655-05D46C5A3D8A}" dt="2023-06-02T09:27:22.970" v="4127" actId="165"/>
          <ac:spMkLst>
            <pc:docMk/>
            <pc:sldMk cId="1796768274" sldId="230717679"/>
            <ac:spMk id="221" creationId="{EF2FD853-AE05-446F-8970-C5528DFFCA2E}"/>
          </ac:spMkLst>
        </pc:spChg>
        <pc:spChg chg="mod">
          <ac:chgData name="Manal El Bakkouri" userId="8b130982-2e3f-4164-b881-fd3a2e4b2453" providerId="ADAL" clId="{4457FA57-250B-44AC-8655-05D46C5A3D8A}" dt="2023-06-02T09:27:22.970" v="4127" actId="165"/>
          <ac:spMkLst>
            <pc:docMk/>
            <pc:sldMk cId="1796768274" sldId="230717679"/>
            <ac:spMk id="223" creationId="{76B13E2C-0B7B-45F1-8027-30A26F868E8E}"/>
          </ac:spMkLst>
        </pc:spChg>
        <pc:spChg chg="mod">
          <ac:chgData name="Manal El Bakkouri" userId="8b130982-2e3f-4164-b881-fd3a2e4b2453" providerId="ADAL" clId="{4457FA57-250B-44AC-8655-05D46C5A3D8A}" dt="2023-06-02T09:27:22.970" v="4127" actId="165"/>
          <ac:spMkLst>
            <pc:docMk/>
            <pc:sldMk cId="1796768274" sldId="230717679"/>
            <ac:spMk id="224" creationId="{934EFD6D-5D94-4579-AB71-8F88F52BB196}"/>
          </ac:spMkLst>
        </pc:spChg>
        <pc:spChg chg="mod">
          <ac:chgData name="Manal El Bakkouri" userId="8b130982-2e3f-4164-b881-fd3a2e4b2453" providerId="ADAL" clId="{4457FA57-250B-44AC-8655-05D46C5A3D8A}" dt="2023-06-02T09:27:22.970" v="4127" actId="165"/>
          <ac:spMkLst>
            <pc:docMk/>
            <pc:sldMk cId="1796768274" sldId="230717679"/>
            <ac:spMk id="225" creationId="{707D12EB-79DF-4812-9BD6-81340F59DFDA}"/>
          </ac:spMkLst>
        </pc:spChg>
        <pc:spChg chg="mod">
          <ac:chgData name="Manal El Bakkouri" userId="8b130982-2e3f-4164-b881-fd3a2e4b2453" providerId="ADAL" clId="{4457FA57-250B-44AC-8655-05D46C5A3D8A}" dt="2023-06-02T09:27:22.970" v="4127" actId="165"/>
          <ac:spMkLst>
            <pc:docMk/>
            <pc:sldMk cId="1796768274" sldId="230717679"/>
            <ac:spMk id="226" creationId="{19AB3CA5-266C-4B28-86EE-A987C05EE82F}"/>
          </ac:spMkLst>
        </pc:spChg>
        <pc:spChg chg="mod">
          <ac:chgData name="Manal El Bakkouri" userId="8b130982-2e3f-4164-b881-fd3a2e4b2453" providerId="ADAL" clId="{4457FA57-250B-44AC-8655-05D46C5A3D8A}" dt="2023-06-02T09:27:22.970" v="4127" actId="165"/>
          <ac:spMkLst>
            <pc:docMk/>
            <pc:sldMk cId="1796768274" sldId="230717679"/>
            <ac:spMk id="227" creationId="{16886A52-993C-446B-92C4-35DC98D00796}"/>
          </ac:spMkLst>
        </pc:spChg>
        <pc:spChg chg="mod">
          <ac:chgData name="Manal El Bakkouri" userId="8b130982-2e3f-4164-b881-fd3a2e4b2453" providerId="ADAL" clId="{4457FA57-250B-44AC-8655-05D46C5A3D8A}" dt="2023-06-02T09:27:22.970" v="4127" actId="165"/>
          <ac:spMkLst>
            <pc:docMk/>
            <pc:sldMk cId="1796768274" sldId="230717679"/>
            <ac:spMk id="228" creationId="{551BAD6A-41F8-4A67-BBAF-B10BCA6CED8A}"/>
          </ac:spMkLst>
        </pc:spChg>
        <pc:spChg chg="mod">
          <ac:chgData name="Manal El Bakkouri" userId="8b130982-2e3f-4164-b881-fd3a2e4b2453" providerId="ADAL" clId="{4457FA57-250B-44AC-8655-05D46C5A3D8A}" dt="2023-06-02T09:27:22.970" v="4127" actId="165"/>
          <ac:spMkLst>
            <pc:docMk/>
            <pc:sldMk cId="1796768274" sldId="230717679"/>
            <ac:spMk id="229" creationId="{424DF614-913B-42FB-8D47-876E11892411}"/>
          </ac:spMkLst>
        </pc:spChg>
        <pc:spChg chg="mod">
          <ac:chgData name="Manal El Bakkouri" userId="8b130982-2e3f-4164-b881-fd3a2e4b2453" providerId="ADAL" clId="{4457FA57-250B-44AC-8655-05D46C5A3D8A}" dt="2023-06-02T09:27:22.970" v="4127" actId="165"/>
          <ac:spMkLst>
            <pc:docMk/>
            <pc:sldMk cId="1796768274" sldId="230717679"/>
            <ac:spMk id="230" creationId="{65ECFA7F-370F-4E9F-9371-54EB4477BD66}"/>
          </ac:spMkLst>
        </pc:spChg>
        <pc:spChg chg="mod">
          <ac:chgData name="Manal El Bakkouri" userId="8b130982-2e3f-4164-b881-fd3a2e4b2453" providerId="ADAL" clId="{4457FA57-250B-44AC-8655-05D46C5A3D8A}" dt="2023-06-02T09:27:22.970" v="4127" actId="165"/>
          <ac:spMkLst>
            <pc:docMk/>
            <pc:sldMk cId="1796768274" sldId="230717679"/>
            <ac:spMk id="231" creationId="{4AD93E96-09B6-44AC-94A6-52A2140C5FE8}"/>
          </ac:spMkLst>
        </pc:spChg>
        <pc:spChg chg="mod">
          <ac:chgData name="Manal El Bakkouri" userId="8b130982-2e3f-4164-b881-fd3a2e4b2453" providerId="ADAL" clId="{4457FA57-250B-44AC-8655-05D46C5A3D8A}" dt="2023-06-02T09:27:22.970" v="4127" actId="165"/>
          <ac:spMkLst>
            <pc:docMk/>
            <pc:sldMk cId="1796768274" sldId="230717679"/>
            <ac:spMk id="232" creationId="{8FD70FD8-5FCF-4650-BDB6-EA446954A937}"/>
          </ac:spMkLst>
        </pc:spChg>
        <pc:spChg chg="mod">
          <ac:chgData name="Manal El Bakkouri" userId="8b130982-2e3f-4164-b881-fd3a2e4b2453" providerId="ADAL" clId="{4457FA57-250B-44AC-8655-05D46C5A3D8A}" dt="2023-06-02T09:27:22.970" v="4127" actId="165"/>
          <ac:spMkLst>
            <pc:docMk/>
            <pc:sldMk cId="1796768274" sldId="230717679"/>
            <ac:spMk id="234" creationId="{08809472-3ADE-4DC4-9352-8BA31D313568}"/>
          </ac:spMkLst>
        </pc:spChg>
        <pc:spChg chg="mod">
          <ac:chgData name="Manal El Bakkouri" userId="8b130982-2e3f-4164-b881-fd3a2e4b2453" providerId="ADAL" clId="{4457FA57-250B-44AC-8655-05D46C5A3D8A}" dt="2023-06-02T09:27:22.970" v="4127" actId="165"/>
          <ac:spMkLst>
            <pc:docMk/>
            <pc:sldMk cId="1796768274" sldId="230717679"/>
            <ac:spMk id="235" creationId="{680117EE-B637-4EEA-868C-F012B01B3650}"/>
          </ac:spMkLst>
        </pc:spChg>
        <pc:spChg chg="mod">
          <ac:chgData name="Manal El Bakkouri" userId="8b130982-2e3f-4164-b881-fd3a2e4b2453" providerId="ADAL" clId="{4457FA57-250B-44AC-8655-05D46C5A3D8A}" dt="2023-06-02T09:27:22.970" v="4127" actId="165"/>
          <ac:spMkLst>
            <pc:docMk/>
            <pc:sldMk cId="1796768274" sldId="230717679"/>
            <ac:spMk id="236" creationId="{0F49A166-9414-415F-8F4E-CBB9EF986E9A}"/>
          </ac:spMkLst>
        </pc:spChg>
        <pc:spChg chg="mod topLvl">
          <ac:chgData name="Manal El Bakkouri" userId="8b130982-2e3f-4164-b881-fd3a2e4b2453" providerId="ADAL" clId="{4457FA57-250B-44AC-8655-05D46C5A3D8A}" dt="2023-06-02T09:27:22.970" v="4127" actId="165"/>
          <ac:spMkLst>
            <pc:docMk/>
            <pc:sldMk cId="1796768274" sldId="230717679"/>
            <ac:spMk id="241" creationId="{2B99B28A-2254-459A-9CAD-6C4085C8060B}"/>
          </ac:spMkLst>
        </pc:spChg>
        <pc:spChg chg="mod topLvl">
          <ac:chgData name="Manal El Bakkouri" userId="8b130982-2e3f-4164-b881-fd3a2e4b2453" providerId="ADAL" clId="{4457FA57-250B-44AC-8655-05D46C5A3D8A}" dt="2023-06-02T09:27:22.970" v="4127" actId="165"/>
          <ac:spMkLst>
            <pc:docMk/>
            <pc:sldMk cId="1796768274" sldId="230717679"/>
            <ac:spMk id="242" creationId="{9478CA70-5A3B-4DA8-BC35-21CCDD84D178}"/>
          </ac:spMkLst>
        </pc:spChg>
        <pc:spChg chg="del">
          <ac:chgData name="Manal El Bakkouri" userId="8b130982-2e3f-4164-b881-fd3a2e4b2453" providerId="ADAL" clId="{4457FA57-250B-44AC-8655-05D46C5A3D8A}" dt="2023-06-06T09:34:05.094" v="9170" actId="478"/>
          <ac:spMkLst>
            <pc:docMk/>
            <pc:sldMk cId="1796768274" sldId="230717679"/>
            <ac:spMk id="272" creationId="{7E1DDCAB-860D-4D5B-B04C-B08A60590651}"/>
          </ac:spMkLst>
        </pc:spChg>
        <pc:spChg chg="del">
          <ac:chgData name="Manal El Bakkouri" userId="8b130982-2e3f-4164-b881-fd3a2e4b2453" providerId="ADAL" clId="{4457FA57-250B-44AC-8655-05D46C5A3D8A}" dt="2023-06-06T09:34:05.094" v="9170" actId="478"/>
          <ac:spMkLst>
            <pc:docMk/>
            <pc:sldMk cId="1796768274" sldId="230717679"/>
            <ac:spMk id="273" creationId="{BCC0A54D-1C1E-4C06-BF7C-1414A583989F}"/>
          </ac:spMkLst>
        </pc:spChg>
        <pc:spChg chg="del">
          <ac:chgData name="Manal El Bakkouri" userId="8b130982-2e3f-4164-b881-fd3a2e4b2453" providerId="ADAL" clId="{4457FA57-250B-44AC-8655-05D46C5A3D8A}" dt="2023-06-06T09:34:05.094" v="9170" actId="478"/>
          <ac:spMkLst>
            <pc:docMk/>
            <pc:sldMk cId="1796768274" sldId="230717679"/>
            <ac:spMk id="274" creationId="{478BFE02-F071-4A8F-ABF8-FA5B9AD045E6}"/>
          </ac:spMkLst>
        </pc:spChg>
        <pc:spChg chg="del">
          <ac:chgData name="Manal El Bakkouri" userId="8b130982-2e3f-4164-b881-fd3a2e4b2453" providerId="ADAL" clId="{4457FA57-250B-44AC-8655-05D46C5A3D8A}" dt="2023-06-06T09:34:05.094" v="9170" actId="478"/>
          <ac:spMkLst>
            <pc:docMk/>
            <pc:sldMk cId="1796768274" sldId="230717679"/>
            <ac:spMk id="277" creationId="{5827CEB6-8D48-422D-B08C-B1EA14C31C34}"/>
          </ac:spMkLst>
        </pc:spChg>
        <pc:spChg chg="del">
          <ac:chgData name="Manal El Bakkouri" userId="8b130982-2e3f-4164-b881-fd3a2e4b2453" providerId="ADAL" clId="{4457FA57-250B-44AC-8655-05D46C5A3D8A}" dt="2023-06-06T09:34:05.094" v="9170" actId="478"/>
          <ac:spMkLst>
            <pc:docMk/>
            <pc:sldMk cId="1796768274" sldId="230717679"/>
            <ac:spMk id="278" creationId="{ADAB3BD5-1944-49EA-9972-D0B9B7BA549E}"/>
          </ac:spMkLst>
        </pc:spChg>
        <pc:spChg chg="del">
          <ac:chgData name="Manal El Bakkouri" userId="8b130982-2e3f-4164-b881-fd3a2e4b2453" providerId="ADAL" clId="{4457FA57-250B-44AC-8655-05D46C5A3D8A}" dt="2023-06-06T09:34:05.094" v="9170" actId="478"/>
          <ac:spMkLst>
            <pc:docMk/>
            <pc:sldMk cId="1796768274" sldId="230717679"/>
            <ac:spMk id="296" creationId="{0C78CC53-5B38-437A-A062-910DBCF08B90}"/>
          </ac:spMkLst>
        </pc:spChg>
        <pc:spChg chg="del">
          <ac:chgData name="Manal El Bakkouri" userId="8b130982-2e3f-4164-b881-fd3a2e4b2453" providerId="ADAL" clId="{4457FA57-250B-44AC-8655-05D46C5A3D8A}" dt="2023-06-06T09:34:05.094" v="9170" actId="478"/>
          <ac:spMkLst>
            <pc:docMk/>
            <pc:sldMk cId="1796768274" sldId="230717679"/>
            <ac:spMk id="297" creationId="{0D45248C-E2D1-4D34-A8FF-F8829028E7BE}"/>
          </ac:spMkLst>
        </pc:spChg>
        <pc:spChg chg="del">
          <ac:chgData name="Manal El Bakkouri" userId="8b130982-2e3f-4164-b881-fd3a2e4b2453" providerId="ADAL" clId="{4457FA57-250B-44AC-8655-05D46C5A3D8A}" dt="2023-06-06T09:34:05.094" v="9170" actId="478"/>
          <ac:spMkLst>
            <pc:docMk/>
            <pc:sldMk cId="1796768274" sldId="230717679"/>
            <ac:spMk id="298" creationId="{A7B03ECD-5EB5-43FE-9A5F-D7C8959E924A}"/>
          </ac:spMkLst>
        </pc:spChg>
        <pc:spChg chg="del">
          <ac:chgData name="Manal El Bakkouri" userId="8b130982-2e3f-4164-b881-fd3a2e4b2453" providerId="ADAL" clId="{4457FA57-250B-44AC-8655-05D46C5A3D8A}" dt="2023-06-06T09:34:05.094" v="9170" actId="478"/>
          <ac:spMkLst>
            <pc:docMk/>
            <pc:sldMk cId="1796768274" sldId="230717679"/>
            <ac:spMk id="301" creationId="{F78BFFE4-3702-488C-A71F-167F28CB1B36}"/>
          </ac:spMkLst>
        </pc:spChg>
        <pc:spChg chg="del">
          <ac:chgData name="Manal El Bakkouri" userId="8b130982-2e3f-4164-b881-fd3a2e4b2453" providerId="ADAL" clId="{4457FA57-250B-44AC-8655-05D46C5A3D8A}" dt="2023-06-06T09:34:05.094" v="9170" actId="478"/>
          <ac:spMkLst>
            <pc:docMk/>
            <pc:sldMk cId="1796768274" sldId="230717679"/>
            <ac:spMk id="302" creationId="{C29E40C7-9746-4780-A19E-2343B3816D06}"/>
          </ac:spMkLst>
        </pc:spChg>
        <pc:grpChg chg="del">
          <ac:chgData name="Manal El Bakkouri" userId="8b130982-2e3f-4164-b881-fd3a2e4b2453" providerId="ADAL" clId="{4457FA57-250B-44AC-8655-05D46C5A3D8A}" dt="2023-06-02T09:27:22.970" v="4127" actId="165"/>
          <ac:grpSpMkLst>
            <pc:docMk/>
            <pc:sldMk cId="1796768274" sldId="230717679"/>
            <ac:grpSpMk id="13" creationId="{FDB68C30-8CB3-4303-8206-D2653DE00B48}"/>
          </ac:grpSpMkLst>
        </pc:grpChg>
        <pc:grpChg chg="mod">
          <ac:chgData name="Manal El Bakkouri" userId="8b130982-2e3f-4164-b881-fd3a2e4b2453" providerId="ADAL" clId="{4457FA57-250B-44AC-8655-05D46C5A3D8A}" dt="2023-06-01T21:02:26.177" v="3583" actId="1037"/>
          <ac:grpSpMkLst>
            <pc:docMk/>
            <pc:sldMk cId="1796768274" sldId="230717679"/>
            <ac:grpSpMk id="179" creationId="{A88D32F9-A61D-4EA3-BD03-88DC8D790FA5}"/>
          </ac:grpSpMkLst>
        </pc:grpChg>
        <pc:grpChg chg="del">
          <ac:chgData name="Manal El Bakkouri" userId="8b130982-2e3f-4164-b881-fd3a2e4b2453" providerId="ADAL" clId="{4457FA57-250B-44AC-8655-05D46C5A3D8A}" dt="2023-06-02T09:28:14.859" v="4128" actId="478"/>
          <ac:grpSpMkLst>
            <pc:docMk/>
            <pc:sldMk cId="1796768274" sldId="230717679"/>
            <ac:grpSpMk id="186" creationId="{5F33E25D-ABE9-4E8F-8A6F-4A3CCCC4B14F}"/>
          </ac:grpSpMkLst>
        </pc:grpChg>
        <pc:grpChg chg="del">
          <ac:chgData name="Manal El Bakkouri" userId="8b130982-2e3f-4164-b881-fd3a2e4b2453" providerId="ADAL" clId="{4457FA57-250B-44AC-8655-05D46C5A3D8A}" dt="2023-06-02T09:28:14.859" v="4128" actId="478"/>
          <ac:grpSpMkLst>
            <pc:docMk/>
            <pc:sldMk cId="1796768274" sldId="230717679"/>
            <ac:grpSpMk id="197" creationId="{6F275CF8-48E0-4EFF-A442-FE18771AAF48}"/>
          </ac:grpSpMkLst>
        </pc:grpChg>
        <pc:grpChg chg="del">
          <ac:chgData name="Manal El Bakkouri" userId="8b130982-2e3f-4164-b881-fd3a2e4b2453" providerId="ADAL" clId="{4457FA57-250B-44AC-8655-05D46C5A3D8A}" dt="2023-06-02T09:28:14.859" v="4128" actId="478"/>
          <ac:grpSpMkLst>
            <pc:docMk/>
            <pc:sldMk cId="1796768274" sldId="230717679"/>
            <ac:grpSpMk id="204" creationId="{87B242A8-A867-4C54-8D2C-1D66F0752934}"/>
          </ac:grpSpMkLst>
        </pc:grpChg>
        <pc:grpChg chg="del">
          <ac:chgData name="Manal El Bakkouri" userId="8b130982-2e3f-4164-b881-fd3a2e4b2453" providerId="ADAL" clId="{4457FA57-250B-44AC-8655-05D46C5A3D8A}" dt="2023-06-02T09:28:14.859" v="4128" actId="478"/>
          <ac:grpSpMkLst>
            <pc:docMk/>
            <pc:sldMk cId="1796768274" sldId="230717679"/>
            <ac:grpSpMk id="215" creationId="{1F058373-2274-4583-9DA6-DCED3E21738F}"/>
          </ac:grpSpMkLst>
        </pc:grpChg>
        <pc:grpChg chg="del mod topLvl">
          <ac:chgData name="Manal El Bakkouri" userId="8b130982-2e3f-4164-b881-fd3a2e4b2453" providerId="ADAL" clId="{4457FA57-250B-44AC-8655-05D46C5A3D8A}" dt="2023-06-02T09:28:14.859" v="4128" actId="478"/>
          <ac:grpSpMkLst>
            <pc:docMk/>
            <pc:sldMk cId="1796768274" sldId="230717679"/>
            <ac:grpSpMk id="222" creationId="{7936A507-DE05-4618-8A9F-BAC9821D371E}"/>
          </ac:grpSpMkLst>
        </pc:grpChg>
        <pc:grpChg chg="del mod topLvl">
          <ac:chgData name="Manal El Bakkouri" userId="8b130982-2e3f-4164-b881-fd3a2e4b2453" providerId="ADAL" clId="{4457FA57-250B-44AC-8655-05D46C5A3D8A}" dt="2023-06-02T09:28:14.859" v="4128" actId="478"/>
          <ac:grpSpMkLst>
            <pc:docMk/>
            <pc:sldMk cId="1796768274" sldId="230717679"/>
            <ac:grpSpMk id="233" creationId="{C7C367E7-C4EB-42EE-A8D7-7CA6A8082F5B}"/>
          </ac:grpSpMkLst>
        </pc:grpChg>
        <pc:grpChg chg="del">
          <ac:chgData name="Manal El Bakkouri" userId="8b130982-2e3f-4164-b881-fd3a2e4b2453" providerId="ADAL" clId="{4457FA57-250B-44AC-8655-05D46C5A3D8A}" dt="2023-06-02T09:28:14.859" v="4128" actId="478"/>
          <ac:grpSpMkLst>
            <pc:docMk/>
            <pc:sldMk cId="1796768274" sldId="230717679"/>
            <ac:grpSpMk id="275" creationId="{DE15EE6C-EED8-40D9-8F8E-ACFE8AADFCBA}"/>
          </ac:grpSpMkLst>
        </pc:grpChg>
        <pc:grpChg chg="del">
          <ac:chgData name="Manal El Bakkouri" userId="8b130982-2e3f-4164-b881-fd3a2e4b2453" providerId="ADAL" clId="{4457FA57-250B-44AC-8655-05D46C5A3D8A}" dt="2023-06-02T09:28:14.859" v="4128" actId="478"/>
          <ac:grpSpMkLst>
            <pc:docMk/>
            <pc:sldMk cId="1796768274" sldId="230717679"/>
            <ac:grpSpMk id="276" creationId="{F32E8A98-13A2-48A7-BE94-A23D369B56F0}"/>
          </ac:grpSpMkLst>
        </pc:grpChg>
        <pc:grpChg chg="del">
          <ac:chgData name="Manal El Bakkouri" userId="8b130982-2e3f-4164-b881-fd3a2e4b2453" providerId="ADAL" clId="{4457FA57-250B-44AC-8655-05D46C5A3D8A}" dt="2023-06-02T09:28:14.859" v="4128" actId="478"/>
          <ac:grpSpMkLst>
            <pc:docMk/>
            <pc:sldMk cId="1796768274" sldId="230717679"/>
            <ac:grpSpMk id="299" creationId="{D953461C-ECF6-4D35-ABB1-A2629150F891}"/>
          </ac:grpSpMkLst>
        </pc:grpChg>
        <pc:grpChg chg="del">
          <ac:chgData name="Manal El Bakkouri" userId="8b130982-2e3f-4164-b881-fd3a2e4b2453" providerId="ADAL" clId="{4457FA57-250B-44AC-8655-05D46C5A3D8A}" dt="2023-06-02T09:28:14.859" v="4128" actId="478"/>
          <ac:grpSpMkLst>
            <pc:docMk/>
            <pc:sldMk cId="1796768274" sldId="230717679"/>
            <ac:grpSpMk id="300" creationId="{8D88BF56-77DB-47D6-9FF6-B2CD74E5ACE9}"/>
          </ac:grpSpMkLst>
        </pc:grpChg>
        <pc:picChg chg="del">
          <ac:chgData name="Manal El Bakkouri" userId="8b130982-2e3f-4164-b881-fd3a2e4b2453" providerId="ADAL" clId="{4457FA57-250B-44AC-8655-05D46C5A3D8A}" dt="2023-06-01T21:05:02.393" v="3603" actId="478"/>
          <ac:picMkLst>
            <pc:docMk/>
            <pc:sldMk cId="1796768274" sldId="230717679"/>
            <ac:picMk id="10" creationId="{90401B66-8202-444D-AE62-6E20AC93A874}"/>
          </ac:picMkLst>
        </pc:picChg>
        <pc:picChg chg="add del">
          <ac:chgData name="Manal El Bakkouri" userId="8b130982-2e3f-4164-b881-fd3a2e4b2453" providerId="ADAL" clId="{4457FA57-250B-44AC-8655-05D46C5A3D8A}" dt="2023-06-01T21:05:01.308" v="3602" actId="478"/>
          <ac:picMkLst>
            <pc:docMk/>
            <pc:sldMk cId="1796768274" sldId="230717679"/>
            <ac:picMk id="12" creationId="{ECB9EA54-1E7D-4C41-B934-C8A70D797E4B}"/>
          </ac:picMkLst>
        </pc:picChg>
        <pc:picChg chg="del">
          <ac:chgData name="Manal El Bakkouri" userId="8b130982-2e3f-4164-b881-fd3a2e4b2453" providerId="ADAL" clId="{4457FA57-250B-44AC-8655-05D46C5A3D8A}" dt="2023-06-06T09:34:05.094" v="9170" actId="478"/>
          <ac:picMkLst>
            <pc:docMk/>
            <pc:sldMk cId="1796768274" sldId="230717679"/>
            <ac:picMk id="30" creationId="{BF491D0C-38A4-4AA2-BA19-BE8647810F1B}"/>
          </ac:picMkLst>
        </pc:picChg>
        <pc:picChg chg="del">
          <ac:chgData name="Manal El Bakkouri" userId="8b130982-2e3f-4164-b881-fd3a2e4b2453" providerId="ADAL" clId="{4457FA57-250B-44AC-8655-05D46C5A3D8A}" dt="2023-06-06T09:34:05.094" v="9170" actId="478"/>
          <ac:picMkLst>
            <pc:docMk/>
            <pc:sldMk cId="1796768274" sldId="230717679"/>
            <ac:picMk id="32" creationId="{BFD1551C-3003-4074-96A8-71BCFEE5E1CD}"/>
          </ac:picMkLst>
        </pc:picChg>
        <pc:picChg chg="add mod">
          <ac:chgData name="Manal El Bakkouri" userId="8b130982-2e3f-4164-b881-fd3a2e4b2453" providerId="ADAL" clId="{4457FA57-250B-44AC-8655-05D46C5A3D8A}" dt="2023-06-06T09:34:09.175" v="9171"/>
          <ac:picMkLst>
            <pc:docMk/>
            <pc:sldMk cId="1796768274" sldId="230717679"/>
            <ac:picMk id="137" creationId="{1FBBEC6D-0722-444C-B8AA-7930A3709B76}"/>
          </ac:picMkLst>
        </pc:picChg>
        <pc:picChg chg="add mod">
          <ac:chgData name="Manal El Bakkouri" userId="8b130982-2e3f-4164-b881-fd3a2e4b2453" providerId="ADAL" clId="{4457FA57-250B-44AC-8655-05D46C5A3D8A}" dt="2023-06-06T09:34:09.175" v="9171"/>
          <ac:picMkLst>
            <pc:docMk/>
            <pc:sldMk cId="1796768274" sldId="230717679"/>
            <ac:picMk id="140" creationId="{76F0E9C8-8CA4-41D0-934A-BFBD08DA0E89}"/>
          </ac:picMkLst>
        </pc:picChg>
      </pc:sldChg>
      <pc:sldChg chg="addSp delSp modSp add mod modAnim modNotesTx">
        <pc:chgData name="Manal El Bakkouri" userId="8b130982-2e3f-4164-b881-fd3a2e4b2453" providerId="ADAL" clId="{4457FA57-250B-44AC-8655-05D46C5A3D8A}" dt="2023-06-09T11:30:05.865" v="21765"/>
        <pc:sldMkLst>
          <pc:docMk/>
          <pc:sldMk cId="3918547156" sldId="230717680"/>
        </pc:sldMkLst>
        <pc:spChg chg="del">
          <ac:chgData name="Manal El Bakkouri" userId="8b130982-2e3f-4164-b881-fd3a2e4b2453" providerId="ADAL" clId="{4457FA57-250B-44AC-8655-05D46C5A3D8A}" dt="2023-06-09T11:30:05.499" v="21764" actId="478"/>
          <ac:spMkLst>
            <pc:docMk/>
            <pc:sldMk cId="3918547156" sldId="230717680"/>
            <ac:spMk id="14" creationId="{B08DFD07-6E33-4072-823A-52E54D4C1D97}"/>
          </ac:spMkLst>
        </pc:spChg>
        <pc:spChg chg="del">
          <ac:chgData name="Manal El Bakkouri" userId="8b130982-2e3f-4164-b881-fd3a2e4b2453" providerId="ADAL" clId="{4457FA57-250B-44AC-8655-05D46C5A3D8A}" dt="2023-06-09T11:30:05.499" v="21764" actId="478"/>
          <ac:spMkLst>
            <pc:docMk/>
            <pc:sldMk cId="3918547156" sldId="230717680"/>
            <ac:spMk id="15" creationId="{FB7A3366-B924-45F5-A887-21AFF439AF4F}"/>
          </ac:spMkLst>
        </pc:spChg>
        <pc:spChg chg="del">
          <ac:chgData name="Manal El Bakkouri" userId="8b130982-2e3f-4164-b881-fd3a2e4b2453" providerId="ADAL" clId="{4457FA57-250B-44AC-8655-05D46C5A3D8A}" dt="2023-06-09T11:30:05.499" v="21764" actId="478"/>
          <ac:spMkLst>
            <pc:docMk/>
            <pc:sldMk cId="3918547156" sldId="230717680"/>
            <ac:spMk id="16" creationId="{A8B90A34-D563-4612-8810-724F1BC01C39}"/>
          </ac:spMkLst>
        </pc:spChg>
        <pc:spChg chg="add mod">
          <ac:chgData name="Manal El Bakkouri" userId="8b130982-2e3f-4164-b881-fd3a2e4b2453" providerId="ADAL" clId="{4457FA57-250B-44AC-8655-05D46C5A3D8A}" dt="2023-06-09T11:30:05.865" v="21765"/>
          <ac:spMkLst>
            <pc:docMk/>
            <pc:sldMk cId="3918547156" sldId="230717680"/>
            <ac:spMk id="48" creationId="{11FE7D05-A805-4AB2-A3D6-314C6A7069EA}"/>
          </ac:spMkLst>
        </pc:spChg>
        <pc:spChg chg="add mod">
          <ac:chgData name="Manal El Bakkouri" userId="8b130982-2e3f-4164-b881-fd3a2e4b2453" providerId="ADAL" clId="{4457FA57-250B-44AC-8655-05D46C5A3D8A}" dt="2023-06-09T11:30:05.865" v="21765"/>
          <ac:spMkLst>
            <pc:docMk/>
            <pc:sldMk cId="3918547156" sldId="230717680"/>
            <ac:spMk id="49" creationId="{0EB0E84C-1062-4350-A5EC-0A818AACB02D}"/>
          </ac:spMkLst>
        </pc:spChg>
        <pc:spChg chg="add mod">
          <ac:chgData name="Manal El Bakkouri" userId="8b130982-2e3f-4164-b881-fd3a2e4b2453" providerId="ADAL" clId="{4457FA57-250B-44AC-8655-05D46C5A3D8A}" dt="2023-06-09T11:30:05.865" v="21765"/>
          <ac:spMkLst>
            <pc:docMk/>
            <pc:sldMk cId="3918547156" sldId="230717680"/>
            <ac:spMk id="50" creationId="{0BECF927-15A1-4823-BA84-54441FFCF5BD}"/>
          </ac:spMkLst>
        </pc:spChg>
        <pc:spChg chg="add mod">
          <ac:chgData name="Manal El Bakkouri" userId="8b130982-2e3f-4164-b881-fd3a2e4b2453" providerId="ADAL" clId="{4457FA57-250B-44AC-8655-05D46C5A3D8A}" dt="2023-06-09T11:30:05.865" v="21765"/>
          <ac:spMkLst>
            <pc:docMk/>
            <pc:sldMk cId="3918547156" sldId="230717680"/>
            <ac:spMk id="51" creationId="{C03789AB-E291-4A28-8C5E-7BF1AD0B219B}"/>
          </ac:spMkLst>
        </pc:spChg>
        <pc:spChg chg="del">
          <ac:chgData name="Manal El Bakkouri" userId="8b130982-2e3f-4164-b881-fd3a2e4b2453" providerId="ADAL" clId="{4457FA57-250B-44AC-8655-05D46C5A3D8A}" dt="2023-06-02T15:14:47.167" v="5455" actId="478"/>
          <ac:spMkLst>
            <pc:docMk/>
            <pc:sldMk cId="3918547156" sldId="230717680"/>
            <ac:spMk id="56" creationId="{B6AD6CD7-EA81-4489-8629-B71DD78B0A16}"/>
          </ac:spMkLst>
        </pc:spChg>
        <pc:spChg chg="add mod">
          <ac:chgData name="Manal El Bakkouri" userId="8b130982-2e3f-4164-b881-fd3a2e4b2453" providerId="ADAL" clId="{4457FA57-250B-44AC-8655-05D46C5A3D8A}" dt="2023-06-02T15:14:47.490" v="5456"/>
          <ac:spMkLst>
            <pc:docMk/>
            <pc:sldMk cId="3918547156" sldId="230717680"/>
            <ac:spMk id="125" creationId="{B2833E65-210D-4B37-B65B-466F914821AC}"/>
          </ac:spMkLst>
        </pc:spChg>
        <pc:spChg chg="add del mod">
          <ac:chgData name="Manal El Bakkouri" userId="8b130982-2e3f-4164-b881-fd3a2e4b2453" providerId="ADAL" clId="{4457FA57-250B-44AC-8655-05D46C5A3D8A}" dt="2023-06-04T13:13:34.174" v="7725" actId="478"/>
          <ac:spMkLst>
            <pc:docMk/>
            <pc:sldMk cId="3918547156" sldId="230717680"/>
            <ac:spMk id="126" creationId="{3733EB39-7FD1-4251-8A9B-29009039E26E}"/>
          </ac:spMkLst>
        </pc:spChg>
        <pc:spChg chg="add mod">
          <ac:chgData name="Manal El Bakkouri" userId="8b130982-2e3f-4164-b881-fd3a2e4b2453" providerId="ADAL" clId="{4457FA57-250B-44AC-8655-05D46C5A3D8A}" dt="2023-06-04T13:13:34.549" v="7726"/>
          <ac:spMkLst>
            <pc:docMk/>
            <pc:sldMk cId="3918547156" sldId="230717680"/>
            <ac:spMk id="127" creationId="{5B7D021B-0447-4721-9A70-8643BCDE4C4B}"/>
          </ac:spMkLst>
        </pc:spChg>
        <pc:spChg chg="add mod">
          <ac:chgData name="Manal El Bakkouri" userId="8b130982-2e3f-4164-b881-fd3a2e4b2453" providerId="ADAL" clId="{4457FA57-250B-44AC-8655-05D46C5A3D8A}" dt="2023-06-06T09:34:16.201" v="9173"/>
          <ac:spMkLst>
            <pc:docMk/>
            <pc:sldMk cId="3918547156" sldId="230717680"/>
            <ac:spMk id="128" creationId="{CE62CC29-1353-4992-8E6F-6E24C922A427}"/>
          </ac:spMkLst>
        </pc:spChg>
        <pc:spChg chg="add mod">
          <ac:chgData name="Manal El Bakkouri" userId="8b130982-2e3f-4164-b881-fd3a2e4b2453" providerId="ADAL" clId="{4457FA57-250B-44AC-8655-05D46C5A3D8A}" dt="2023-06-06T09:34:16.201" v="9173"/>
          <ac:spMkLst>
            <pc:docMk/>
            <pc:sldMk cId="3918547156" sldId="230717680"/>
            <ac:spMk id="129" creationId="{8DF64EAA-2030-4481-B231-FCADFF6A4880}"/>
          </ac:spMkLst>
        </pc:spChg>
        <pc:spChg chg="add mod">
          <ac:chgData name="Manal El Bakkouri" userId="8b130982-2e3f-4164-b881-fd3a2e4b2453" providerId="ADAL" clId="{4457FA57-250B-44AC-8655-05D46C5A3D8A}" dt="2023-06-06T09:34:16.201" v="9173"/>
          <ac:spMkLst>
            <pc:docMk/>
            <pc:sldMk cId="3918547156" sldId="230717680"/>
            <ac:spMk id="130" creationId="{10E38588-3812-4CD7-AE4F-E9B8A2E3DB76}"/>
          </ac:spMkLst>
        </pc:spChg>
        <pc:spChg chg="add mod">
          <ac:chgData name="Manal El Bakkouri" userId="8b130982-2e3f-4164-b881-fd3a2e4b2453" providerId="ADAL" clId="{4457FA57-250B-44AC-8655-05D46C5A3D8A}" dt="2023-06-06T09:34:16.201" v="9173"/>
          <ac:spMkLst>
            <pc:docMk/>
            <pc:sldMk cId="3918547156" sldId="230717680"/>
            <ac:spMk id="131" creationId="{12C80BB4-BB76-4E15-9E8A-E50B618F6FC1}"/>
          </ac:spMkLst>
        </pc:spChg>
        <pc:spChg chg="add mod">
          <ac:chgData name="Manal El Bakkouri" userId="8b130982-2e3f-4164-b881-fd3a2e4b2453" providerId="ADAL" clId="{4457FA57-250B-44AC-8655-05D46C5A3D8A}" dt="2023-06-06T09:34:16.201" v="9173"/>
          <ac:spMkLst>
            <pc:docMk/>
            <pc:sldMk cId="3918547156" sldId="230717680"/>
            <ac:spMk id="132" creationId="{C6FDEB10-752F-41BD-AFDB-F19ACB8D56AE}"/>
          </ac:spMkLst>
        </pc:spChg>
        <pc:spChg chg="add mod">
          <ac:chgData name="Manal El Bakkouri" userId="8b130982-2e3f-4164-b881-fd3a2e4b2453" providerId="ADAL" clId="{4457FA57-250B-44AC-8655-05D46C5A3D8A}" dt="2023-06-06T09:34:16.201" v="9173"/>
          <ac:spMkLst>
            <pc:docMk/>
            <pc:sldMk cId="3918547156" sldId="230717680"/>
            <ac:spMk id="133" creationId="{18A0D2D1-CED0-433F-9526-4B37D001C2D9}"/>
          </ac:spMkLst>
        </pc:spChg>
        <pc:spChg chg="add mod">
          <ac:chgData name="Manal El Bakkouri" userId="8b130982-2e3f-4164-b881-fd3a2e4b2453" providerId="ADAL" clId="{4457FA57-250B-44AC-8655-05D46C5A3D8A}" dt="2023-06-06T09:34:16.201" v="9173"/>
          <ac:spMkLst>
            <pc:docMk/>
            <pc:sldMk cId="3918547156" sldId="230717680"/>
            <ac:spMk id="134" creationId="{511773DA-761F-4C0E-8F17-59394188A532}"/>
          </ac:spMkLst>
        </pc:spChg>
        <pc:spChg chg="add mod">
          <ac:chgData name="Manal El Bakkouri" userId="8b130982-2e3f-4164-b881-fd3a2e4b2453" providerId="ADAL" clId="{4457FA57-250B-44AC-8655-05D46C5A3D8A}" dt="2023-06-06T09:34:16.201" v="9173"/>
          <ac:spMkLst>
            <pc:docMk/>
            <pc:sldMk cId="3918547156" sldId="230717680"/>
            <ac:spMk id="135" creationId="{DC75C9D7-233A-4A60-B7EE-5D838DC93871}"/>
          </ac:spMkLst>
        </pc:spChg>
        <pc:spChg chg="add mod">
          <ac:chgData name="Manal El Bakkouri" userId="8b130982-2e3f-4164-b881-fd3a2e4b2453" providerId="ADAL" clId="{4457FA57-250B-44AC-8655-05D46C5A3D8A}" dt="2023-06-06T09:34:16.201" v="9173"/>
          <ac:spMkLst>
            <pc:docMk/>
            <pc:sldMk cId="3918547156" sldId="230717680"/>
            <ac:spMk id="138" creationId="{6CA0326E-D74D-4213-B625-21B5BC2325C2}"/>
          </ac:spMkLst>
        </pc:spChg>
        <pc:spChg chg="add mod">
          <ac:chgData name="Manal El Bakkouri" userId="8b130982-2e3f-4164-b881-fd3a2e4b2453" providerId="ADAL" clId="{4457FA57-250B-44AC-8655-05D46C5A3D8A}" dt="2023-06-06T09:34:16.201" v="9173"/>
          <ac:spMkLst>
            <pc:docMk/>
            <pc:sldMk cId="3918547156" sldId="230717680"/>
            <ac:spMk id="139" creationId="{FDF4DBE0-8292-43C0-AA76-208D186B4153}"/>
          </ac:spMkLst>
        </pc:spChg>
        <pc:spChg chg="mod">
          <ac:chgData name="Manal El Bakkouri" userId="8b130982-2e3f-4164-b881-fd3a2e4b2453" providerId="ADAL" clId="{4457FA57-250B-44AC-8655-05D46C5A3D8A}" dt="2023-06-01T21:02:36.212" v="3584" actId="1076"/>
          <ac:spMkLst>
            <pc:docMk/>
            <pc:sldMk cId="3918547156" sldId="230717680"/>
            <ac:spMk id="180" creationId="{5F018933-331A-4DDD-910B-FF4B614CF89E}"/>
          </ac:spMkLst>
        </pc:spChg>
        <pc:spChg chg="mod">
          <ac:chgData name="Manal El Bakkouri" userId="8b130982-2e3f-4164-b881-fd3a2e4b2453" providerId="ADAL" clId="{4457FA57-250B-44AC-8655-05D46C5A3D8A}" dt="2023-06-01T21:02:36.212" v="3584" actId="1076"/>
          <ac:spMkLst>
            <pc:docMk/>
            <pc:sldMk cId="3918547156" sldId="230717680"/>
            <ac:spMk id="181" creationId="{BDF09F37-D0AA-4BAD-B1C4-3DF7D1A5F2FC}"/>
          </ac:spMkLst>
        </pc:spChg>
        <pc:spChg chg="mod">
          <ac:chgData name="Manal El Bakkouri" userId="8b130982-2e3f-4164-b881-fd3a2e4b2453" providerId="ADAL" clId="{4457FA57-250B-44AC-8655-05D46C5A3D8A}" dt="2023-06-01T21:02:36.212" v="3584" actId="1076"/>
          <ac:spMkLst>
            <pc:docMk/>
            <pc:sldMk cId="3918547156" sldId="230717680"/>
            <ac:spMk id="182" creationId="{E723C2C8-7AC2-48D8-9BB3-23699C7D6A70}"/>
          </ac:spMkLst>
        </pc:spChg>
        <pc:spChg chg="mod topLvl">
          <ac:chgData name="Manal El Bakkouri" userId="8b130982-2e3f-4164-b881-fd3a2e4b2453" providerId="ADAL" clId="{4457FA57-250B-44AC-8655-05D46C5A3D8A}" dt="2023-06-02T09:26:19.105" v="4124" actId="165"/>
          <ac:spMkLst>
            <pc:docMk/>
            <pc:sldMk cId="3918547156" sldId="230717680"/>
            <ac:spMk id="219" creationId="{CE250EEC-ADAC-49CD-9026-A473AB009DBD}"/>
          </ac:spMkLst>
        </pc:spChg>
        <pc:spChg chg="mod topLvl">
          <ac:chgData name="Manal El Bakkouri" userId="8b130982-2e3f-4164-b881-fd3a2e4b2453" providerId="ADAL" clId="{4457FA57-250B-44AC-8655-05D46C5A3D8A}" dt="2023-06-02T09:26:19.105" v="4124" actId="165"/>
          <ac:spMkLst>
            <pc:docMk/>
            <pc:sldMk cId="3918547156" sldId="230717680"/>
            <ac:spMk id="220" creationId="{9468B8E1-D409-4D45-B105-2FECC1CA291A}"/>
          </ac:spMkLst>
        </pc:spChg>
        <pc:spChg chg="mod topLvl">
          <ac:chgData name="Manal El Bakkouri" userId="8b130982-2e3f-4164-b881-fd3a2e4b2453" providerId="ADAL" clId="{4457FA57-250B-44AC-8655-05D46C5A3D8A}" dt="2023-06-02T09:26:19.105" v="4124" actId="165"/>
          <ac:spMkLst>
            <pc:docMk/>
            <pc:sldMk cId="3918547156" sldId="230717680"/>
            <ac:spMk id="221" creationId="{EF2FD853-AE05-446F-8970-C5528DFFCA2E}"/>
          </ac:spMkLst>
        </pc:spChg>
        <pc:spChg chg="mod">
          <ac:chgData name="Manal El Bakkouri" userId="8b130982-2e3f-4164-b881-fd3a2e4b2453" providerId="ADAL" clId="{4457FA57-250B-44AC-8655-05D46C5A3D8A}" dt="2023-06-02T09:26:19.105" v="4124" actId="165"/>
          <ac:spMkLst>
            <pc:docMk/>
            <pc:sldMk cId="3918547156" sldId="230717680"/>
            <ac:spMk id="223" creationId="{76B13E2C-0B7B-45F1-8027-30A26F868E8E}"/>
          </ac:spMkLst>
        </pc:spChg>
        <pc:spChg chg="mod">
          <ac:chgData name="Manal El Bakkouri" userId="8b130982-2e3f-4164-b881-fd3a2e4b2453" providerId="ADAL" clId="{4457FA57-250B-44AC-8655-05D46C5A3D8A}" dt="2023-06-02T09:26:19.105" v="4124" actId="165"/>
          <ac:spMkLst>
            <pc:docMk/>
            <pc:sldMk cId="3918547156" sldId="230717680"/>
            <ac:spMk id="224" creationId="{934EFD6D-5D94-4579-AB71-8F88F52BB196}"/>
          </ac:spMkLst>
        </pc:spChg>
        <pc:spChg chg="mod">
          <ac:chgData name="Manal El Bakkouri" userId="8b130982-2e3f-4164-b881-fd3a2e4b2453" providerId="ADAL" clId="{4457FA57-250B-44AC-8655-05D46C5A3D8A}" dt="2023-06-02T09:26:19.105" v="4124" actId="165"/>
          <ac:spMkLst>
            <pc:docMk/>
            <pc:sldMk cId="3918547156" sldId="230717680"/>
            <ac:spMk id="225" creationId="{707D12EB-79DF-4812-9BD6-81340F59DFDA}"/>
          </ac:spMkLst>
        </pc:spChg>
        <pc:spChg chg="mod">
          <ac:chgData name="Manal El Bakkouri" userId="8b130982-2e3f-4164-b881-fd3a2e4b2453" providerId="ADAL" clId="{4457FA57-250B-44AC-8655-05D46C5A3D8A}" dt="2023-06-02T09:26:19.105" v="4124" actId="165"/>
          <ac:spMkLst>
            <pc:docMk/>
            <pc:sldMk cId="3918547156" sldId="230717680"/>
            <ac:spMk id="226" creationId="{19AB3CA5-266C-4B28-86EE-A987C05EE82F}"/>
          </ac:spMkLst>
        </pc:spChg>
        <pc:spChg chg="mod">
          <ac:chgData name="Manal El Bakkouri" userId="8b130982-2e3f-4164-b881-fd3a2e4b2453" providerId="ADAL" clId="{4457FA57-250B-44AC-8655-05D46C5A3D8A}" dt="2023-06-02T09:26:19.105" v="4124" actId="165"/>
          <ac:spMkLst>
            <pc:docMk/>
            <pc:sldMk cId="3918547156" sldId="230717680"/>
            <ac:spMk id="227" creationId="{16886A52-993C-446B-92C4-35DC98D00796}"/>
          </ac:spMkLst>
        </pc:spChg>
        <pc:spChg chg="mod">
          <ac:chgData name="Manal El Bakkouri" userId="8b130982-2e3f-4164-b881-fd3a2e4b2453" providerId="ADAL" clId="{4457FA57-250B-44AC-8655-05D46C5A3D8A}" dt="2023-06-02T09:26:19.105" v="4124" actId="165"/>
          <ac:spMkLst>
            <pc:docMk/>
            <pc:sldMk cId="3918547156" sldId="230717680"/>
            <ac:spMk id="228" creationId="{551BAD6A-41F8-4A67-BBAF-B10BCA6CED8A}"/>
          </ac:spMkLst>
        </pc:spChg>
        <pc:spChg chg="mod">
          <ac:chgData name="Manal El Bakkouri" userId="8b130982-2e3f-4164-b881-fd3a2e4b2453" providerId="ADAL" clId="{4457FA57-250B-44AC-8655-05D46C5A3D8A}" dt="2023-06-02T09:26:19.105" v="4124" actId="165"/>
          <ac:spMkLst>
            <pc:docMk/>
            <pc:sldMk cId="3918547156" sldId="230717680"/>
            <ac:spMk id="229" creationId="{424DF614-913B-42FB-8D47-876E11892411}"/>
          </ac:spMkLst>
        </pc:spChg>
        <pc:spChg chg="mod">
          <ac:chgData name="Manal El Bakkouri" userId="8b130982-2e3f-4164-b881-fd3a2e4b2453" providerId="ADAL" clId="{4457FA57-250B-44AC-8655-05D46C5A3D8A}" dt="2023-06-02T09:26:19.105" v="4124" actId="165"/>
          <ac:spMkLst>
            <pc:docMk/>
            <pc:sldMk cId="3918547156" sldId="230717680"/>
            <ac:spMk id="230" creationId="{65ECFA7F-370F-4E9F-9371-54EB4477BD66}"/>
          </ac:spMkLst>
        </pc:spChg>
        <pc:spChg chg="mod">
          <ac:chgData name="Manal El Bakkouri" userId="8b130982-2e3f-4164-b881-fd3a2e4b2453" providerId="ADAL" clId="{4457FA57-250B-44AC-8655-05D46C5A3D8A}" dt="2023-06-02T09:26:19.105" v="4124" actId="165"/>
          <ac:spMkLst>
            <pc:docMk/>
            <pc:sldMk cId="3918547156" sldId="230717680"/>
            <ac:spMk id="231" creationId="{4AD93E96-09B6-44AC-94A6-52A2140C5FE8}"/>
          </ac:spMkLst>
        </pc:spChg>
        <pc:spChg chg="del">
          <ac:chgData name="Manal El Bakkouri" userId="8b130982-2e3f-4164-b881-fd3a2e4b2453" providerId="ADAL" clId="{4457FA57-250B-44AC-8655-05D46C5A3D8A}" dt="2023-06-02T09:26:13.254" v="4123" actId="478"/>
          <ac:spMkLst>
            <pc:docMk/>
            <pc:sldMk cId="3918547156" sldId="230717680"/>
            <ac:spMk id="232" creationId="{8FD70FD8-5FCF-4650-BDB6-EA446954A937}"/>
          </ac:spMkLst>
        </pc:spChg>
        <pc:spChg chg="mod">
          <ac:chgData name="Manal El Bakkouri" userId="8b130982-2e3f-4164-b881-fd3a2e4b2453" providerId="ADAL" clId="{4457FA57-250B-44AC-8655-05D46C5A3D8A}" dt="2023-06-02T09:26:19.105" v="4124" actId="165"/>
          <ac:spMkLst>
            <pc:docMk/>
            <pc:sldMk cId="3918547156" sldId="230717680"/>
            <ac:spMk id="234" creationId="{08809472-3ADE-4DC4-9352-8BA31D313568}"/>
          </ac:spMkLst>
        </pc:spChg>
        <pc:spChg chg="mod">
          <ac:chgData name="Manal El Bakkouri" userId="8b130982-2e3f-4164-b881-fd3a2e4b2453" providerId="ADAL" clId="{4457FA57-250B-44AC-8655-05D46C5A3D8A}" dt="2023-06-02T09:26:19.105" v="4124" actId="165"/>
          <ac:spMkLst>
            <pc:docMk/>
            <pc:sldMk cId="3918547156" sldId="230717680"/>
            <ac:spMk id="235" creationId="{680117EE-B637-4EEA-868C-F012B01B3650}"/>
          </ac:spMkLst>
        </pc:spChg>
        <pc:spChg chg="mod">
          <ac:chgData name="Manal El Bakkouri" userId="8b130982-2e3f-4164-b881-fd3a2e4b2453" providerId="ADAL" clId="{4457FA57-250B-44AC-8655-05D46C5A3D8A}" dt="2023-06-02T09:26:19.105" v="4124" actId="165"/>
          <ac:spMkLst>
            <pc:docMk/>
            <pc:sldMk cId="3918547156" sldId="230717680"/>
            <ac:spMk id="236" creationId="{0F49A166-9414-415F-8F4E-CBB9EF986E9A}"/>
          </ac:spMkLst>
        </pc:spChg>
        <pc:spChg chg="mod">
          <ac:chgData name="Manal El Bakkouri" userId="8b130982-2e3f-4164-b881-fd3a2e4b2453" providerId="ADAL" clId="{4457FA57-250B-44AC-8655-05D46C5A3D8A}" dt="2023-06-06T10:15:49.062" v="9514" actId="403"/>
          <ac:spMkLst>
            <pc:docMk/>
            <pc:sldMk cId="3918547156" sldId="230717680"/>
            <ac:spMk id="237" creationId="{907086B0-DDA4-4E08-865D-ADA0E3DBBB98}"/>
          </ac:spMkLst>
        </pc:spChg>
        <pc:spChg chg="mod topLvl">
          <ac:chgData name="Manal El Bakkouri" userId="8b130982-2e3f-4164-b881-fd3a2e4b2453" providerId="ADAL" clId="{4457FA57-250B-44AC-8655-05D46C5A3D8A}" dt="2023-06-02T09:26:19.105" v="4124" actId="165"/>
          <ac:spMkLst>
            <pc:docMk/>
            <pc:sldMk cId="3918547156" sldId="230717680"/>
            <ac:spMk id="241" creationId="{2B99B28A-2254-459A-9CAD-6C4085C8060B}"/>
          </ac:spMkLst>
        </pc:spChg>
        <pc:spChg chg="mod topLvl">
          <ac:chgData name="Manal El Bakkouri" userId="8b130982-2e3f-4164-b881-fd3a2e4b2453" providerId="ADAL" clId="{4457FA57-250B-44AC-8655-05D46C5A3D8A}" dt="2023-06-02T09:26:19.105" v="4124" actId="165"/>
          <ac:spMkLst>
            <pc:docMk/>
            <pc:sldMk cId="3918547156" sldId="230717680"/>
            <ac:spMk id="242" creationId="{9478CA70-5A3B-4DA8-BC35-21CCDD84D178}"/>
          </ac:spMkLst>
        </pc:spChg>
        <pc:spChg chg="del">
          <ac:chgData name="Manal El Bakkouri" userId="8b130982-2e3f-4164-b881-fd3a2e4b2453" providerId="ADAL" clId="{4457FA57-250B-44AC-8655-05D46C5A3D8A}" dt="2023-06-06T09:34:15.450" v="9172" actId="478"/>
          <ac:spMkLst>
            <pc:docMk/>
            <pc:sldMk cId="3918547156" sldId="230717680"/>
            <ac:spMk id="272" creationId="{7E1DDCAB-860D-4D5B-B04C-B08A60590651}"/>
          </ac:spMkLst>
        </pc:spChg>
        <pc:spChg chg="del">
          <ac:chgData name="Manal El Bakkouri" userId="8b130982-2e3f-4164-b881-fd3a2e4b2453" providerId="ADAL" clId="{4457FA57-250B-44AC-8655-05D46C5A3D8A}" dt="2023-06-06T09:34:15.450" v="9172" actId="478"/>
          <ac:spMkLst>
            <pc:docMk/>
            <pc:sldMk cId="3918547156" sldId="230717680"/>
            <ac:spMk id="273" creationId="{BCC0A54D-1C1E-4C06-BF7C-1414A583989F}"/>
          </ac:spMkLst>
        </pc:spChg>
        <pc:spChg chg="del">
          <ac:chgData name="Manal El Bakkouri" userId="8b130982-2e3f-4164-b881-fd3a2e4b2453" providerId="ADAL" clId="{4457FA57-250B-44AC-8655-05D46C5A3D8A}" dt="2023-06-06T09:34:15.450" v="9172" actId="478"/>
          <ac:spMkLst>
            <pc:docMk/>
            <pc:sldMk cId="3918547156" sldId="230717680"/>
            <ac:spMk id="274" creationId="{478BFE02-F071-4A8F-ABF8-FA5B9AD045E6}"/>
          </ac:spMkLst>
        </pc:spChg>
        <pc:spChg chg="del">
          <ac:chgData name="Manal El Bakkouri" userId="8b130982-2e3f-4164-b881-fd3a2e4b2453" providerId="ADAL" clId="{4457FA57-250B-44AC-8655-05D46C5A3D8A}" dt="2023-06-06T09:34:15.450" v="9172" actId="478"/>
          <ac:spMkLst>
            <pc:docMk/>
            <pc:sldMk cId="3918547156" sldId="230717680"/>
            <ac:spMk id="277" creationId="{5827CEB6-8D48-422D-B08C-B1EA14C31C34}"/>
          </ac:spMkLst>
        </pc:spChg>
        <pc:spChg chg="del">
          <ac:chgData name="Manal El Bakkouri" userId="8b130982-2e3f-4164-b881-fd3a2e4b2453" providerId="ADAL" clId="{4457FA57-250B-44AC-8655-05D46C5A3D8A}" dt="2023-06-06T09:34:15.450" v="9172" actId="478"/>
          <ac:spMkLst>
            <pc:docMk/>
            <pc:sldMk cId="3918547156" sldId="230717680"/>
            <ac:spMk id="278" creationId="{ADAB3BD5-1944-49EA-9972-D0B9B7BA549E}"/>
          </ac:spMkLst>
        </pc:spChg>
        <pc:spChg chg="del">
          <ac:chgData name="Manal El Bakkouri" userId="8b130982-2e3f-4164-b881-fd3a2e4b2453" providerId="ADAL" clId="{4457FA57-250B-44AC-8655-05D46C5A3D8A}" dt="2023-06-06T09:34:15.450" v="9172" actId="478"/>
          <ac:spMkLst>
            <pc:docMk/>
            <pc:sldMk cId="3918547156" sldId="230717680"/>
            <ac:spMk id="296" creationId="{0C78CC53-5B38-437A-A062-910DBCF08B90}"/>
          </ac:spMkLst>
        </pc:spChg>
        <pc:spChg chg="del">
          <ac:chgData name="Manal El Bakkouri" userId="8b130982-2e3f-4164-b881-fd3a2e4b2453" providerId="ADAL" clId="{4457FA57-250B-44AC-8655-05D46C5A3D8A}" dt="2023-06-06T09:34:15.450" v="9172" actId="478"/>
          <ac:spMkLst>
            <pc:docMk/>
            <pc:sldMk cId="3918547156" sldId="230717680"/>
            <ac:spMk id="297" creationId="{0D45248C-E2D1-4D34-A8FF-F8829028E7BE}"/>
          </ac:spMkLst>
        </pc:spChg>
        <pc:spChg chg="del">
          <ac:chgData name="Manal El Bakkouri" userId="8b130982-2e3f-4164-b881-fd3a2e4b2453" providerId="ADAL" clId="{4457FA57-250B-44AC-8655-05D46C5A3D8A}" dt="2023-06-06T09:34:15.450" v="9172" actId="478"/>
          <ac:spMkLst>
            <pc:docMk/>
            <pc:sldMk cId="3918547156" sldId="230717680"/>
            <ac:spMk id="298" creationId="{A7B03ECD-5EB5-43FE-9A5F-D7C8959E924A}"/>
          </ac:spMkLst>
        </pc:spChg>
        <pc:spChg chg="del">
          <ac:chgData name="Manal El Bakkouri" userId="8b130982-2e3f-4164-b881-fd3a2e4b2453" providerId="ADAL" clId="{4457FA57-250B-44AC-8655-05D46C5A3D8A}" dt="2023-06-06T09:34:15.450" v="9172" actId="478"/>
          <ac:spMkLst>
            <pc:docMk/>
            <pc:sldMk cId="3918547156" sldId="230717680"/>
            <ac:spMk id="301" creationId="{F78BFFE4-3702-488C-A71F-167F28CB1B36}"/>
          </ac:spMkLst>
        </pc:spChg>
        <pc:spChg chg="del">
          <ac:chgData name="Manal El Bakkouri" userId="8b130982-2e3f-4164-b881-fd3a2e4b2453" providerId="ADAL" clId="{4457FA57-250B-44AC-8655-05D46C5A3D8A}" dt="2023-06-06T09:34:15.450" v="9172" actId="478"/>
          <ac:spMkLst>
            <pc:docMk/>
            <pc:sldMk cId="3918547156" sldId="230717680"/>
            <ac:spMk id="302" creationId="{C29E40C7-9746-4780-A19E-2343B3816D06}"/>
          </ac:spMkLst>
        </pc:spChg>
        <pc:grpChg chg="del mod">
          <ac:chgData name="Manal El Bakkouri" userId="8b130982-2e3f-4164-b881-fd3a2e4b2453" providerId="ADAL" clId="{4457FA57-250B-44AC-8655-05D46C5A3D8A}" dt="2023-06-02T09:26:19.105" v="4124" actId="165"/>
          <ac:grpSpMkLst>
            <pc:docMk/>
            <pc:sldMk cId="3918547156" sldId="230717680"/>
            <ac:grpSpMk id="13" creationId="{FDB68C30-8CB3-4303-8206-D2653DE00B48}"/>
          </ac:grpSpMkLst>
        </pc:grpChg>
        <pc:grpChg chg="mod">
          <ac:chgData name="Manal El Bakkouri" userId="8b130982-2e3f-4164-b881-fd3a2e4b2453" providerId="ADAL" clId="{4457FA57-250B-44AC-8655-05D46C5A3D8A}" dt="2023-06-01T21:02:36.212" v="3584" actId="1076"/>
          <ac:grpSpMkLst>
            <pc:docMk/>
            <pc:sldMk cId="3918547156" sldId="230717680"/>
            <ac:grpSpMk id="179" creationId="{A88D32F9-A61D-4EA3-BD03-88DC8D790FA5}"/>
          </ac:grpSpMkLst>
        </pc:grpChg>
        <pc:grpChg chg="del">
          <ac:chgData name="Manal El Bakkouri" userId="8b130982-2e3f-4164-b881-fd3a2e4b2453" providerId="ADAL" clId="{4457FA57-250B-44AC-8655-05D46C5A3D8A}" dt="2023-06-02T09:27:05.337" v="4125" actId="478"/>
          <ac:grpSpMkLst>
            <pc:docMk/>
            <pc:sldMk cId="3918547156" sldId="230717680"/>
            <ac:grpSpMk id="186" creationId="{5F33E25D-ABE9-4E8F-8A6F-4A3CCCC4B14F}"/>
          </ac:grpSpMkLst>
        </pc:grpChg>
        <pc:grpChg chg="del">
          <ac:chgData name="Manal El Bakkouri" userId="8b130982-2e3f-4164-b881-fd3a2e4b2453" providerId="ADAL" clId="{4457FA57-250B-44AC-8655-05D46C5A3D8A}" dt="2023-06-02T09:27:05.337" v="4125" actId="478"/>
          <ac:grpSpMkLst>
            <pc:docMk/>
            <pc:sldMk cId="3918547156" sldId="230717680"/>
            <ac:grpSpMk id="197" creationId="{6F275CF8-48E0-4EFF-A442-FE18771AAF48}"/>
          </ac:grpSpMkLst>
        </pc:grpChg>
        <pc:grpChg chg="del">
          <ac:chgData name="Manal El Bakkouri" userId="8b130982-2e3f-4164-b881-fd3a2e4b2453" providerId="ADAL" clId="{4457FA57-250B-44AC-8655-05D46C5A3D8A}" dt="2023-06-02T09:27:05.337" v="4125" actId="478"/>
          <ac:grpSpMkLst>
            <pc:docMk/>
            <pc:sldMk cId="3918547156" sldId="230717680"/>
            <ac:grpSpMk id="204" creationId="{87B242A8-A867-4C54-8D2C-1D66F0752934}"/>
          </ac:grpSpMkLst>
        </pc:grpChg>
        <pc:grpChg chg="del">
          <ac:chgData name="Manal El Bakkouri" userId="8b130982-2e3f-4164-b881-fd3a2e4b2453" providerId="ADAL" clId="{4457FA57-250B-44AC-8655-05D46C5A3D8A}" dt="2023-06-02T09:27:05.337" v="4125" actId="478"/>
          <ac:grpSpMkLst>
            <pc:docMk/>
            <pc:sldMk cId="3918547156" sldId="230717680"/>
            <ac:grpSpMk id="215" creationId="{1F058373-2274-4583-9DA6-DCED3E21738F}"/>
          </ac:grpSpMkLst>
        </pc:grpChg>
        <pc:grpChg chg="del mod topLvl">
          <ac:chgData name="Manal El Bakkouri" userId="8b130982-2e3f-4164-b881-fd3a2e4b2453" providerId="ADAL" clId="{4457FA57-250B-44AC-8655-05D46C5A3D8A}" dt="2023-06-02T09:27:05.337" v="4125" actId="478"/>
          <ac:grpSpMkLst>
            <pc:docMk/>
            <pc:sldMk cId="3918547156" sldId="230717680"/>
            <ac:grpSpMk id="222" creationId="{7936A507-DE05-4618-8A9F-BAC9821D371E}"/>
          </ac:grpSpMkLst>
        </pc:grpChg>
        <pc:grpChg chg="del mod topLvl">
          <ac:chgData name="Manal El Bakkouri" userId="8b130982-2e3f-4164-b881-fd3a2e4b2453" providerId="ADAL" clId="{4457FA57-250B-44AC-8655-05D46C5A3D8A}" dt="2023-06-02T09:27:05.337" v="4125" actId="478"/>
          <ac:grpSpMkLst>
            <pc:docMk/>
            <pc:sldMk cId="3918547156" sldId="230717680"/>
            <ac:grpSpMk id="233" creationId="{C7C367E7-C4EB-42EE-A8D7-7CA6A8082F5B}"/>
          </ac:grpSpMkLst>
        </pc:grpChg>
        <pc:grpChg chg="del">
          <ac:chgData name="Manal El Bakkouri" userId="8b130982-2e3f-4164-b881-fd3a2e4b2453" providerId="ADAL" clId="{4457FA57-250B-44AC-8655-05D46C5A3D8A}" dt="2023-06-02T09:27:14.077" v="4126" actId="478"/>
          <ac:grpSpMkLst>
            <pc:docMk/>
            <pc:sldMk cId="3918547156" sldId="230717680"/>
            <ac:grpSpMk id="275" creationId="{DE15EE6C-EED8-40D9-8F8E-ACFE8AADFCBA}"/>
          </ac:grpSpMkLst>
        </pc:grpChg>
        <pc:grpChg chg="del">
          <ac:chgData name="Manal El Bakkouri" userId="8b130982-2e3f-4164-b881-fd3a2e4b2453" providerId="ADAL" clId="{4457FA57-250B-44AC-8655-05D46C5A3D8A}" dt="2023-06-02T09:27:14.077" v="4126" actId="478"/>
          <ac:grpSpMkLst>
            <pc:docMk/>
            <pc:sldMk cId="3918547156" sldId="230717680"/>
            <ac:grpSpMk id="276" creationId="{F32E8A98-13A2-48A7-BE94-A23D369B56F0}"/>
          </ac:grpSpMkLst>
        </pc:grpChg>
        <pc:grpChg chg="del">
          <ac:chgData name="Manal El Bakkouri" userId="8b130982-2e3f-4164-b881-fd3a2e4b2453" providerId="ADAL" clId="{4457FA57-250B-44AC-8655-05D46C5A3D8A}" dt="2023-06-02T09:27:14.077" v="4126" actId="478"/>
          <ac:grpSpMkLst>
            <pc:docMk/>
            <pc:sldMk cId="3918547156" sldId="230717680"/>
            <ac:grpSpMk id="299" creationId="{D953461C-ECF6-4D35-ABB1-A2629150F891}"/>
          </ac:grpSpMkLst>
        </pc:grpChg>
        <pc:grpChg chg="del">
          <ac:chgData name="Manal El Bakkouri" userId="8b130982-2e3f-4164-b881-fd3a2e4b2453" providerId="ADAL" clId="{4457FA57-250B-44AC-8655-05D46C5A3D8A}" dt="2023-06-02T09:27:14.077" v="4126" actId="478"/>
          <ac:grpSpMkLst>
            <pc:docMk/>
            <pc:sldMk cId="3918547156" sldId="230717680"/>
            <ac:grpSpMk id="300" creationId="{8D88BF56-77DB-47D6-9FF6-B2CD74E5ACE9}"/>
          </ac:grpSpMkLst>
        </pc:grpChg>
        <pc:picChg chg="del">
          <ac:chgData name="Manal El Bakkouri" userId="8b130982-2e3f-4164-b881-fd3a2e4b2453" providerId="ADAL" clId="{4457FA57-250B-44AC-8655-05D46C5A3D8A}" dt="2023-06-01T21:04:53.302" v="3598" actId="478"/>
          <ac:picMkLst>
            <pc:docMk/>
            <pc:sldMk cId="3918547156" sldId="230717680"/>
            <ac:picMk id="10" creationId="{90401B66-8202-444D-AE62-6E20AC93A874}"/>
          </ac:picMkLst>
        </pc:picChg>
        <pc:picChg chg="del">
          <ac:chgData name="Manal El Bakkouri" userId="8b130982-2e3f-4164-b881-fd3a2e4b2453" providerId="ADAL" clId="{4457FA57-250B-44AC-8655-05D46C5A3D8A}" dt="2023-06-01T21:04:54.617" v="3599" actId="478"/>
          <ac:picMkLst>
            <pc:docMk/>
            <pc:sldMk cId="3918547156" sldId="230717680"/>
            <ac:picMk id="12" creationId="{ECB9EA54-1E7D-4C41-B934-C8A70D797E4B}"/>
          </ac:picMkLst>
        </pc:picChg>
        <pc:picChg chg="del">
          <ac:chgData name="Manal El Bakkouri" userId="8b130982-2e3f-4164-b881-fd3a2e4b2453" providerId="ADAL" clId="{4457FA57-250B-44AC-8655-05D46C5A3D8A}" dt="2023-06-06T09:34:15.450" v="9172" actId="478"/>
          <ac:picMkLst>
            <pc:docMk/>
            <pc:sldMk cId="3918547156" sldId="230717680"/>
            <ac:picMk id="30" creationId="{BF491D0C-38A4-4AA2-BA19-BE8647810F1B}"/>
          </ac:picMkLst>
        </pc:picChg>
        <pc:picChg chg="del">
          <ac:chgData name="Manal El Bakkouri" userId="8b130982-2e3f-4164-b881-fd3a2e4b2453" providerId="ADAL" clId="{4457FA57-250B-44AC-8655-05D46C5A3D8A}" dt="2023-06-06T09:34:15.450" v="9172" actId="478"/>
          <ac:picMkLst>
            <pc:docMk/>
            <pc:sldMk cId="3918547156" sldId="230717680"/>
            <ac:picMk id="32" creationId="{BFD1551C-3003-4074-96A8-71BCFEE5E1CD}"/>
          </ac:picMkLst>
        </pc:picChg>
        <pc:picChg chg="add mod">
          <ac:chgData name="Manal El Bakkouri" userId="8b130982-2e3f-4164-b881-fd3a2e4b2453" providerId="ADAL" clId="{4457FA57-250B-44AC-8655-05D46C5A3D8A}" dt="2023-06-06T09:34:16.201" v="9173"/>
          <ac:picMkLst>
            <pc:docMk/>
            <pc:sldMk cId="3918547156" sldId="230717680"/>
            <ac:picMk id="137" creationId="{B091EFB4-6BA5-4E3D-B754-2D11B31237D4}"/>
          </ac:picMkLst>
        </pc:picChg>
        <pc:picChg chg="add mod">
          <ac:chgData name="Manal El Bakkouri" userId="8b130982-2e3f-4164-b881-fd3a2e4b2453" providerId="ADAL" clId="{4457FA57-250B-44AC-8655-05D46C5A3D8A}" dt="2023-06-06T09:34:16.201" v="9173"/>
          <ac:picMkLst>
            <pc:docMk/>
            <pc:sldMk cId="3918547156" sldId="230717680"/>
            <ac:picMk id="140" creationId="{0F60F450-6425-4431-9F5B-87AB6B424577}"/>
          </ac:picMkLst>
        </pc:picChg>
      </pc:sldChg>
      <pc:sldChg chg="addSp delSp modSp add mod modTransition modAnim modNotesTx">
        <pc:chgData name="Manal El Bakkouri" userId="8b130982-2e3f-4164-b881-fd3a2e4b2453" providerId="ADAL" clId="{4457FA57-250B-44AC-8655-05D46C5A3D8A}" dt="2023-06-09T11:30:12.724" v="21767"/>
        <pc:sldMkLst>
          <pc:docMk/>
          <pc:sldMk cId="670040689" sldId="230717681"/>
        </pc:sldMkLst>
        <pc:spChg chg="del">
          <ac:chgData name="Manal El Bakkouri" userId="8b130982-2e3f-4164-b881-fd3a2e4b2453" providerId="ADAL" clId="{4457FA57-250B-44AC-8655-05D46C5A3D8A}" dt="2023-06-09T11:30:12.281" v="21766" actId="478"/>
          <ac:spMkLst>
            <pc:docMk/>
            <pc:sldMk cId="670040689" sldId="230717681"/>
            <ac:spMk id="14" creationId="{B08DFD07-6E33-4072-823A-52E54D4C1D97}"/>
          </ac:spMkLst>
        </pc:spChg>
        <pc:spChg chg="del">
          <ac:chgData name="Manal El Bakkouri" userId="8b130982-2e3f-4164-b881-fd3a2e4b2453" providerId="ADAL" clId="{4457FA57-250B-44AC-8655-05D46C5A3D8A}" dt="2023-06-09T11:30:12.281" v="21766" actId="478"/>
          <ac:spMkLst>
            <pc:docMk/>
            <pc:sldMk cId="670040689" sldId="230717681"/>
            <ac:spMk id="15" creationId="{FB7A3366-B924-45F5-A887-21AFF439AF4F}"/>
          </ac:spMkLst>
        </pc:spChg>
        <pc:spChg chg="del">
          <ac:chgData name="Manal El Bakkouri" userId="8b130982-2e3f-4164-b881-fd3a2e4b2453" providerId="ADAL" clId="{4457FA57-250B-44AC-8655-05D46C5A3D8A}" dt="2023-06-09T11:30:12.281" v="21766" actId="478"/>
          <ac:spMkLst>
            <pc:docMk/>
            <pc:sldMk cId="670040689" sldId="230717681"/>
            <ac:spMk id="16" creationId="{A8B90A34-D563-4612-8810-724F1BC01C39}"/>
          </ac:spMkLst>
        </pc:spChg>
        <pc:spChg chg="add mod">
          <ac:chgData name="Manal El Bakkouri" userId="8b130982-2e3f-4164-b881-fd3a2e4b2453" providerId="ADAL" clId="{4457FA57-250B-44AC-8655-05D46C5A3D8A}" dt="2023-06-09T11:30:12.724" v="21767"/>
          <ac:spMkLst>
            <pc:docMk/>
            <pc:sldMk cId="670040689" sldId="230717681"/>
            <ac:spMk id="49" creationId="{528651FE-51C9-4EC5-A7F5-55595D857B96}"/>
          </ac:spMkLst>
        </pc:spChg>
        <pc:spChg chg="add mod">
          <ac:chgData name="Manal El Bakkouri" userId="8b130982-2e3f-4164-b881-fd3a2e4b2453" providerId="ADAL" clId="{4457FA57-250B-44AC-8655-05D46C5A3D8A}" dt="2023-06-09T11:30:12.724" v="21767"/>
          <ac:spMkLst>
            <pc:docMk/>
            <pc:sldMk cId="670040689" sldId="230717681"/>
            <ac:spMk id="50" creationId="{596548D3-B6C1-405D-85E9-BAEDEF403889}"/>
          </ac:spMkLst>
        </pc:spChg>
        <pc:spChg chg="add mod">
          <ac:chgData name="Manal El Bakkouri" userId="8b130982-2e3f-4164-b881-fd3a2e4b2453" providerId="ADAL" clId="{4457FA57-250B-44AC-8655-05D46C5A3D8A}" dt="2023-06-09T11:30:12.724" v="21767"/>
          <ac:spMkLst>
            <pc:docMk/>
            <pc:sldMk cId="670040689" sldId="230717681"/>
            <ac:spMk id="51" creationId="{EA38E74E-C136-4638-854B-2C9F59A5D8FD}"/>
          </ac:spMkLst>
        </pc:spChg>
        <pc:spChg chg="add mod">
          <ac:chgData name="Manal El Bakkouri" userId="8b130982-2e3f-4164-b881-fd3a2e4b2453" providerId="ADAL" clId="{4457FA57-250B-44AC-8655-05D46C5A3D8A}" dt="2023-06-09T11:30:12.724" v="21767"/>
          <ac:spMkLst>
            <pc:docMk/>
            <pc:sldMk cId="670040689" sldId="230717681"/>
            <ac:spMk id="52" creationId="{CD2F7EDF-E68E-4CC9-9A61-B30F5BC374C9}"/>
          </ac:spMkLst>
        </pc:spChg>
        <pc:spChg chg="del">
          <ac:chgData name="Manal El Bakkouri" userId="8b130982-2e3f-4164-b881-fd3a2e4b2453" providerId="ADAL" clId="{4457FA57-250B-44AC-8655-05D46C5A3D8A}" dt="2023-06-02T15:14:42.962" v="5453" actId="478"/>
          <ac:spMkLst>
            <pc:docMk/>
            <pc:sldMk cId="670040689" sldId="230717681"/>
            <ac:spMk id="56" creationId="{B6AD6CD7-EA81-4489-8629-B71DD78B0A16}"/>
          </ac:spMkLst>
        </pc:spChg>
        <pc:spChg chg="add mod">
          <ac:chgData name="Manal El Bakkouri" userId="8b130982-2e3f-4164-b881-fd3a2e4b2453" providerId="ADAL" clId="{4457FA57-250B-44AC-8655-05D46C5A3D8A}" dt="2023-06-02T15:14:43.332" v="5454"/>
          <ac:spMkLst>
            <pc:docMk/>
            <pc:sldMk cId="670040689" sldId="230717681"/>
            <ac:spMk id="125" creationId="{460C8E66-D4EE-430B-B670-EE52329ECB8F}"/>
          </ac:spMkLst>
        </pc:spChg>
        <pc:spChg chg="add del mod">
          <ac:chgData name="Manal El Bakkouri" userId="8b130982-2e3f-4164-b881-fd3a2e4b2453" providerId="ADAL" clId="{4457FA57-250B-44AC-8655-05D46C5A3D8A}" dt="2023-06-04T13:13:40.341" v="7728" actId="478"/>
          <ac:spMkLst>
            <pc:docMk/>
            <pc:sldMk cId="670040689" sldId="230717681"/>
            <ac:spMk id="126" creationId="{5E59A841-9DA8-43E7-B888-F0F58B36144E}"/>
          </ac:spMkLst>
        </pc:spChg>
        <pc:spChg chg="add mod">
          <ac:chgData name="Manal El Bakkouri" userId="8b130982-2e3f-4164-b881-fd3a2e4b2453" providerId="ADAL" clId="{4457FA57-250B-44AC-8655-05D46C5A3D8A}" dt="2023-06-04T13:13:41.002" v="7729"/>
          <ac:spMkLst>
            <pc:docMk/>
            <pc:sldMk cId="670040689" sldId="230717681"/>
            <ac:spMk id="127" creationId="{88287C8F-F565-4A07-A611-D1527AF2C111}"/>
          </ac:spMkLst>
        </pc:spChg>
        <pc:spChg chg="add mod">
          <ac:chgData name="Manal El Bakkouri" userId="8b130982-2e3f-4164-b881-fd3a2e4b2453" providerId="ADAL" clId="{4457FA57-250B-44AC-8655-05D46C5A3D8A}" dt="2023-06-06T09:34:36.036" v="9177"/>
          <ac:spMkLst>
            <pc:docMk/>
            <pc:sldMk cId="670040689" sldId="230717681"/>
            <ac:spMk id="128" creationId="{3E61BA7E-F1C6-4BB2-85B9-423852E06064}"/>
          </ac:spMkLst>
        </pc:spChg>
        <pc:spChg chg="add mod">
          <ac:chgData name="Manal El Bakkouri" userId="8b130982-2e3f-4164-b881-fd3a2e4b2453" providerId="ADAL" clId="{4457FA57-250B-44AC-8655-05D46C5A3D8A}" dt="2023-06-06T09:34:36.036" v="9177"/>
          <ac:spMkLst>
            <pc:docMk/>
            <pc:sldMk cId="670040689" sldId="230717681"/>
            <ac:spMk id="129" creationId="{C9F6C88E-386E-4F28-ADC9-7F828316A283}"/>
          </ac:spMkLst>
        </pc:spChg>
        <pc:spChg chg="add mod">
          <ac:chgData name="Manal El Bakkouri" userId="8b130982-2e3f-4164-b881-fd3a2e4b2453" providerId="ADAL" clId="{4457FA57-250B-44AC-8655-05D46C5A3D8A}" dt="2023-06-06T09:34:36.036" v="9177"/>
          <ac:spMkLst>
            <pc:docMk/>
            <pc:sldMk cId="670040689" sldId="230717681"/>
            <ac:spMk id="130" creationId="{FAF5AEF7-A2E8-4099-8655-F24A811EC524}"/>
          </ac:spMkLst>
        </pc:spChg>
        <pc:spChg chg="add mod">
          <ac:chgData name="Manal El Bakkouri" userId="8b130982-2e3f-4164-b881-fd3a2e4b2453" providerId="ADAL" clId="{4457FA57-250B-44AC-8655-05D46C5A3D8A}" dt="2023-06-06T09:34:36.036" v="9177"/>
          <ac:spMkLst>
            <pc:docMk/>
            <pc:sldMk cId="670040689" sldId="230717681"/>
            <ac:spMk id="131" creationId="{F326062C-DE51-4882-A40B-4190462F71F8}"/>
          </ac:spMkLst>
        </pc:spChg>
        <pc:spChg chg="add mod">
          <ac:chgData name="Manal El Bakkouri" userId="8b130982-2e3f-4164-b881-fd3a2e4b2453" providerId="ADAL" clId="{4457FA57-250B-44AC-8655-05D46C5A3D8A}" dt="2023-06-06T09:34:36.036" v="9177"/>
          <ac:spMkLst>
            <pc:docMk/>
            <pc:sldMk cId="670040689" sldId="230717681"/>
            <ac:spMk id="132" creationId="{50C4ADCF-6CE2-45CA-ACC0-E569B08CE8AC}"/>
          </ac:spMkLst>
        </pc:spChg>
        <pc:spChg chg="add mod">
          <ac:chgData name="Manal El Bakkouri" userId="8b130982-2e3f-4164-b881-fd3a2e4b2453" providerId="ADAL" clId="{4457FA57-250B-44AC-8655-05D46C5A3D8A}" dt="2023-06-06T09:34:36.036" v="9177"/>
          <ac:spMkLst>
            <pc:docMk/>
            <pc:sldMk cId="670040689" sldId="230717681"/>
            <ac:spMk id="133" creationId="{61A20885-92E8-4C6A-A43E-A8DCC210AE7B}"/>
          </ac:spMkLst>
        </pc:spChg>
        <pc:spChg chg="add mod">
          <ac:chgData name="Manal El Bakkouri" userId="8b130982-2e3f-4164-b881-fd3a2e4b2453" providerId="ADAL" clId="{4457FA57-250B-44AC-8655-05D46C5A3D8A}" dt="2023-06-06T09:34:36.036" v="9177"/>
          <ac:spMkLst>
            <pc:docMk/>
            <pc:sldMk cId="670040689" sldId="230717681"/>
            <ac:spMk id="134" creationId="{2AAAC282-8809-4C8B-AB6A-2BA6D21F84E9}"/>
          </ac:spMkLst>
        </pc:spChg>
        <pc:spChg chg="add mod">
          <ac:chgData name="Manal El Bakkouri" userId="8b130982-2e3f-4164-b881-fd3a2e4b2453" providerId="ADAL" clId="{4457FA57-250B-44AC-8655-05D46C5A3D8A}" dt="2023-06-06T09:34:36.036" v="9177"/>
          <ac:spMkLst>
            <pc:docMk/>
            <pc:sldMk cId="670040689" sldId="230717681"/>
            <ac:spMk id="135" creationId="{E83179EA-CC69-4D16-A784-75AB4435AD37}"/>
          </ac:spMkLst>
        </pc:spChg>
        <pc:spChg chg="add mod">
          <ac:chgData name="Manal El Bakkouri" userId="8b130982-2e3f-4164-b881-fd3a2e4b2453" providerId="ADAL" clId="{4457FA57-250B-44AC-8655-05D46C5A3D8A}" dt="2023-06-06T09:34:36.036" v="9177"/>
          <ac:spMkLst>
            <pc:docMk/>
            <pc:sldMk cId="670040689" sldId="230717681"/>
            <ac:spMk id="138" creationId="{56530CC9-3C03-40CD-9306-BE97A7416EC6}"/>
          </ac:spMkLst>
        </pc:spChg>
        <pc:spChg chg="add mod">
          <ac:chgData name="Manal El Bakkouri" userId="8b130982-2e3f-4164-b881-fd3a2e4b2453" providerId="ADAL" clId="{4457FA57-250B-44AC-8655-05D46C5A3D8A}" dt="2023-06-06T09:34:36.036" v="9177"/>
          <ac:spMkLst>
            <pc:docMk/>
            <pc:sldMk cId="670040689" sldId="230717681"/>
            <ac:spMk id="139" creationId="{BE89EEF3-25EA-4CCE-BB22-7E533C8DB8BA}"/>
          </ac:spMkLst>
        </pc:spChg>
        <pc:spChg chg="mod">
          <ac:chgData name="Manal El Bakkouri" userId="8b130982-2e3f-4164-b881-fd3a2e4b2453" providerId="ADAL" clId="{4457FA57-250B-44AC-8655-05D46C5A3D8A}" dt="2023-06-01T21:02:44.076" v="3585" actId="1076"/>
          <ac:spMkLst>
            <pc:docMk/>
            <pc:sldMk cId="670040689" sldId="230717681"/>
            <ac:spMk id="180" creationId="{5F018933-331A-4DDD-910B-FF4B614CF89E}"/>
          </ac:spMkLst>
        </pc:spChg>
        <pc:spChg chg="mod">
          <ac:chgData name="Manal El Bakkouri" userId="8b130982-2e3f-4164-b881-fd3a2e4b2453" providerId="ADAL" clId="{4457FA57-250B-44AC-8655-05D46C5A3D8A}" dt="2023-06-01T21:02:44.076" v="3585" actId="1076"/>
          <ac:spMkLst>
            <pc:docMk/>
            <pc:sldMk cId="670040689" sldId="230717681"/>
            <ac:spMk id="181" creationId="{BDF09F37-D0AA-4BAD-B1C4-3DF7D1A5F2FC}"/>
          </ac:spMkLst>
        </pc:spChg>
        <pc:spChg chg="mod">
          <ac:chgData name="Manal El Bakkouri" userId="8b130982-2e3f-4164-b881-fd3a2e4b2453" providerId="ADAL" clId="{4457FA57-250B-44AC-8655-05D46C5A3D8A}" dt="2023-06-01T21:02:44.076" v="3585" actId="1076"/>
          <ac:spMkLst>
            <pc:docMk/>
            <pc:sldMk cId="670040689" sldId="230717681"/>
            <ac:spMk id="182" creationId="{E723C2C8-7AC2-48D8-9BB3-23699C7D6A70}"/>
          </ac:spMkLst>
        </pc:spChg>
        <pc:spChg chg="mod topLvl">
          <ac:chgData name="Manal El Bakkouri" userId="8b130982-2e3f-4164-b881-fd3a2e4b2453" providerId="ADAL" clId="{4457FA57-250B-44AC-8655-05D46C5A3D8A}" dt="2023-06-02T09:25:35.048" v="4121" actId="165"/>
          <ac:spMkLst>
            <pc:docMk/>
            <pc:sldMk cId="670040689" sldId="230717681"/>
            <ac:spMk id="219" creationId="{CE250EEC-ADAC-49CD-9026-A473AB009DBD}"/>
          </ac:spMkLst>
        </pc:spChg>
        <pc:spChg chg="mod topLvl">
          <ac:chgData name="Manal El Bakkouri" userId="8b130982-2e3f-4164-b881-fd3a2e4b2453" providerId="ADAL" clId="{4457FA57-250B-44AC-8655-05D46C5A3D8A}" dt="2023-06-02T09:25:35.048" v="4121" actId="165"/>
          <ac:spMkLst>
            <pc:docMk/>
            <pc:sldMk cId="670040689" sldId="230717681"/>
            <ac:spMk id="220" creationId="{9468B8E1-D409-4D45-B105-2FECC1CA291A}"/>
          </ac:spMkLst>
        </pc:spChg>
        <pc:spChg chg="mod topLvl">
          <ac:chgData name="Manal El Bakkouri" userId="8b130982-2e3f-4164-b881-fd3a2e4b2453" providerId="ADAL" clId="{4457FA57-250B-44AC-8655-05D46C5A3D8A}" dt="2023-06-02T09:25:35.048" v="4121" actId="165"/>
          <ac:spMkLst>
            <pc:docMk/>
            <pc:sldMk cId="670040689" sldId="230717681"/>
            <ac:spMk id="221" creationId="{EF2FD853-AE05-446F-8970-C5528DFFCA2E}"/>
          </ac:spMkLst>
        </pc:spChg>
        <pc:spChg chg="mod">
          <ac:chgData name="Manal El Bakkouri" userId="8b130982-2e3f-4164-b881-fd3a2e4b2453" providerId="ADAL" clId="{4457FA57-250B-44AC-8655-05D46C5A3D8A}" dt="2023-06-02T09:25:35.048" v="4121" actId="165"/>
          <ac:spMkLst>
            <pc:docMk/>
            <pc:sldMk cId="670040689" sldId="230717681"/>
            <ac:spMk id="223" creationId="{76B13E2C-0B7B-45F1-8027-30A26F868E8E}"/>
          </ac:spMkLst>
        </pc:spChg>
        <pc:spChg chg="mod">
          <ac:chgData name="Manal El Bakkouri" userId="8b130982-2e3f-4164-b881-fd3a2e4b2453" providerId="ADAL" clId="{4457FA57-250B-44AC-8655-05D46C5A3D8A}" dt="2023-06-02T09:25:35.048" v="4121" actId="165"/>
          <ac:spMkLst>
            <pc:docMk/>
            <pc:sldMk cId="670040689" sldId="230717681"/>
            <ac:spMk id="224" creationId="{934EFD6D-5D94-4579-AB71-8F88F52BB196}"/>
          </ac:spMkLst>
        </pc:spChg>
        <pc:spChg chg="mod">
          <ac:chgData name="Manal El Bakkouri" userId="8b130982-2e3f-4164-b881-fd3a2e4b2453" providerId="ADAL" clId="{4457FA57-250B-44AC-8655-05D46C5A3D8A}" dt="2023-06-02T09:25:35.048" v="4121" actId="165"/>
          <ac:spMkLst>
            <pc:docMk/>
            <pc:sldMk cId="670040689" sldId="230717681"/>
            <ac:spMk id="225" creationId="{707D12EB-79DF-4812-9BD6-81340F59DFDA}"/>
          </ac:spMkLst>
        </pc:spChg>
        <pc:spChg chg="mod">
          <ac:chgData name="Manal El Bakkouri" userId="8b130982-2e3f-4164-b881-fd3a2e4b2453" providerId="ADAL" clId="{4457FA57-250B-44AC-8655-05D46C5A3D8A}" dt="2023-06-02T09:25:35.048" v="4121" actId="165"/>
          <ac:spMkLst>
            <pc:docMk/>
            <pc:sldMk cId="670040689" sldId="230717681"/>
            <ac:spMk id="226" creationId="{19AB3CA5-266C-4B28-86EE-A987C05EE82F}"/>
          </ac:spMkLst>
        </pc:spChg>
        <pc:spChg chg="mod">
          <ac:chgData name="Manal El Bakkouri" userId="8b130982-2e3f-4164-b881-fd3a2e4b2453" providerId="ADAL" clId="{4457FA57-250B-44AC-8655-05D46C5A3D8A}" dt="2023-06-02T09:25:35.048" v="4121" actId="165"/>
          <ac:spMkLst>
            <pc:docMk/>
            <pc:sldMk cId="670040689" sldId="230717681"/>
            <ac:spMk id="227" creationId="{16886A52-993C-446B-92C4-35DC98D00796}"/>
          </ac:spMkLst>
        </pc:spChg>
        <pc:spChg chg="mod">
          <ac:chgData name="Manal El Bakkouri" userId="8b130982-2e3f-4164-b881-fd3a2e4b2453" providerId="ADAL" clId="{4457FA57-250B-44AC-8655-05D46C5A3D8A}" dt="2023-06-02T09:25:35.048" v="4121" actId="165"/>
          <ac:spMkLst>
            <pc:docMk/>
            <pc:sldMk cId="670040689" sldId="230717681"/>
            <ac:spMk id="228" creationId="{551BAD6A-41F8-4A67-BBAF-B10BCA6CED8A}"/>
          </ac:spMkLst>
        </pc:spChg>
        <pc:spChg chg="mod">
          <ac:chgData name="Manal El Bakkouri" userId="8b130982-2e3f-4164-b881-fd3a2e4b2453" providerId="ADAL" clId="{4457FA57-250B-44AC-8655-05D46C5A3D8A}" dt="2023-06-02T09:25:35.048" v="4121" actId="165"/>
          <ac:spMkLst>
            <pc:docMk/>
            <pc:sldMk cId="670040689" sldId="230717681"/>
            <ac:spMk id="229" creationId="{424DF614-913B-42FB-8D47-876E11892411}"/>
          </ac:spMkLst>
        </pc:spChg>
        <pc:spChg chg="mod">
          <ac:chgData name="Manal El Bakkouri" userId="8b130982-2e3f-4164-b881-fd3a2e4b2453" providerId="ADAL" clId="{4457FA57-250B-44AC-8655-05D46C5A3D8A}" dt="2023-06-02T09:25:35.048" v="4121" actId="165"/>
          <ac:spMkLst>
            <pc:docMk/>
            <pc:sldMk cId="670040689" sldId="230717681"/>
            <ac:spMk id="230" creationId="{65ECFA7F-370F-4E9F-9371-54EB4477BD66}"/>
          </ac:spMkLst>
        </pc:spChg>
        <pc:spChg chg="mod">
          <ac:chgData name="Manal El Bakkouri" userId="8b130982-2e3f-4164-b881-fd3a2e4b2453" providerId="ADAL" clId="{4457FA57-250B-44AC-8655-05D46C5A3D8A}" dt="2023-06-02T09:25:35.048" v="4121" actId="165"/>
          <ac:spMkLst>
            <pc:docMk/>
            <pc:sldMk cId="670040689" sldId="230717681"/>
            <ac:spMk id="231" creationId="{4AD93E96-09B6-44AC-94A6-52A2140C5FE8}"/>
          </ac:spMkLst>
        </pc:spChg>
        <pc:spChg chg="mod">
          <ac:chgData name="Manal El Bakkouri" userId="8b130982-2e3f-4164-b881-fd3a2e4b2453" providerId="ADAL" clId="{4457FA57-250B-44AC-8655-05D46C5A3D8A}" dt="2023-06-02T09:25:35.048" v="4121" actId="165"/>
          <ac:spMkLst>
            <pc:docMk/>
            <pc:sldMk cId="670040689" sldId="230717681"/>
            <ac:spMk id="232" creationId="{8FD70FD8-5FCF-4650-BDB6-EA446954A937}"/>
          </ac:spMkLst>
        </pc:spChg>
        <pc:spChg chg="mod">
          <ac:chgData name="Manal El Bakkouri" userId="8b130982-2e3f-4164-b881-fd3a2e4b2453" providerId="ADAL" clId="{4457FA57-250B-44AC-8655-05D46C5A3D8A}" dt="2023-06-02T09:25:35.048" v="4121" actId="165"/>
          <ac:spMkLst>
            <pc:docMk/>
            <pc:sldMk cId="670040689" sldId="230717681"/>
            <ac:spMk id="234" creationId="{08809472-3ADE-4DC4-9352-8BA31D313568}"/>
          </ac:spMkLst>
        </pc:spChg>
        <pc:spChg chg="mod">
          <ac:chgData name="Manal El Bakkouri" userId="8b130982-2e3f-4164-b881-fd3a2e4b2453" providerId="ADAL" clId="{4457FA57-250B-44AC-8655-05D46C5A3D8A}" dt="2023-06-02T09:25:35.048" v="4121" actId="165"/>
          <ac:spMkLst>
            <pc:docMk/>
            <pc:sldMk cId="670040689" sldId="230717681"/>
            <ac:spMk id="235" creationId="{680117EE-B637-4EEA-868C-F012B01B3650}"/>
          </ac:spMkLst>
        </pc:spChg>
        <pc:spChg chg="mod">
          <ac:chgData name="Manal El Bakkouri" userId="8b130982-2e3f-4164-b881-fd3a2e4b2453" providerId="ADAL" clId="{4457FA57-250B-44AC-8655-05D46C5A3D8A}" dt="2023-06-02T09:25:35.048" v="4121" actId="165"/>
          <ac:spMkLst>
            <pc:docMk/>
            <pc:sldMk cId="670040689" sldId="230717681"/>
            <ac:spMk id="236" creationId="{0F49A166-9414-415F-8F4E-CBB9EF986E9A}"/>
          </ac:spMkLst>
        </pc:spChg>
        <pc:spChg chg="mod topLvl">
          <ac:chgData name="Manal El Bakkouri" userId="8b130982-2e3f-4164-b881-fd3a2e4b2453" providerId="ADAL" clId="{4457FA57-250B-44AC-8655-05D46C5A3D8A}" dt="2023-06-02T09:25:35.048" v="4121" actId="165"/>
          <ac:spMkLst>
            <pc:docMk/>
            <pc:sldMk cId="670040689" sldId="230717681"/>
            <ac:spMk id="241" creationId="{2B99B28A-2254-459A-9CAD-6C4085C8060B}"/>
          </ac:spMkLst>
        </pc:spChg>
        <pc:spChg chg="mod topLvl">
          <ac:chgData name="Manal El Bakkouri" userId="8b130982-2e3f-4164-b881-fd3a2e4b2453" providerId="ADAL" clId="{4457FA57-250B-44AC-8655-05D46C5A3D8A}" dt="2023-06-02T09:25:35.048" v="4121" actId="165"/>
          <ac:spMkLst>
            <pc:docMk/>
            <pc:sldMk cId="670040689" sldId="230717681"/>
            <ac:spMk id="242" creationId="{9478CA70-5A3B-4DA8-BC35-21CCDD84D178}"/>
          </ac:spMkLst>
        </pc:spChg>
        <pc:spChg chg="add del">
          <ac:chgData name="Manal El Bakkouri" userId="8b130982-2e3f-4164-b881-fd3a2e4b2453" providerId="ADAL" clId="{4457FA57-250B-44AC-8655-05D46C5A3D8A}" dt="2023-06-06T09:34:34.879" v="9176" actId="478"/>
          <ac:spMkLst>
            <pc:docMk/>
            <pc:sldMk cId="670040689" sldId="230717681"/>
            <ac:spMk id="272" creationId="{7E1DDCAB-860D-4D5B-B04C-B08A60590651}"/>
          </ac:spMkLst>
        </pc:spChg>
        <pc:spChg chg="del">
          <ac:chgData name="Manal El Bakkouri" userId="8b130982-2e3f-4164-b881-fd3a2e4b2453" providerId="ADAL" clId="{4457FA57-250B-44AC-8655-05D46C5A3D8A}" dt="2023-06-06T09:34:34.879" v="9176" actId="478"/>
          <ac:spMkLst>
            <pc:docMk/>
            <pc:sldMk cId="670040689" sldId="230717681"/>
            <ac:spMk id="274" creationId="{478BFE02-F071-4A8F-ABF8-FA5B9AD045E6}"/>
          </ac:spMkLst>
        </pc:spChg>
        <pc:spChg chg="del">
          <ac:chgData name="Manal El Bakkouri" userId="8b130982-2e3f-4164-b881-fd3a2e4b2453" providerId="ADAL" clId="{4457FA57-250B-44AC-8655-05D46C5A3D8A}" dt="2023-06-06T09:34:34.879" v="9176" actId="478"/>
          <ac:spMkLst>
            <pc:docMk/>
            <pc:sldMk cId="670040689" sldId="230717681"/>
            <ac:spMk id="277" creationId="{5827CEB6-8D48-422D-B08C-B1EA14C31C34}"/>
          </ac:spMkLst>
        </pc:spChg>
        <pc:spChg chg="del">
          <ac:chgData name="Manal El Bakkouri" userId="8b130982-2e3f-4164-b881-fd3a2e4b2453" providerId="ADAL" clId="{4457FA57-250B-44AC-8655-05D46C5A3D8A}" dt="2023-06-06T09:34:34.879" v="9176" actId="478"/>
          <ac:spMkLst>
            <pc:docMk/>
            <pc:sldMk cId="670040689" sldId="230717681"/>
            <ac:spMk id="278" creationId="{ADAB3BD5-1944-49EA-9972-D0B9B7BA549E}"/>
          </ac:spMkLst>
        </pc:spChg>
        <pc:spChg chg="add del">
          <ac:chgData name="Manal El Bakkouri" userId="8b130982-2e3f-4164-b881-fd3a2e4b2453" providerId="ADAL" clId="{4457FA57-250B-44AC-8655-05D46C5A3D8A}" dt="2023-06-06T09:34:34.879" v="9176" actId="478"/>
          <ac:spMkLst>
            <pc:docMk/>
            <pc:sldMk cId="670040689" sldId="230717681"/>
            <ac:spMk id="296" creationId="{0C78CC53-5B38-437A-A062-910DBCF08B90}"/>
          </ac:spMkLst>
        </pc:spChg>
        <pc:spChg chg="del">
          <ac:chgData name="Manal El Bakkouri" userId="8b130982-2e3f-4164-b881-fd3a2e4b2453" providerId="ADAL" clId="{4457FA57-250B-44AC-8655-05D46C5A3D8A}" dt="2023-06-06T09:34:34.879" v="9176" actId="478"/>
          <ac:spMkLst>
            <pc:docMk/>
            <pc:sldMk cId="670040689" sldId="230717681"/>
            <ac:spMk id="297" creationId="{0D45248C-E2D1-4D34-A8FF-F8829028E7BE}"/>
          </ac:spMkLst>
        </pc:spChg>
        <pc:spChg chg="del">
          <ac:chgData name="Manal El Bakkouri" userId="8b130982-2e3f-4164-b881-fd3a2e4b2453" providerId="ADAL" clId="{4457FA57-250B-44AC-8655-05D46C5A3D8A}" dt="2023-06-06T09:34:34.879" v="9176" actId="478"/>
          <ac:spMkLst>
            <pc:docMk/>
            <pc:sldMk cId="670040689" sldId="230717681"/>
            <ac:spMk id="298" creationId="{A7B03ECD-5EB5-43FE-9A5F-D7C8959E924A}"/>
          </ac:spMkLst>
        </pc:spChg>
        <pc:spChg chg="del">
          <ac:chgData name="Manal El Bakkouri" userId="8b130982-2e3f-4164-b881-fd3a2e4b2453" providerId="ADAL" clId="{4457FA57-250B-44AC-8655-05D46C5A3D8A}" dt="2023-06-06T09:34:34.879" v="9176" actId="478"/>
          <ac:spMkLst>
            <pc:docMk/>
            <pc:sldMk cId="670040689" sldId="230717681"/>
            <ac:spMk id="301" creationId="{F78BFFE4-3702-488C-A71F-167F28CB1B36}"/>
          </ac:spMkLst>
        </pc:spChg>
        <pc:spChg chg="del">
          <ac:chgData name="Manal El Bakkouri" userId="8b130982-2e3f-4164-b881-fd3a2e4b2453" providerId="ADAL" clId="{4457FA57-250B-44AC-8655-05D46C5A3D8A}" dt="2023-06-06T09:34:34.879" v="9176" actId="478"/>
          <ac:spMkLst>
            <pc:docMk/>
            <pc:sldMk cId="670040689" sldId="230717681"/>
            <ac:spMk id="302" creationId="{C29E40C7-9746-4780-A19E-2343B3816D06}"/>
          </ac:spMkLst>
        </pc:spChg>
        <pc:grpChg chg="del">
          <ac:chgData name="Manal El Bakkouri" userId="8b130982-2e3f-4164-b881-fd3a2e4b2453" providerId="ADAL" clId="{4457FA57-250B-44AC-8655-05D46C5A3D8A}" dt="2023-06-02T09:25:35.048" v="4121" actId="165"/>
          <ac:grpSpMkLst>
            <pc:docMk/>
            <pc:sldMk cId="670040689" sldId="230717681"/>
            <ac:grpSpMk id="13" creationId="{FDB68C30-8CB3-4303-8206-D2653DE00B48}"/>
          </ac:grpSpMkLst>
        </pc:grpChg>
        <pc:grpChg chg="mod">
          <ac:chgData name="Manal El Bakkouri" userId="8b130982-2e3f-4164-b881-fd3a2e4b2453" providerId="ADAL" clId="{4457FA57-250B-44AC-8655-05D46C5A3D8A}" dt="2023-06-01T21:02:44.076" v="3585" actId="1076"/>
          <ac:grpSpMkLst>
            <pc:docMk/>
            <pc:sldMk cId="670040689" sldId="230717681"/>
            <ac:grpSpMk id="179" creationId="{A88D32F9-A61D-4EA3-BD03-88DC8D790FA5}"/>
          </ac:grpSpMkLst>
        </pc:grpChg>
        <pc:grpChg chg="del">
          <ac:chgData name="Manal El Bakkouri" userId="8b130982-2e3f-4164-b881-fd3a2e4b2453" providerId="ADAL" clId="{4457FA57-250B-44AC-8655-05D46C5A3D8A}" dt="2023-06-02T09:26:00.138" v="4122" actId="478"/>
          <ac:grpSpMkLst>
            <pc:docMk/>
            <pc:sldMk cId="670040689" sldId="230717681"/>
            <ac:grpSpMk id="186" creationId="{5F33E25D-ABE9-4E8F-8A6F-4A3CCCC4B14F}"/>
          </ac:grpSpMkLst>
        </pc:grpChg>
        <pc:grpChg chg="del">
          <ac:chgData name="Manal El Bakkouri" userId="8b130982-2e3f-4164-b881-fd3a2e4b2453" providerId="ADAL" clId="{4457FA57-250B-44AC-8655-05D46C5A3D8A}" dt="2023-06-02T09:26:00.138" v="4122" actId="478"/>
          <ac:grpSpMkLst>
            <pc:docMk/>
            <pc:sldMk cId="670040689" sldId="230717681"/>
            <ac:grpSpMk id="197" creationId="{6F275CF8-48E0-4EFF-A442-FE18771AAF48}"/>
          </ac:grpSpMkLst>
        </pc:grpChg>
        <pc:grpChg chg="del">
          <ac:chgData name="Manal El Bakkouri" userId="8b130982-2e3f-4164-b881-fd3a2e4b2453" providerId="ADAL" clId="{4457FA57-250B-44AC-8655-05D46C5A3D8A}" dt="2023-06-02T09:26:00.138" v="4122" actId="478"/>
          <ac:grpSpMkLst>
            <pc:docMk/>
            <pc:sldMk cId="670040689" sldId="230717681"/>
            <ac:grpSpMk id="204" creationId="{87B242A8-A867-4C54-8D2C-1D66F0752934}"/>
          </ac:grpSpMkLst>
        </pc:grpChg>
        <pc:grpChg chg="del">
          <ac:chgData name="Manal El Bakkouri" userId="8b130982-2e3f-4164-b881-fd3a2e4b2453" providerId="ADAL" clId="{4457FA57-250B-44AC-8655-05D46C5A3D8A}" dt="2023-06-02T09:26:00.138" v="4122" actId="478"/>
          <ac:grpSpMkLst>
            <pc:docMk/>
            <pc:sldMk cId="670040689" sldId="230717681"/>
            <ac:grpSpMk id="215" creationId="{1F058373-2274-4583-9DA6-DCED3E21738F}"/>
          </ac:grpSpMkLst>
        </pc:grpChg>
        <pc:grpChg chg="del mod topLvl">
          <ac:chgData name="Manal El Bakkouri" userId="8b130982-2e3f-4164-b881-fd3a2e4b2453" providerId="ADAL" clId="{4457FA57-250B-44AC-8655-05D46C5A3D8A}" dt="2023-06-02T09:26:00.138" v="4122" actId="478"/>
          <ac:grpSpMkLst>
            <pc:docMk/>
            <pc:sldMk cId="670040689" sldId="230717681"/>
            <ac:grpSpMk id="222" creationId="{7936A507-DE05-4618-8A9F-BAC9821D371E}"/>
          </ac:grpSpMkLst>
        </pc:grpChg>
        <pc:grpChg chg="del mod topLvl">
          <ac:chgData name="Manal El Bakkouri" userId="8b130982-2e3f-4164-b881-fd3a2e4b2453" providerId="ADAL" clId="{4457FA57-250B-44AC-8655-05D46C5A3D8A}" dt="2023-06-02T09:26:00.138" v="4122" actId="478"/>
          <ac:grpSpMkLst>
            <pc:docMk/>
            <pc:sldMk cId="670040689" sldId="230717681"/>
            <ac:grpSpMk id="233" creationId="{C7C367E7-C4EB-42EE-A8D7-7CA6A8082F5B}"/>
          </ac:grpSpMkLst>
        </pc:grpChg>
        <pc:grpChg chg="del">
          <ac:chgData name="Manal El Bakkouri" userId="8b130982-2e3f-4164-b881-fd3a2e4b2453" providerId="ADAL" clId="{4457FA57-250B-44AC-8655-05D46C5A3D8A}" dt="2023-06-02T09:26:00.138" v="4122" actId="478"/>
          <ac:grpSpMkLst>
            <pc:docMk/>
            <pc:sldMk cId="670040689" sldId="230717681"/>
            <ac:grpSpMk id="275" creationId="{DE15EE6C-EED8-40D9-8F8E-ACFE8AADFCBA}"/>
          </ac:grpSpMkLst>
        </pc:grpChg>
        <pc:grpChg chg="del">
          <ac:chgData name="Manal El Bakkouri" userId="8b130982-2e3f-4164-b881-fd3a2e4b2453" providerId="ADAL" clId="{4457FA57-250B-44AC-8655-05D46C5A3D8A}" dt="2023-06-02T09:26:00.138" v="4122" actId="478"/>
          <ac:grpSpMkLst>
            <pc:docMk/>
            <pc:sldMk cId="670040689" sldId="230717681"/>
            <ac:grpSpMk id="276" creationId="{F32E8A98-13A2-48A7-BE94-A23D369B56F0}"/>
          </ac:grpSpMkLst>
        </pc:grpChg>
        <pc:grpChg chg="del">
          <ac:chgData name="Manal El Bakkouri" userId="8b130982-2e3f-4164-b881-fd3a2e4b2453" providerId="ADAL" clId="{4457FA57-250B-44AC-8655-05D46C5A3D8A}" dt="2023-06-02T09:26:00.138" v="4122" actId="478"/>
          <ac:grpSpMkLst>
            <pc:docMk/>
            <pc:sldMk cId="670040689" sldId="230717681"/>
            <ac:grpSpMk id="299" creationId="{D953461C-ECF6-4D35-ABB1-A2629150F891}"/>
          </ac:grpSpMkLst>
        </pc:grpChg>
        <pc:grpChg chg="del">
          <ac:chgData name="Manal El Bakkouri" userId="8b130982-2e3f-4164-b881-fd3a2e4b2453" providerId="ADAL" clId="{4457FA57-250B-44AC-8655-05D46C5A3D8A}" dt="2023-06-02T09:26:00.138" v="4122" actId="478"/>
          <ac:grpSpMkLst>
            <pc:docMk/>
            <pc:sldMk cId="670040689" sldId="230717681"/>
            <ac:grpSpMk id="300" creationId="{8D88BF56-77DB-47D6-9FF6-B2CD74E5ACE9}"/>
          </ac:grpSpMkLst>
        </pc:grpChg>
        <pc:picChg chg="del">
          <ac:chgData name="Manal El Bakkouri" userId="8b130982-2e3f-4164-b881-fd3a2e4b2453" providerId="ADAL" clId="{4457FA57-250B-44AC-8655-05D46C5A3D8A}" dt="2023-06-01T21:04:50.649" v="3596" actId="478"/>
          <ac:picMkLst>
            <pc:docMk/>
            <pc:sldMk cId="670040689" sldId="230717681"/>
            <ac:picMk id="10" creationId="{90401B66-8202-444D-AE62-6E20AC93A874}"/>
          </ac:picMkLst>
        </pc:picChg>
        <pc:picChg chg="del">
          <ac:chgData name="Manal El Bakkouri" userId="8b130982-2e3f-4164-b881-fd3a2e4b2453" providerId="ADAL" clId="{4457FA57-250B-44AC-8655-05D46C5A3D8A}" dt="2023-06-01T21:04:51.325" v="3597" actId="478"/>
          <ac:picMkLst>
            <pc:docMk/>
            <pc:sldMk cId="670040689" sldId="230717681"/>
            <ac:picMk id="12" creationId="{ECB9EA54-1E7D-4C41-B934-C8A70D797E4B}"/>
          </ac:picMkLst>
        </pc:picChg>
        <pc:picChg chg="del">
          <ac:chgData name="Manal El Bakkouri" userId="8b130982-2e3f-4164-b881-fd3a2e4b2453" providerId="ADAL" clId="{4457FA57-250B-44AC-8655-05D46C5A3D8A}" dt="2023-06-06T09:34:34.879" v="9176" actId="478"/>
          <ac:picMkLst>
            <pc:docMk/>
            <pc:sldMk cId="670040689" sldId="230717681"/>
            <ac:picMk id="30" creationId="{BF491D0C-38A4-4AA2-BA19-BE8647810F1B}"/>
          </ac:picMkLst>
        </pc:picChg>
        <pc:picChg chg="del">
          <ac:chgData name="Manal El Bakkouri" userId="8b130982-2e3f-4164-b881-fd3a2e4b2453" providerId="ADAL" clId="{4457FA57-250B-44AC-8655-05D46C5A3D8A}" dt="2023-06-06T09:34:34.879" v="9176" actId="478"/>
          <ac:picMkLst>
            <pc:docMk/>
            <pc:sldMk cId="670040689" sldId="230717681"/>
            <ac:picMk id="32" creationId="{BFD1551C-3003-4074-96A8-71BCFEE5E1CD}"/>
          </ac:picMkLst>
        </pc:picChg>
        <pc:picChg chg="add mod">
          <ac:chgData name="Manal El Bakkouri" userId="8b130982-2e3f-4164-b881-fd3a2e4b2453" providerId="ADAL" clId="{4457FA57-250B-44AC-8655-05D46C5A3D8A}" dt="2023-06-06T09:34:36.036" v="9177"/>
          <ac:picMkLst>
            <pc:docMk/>
            <pc:sldMk cId="670040689" sldId="230717681"/>
            <ac:picMk id="137" creationId="{7A50E90F-439F-4F8E-A33C-C67494D0E5D9}"/>
          </ac:picMkLst>
        </pc:picChg>
        <pc:picChg chg="add mod">
          <ac:chgData name="Manal El Bakkouri" userId="8b130982-2e3f-4164-b881-fd3a2e4b2453" providerId="ADAL" clId="{4457FA57-250B-44AC-8655-05D46C5A3D8A}" dt="2023-06-06T09:34:36.036" v="9177"/>
          <ac:picMkLst>
            <pc:docMk/>
            <pc:sldMk cId="670040689" sldId="230717681"/>
            <ac:picMk id="140" creationId="{31F76495-098D-45B9-A4BD-9640596B3009}"/>
          </ac:picMkLst>
        </pc:picChg>
      </pc:sldChg>
      <pc:sldChg chg="addSp delSp modSp add mod modTransition modAnim modNotesTx">
        <pc:chgData name="Manal El Bakkouri" userId="8b130982-2e3f-4164-b881-fd3a2e4b2453" providerId="ADAL" clId="{4457FA57-250B-44AC-8655-05D46C5A3D8A}" dt="2023-06-09T11:30:55.284" v="21785"/>
        <pc:sldMkLst>
          <pc:docMk/>
          <pc:sldMk cId="234137734" sldId="230717682"/>
        </pc:sldMkLst>
        <pc:spChg chg="del">
          <ac:chgData name="Manal El Bakkouri" userId="8b130982-2e3f-4164-b881-fd3a2e4b2453" providerId="ADAL" clId="{4457FA57-250B-44AC-8655-05D46C5A3D8A}" dt="2023-06-09T11:30:54.981" v="21784" actId="478"/>
          <ac:spMkLst>
            <pc:docMk/>
            <pc:sldMk cId="234137734" sldId="230717682"/>
            <ac:spMk id="14" creationId="{B08DFD07-6E33-4072-823A-52E54D4C1D97}"/>
          </ac:spMkLst>
        </pc:spChg>
        <pc:spChg chg="del">
          <ac:chgData name="Manal El Bakkouri" userId="8b130982-2e3f-4164-b881-fd3a2e4b2453" providerId="ADAL" clId="{4457FA57-250B-44AC-8655-05D46C5A3D8A}" dt="2023-06-09T11:30:54.981" v="21784" actId="478"/>
          <ac:spMkLst>
            <pc:docMk/>
            <pc:sldMk cId="234137734" sldId="230717682"/>
            <ac:spMk id="15" creationId="{FB7A3366-B924-45F5-A887-21AFF439AF4F}"/>
          </ac:spMkLst>
        </pc:spChg>
        <pc:spChg chg="del">
          <ac:chgData name="Manal El Bakkouri" userId="8b130982-2e3f-4164-b881-fd3a2e4b2453" providerId="ADAL" clId="{4457FA57-250B-44AC-8655-05D46C5A3D8A}" dt="2023-06-09T11:30:54.981" v="21784" actId="478"/>
          <ac:spMkLst>
            <pc:docMk/>
            <pc:sldMk cId="234137734" sldId="230717682"/>
            <ac:spMk id="16" creationId="{A8B90A34-D563-4612-8810-724F1BC01C39}"/>
          </ac:spMkLst>
        </pc:spChg>
        <pc:spChg chg="add mod">
          <ac:chgData name="Manal El Bakkouri" userId="8b130982-2e3f-4164-b881-fd3a2e4b2453" providerId="ADAL" clId="{4457FA57-250B-44AC-8655-05D46C5A3D8A}" dt="2023-06-09T11:30:55.284" v="21785"/>
          <ac:spMkLst>
            <pc:docMk/>
            <pc:sldMk cId="234137734" sldId="230717682"/>
            <ac:spMk id="48" creationId="{6BC40796-3867-428C-AF22-AECCE6702C6B}"/>
          </ac:spMkLst>
        </pc:spChg>
        <pc:spChg chg="add mod">
          <ac:chgData name="Manal El Bakkouri" userId="8b130982-2e3f-4164-b881-fd3a2e4b2453" providerId="ADAL" clId="{4457FA57-250B-44AC-8655-05D46C5A3D8A}" dt="2023-06-09T11:30:55.284" v="21785"/>
          <ac:spMkLst>
            <pc:docMk/>
            <pc:sldMk cId="234137734" sldId="230717682"/>
            <ac:spMk id="49" creationId="{DAC7B1EA-9D99-49BA-A476-1D223A083522}"/>
          </ac:spMkLst>
        </pc:spChg>
        <pc:spChg chg="add mod">
          <ac:chgData name="Manal El Bakkouri" userId="8b130982-2e3f-4164-b881-fd3a2e4b2453" providerId="ADAL" clId="{4457FA57-250B-44AC-8655-05D46C5A3D8A}" dt="2023-06-09T11:30:55.284" v="21785"/>
          <ac:spMkLst>
            <pc:docMk/>
            <pc:sldMk cId="234137734" sldId="230717682"/>
            <ac:spMk id="50" creationId="{80849C88-E6E4-4408-83BA-08FBB03B3010}"/>
          </ac:spMkLst>
        </pc:spChg>
        <pc:spChg chg="add mod">
          <ac:chgData name="Manal El Bakkouri" userId="8b130982-2e3f-4164-b881-fd3a2e4b2453" providerId="ADAL" clId="{4457FA57-250B-44AC-8655-05D46C5A3D8A}" dt="2023-06-09T11:30:55.284" v="21785"/>
          <ac:spMkLst>
            <pc:docMk/>
            <pc:sldMk cId="234137734" sldId="230717682"/>
            <ac:spMk id="51" creationId="{2129F8AA-8331-490E-915C-35A83D2798DD}"/>
          </ac:spMkLst>
        </pc:spChg>
        <pc:spChg chg="del">
          <ac:chgData name="Manal El Bakkouri" userId="8b130982-2e3f-4164-b881-fd3a2e4b2453" providerId="ADAL" clId="{4457FA57-250B-44AC-8655-05D46C5A3D8A}" dt="2023-06-02T15:14:25.012" v="5447" actId="478"/>
          <ac:spMkLst>
            <pc:docMk/>
            <pc:sldMk cId="234137734" sldId="230717682"/>
            <ac:spMk id="56" creationId="{B6AD6CD7-EA81-4489-8629-B71DD78B0A16}"/>
          </ac:spMkLst>
        </pc:spChg>
        <pc:spChg chg="add mod">
          <ac:chgData name="Manal El Bakkouri" userId="8b130982-2e3f-4164-b881-fd3a2e4b2453" providerId="ADAL" clId="{4457FA57-250B-44AC-8655-05D46C5A3D8A}" dt="2023-06-02T15:14:25.378" v="5448"/>
          <ac:spMkLst>
            <pc:docMk/>
            <pc:sldMk cId="234137734" sldId="230717682"/>
            <ac:spMk id="125" creationId="{E70BD766-9563-48B9-969F-0D2A818B7A6E}"/>
          </ac:spMkLst>
        </pc:spChg>
        <pc:spChg chg="add del mod">
          <ac:chgData name="Manal El Bakkouri" userId="8b130982-2e3f-4164-b881-fd3a2e4b2453" providerId="ADAL" clId="{4457FA57-250B-44AC-8655-05D46C5A3D8A}" dt="2023-06-04T13:13:55.992" v="7734" actId="478"/>
          <ac:spMkLst>
            <pc:docMk/>
            <pc:sldMk cId="234137734" sldId="230717682"/>
            <ac:spMk id="126" creationId="{4D85A9B2-F180-443F-B64F-368DF4114B82}"/>
          </ac:spMkLst>
        </pc:spChg>
        <pc:spChg chg="add mod">
          <ac:chgData name="Manal El Bakkouri" userId="8b130982-2e3f-4164-b881-fd3a2e4b2453" providerId="ADAL" clId="{4457FA57-250B-44AC-8655-05D46C5A3D8A}" dt="2023-06-04T13:13:59.981" v="7737" actId="20577"/>
          <ac:spMkLst>
            <pc:docMk/>
            <pc:sldMk cId="234137734" sldId="230717682"/>
            <ac:spMk id="127" creationId="{07936148-F5E1-4B39-AC05-AB556959E3EF}"/>
          </ac:spMkLst>
        </pc:spChg>
        <pc:spChg chg="add mod">
          <ac:chgData name="Manal El Bakkouri" userId="8b130982-2e3f-4164-b881-fd3a2e4b2453" providerId="ADAL" clId="{4457FA57-250B-44AC-8655-05D46C5A3D8A}" dt="2023-06-06T09:34:46.465" v="9179"/>
          <ac:spMkLst>
            <pc:docMk/>
            <pc:sldMk cId="234137734" sldId="230717682"/>
            <ac:spMk id="128" creationId="{82D1747B-02C5-4E1A-9215-14BD74AA5248}"/>
          </ac:spMkLst>
        </pc:spChg>
        <pc:spChg chg="add mod">
          <ac:chgData name="Manal El Bakkouri" userId="8b130982-2e3f-4164-b881-fd3a2e4b2453" providerId="ADAL" clId="{4457FA57-250B-44AC-8655-05D46C5A3D8A}" dt="2023-06-06T09:34:46.465" v="9179"/>
          <ac:spMkLst>
            <pc:docMk/>
            <pc:sldMk cId="234137734" sldId="230717682"/>
            <ac:spMk id="129" creationId="{2A3D930E-BD5F-485A-9E86-5FB18F9F096A}"/>
          </ac:spMkLst>
        </pc:spChg>
        <pc:spChg chg="add mod">
          <ac:chgData name="Manal El Bakkouri" userId="8b130982-2e3f-4164-b881-fd3a2e4b2453" providerId="ADAL" clId="{4457FA57-250B-44AC-8655-05D46C5A3D8A}" dt="2023-06-06T09:34:46.465" v="9179"/>
          <ac:spMkLst>
            <pc:docMk/>
            <pc:sldMk cId="234137734" sldId="230717682"/>
            <ac:spMk id="130" creationId="{EACC3F52-0907-499E-A469-6E6E2705C6BE}"/>
          </ac:spMkLst>
        </pc:spChg>
        <pc:spChg chg="add mod">
          <ac:chgData name="Manal El Bakkouri" userId="8b130982-2e3f-4164-b881-fd3a2e4b2453" providerId="ADAL" clId="{4457FA57-250B-44AC-8655-05D46C5A3D8A}" dt="2023-06-06T09:34:46.465" v="9179"/>
          <ac:spMkLst>
            <pc:docMk/>
            <pc:sldMk cId="234137734" sldId="230717682"/>
            <ac:spMk id="131" creationId="{91789E5A-267B-401C-931D-6619E1800ED9}"/>
          </ac:spMkLst>
        </pc:spChg>
        <pc:spChg chg="add mod">
          <ac:chgData name="Manal El Bakkouri" userId="8b130982-2e3f-4164-b881-fd3a2e4b2453" providerId="ADAL" clId="{4457FA57-250B-44AC-8655-05D46C5A3D8A}" dt="2023-06-06T09:34:46.465" v="9179"/>
          <ac:spMkLst>
            <pc:docMk/>
            <pc:sldMk cId="234137734" sldId="230717682"/>
            <ac:spMk id="132" creationId="{9AA24C35-8A05-4F8D-96C3-98E80F2A76A9}"/>
          </ac:spMkLst>
        </pc:spChg>
        <pc:spChg chg="add mod">
          <ac:chgData name="Manal El Bakkouri" userId="8b130982-2e3f-4164-b881-fd3a2e4b2453" providerId="ADAL" clId="{4457FA57-250B-44AC-8655-05D46C5A3D8A}" dt="2023-06-06T09:34:46.465" v="9179"/>
          <ac:spMkLst>
            <pc:docMk/>
            <pc:sldMk cId="234137734" sldId="230717682"/>
            <ac:spMk id="133" creationId="{7D77FD33-35D0-468C-9740-37BE385D8C4A}"/>
          </ac:spMkLst>
        </pc:spChg>
        <pc:spChg chg="add mod">
          <ac:chgData name="Manal El Bakkouri" userId="8b130982-2e3f-4164-b881-fd3a2e4b2453" providerId="ADAL" clId="{4457FA57-250B-44AC-8655-05D46C5A3D8A}" dt="2023-06-06T09:34:46.465" v="9179"/>
          <ac:spMkLst>
            <pc:docMk/>
            <pc:sldMk cId="234137734" sldId="230717682"/>
            <ac:spMk id="134" creationId="{9DA0AC5C-A68F-4A9D-8253-D84173F50923}"/>
          </ac:spMkLst>
        </pc:spChg>
        <pc:spChg chg="add mod">
          <ac:chgData name="Manal El Bakkouri" userId="8b130982-2e3f-4164-b881-fd3a2e4b2453" providerId="ADAL" clId="{4457FA57-250B-44AC-8655-05D46C5A3D8A}" dt="2023-06-06T09:34:46.465" v="9179"/>
          <ac:spMkLst>
            <pc:docMk/>
            <pc:sldMk cId="234137734" sldId="230717682"/>
            <ac:spMk id="135" creationId="{33E26789-6AD0-42CA-9EFA-6B4748F57F1B}"/>
          </ac:spMkLst>
        </pc:spChg>
        <pc:spChg chg="add mod">
          <ac:chgData name="Manal El Bakkouri" userId="8b130982-2e3f-4164-b881-fd3a2e4b2453" providerId="ADAL" clId="{4457FA57-250B-44AC-8655-05D46C5A3D8A}" dt="2023-06-06T09:34:46.465" v="9179"/>
          <ac:spMkLst>
            <pc:docMk/>
            <pc:sldMk cId="234137734" sldId="230717682"/>
            <ac:spMk id="138" creationId="{1B8664AA-50CB-43EC-AF06-9409B823A263}"/>
          </ac:spMkLst>
        </pc:spChg>
        <pc:spChg chg="add mod">
          <ac:chgData name="Manal El Bakkouri" userId="8b130982-2e3f-4164-b881-fd3a2e4b2453" providerId="ADAL" clId="{4457FA57-250B-44AC-8655-05D46C5A3D8A}" dt="2023-06-06T09:34:46.465" v="9179"/>
          <ac:spMkLst>
            <pc:docMk/>
            <pc:sldMk cId="234137734" sldId="230717682"/>
            <ac:spMk id="139" creationId="{399D0882-29CD-4B03-894C-738E1E510C62}"/>
          </ac:spMkLst>
        </pc:spChg>
        <pc:spChg chg="mod">
          <ac:chgData name="Manal El Bakkouri" userId="8b130982-2e3f-4164-b881-fd3a2e4b2453" providerId="ADAL" clId="{4457FA57-250B-44AC-8655-05D46C5A3D8A}" dt="2023-06-01T21:02:49.228" v="3586" actId="1076"/>
          <ac:spMkLst>
            <pc:docMk/>
            <pc:sldMk cId="234137734" sldId="230717682"/>
            <ac:spMk id="180" creationId="{5F018933-331A-4DDD-910B-FF4B614CF89E}"/>
          </ac:spMkLst>
        </pc:spChg>
        <pc:spChg chg="mod">
          <ac:chgData name="Manal El Bakkouri" userId="8b130982-2e3f-4164-b881-fd3a2e4b2453" providerId="ADAL" clId="{4457FA57-250B-44AC-8655-05D46C5A3D8A}" dt="2023-06-01T21:02:49.228" v="3586" actId="1076"/>
          <ac:spMkLst>
            <pc:docMk/>
            <pc:sldMk cId="234137734" sldId="230717682"/>
            <ac:spMk id="181" creationId="{BDF09F37-D0AA-4BAD-B1C4-3DF7D1A5F2FC}"/>
          </ac:spMkLst>
        </pc:spChg>
        <pc:spChg chg="mod">
          <ac:chgData name="Manal El Bakkouri" userId="8b130982-2e3f-4164-b881-fd3a2e4b2453" providerId="ADAL" clId="{4457FA57-250B-44AC-8655-05D46C5A3D8A}" dt="2023-06-01T21:02:49.228" v="3586" actId="1076"/>
          <ac:spMkLst>
            <pc:docMk/>
            <pc:sldMk cId="234137734" sldId="230717682"/>
            <ac:spMk id="182" creationId="{E723C2C8-7AC2-48D8-9BB3-23699C7D6A70}"/>
          </ac:spMkLst>
        </pc:spChg>
        <pc:spChg chg="add del">
          <ac:chgData name="Manal El Bakkouri" userId="8b130982-2e3f-4164-b881-fd3a2e4b2453" providerId="ADAL" clId="{4457FA57-250B-44AC-8655-05D46C5A3D8A}" dt="2023-06-02T09:24:49.335" v="4117" actId="478"/>
          <ac:spMkLst>
            <pc:docMk/>
            <pc:sldMk cId="234137734" sldId="230717682"/>
            <ac:spMk id="185" creationId="{FB8ACB29-1DF9-4607-A912-D5378A031FF5}"/>
          </ac:spMkLst>
        </pc:spChg>
        <pc:spChg chg="mod topLvl">
          <ac:chgData name="Manal El Bakkouri" userId="8b130982-2e3f-4164-b881-fd3a2e4b2453" providerId="ADAL" clId="{4457FA57-250B-44AC-8655-05D46C5A3D8A}" dt="2023-06-02T09:25:14.135" v="4119" actId="165"/>
          <ac:spMkLst>
            <pc:docMk/>
            <pc:sldMk cId="234137734" sldId="230717682"/>
            <ac:spMk id="219" creationId="{CE250EEC-ADAC-49CD-9026-A473AB009DBD}"/>
          </ac:spMkLst>
        </pc:spChg>
        <pc:spChg chg="mod topLvl">
          <ac:chgData name="Manal El Bakkouri" userId="8b130982-2e3f-4164-b881-fd3a2e4b2453" providerId="ADAL" clId="{4457FA57-250B-44AC-8655-05D46C5A3D8A}" dt="2023-06-02T09:25:14.135" v="4119" actId="165"/>
          <ac:spMkLst>
            <pc:docMk/>
            <pc:sldMk cId="234137734" sldId="230717682"/>
            <ac:spMk id="220" creationId="{9468B8E1-D409-4D45-B105-2FECC1CA291A}"/>
          </ac:spMkLst>
        </pc:spChg>
        <pc:spChg chg="mod topLvl">
          <ac:chgData name="Manal El Bakkouri" userId="8b130982-2e3f-4164-b881-fd3a2e4b2453" providerId="ADAL" clId="{4457FA57-250B-44AC-8655-05D46C5A3D8A}" dt="2023-06-02T09:25:14.135" v="4119" actId="165"/>
          <ac:spMkLst>
            <pc:docMk/>
            <pc:sldMk cId="234137734" sldId="230717682"/>
            <ac:spMk id="221" creationId="{EF2FD853-AE05-446F-8970-C5528DFFCA2E}"/>
          </ac:spMkLst>
        </pc:spChg>
        <pc:spChg chg="mod">
          <ac:chgData name="Manal El Bakkouri" userId="8b130982-2e3f-4164-b881-fd3a2e4b2453" providerId="ADAL" clId="{4457FA57-250B-44AC-8655-05D46C5A3D8A}" dt="2023-06-02T09:25:14.135" v="4119" actId="165"/>
          <ac:spMkLst>
            <pc:docMk/>
            <pc:sldMk cId="234137734" sldId="230717682"/>
            <ac:spMk id="223" creationId="{76B13E2C-0B7B-45F1-8027-30A26F868E8E}"/>
          </ac:spMkLst>
        </pc:spChg>
        <pc:spChg chg="mod">
          <ac:chgData name="Manal El Bakkouri" userId="8b130982-2e3f-4164-b881-fd3a2e4b2453" providerId="ADAL" clId="{4457FA57-250B-44AC-8655-05D46C5A3D8A}" dt="2023-06-02T09:25:14.135" v="4119" actId="165"/>
          <ac:spMkLst>
            <pc:docMk/>
            <pc:sldMk cId="234137734" sldId="230717682"/>
            <ac:spMk id="224" creationId="{934EFD6D-5D94-4579-AB71-8F88F52BB196}"/>
          </ac:spMkLst>
        </pc:spChg>
        <pc:spChg chg="mod">
          <ac:chgData name="Manal El Bakkouri" userId="8b130982-2e3f-4164-b881-fd3a2e4b2453" providerId="ADAL" clId="{4457FA57-250B-44AC-8655-05D46C5A3D8A}" dt="2023-06-02T09:25:14.135" v="4119" actId="165"/>
          <ac:spMkLst>
            <pc:docMk/>
            <pc:sldMk cId="234137734" sldId="230717682"/>
            <ac:spMk id="225" creationId="{707D12EB-79DF-4812-9BD6-81340F59DFDA}"/>
          </ac:spMkLst>
        </pc:spChg>
        <pc:spChg chg="mod">
          <ac:chgData name="Manal El Bakkouri" userId="8b130982-2e3f-4164-b881-fd3a2e4b2453" providerId="ADAL" clId="{4457FA57-250B-44AC-8655-05D46C5A3D8A}" dt="2023-06-02T09:25:14.135" v="4119" actId="165"/>
          <ac:spMkLst>
            <pc:docMk/>
            <pc:sldMk cId="234137734" sldId="230717682"/>
            <ac:spMk id="226" creationId="{19AB3CA5-266C-4B28-86EE-A987C05EE82F}"/>
          </ac:spMkLst>
        </pc:spChg>
        <pc:spChg chg="mod">
          <ac:chgData name="Manal El Bakkouri" userId="8b130982-2e3f-4164-b881-fd3a2e4b2453" providerId="ADAL" clId="{4457FA57-250B-44AC-8655-05D46C5A3D8A}" dt="2023-06-02T09:25:14.135" v="4119" actId="165"/>
          <ac:spMkLst>
            <pc:docMk/>
            <pc:sldMk cId="234137734" sldId="230717682"/>
            <ac:spMk id="227" creationId="{16886A52-993C-446B-92C4-35DC98D00796}"/>
          </ac:spMkLst>
        </pc:spChg>
        <pc:spChg chg="mod">
          <ac:chgData name="Manal El Bakkouri" userId="8b130982-2e3f-4164-b881-fd3a2e4b2453" providerId="ADAL" clId="{4457FA57-250B-44AC-8655-05D46C5A3D8A}" dt="2023-06-02T09:25:14.135" v="4119" actId="165"/>
          <ac:spMkLst>
            <pc:docMk/>
            <pc:sldMk cId="234137734" sldId="230717682"/>
            <ac:spMk id="228" creationId="{551BAD6A-41F8-4A67-BBAF-B10BCA6CED8A}"/>
          </ac:spMkLst>
        </pc:spChg>
        <pc:spChg chg="mod">
          <ac:chgData name="Manal El Bakkouri" userId="8b130982-2e3f-4164-b881-fd3a2e4b2453" providerId="ADAL" clId="{4457FA57-250B-44AC-8655-05D46C5A3D8A}" dt="2023-06-02T09:25:14.135" v="4119" actId="165"/>
          <ac:spMkLst>
            <pc:docMk/>
            <pc:sldMk cId="234137734" sldId="230717682"/>
            <ac:spMk id="229" creationId="{424DF614-913B-42FB-8D47-876E11892411}"/>
          </ac:spMkLst>
        </pc:spChg>
        <pc:spChg chg="mod">
          <ac:chgData name="Manal El Bakkouri" userId="8b130982-2e3f-4164-b881-fd3a2e4b2453" providerId="ADAL" clId="{4457FA57-250B-44AC-8655-05D46C5A3D8A}" dt="2023-06-02T09:25:14.135" v="4119" actId="165"/>
          <ac:spMkLst>
            <pc:docMk/>
            <pc:sldMk cId="234137734" sldId="230717682"/>
            <ac:spMk id="230" creationId="{65ECFA7F-370F-4E9F-9371-54EB4477BD66}"/>
          </ac:spMkLst>
        </pc:spChg>
        <pc:spChg chg="mod">
          <ac:chgData name="Manal El Bakkouri" userId="8b130982-2e3f-4164-b881-fd3a2e4b2453" providerId="ADAL" clId="{4457FA57-250B-44AC-8655-05D46C5A3D8A}" dt="2023-06-02T09:25:14.135" v="4119" actId="165"/>
          <ac:spMkLst>
            <pc:docMk/>
            <pc:sldMk cId="234137734" sldId="230717682"/>
            <ac:spMk id="231" creationId="{4AD93E96-09B6-44AC-94A6-52A2140C5FE8}"/>
          </ac:spMkLst>
        </pc:spChg>
        <pc:spChg chg="mod">
          <ac:chgData name="Manal El Bakkouri" userId="8b130982-2e3f-4164-b881-fd3a2e4b2453" providerId="ADAL" clId="{4457FA57-250B-44AC-8655-05D46C5A3D8A}" dt="2023-06-02T09:25:14.135" v="4119" actId="165"/>
          <ac:spMkLst>
            <pc:docMk/>
            <pc:sldMk cId="234137734" sldId="230717682"/>
            <ac:spMk id="232" creationId="{8FD70FD8-5FCF-4650-BDB6-EA446954A937}"/>
          </ac:spMkLst>
        </pc:spChg>
        <pc:spChg chg="mod">
          <ac:chgData name="Manal El Bakkouri" userId="8b130982-2e3f-4164-b881-fd3a2e4b2453" providerId="ADAL" clId="{4457FA57-250B-44AC-8655-05D46C5A3D8A}" dt="2023-06-02T09:25:14.135" v="4119" actId="165"/>
          <ac:spMkLst>
            <pc:docMk/>
            <pc:sldMk cId="234137734" sldId="230717682"/>
            <ac:spMk id="234" creationId="{08809472-3ADE-4DC4-9352-8BA31D313568}"/>
          </ac:spMkLst>
        </pc:spChg>
        <pc:spChg chg="mod">
          <ac:chgData name="Manal El Bakkouri" userId="8b130982-2e3f-4164-b881-fd3a2e4b2453" providerId="ADAL" clId="{4457FA57-250B-44AC-8655-05D46C5A3D8A}" dt="2023-06-02T09:25:14.135" v="4119" actId="165"/>
          <ac:spMkLst>
            <pc:docMk/>
            <pc:sldMk cId="234137734" sldId="230717682"/>
            <ac:spMk id="235" creationId="{680117EE-B637-4EEA-868C-F012B01B3650}"/>
          </ac:spMkLst>
        </pc:spChg>
        <pc:spChg chg="mod">
          <ac:chgData name="Manal El Bakkouri" userId="8b130982-2e3f-4164-b881-fd3a2e4b2453" providerId="ADAL" clId="{4457FA57-250B-44AC-8655-05D46C5A3D8A}" dt="2023-06-02T09:25:14.135" v="4119" actId="165"/>
          <ac:spMkLst>
            <pc:docMk/>
            <pc:sldMk cId="234137734" sldId="230717682"/>
            <ac:spMk id="236" creationId="{0F49A166-9414-415F-8F4E-CBB9EF986E9A}"/>
          </ac:spMkLst>
        </pc:spChg>
        <pc:spChg chg="mod topLvl">
          <ac:chgData name="Manal El Bakkouri" userId="8b130982-2e3f-4164-b881-fd3a2e4b2453" providerId="ADAL" clId="{4457FA57-250B-44AC-8655-05D46C5A3D8A}" dt="2023-06-02T09:25:14.135" v="4119" actId="165"/>
          <ac:spMkLst>
            <pc:docMk/>
            <pc:sldMk cId="234137734" sldId="230717682"/>
            <ac:spMk id="241" creationId="{2B99B28A-2254-459A-9CAD-6C4085C8060B}"/>
          </ac:spMkLst>
        </pc:spChg>
        <pc:spChg chg="mod topLvl">
          <ac:chgData name="Manal El Bakkouri" userId="8b130982-2e3f-4164-b881-fd3a2e4b2453" providerId="ADAL" clId="{4457FA57-250B-44AC-8655-05D46C5A3D8A}" dt="2023-06-02T09:25:14.135" v="4119" actId="165"/>
          <ac:spMkLst>
            <pc:docMk/>
            <pc:sldMk cId="234137734" sldId="230717682"/>
            <ac:spMk id="242" creationId="{9478CA70-5A3B-4DA8-BC35-21CCDD84D178}"/>
          </ac:spMkLst>
        </pc:spChg>
        <pc:spChg chg="del">
          <ac:chgData name="Manal El Bakkouri" userId="8b130982-2e3f-4164-b881-fd3a2e4b2453" providerId="ADAL" clId="{4457FA57-250B-44AC-8655-05D46C5A3D8A}" dt="2023-06-06T09:34:45.591" v="9178" actId="478"/>
          <ac:spMkLst>
            <pc:docMk/>
            <pc:sldMk cId="234137734" sldId="230717682"/>
            <ac:spMk id="272" creationId="{7E1DDCAB-860D-4D5B-B04C-B08A60590651}"/>
          </ac:spMkLst>
        </pc:spChg>
        <pc:spChg chg="del">
          <ac:chgData name="Manal El Bakkouri" userId="8b130982-2e3f-4164-b881-fd3a2e4b2453" providerId="ADAL" clId="{4457FA57-250B-44AC-8655-05D46C5A3D8A}" dt="2023-06-06T09:34:45.591" v="9178" actId="478"/>
          <ac:spMkLst>
            <pc:docMk/>
            <pc:sldMk cId="234137734" sldId="230717682"/>
            <ac:spMk id="273" creationId="{BCC0A54D-1C1E-4C06-BF7C-1414A583989F}"/>
          </ac:spMkLst>
        </pc:spChg>
        <pc:spChg chg="del">
          <ac:chgData name="Manal El Bakkouri" userId="8b130982-2e3f-4164-b881-fd3a2e4b2453" providerId="ADAL" clId="{4457FA57-250B-44AC-8655-05D46C5A3D8A}" dt="2023-06-06T09:34:45.591" v="9178" actId="478"/>
          <ac:spMkLst>
            <pc:docMk/>
            <pc:sldMk cId="234137734" sldId="230717682"/>
            <ac:spMk id="274" creationId="{478BFE02-F071-4A8F-ABF8-FA5B9AD045E6}"/>
          </ac:spMkLst>
        </pc:spChg>
        <pc:spChg chg="del">
          <ac:chgData name="Manal El Bakkouri" userId="8b130982-2e3f-4164-b881-fd3a2e4b2453" providerId="ADAL" clId="{4457FA57-250B-44AC-8655-05D46C5A3D8A}" dt="2023-06-06T09:34:45.591" v="9178" actId="478"/>
          <ac:spMkLst>
            <pc:docMk/>
            <pc:sldMk cId="234137734" sldId="230717682"/>
            <ac:spMk id="277" creationId="{5827CEB6-8D48-422D-B08C-B1EA14C31C34}"/>
          </ac:spMkLst>
        </pc:spChg>
        <pc:spChg chg="del">
          <ac:chgData name="Manal El Bakkouri" userId="8b130982-2e3f-4164-b881-fd3a2e4b2453" providerId="ADAL" clId="{4457FA57-250B-44AC-8655-05D46C5A3D8A}" dt="2023-06-06T09:34:45.591" v="9178" actId="478"/>
          <ac:spMkLst>
            <pc:docMk/>
            <pc:sldMk cId="234137734" sldId="230717682"/>
            <ac:spMk id="278" creationId="{ADAB3BD5-1944-49EA-9972-D0B9B7BA549E}"/>
          </ac:spMkLst>
        </pc:spChg>
        <pc:spChg chg="del">
          <ac:chgData name="Manal El Bakkouri" userId="8b130982-2e3f-4164-b881-fd3a2e4b2453" providerId="ADAL" clId="{4457FA57-250B-44AC-8655-05D46C5A3D8A}" dt="2023-06-06T09:34:45.591" v="9178" actId="478"/>
          <ac:spMkLst>
            <pc:docMk/>
            <pc:sldMk cId="234137734" sldId="230717682"/>
            <ac:spMk id="296" creationId="{0C78CC53-5B38-437A-A062-910DBCF08B90}"/>
          </ac:spMkLst>
        </pc:spChg>
        <pc:spChg chg="del">
          <ac:chgData name="Manal El Bakkouri" userId="8b130982-2e3f-4164-b881-fd3a2e4b2453" providerId="ADAL" clId="{4457FA57-250B-44AC-8655-05D46C5A3D8A}" dt="2023-06-06T09:34:45.591" v="9178" actId="478"/>
          <ac:spMkLst>
            <pc:docMk/>
            <pc:sldMk cId="234137734" sldId="230717682"/>
            <ac:spMk id="297" creationId="{0D45248C-E2D1-4D34-A8FF-F8829028E7BE}"/>
          </ac:spMkLst>
        </pc:spChg>
        <pc:spChg chg="del">
          <ac:chgData name="Manal El Bakkouri" userId="8b130982-2e3f-4164-b881-fd3a2e4b2453" providerId="ADAL" clId="{4457FA57-250B-44AC-8655-05D46C5A3D8A}" dt="2023-06-06T09:34:45.591" v="9178" actId="478"/>
          <ac:spMkLst>
            <pc:docMk/>
            <pc:sldMk cId="234137734" sldId="230717682"/>
            <ac:spMk id="298" creationId="{A7B03ECD-5EB5-43FE-9A5F-D7C8959E924A}"/>
          </ac:spMkLst>
        </pc:spChg>
        <pc:spChg chg="del">
          <ac:chgData name="Manal El Bakkouri" userId="8b130982-2e3f-4164-b881-fd3a2e4b2453" providerId="ADAL" clId="{4457FA57-250B-44AC-8655-05D46C5A3D8A}" dt="2023-06-06T09:34:45.591" v="9178" actId="478"/>
          <ac:spMkLst>
            <pc:docMk/>
            <pc:sldMk cId="234137734" sldId="230717682"/>
            <ac:spMk id="301" creationId="{F78BFFE4-3702-488C-A71F-167F28CB1B36}"/>
          </ac:spMkLst>
        </pc:spChg>
        <pc:spChg chg="del">
          <ac:chgData name="Manal El Bakkouri" userId="8b130982-2e3f-4164-b881-fd3a2e4b2453" providerId="ADAL" clId="{4457FA57-250B-44AC-8655-05D46C5A3D8A}" dt="2023-06-06T09:34:45.591" v="9178" actId="478"/>
          <ac:spMkLst>
            <pc:docMk/>
            <pc:sldMk cId="234137734" sldId="230717682"/>
            <ac:spMk id="302" creationId="{C29E40C7-9746-4780-A19E-2343B3816D06}"/>
          </ac:spMkLst>
        </pc:spChg>
        <pc:grpChg chg="del">
          <ac:chgData name="Manal El Bakkouri" userId="8b130982-2e3f-4164-b881-fd3a2e4b2453" providerId="ADAL" clId="{4457FA57-250B-44AC-8655-05D46C5A3D8A}" dt="2023-06-02T09:25:14.135" v="4119" actId="165"/>
          <ac:grpSpMkLst>
            <pc:docMk/>
            <pc:sldMk cId="234137734" sldId="230717682"/>
            <ac:grpSpMk id="13" creationId="{FDB68C30-8CB3-4303-8206-D2653DE00B48}"/>
          </ac:grpSpMkLst>
        </pc:grpChg>
        <pc:grpChg chg="mod">
          <ac:chgData name="Manal El Bakkouri" userId="8b130982-2e3f-4164-b881-fd3a2e4b2453" providerId="ADAL" clId="{4457FA57-250B-44AC-8655-05D46C5A3D8A}" dt="2023-06-01T21:02:49.228" v="3586" actId="1076"/>
          <ac:grpSpMkLst>
            <pc:docMk/>
            <pc:sldMk cId="234137734" sldId="230717682"/>
            <ac:grpSpMk id="179" creationId="{A88D32F9-A61D-4EA3-BD03-88DC8D790FA5}"/>
          </ac:grpSpMkLst>
        </pc:grpChg>
        <pc:grpChg chg="del">
          <ac:chgData name="Manal El Bakkouri" userId="8b130982-2e3f-4164-b881-fd3a2e4b2453" providerId="ADAL" clId="{4457FA57-250B-44AC-8655-05D46C5A3D8A}" dt="2023-06-02T09:25:09.502" v="4118" actId="478"/>
          <ac:grpSpMkLst>
            <pc:docMk/>
            <pc:sldMk cId="234137734" sldId="230717682"/>
            <ac:grpSpMk id="186" creationId="{5F33E25D-ABE9-4E8F-8A6F-4A3CCCC4B14F}"/>
          </ac:grpSpMkLst>
        </pc:grpChg>
        <pc:grpChg chg="del">
          <ac:chgData name="Manal El Bakkouri" userId="8b130982-2e3f-4164-b881-fd3a2e4b2453" providerId="ADAL" clId="{4457FA57-250B-44AC-8655-05D46C5A3D8A}" dt="2023-06-02T09:24:46.331" v="4115" actId="478"/>
          <ac:grpSpMkLst>
            <pc:docMk/>
            <pc:sldMk cId="234137734" sldId="230717682"/>
            <ac:grpSpMk id="197" creationId="{6F275CF8-48E0-4EFF-A442-FE18771AAF48}"/>
          </ac:grpSpMkLst>
        </pc:grpChg>
        <pc:grpChg chg="del">
          <ac:chgData name="Manal El Bakkouri" userId="8b130982-2e3f-4164-b881-fd3a2e4b2453" providerId="ADAL" clId="{4457FA57-250B-44AC-8655-05D46C5A3D8A}" dt="2023-06-02T09:25:09.502" v="4118" actId="478"/>
          <ac:grpSpMkLst>
            <pc:docMk/>
            <pc:sldMk cId="234137734" sldId="230717682"/>
            <ac:grpSpMk id="204" creationId="{87B242A8-A867-4C54-8D2C-1D66F0752934}"/>
          </ac:grpSpMkLst>
        </pc:grpChg>
        <pc:grpChg chg="del">
          <ac:chgData name="Manal El Bakkouri" userId="8b130982-2e3f-4164-b881-fd3a2e4b2453" providerId="ADAL" clId="{4457FA57-250B-44AC-8655-05D46C5A3D8A}" dt="2023-06-02T09:25:09.502" v="4118" actId="478"/>
          <ac:grpSpMkLst>
            <pc:docMk/>
            <pc:sldMk cId="234137734" sldId="230717682"/>
            <ac:grpSpMk id="215" creationId="{1F058373-2274-4583-9DA6-DCED3E21738F}"/>
          </ac:grpSpMkLst>
        </pc:grpChg>
        <pc:grpChg chg="del mod topLvl">
          <ac:chgData name="Manal El Bakkouri" userId="8b130982-2e3f-4164-b881-fd3a2e4b2453" providerId="ADAL" clId="{4457FA57-250B-44AC-8655-05D46C5A3D8A}" dt="2023-06-02T09:25:19.281" v="4120" actId="478"/>
          <ac:grpSpMkLst>
            <pc:docMk/>
            <pc:sldMk cId="234137734" sldId="230717682"/>
            <ac:grpSpMk id="222" creationId="{7936A507-DE05-4618-8A9F-BAC9821D371E}"/>
          </ac:grpSpMkLst>
        </pc:grpChg>
        <pc:grpChg chg="del mod topLvl">
          <ac:chgData name="Manal El Bakkouri" userId="8b130982-2e3f-4164-b881-fd3a2e4b2453" providerId="ADAL" clId="{4457FA57-250B-44AC-8655-05D46C5A3D8A}" dt="2023-06-02T09:25:19.281" v="4120" actId="478"/>
          <ac:grpSpMkLst>
            <pc:docMk/>
            <pc:sldMk cId="234137734" sldId="230717682"/>
            <ac:grpSpMk id="233" creationId="{C7C367E7-C4EB-42EE-A8D7-7CA6A8082F5B}"/>
          </ac:grpSpMkLst>
        </pc:grpChg>
        <pc:grpChg chg="del">
          <ac:chgData name="Manal El Bakkouri" userId="8b130982-2e3f-4164-b881-fd3a2e4b2453" providerId="ADAL" clId="{4457FA57-250B-44AC-8655-05D46C5A3D8A}" dt="2023-06-02T09:25:09.502" v="4118" actId="478"/>
          <ac:grpSpMkLst>
            <pc:docMk/>
            <pc:sldMk cId="234137734" sldId="230717682"/>
            <ac:grpSpMk id="275" creationId="{DE15EE6C-EED8-40D9-8F8E-ACFE8AADFCBA}"/>
          </ac:grpSpMkLst>
        </pc:grpChg>
        <pc:grpChg chg="del">
          <ac:chgData name="Manal El Bakkouri" userId="8b130982-2e3f-4164-b881-fd3a2e4b2453" providerId="ADAL" clId="{4457FA57-250B-44AC-8655-05D46C5A3D8A}" dt="2023-06-02T09:25:09.502" v="4118" actId="478"/>
          <ac:grpSpMkLst>
            <pc:docMk/>
            <pc:sldMk cId="234137734" sldId="230717682"/>
            <ac:grpSpMk id="276" creationId="{F32E8A98-13A2-48A7-BE94-A23D369B56F0}"/>
          </ac:grpSpMkLst>
        </pc:grpChg>
        <pc:grpChg chg="del">
          <ac:chgData name="Manal El Bakkouri" userId="8b130982-2e3f-4164-b881-fd3a2e4b2453" providerId="ADAL" clId="{4457FA57-250B-44AC-8655-05D46C5A3D8A}" dt="2023-06-02T09:25:09.502" v="4118" actId="478"/>
          <ac:grpSpMkLst>
            <pc:docMk/>
            <pc:sldMk cId="234137734" sldId="230717682"/>
            <ac:grpSpMk id="299" creationId="{D953461C-ECF6-4D35-ABB1-A2629150F891}"/>
          </ac:grpSpMkLst>
        </pc:grpChg>
        <pc:grpChg chg="del">
          <ac:chgData name="Manal El Bakkouri" userId="8b130982-2e3f-4164-b881-fd3a2e4b2453" providerId="ADAL" clId="{4457FA57-250B-44AC-8655-05D46C5A3D8A}" dt="2023-06-02T09:25:09.502" v="4118" actId="478"/>
          <ac:grpSpMkLst>
            <pc:docMk/>
            <pc:sldMk cId="234137734" sldId="230717682"/>
            <ac:grpSpMk id="300" creationId="{8D88BF56-77DB-47D6-9FF6-B2CD74E5ACE9}"/>
          </ac:grpSpMkLst>
        </pc:grpChg>
        <pc:picChg chg="del">
          <ac:chgData name="Manal El Bakkouri" userId="8b130982-2e3f-4164-b881-fd3a2e4b2453" providerId="ADAL" clId="{4457FA57-250B-44AC-8655-05D46C5A3D8A}" dt="2023-06-01T21:04:47.085" v="3594" actId="478"/>
          <ac:picMkLst>
            <pc:docMk/>
            <pc:sldMk cId="234137734" sldId="230717682"/>
            <ac:picMk id="10" creationId="{90401B66-8202-444D-AE62-6E20AC93A874}"/>
          </ac:picMkLst>
        </pc:picChg>
        <pc:picChg chg="del">
          <ac:chgData name="Manal El Bakkouri" userId="8b130982-2e3f-4164-b881-fd3a2e4b2453" providerId="ADAL" clId="{4457FA57-250B-44AC-8655-05D46C5A3D8A}" dt="2023-06-01T21:04:48.344" v="3595" actId="478"/>
          <ac:picMkLst>
            <pc:docMk/>
            <pc:sldMk cId="234137734" sldId="230717682"/>
            <ac:picMk id="12" creationId="{ECB9EA54-1E7D-4C41-B934-C8A70D797E4B}"/>
          </ac:picMkLst>
        </pc:picChg>
        <pc:picChg chg="del">
          <ac:chgData name="Manal El Bakkouri" userId="8b130982-2e3f-4164-b881-fd3a2e4b2453" providerId="ADAL" clId="{4457FA57-250B-44AC-8655-05D46C5A3D8A}" dt="2023-06-06T09:34:45.591" v="9178" actId="478"/>
          <ac:picMkLst>
            <pc:docMk/>
            <pc:sldMk cId="234137734" sldId="230717682"/>
            <ac:picMk id="30" creationId="{BF491D0C-38A4-4AA2-BA19-BE8647810F1B}"/>
          </ac:picMkLst>
        </pc:picChg>
        <pc:picChg chg="del">
          <ac:chgData name="Manal El Bakkouri" userId="8b130982-2e3f-4164-b881-fd3a2e4b2453" providerId="ADAL" clId="{4457FA57-250B-44AC-8655-05D46C5A3D8A}" dt="2023-06-06T09:34:45.591" v="9178" actId="478"/>
          <ac:picMkLst>
            <pc:docMk/>
            <pc:sldMk cId="234137734" sldId="230717682"/>
            <ac:picMk id="32" creationId="{BFD1551C-3003-4074-96A8-71BCFEE5E1CD}"/>
          </ac:picMkLst>
        </pc:picChg>
        <pc:picChg chg="add mod">
          <ac:chgData name="Manal El Bakkouri" userId="8b130982-2e3f-4164-b881-fd3a2e4b2453" providerId="ADAL" clId="{4457FA57-250B-44AC-8655-05D46C5A3D8A}" dt="2023-06-06T09:34:46.465" v="9179"/>
          <ac:picMkLst>
            <pc:docMk/>
            <pc:sldMk cId="234137734" sldId="230717682"/>
            <ac:picMk id="137" creationId="{CEA17F05-B7B2-411A-95F0-BED636DD00E2}"/>
          </ac:picMkLst>
        </pc:picChg>
        <pc:picChg chg="add mod">
          <ac:chgData name="Manal El Bakkouri" userId="8b130982-2e3f-4164-b881-fd3a2e4b2453" providerId="ADAL" clId="{4457FA57-250B-44AC-8655-05D46C5A3D8A}" dt="2023-06-06T09:34:46.465" v="9179"/>
          <ac:picMkLst>
            <pc:docMk/>
            <pc:sldMk cId="234137734" sldId="230717682"/>
            <ac:picMk id="140" creationId="{FA891DAB-7A33-444E-B49C-479E8F3C8DDD}"/>
          </ac:picMkLst>
        </pc:picChg>
      </pc:sldChg>
      <pc:sldChg chg="addSp delSp modSp new mod ord modTransition modAnim modNotesTx">
        <pc:chgData name="Manal El Bakkouri" userId="8b130982-2e3f-4164-b881-fd3a2e4b2453" providerId="ADAL" clId="{4457FA57-250B-44AC-8655-05D46C5A3D8A}" dt="2023-06-09T11:30:17.363" v="21769"/>
        <pc:sldMkLst>
          <pc:docMk/>
          <pc:sldMk cId="3463172032" sldId="230717683"/>
        </pc:sldMkLst>
        <pc:spChg chg="del">
          <ac:chgData name="Manal El Bakkouri" userId="8b130982-2e3f-4164-b881-fd3a2e4b2453" providerId="ADAL" clId="{4457FA57-250B-44AC-8655-05D46C5A3D8A}" dt="2023-06-01T21:14:32.518" v="3605" actId="478"/>
          <ac:spMkLst>
            <pc:docMk/>
            <pc:sldMk cId="3463172032" sldId="230717683"/>
            <ac:spMk id="2" creationId="{E2461C8D-19AA-4033-A3E0-129704C8F1C8}"/>
          </ac:spMkLst>
        </pc:spChg>
        <pc:spChg chg="del">
          <ac:chgData name="Manal El Bakkouri" userId="8b130982-2e3f-4164-b881-fd3a2e4b2453" providerId="ADAL" clId="{4457FA57-250B-44AC-8655-05D46C5A3D8A}" dt="2023-06-01T21:14:33.511" v="3606" actId="478"/>
          <ac:spMkLst>
            <pc:docMk/>
            <pc:sldMk cId="3463172032" sldId="230717683"/>
            <ac:spMk id="3" creationId="{32FA9C41-014D-49C7-BC6A-BA067E5ECE5D}"/>
          </ac:spMkLst>
        </pc:spChg>
        <pc:spChg chg="del">
          <ac:chgData name="Manal El Bakkouri" userId="8b130982-2e3f-4164-b881-fd3a2e4b2453" providerId="ADAL" clId="{4457FA57-250B-44AC-8655-05D46C5A3D8A}" dt="2023-06-01T21:14:35.307" v="3607" actId="478"/>
          <ac:spMkLst>
            <pc:docMk/>
            <pc:sldMk cId="3463172032" sldId="230717683"/>
            <ac:spMk id="4" creationId="{94968F9E-0F19-475C-9CFF-1D77A620677D}"/>
          </ac:spMkLst>
        </pc:spChg>
        <pc:spChg chg="add del mod">
          <ac:chgData name="Manal El Bakkouri" userId="8b130982-2e3f-4164-b881-fd3a2e4b2453" providerId="ADAL" clId="{4457FA57-250B-44AC-8655-05D46C5A3D8A}" dt="2023-06-02T15:14:20.943" v="5445" actId="478"/>
          <ac:spMkLst>
            <pc:docMk/>
            <pc:sldMk cId="3463172032" sldId="230717683"/>
            <ac:spMk id="5" creationId="{3FBD5709-5EA5-4800-BFAE-D683E9EA59B7}"/>
          </ac:spMkLst>
        </pc:spChg>
        <pc:spChg chg="add del mod">
          <ac:chgData name="Manal El Bakkouri" userId="8b130982-2e3f-4164-b881-fd3a2e4b2453" providerId="ADAL" clId="{4457FA57-250B-44AC-8655-05D46C5A3D8A}" dt="2023-06-09T11:30:17.019" v="21768" actId="478"/>
          <ac:spMkLst>
            <pc:docMk/>
            <pc:sldMk cId="3463172032" sldId="230717683"/>
            <ac:spMk id="7" creationId="{B2FAACA5-EFCE-4655-8761-6FEC03BDB0B0}"/>
          </ac:spMkLst>
        </pc:spChg>
        <pc:spChg chg="add del mod">
          <ac:chgData name="Manal El Bakkouri" userId="8b130982-2e3f-4164-b881-fd3a2e4b2453" providerId="ADAL" clId="{4457FA57-250B-44AC-8655-05D46C5A3D8A}" dt="2023-06-09T11:30:17.019" v="21768" actId="478"/>
          <ac:spMkLst>
            <pc:docMk/>
            <pc:sldMk cId="3463172032" sldId="230717683"/>
            <ac:spMk id="8" creationId="{A45F0BFB-3688-4B96-9AC7-BF0E08B3F706}"/>
          </ac:spMkLst>
        </pc:spChg>
        <pc:spChg chg="add del mod">
          <ac:chgData name="Manal El Bakkouri" userId="8b130982-2e3f-4164-b881-fd3a2e4b2453" providerId="ADAL" clId="{4457FA57-250B-44AC-8655-05D46C5A3D8A}" dt="2023-06-09T11:30:17.019" v="21768" actId="478"/>
          <ac:spMkLst>
            <pc:docMk/>
            <pc:sldMk cId="3463172032" sldId="230717683"/>
            <ac:spMk id="9" creationId="{3888FD4A-C7D4-459E-B558-4260C7973FD2}"/>
          </ac:spMkLst>
        </pc:spChg>
        <pc:spChg chg="add mod">
          <ac:chgData name="Manal El Bakkouri" userId="8b130982-2e3f-4164-b881-fd3a2e4b2453" providerId="ADAL" clId="{4457FA57-250B-44AC-8655-05D46C5A3D8A}" dt="2023-06-01T21:14:54.077" v="3611"/>
          <ac:spMkLst>
            <pc:docMk/>
            <pc:sldMk cId="3463172032" sldId="230717683"/>
            <ac:spMk id="10" creationId="{3D5DEBAD-EE21-4147-8022-15F2302CAFF4}"/>
          </ac:spMkLst>
        </pc:spChg>
        <pc:spChg chg="add mod">
          <ac:chgData name="Manal El Bakkouri" userId="8b130982-2e3f-4164-b881-fd3a2e4b2453" providerId="ADAL" clId="{4457FA57-250B-44AC-8655-05D46C5A3D8A}" dt="2023-06-01T21:14:54.077" v="3611"/>
          <ac:spMkLst>
            <pc:docMk/>
            <pc:sldMk cId="3463172032" sldId="230717683"/>
            <ac:spMk id="11" creationId="{922A0F04-4F24-4EBA-AACB-25E139983E75}"/>
          </ac:spMkLst>
        </pc:spChg>
        <pc:spChg chg="add mod">
          <ac:chgData name="Manal El Bakkouri" userId="8b130982-2e3f-4164-b881-fd3a2e4b2453" providerId="ADAL" clId="{4457FA57-250B-44AC-8655-05D46C5A3D8A}" dt="2023-06-01T21:14:54.077" v="3611"/>
          <ac:spMkLst>
            <pc:docMk/>
            <pc:sldMk cId="3463172032" sldId="230717683"/>
            <ac:spMk id="12" creationId="{BD265163-4FB0-4BF7-9B08-27E4EF456E4B}"/>
          </ac:spMkLst>
        </pc:spChg>
        <pc:spChg chg="add mod">
          <ac:chgData name="Manal El Bakkouri" userId="8b130982-2e3f-4164-b881-fd3a2e4b2453" providerId="ADAL" clId="{4457FA57-250B-44AC-8655-05D46C5A3D8A}" dt="2023-06-01T21:14:54.077" v="3611"/>
          <ac:spMkLst>
            <pc:docMk/>
            <pc:sldMk cId="3463172032" sldId="230717683"/>
            <ac:spMk id="13" creationId="{CCD1FC7D-D577-4AAE-84A3-4617CE362D80}"/>
          </ac:spMkLst>
        </pc:spChg>
        <pc:spChg chg="add mod">
          <ac:chgData name="Manal El Bakkouri" userId="8b130982-2e3f-4164-b881-fd3a2e4b2453" providerId="ADAL" clId="{4457FA57-250B-44AC-8655-05D46C5A3D8A}" dt="2023-06-01T21:14:54.077" v="3611"/>
          <ac:spMkLst>
            <pc:docMk/>
            <pc:sldMk cId="3463172032" sldId="230717683"/>
            <ac:spMk id="14" creationId="{80F3530F-1577-4FCE-A946-753F98785B3D}"/>
          </ac:spMkLst>
        </pc:spChg>
        <pc:spChg chg="add mod">
          <ac:chgData name="Manal El Bakkouri" userId="8b130982-2e3f-4164-b881-fd3a2e4b2453" providerId="ADAL" clId="{4457FA57-250B-44AC-8655-05D46C5A3D8A}" dt="2023-06-01T21:14:54.077" v="3611"/>
          <ac:spMkLst>
            <pc:docMk/>
            <pc:sldMk cId="3463172032" sldId="230717683"/>
            <ac:spMk id="15" creationId="{7DEEA3FD-B6E0-4032-A5D4-A43A5B313F05}"/>
          </ac:spMkLst>
        </pc:spChg>
        <pc:spChg chg="add mod">
          <ac:chgData name="Manal El Bakkouri" userId="8b130982-2e3f-4164-b881-fd3a2e4b2453" providerId="ADAL" clId="{4457FA57-250B-44AC-8655-05D46C5A3D8A}" dt="2023-06-09T11:30:17.363" v="21769"/>
          <ac:spMkLst>
            <pc:docMk/>
            <pc:sldMk cId="3463172032" sldId="230717683"/>
            <ac:spMk id="21" creationId="{BACFF1A5-7E01-45F1-8FDB-5DE2B3818B91}"/>
          </ac:spMkLst>
        </pc:spChg>
        <pc:spChg chg="add mod">
          <ac:chgData name="Manal El Bakkouri" userId="8b130982-2e3f-4164-b881-fd3a2e4b2453" providerId="ADAL" clId="{4457FA57-250B-44AC-8655-05D46C5A3D8A}" dt="2023-06-09T11:30:17.363" v="21769"/>
          <ac:spMkLst>
            <pc:docMk/>
            <pc:sldMk cId="3463172032" sldId="230717683"/>
            <ac:spMk id="22" creationId="{91DA84A4-B208-47FA-B1D3-93FBD8D24946}"/>
          </ac:spMkLst>
        </pc:spChg>
        <pc:spChg chg="add mod">
          <ac:chgData name="Manal El Bakkouri" userId="8b130982-2e3f-4164-b881-fd3a2e4b2453" providerId="ADAL" clId="{4457FA57-250B-44AC-8655-05D46C5A3D8A}" dt="2023-06-09T11:30:17.363" v="21769"/>
          <ac:spMkLst>
            <pc:docMk/>
            <pc:sldMk cId="3463172032" sldId="230717683"/>
            <ac:spMk id="23" creationId="{BFAEE232-5E85-41D0-8CEA-8B3B0668E9CC}"/>
          </ac:spMkLst>
        </pc:spChg>
        <pc:spChg chg="add mod">
          <ac:chgData name="Manal El Bakkouri" userId="8b130982-2e3f-4164-b881-fd3a2e4b2453" providerId="ADAL" clId="{4457FA57-250B-44AC-8655-05D46C5A3D8A}" dt="2023-06-02T15:14:21.206" v="5446"/>
          <ac:spMkLst>
            <pc:docMk/>
            <pc:sldMk cId="3463172032" sldId="230717683"/>
            <ac:spMk id="24" creationId="{9014089C-40CF-478A-AB3C-D25EC6B791D7}"/>
          </ac:spMkLst>
        </pc:spChg>
        <pc:spChg chg="add del mod">
          <ac:chgData name="Manal El Bakkouri" userId="8b130982-2e3f-4164-b881-fd3a2e4b2453" providerId="ADAL" clId="{4457FA57-250B-44AC-8655-05D46C5A3D8A}" dt="2023-06-04T13:12:47.685" v="7716"/>
          <ac:spMkLst>
            <pc:docMk/>
            <pc:sldMk cId="3463172032" sldId="230717683"/>
            <ac:spMk id="25" creationId="{6900148C-CAC6-4369-AFD9-265931A60E3F}"/>
          </ac:spMkLst>
        </pc:spChg>
        <pc:spChg chg="add mod">
          <ac:chgData name="Manal El Bakkouri" userId="8b130982-2e3f-4164-b881-fd3a2e4b2453" providerId="ADAL" clId="{4457FA57-250B-44AC-8655-05D46C5A3D8A}" dt="2023-06-09T11:30:17.363" v="21769"/>
          <ac:spMkLst>
            <pc:docMk/>
            <pc:sldMk cId="3463172032" sldId="230717683"/>
            <ac:spMk id="25" creationId="{8A704462-BE6C-45C2-8E3D-9DE092D6FB25}"/>
          </ac:spMkLst>
        </pc:spChg>
        <pc:spChg chg="add mod">
          <ac:chgData name="Manal El Bakkouri" userId="8b130982-2e3f-4164-b881-fd3a2e4b2453" providerId="ADAL" clId="{4457FA57-250B-44AC-8655-05D46C5A3D8A}" dt="2023-06-04T13:14:05.137" v="7740" actId="20577"/>
          <ac:spMkLst>
            <pc:docMk/>
            <pc:sldMk cId="3463172032" sldId="230717683"/>
            <ac:spMk id="26" creationId="{C05185DA-9EB2-42AA-BF30-DC88CEC63CF5}"/>
          </ac:spMkLst>
        </pc:spChg>
        <pc:grpChg chg="add mod">
          <ac:chgData name="Manal El Bakkouri" userId="8b130982-2e3f-4164-b881-fd3a2e4b2453" providerId="ADAL" clId="{4457FA57-250B-44AC-8655-05D46C5A3D8A}" dt="2023-06-01T21:16:57.606" v="3627" actId="164"/>
          <ac:grpSpMkLst>
            <pc:docMk/>
            <pc:sldMk cId="3463172032" sldId="230717683"/>
            <ac:grpSpMk id="18" creationId="{6AEC92D6-599C-4CCA-BC22-7EFCBF120DA3}"/>
          </ac:grpSpMkLst>
        </pc:grpChg>
        <pc:grpChg chg="add mod ord">
          <ac:chgData name="Manal El Bakkouri" userId="8b130982-2e3f-4164-b881-fd3a2e4b2453" providerId="ADAL" clId="{4457FA57-250B-44AC-8655-05D46C5A3D8A}" dt="2023-06-02T09:13:57.740" v="3982" actId="166"/>
          <ac:grpSpMkLst>
            <pc:docMk/>
            <pc:sldMk cId="3463172032" sldId="230717683"/>
            <ac:grpSpMk id="20" creationId="{291FDADA-E666-4DD9-A5F2-F157A287EBE1}"/>
          </ac:grpSpMkLst>
        </pc:grpChg>
        <pc:picChg chg="add mod ord">
          <ac:chgData name="Manal El Bakkouri" userId="8b130982-2e3f-4164-b881-fd3a2e4b2453" providerId="ADAL" clId="{4457FA57-250B-44AC-8655-05D46C5A3D8A}" dt="2023-06-01T21:14:47.238" v="3610" actId="167"/>
          <ac:picMkLst>
            <pc:docMk/>
            <pc:sldMk cId="3463172032" sldId="230717683"/>
            <ac:picMk id="6" creationId="{60F2190A-0A80-4435-A50F-BFB664B97049}"/>
          </ac:picMkLst>
        </pc:picChg>
        <pc:picChg chg="add mod">
          <ac:chgData name="Manal El Bakkouri" userId="8b130982-2e3f-4164-b881-fd3a2e4b2453" providerId="ADAL" clId="{4457FA57-250B-44AC-8655-05D46C5A3D8A}" dt="2023-06-01T21:16:05.885" v="3622" actId="164"/>
          <ac:picMkLst>
            <pc:docMk/>
            <pc:sldMk cId="3463172032" sldId="230717683"/>
            <ac:picMk id="16" creationId="{C6CE5758-8175-4EB3-AA6A-C208AE87A1C0}"/>
          </ac:picMkLst>
        </pc:picChg>
        <pc:picChg chg="add mod">
          <ac:chgData name="Manal El Bakkouri" userId="8b130982-2e3f-4164-b881-fd3a2e4b2453" providerId="ADAL" clId="{4457FA57-250B-44AC-8655-05D46C5A3D8A}" dt="2023-06-01T21:16:05.885" v="3622" actId="164"/>
          <ac:picMkLst>
            <pc:docMk/>
            <pc:sldMk cId="3463172032" sldId="230717683"/>
            <ac:picMk id="17" creationId="{AF3307EB-5635-40FD-8A79-E358FA8D15F5}"/>
          </ac:picMkLst>
        </pc:picChg>
        <pc:picChg chg="add mod">
          <ac:chgData name="Manal El Bakkouri" userId="8b130982-2e3f-4164-b881-fd3a2e4b2453" providerId="ADAL" clId="{4457FA57-250B-44AC-8655-05D46C5A3D8A}" dt="2023-06-01T21:16:57.606" v="3627" actId="164"/>
          <ac:picMkLst>
            <pc:docMk/>
            <pc:sldMk cId="3463172032" sldId="230717683"/>
            <ac:picMk id="19" creationId="{C7A8ABFC-FFB2-4F08-8513-44B1CD9168F0}"/>
          </ac:picMkLst>
        </pc:picChg>
        <pc:picChg chg="add del mod ord">
          <ac:chgData name="Manal El Bakkouri" userId="8b130982-2e3f-4164-b881-fd3a2e4b2453" providerId="ADAL" clId="{4457FA57-250B-44AC-8655-05D46C5A3D8A}" dt="2023-06-06T09:39:27.087" v="9232" actId="478"/>
          <ac:picMkLst>
            <pc:docMk/>
            <pc:sldMk cId="3463172032" sldId="230717683"/>
            <ac:picMk id="21" creationId="{26F892A1-85EE-4E08-B1C5-00F575121FD8}"/>
          </ac:picMkLst>
        </pc:picChg>
        <pc:picChg chg="add del mod">
          <ac:chgData name="Manal El Bakkouri" userId="8b130982-2e3f-4164-b881-fd3a2e4b2453" providerId="ADAL" clId="{4457FA57-250B-44AC-8655-05D46C5A3D8A}" dt="2023-06-02T09:14:13.896" v="3985" actId="478"/>
          <ac:picMkLst>
            <pc:docMk/>
            <pc:sldMk cId="3463172032" sldId="230717683"/>
            <ac:picMk id="23" creationId="{A193C69B-36A2-4B9B-B66C-D61985C1C5C9}"/>
          </ac:picMkLst>
        </pc:picChg>
        <pc:picChg chg="add del mod">
          <ac:chgData name="Manal El Bakkouri" userId="8b130982-2e3f-4164-b881-fd3a2e4b2453" providerId="ADAL" clId="{4457FA57-250B-44AC-8655-05D46C5A3D8A}" dt="2023-06-06T10:39:07.376" v="9789" actId="478"/>
          <ac:picMkLst>
            <pc:docMk/>
            <pc:sldMk cId="3463172032" sldId="230717683"/>
            <ac:picMk id="27" creationId="{7765A913-D07A-4AAC-950A-27AF2DC440C9}"/>
          </ac:picMkLst>
        </pc:picChg>
        <pc:picChg chg="add del mod">
          <ac:chgData name="Manal El Bakkouri" userId="8b130982-2e3f-4164-b881-fd3a2e4b2453" providerId="ADAL" clId="{4457FA57-250B-44AC-8655-05D46C5A3D8A}" dt="2023-06-06T10:39:16.680" v="9790" actId="478"/>
          <ac:picMkLst>
            <pc:docMk/>
            <pc:sldMk cId="3463172032" sldId="230717683"/>
            <ac:picMk id="28" creationId="{DF44311A-B1EB-47E2-808E-3EDC8BDCF4CE}"/>
          </ac:picMkLst>
        </pc:picChg>
      </pc:sldChg>
      <pc:sldChg chg="addSp delSp modSp add mod ord modTransition modNotesTx">
        <pc:chgData name="Manal El Bakkouri" userId="8b130982-2e3f-4164-b881-fd3a2e4b2453" providerId="ADAL" clId="{4457FA57-250B-44AC-8655-05D46C5A3D8A}" dt="2023-06-09T11:30:37.987" v="21777"/>
        <pc:sldMkLst>
          <pc:docMk/>
          <pc:sldMk cId="1201520795" sldId="230717684"/>
        </pc:sldMkLst>
        <pc:spChg chg="del">
          <ac:chgData name="Manal El Bakkouri" userId="8b130982-2e3f-4164-b881-fd3a2e4b2453" providerId="ADAL" clId="{4457FA57-250B-44AC-8655-05D46C5A3D8A}" dt="2023-06-02T15:14:11.403" v="5439" actId="478"/>
          <ac:spMkLst>
            <pc:docMk/>
            <pc:sldMk cId="1201520795" sldId="230717684"/>
            <ac:spMk id="5" creationId="{3FBD5709-5EA5-4800-BFAE-D683E9EA59B7}"/>
          </ac:spMkLst>
        </pc:spChg>
        <pc:spChg chg="del">
          <ac:chgData name="Manal El Bakkouri" userId="8b130982-2e3f-4164-b881-fd3a2e4b2453" providerId="ADAL" clId="{4457FA57-250B-44AC-8655-05D46C5A3D8A}" dt="2023-06-09T11:30:37.676" v="21776" actId="478"/>
          <ac:spMkLst>
            <pc:docMk/>
            <pc:sldMk cId="1201520795" sldId="230717684"/>
            <ac:spMk id="7" creationId="{B2FAACA5-EFCE-4655-8761-6FEC03BDB0B0}"/>
          </ac:spMkLst>
        </pc:spChg>
        <pc:spChg chg="del">
          <ac:chgData name="Manal El Bakkouri" userId="8b130982-2e3f-4164-b881-fd3a2e4b2453" providerId="ADAL" clId="{4457FA57-250B-44AC-8655-05D46C5A3D8A}" dt="2023-06-09T11:30:37.676" v="21776" actId="478"/>
          <ac:spMkLst>
            <pc:docMk/>
            <pc:sldMk cId="1201520795" sldId="230717684"/>
            <ac:spMk id="8" creationId="{A45F0BFB-3688-4B96-9AC7-BF0E08B3F706}"/>
          </ac:spMkLst>
        </pc:spChg>
        <pc:spChg chg="del">
          <ac:chgData name="Manal El Bakkouri" userId="8b130982-2e3f-4164-b881-fd3a2e4b2453" providerId="ADAL" clId="{4457FA57-250B-44AC-8655-05D46C5A3D8A}" dt="2023-06-09T11:30:37.676" v="21776" actId="478"/>
          <ac:spMkLst>
            <pc:docMk/>
            <pc:sldMk cId="1201520795" sldId="230717684"/>
            <ac:spMk id="9" creationId="{3888FD4A-C7D4-459E-B558-4260C7973FD2}"/>
          </ac:spMkLst>
        </pc:spChg>
        <pc:spChg chg="add mod">
          <ac:chgData name="Manal El Bakkouri" userId="8b130982-2e3f-4164-b881-fd3a2e4b2453" providerId="ADAL" clId="{4457FA57-250B-44AC-8655-05D46C5A3D8A}" dt="2023-06-09T11:30:37.987" v="21777"/>
          <ac:spMkLst>
            <pc:docMk/>
            <pc:sldMk cId="1201520795" sldId="230717684"/>
            <ac:spMk id="22" creationId="{8F95783D-78B0-4F8E-AECF-14E7DA75B9E7}"/>
          </ac:spMkLst>
        </pc:spChg>
        <pc:spChg chg="add mod">
          <ac:chgData name="Manal El Bakkouri" userId="8b130982-2e3f-4164-b881-fd3a2e4b2453" providerId="ADAL" clId="{4457FA57-250B-44AC-8655-05D46C5A3D8A}" dt="2023-06-09T11:30:37.987" v="21777"/>
          <ac:spMkLst>
            <pc:docMk/>
            <pc:sldMk cId="1201520795" sldId="230717684"/>
            <ac:spMk id="23" creationId="{901FA82B-87B9-41FE-A812-82FCF0F41C27}"/>
          </ac:spMkLst>
        </pc:spChg>
        <pc:spChg chg="add mod">
          <ac:chgData name="Manal El Bakkouri" userId="8b130982-2e3f-4164-b881-fd3a2e4b2453" providerId="ADAL" clId="{4457FA57-250B-44AC-8655-05D46C5A3D8A}" dt="2023-06-09T11:30:37.987" v="21777"/>
          <ac:spMkLst>
            <pc:docMk/>
            <pc:sldMk cId="1201520795" sldId="230717684"/>
            <ac:spMk id="24" creationId="{CFF5DBA4-966C-443F-A5A1-1A457BE5DCD6}"/>
          </ac:spMkLst>
        </pc:spChg>
        <pc:spChg chg="add mod">
          <ac:chgData name="Manal El Bakkouri" userId="8b130982-2e3f-4164-b881-fd3a2e4b2453" providerId="ADAL" clId="{4457FA57-250B-44AC-8655-05D46C5A3D8A}" dt="2023-06-09T11:30:37.987" v="21777"/>
          <ac:spMkLst>
            <pc:docMk/>
            <pc:sldMk cId="1201520795" sldId="230717684"/>
            <ac:spMk id="25" creationId="{237024A9-5C24-494E-ADB4-F8CC2BF6E80A}"/>
          </ac:spMkLst>
        </pc:spChg>
        <pc:spChg chg="add mod">
          <ac:chgData name="Manal El Bakkouri" userId="8b130982-2e3f-4164-b881-fd3a2e4b2453" providerId="ADAL" clId="{4457FA57-250B-44AC-8655-05D46C5A3D8A}" dt="2023-06-02T15:14:11.639" v="5440"/>
          <ac:spMkLst>
            <pc:docMk/>
            <pc:sldMk cId="1201520795" sldId="230717684"/>
            <ac:spMk id="30" creationId="{7CA1ABAA-8B38-4259-BC79-35A3B8912BE8}"/>
          </ac:spMkLst>
        </pc:spChg>
        <pc:spChg chg="add del mod">
          <ac:chgData name="Manal El Bakkouri" userId="8b130982-2e3f-4164-b881-fd3a2e4b2453" providerId="ADAL" clId="{4457FA57-250B-44AC-8655-05D46C5A3D8A}" dt="2023-06-04T10:47:40.222" v="6488" actId="478"/>
          <ac:spMkLst>
            <pc:docMk/>
            <pc:sldMk cId="1201520795" sldId="230717684"/>
            <ac:spMk id="32" creationId="{04ACB199-CACC-44FE-B650-D9DED11B9AEA}"/>
          </ac:spMkLst>
        </pc:spChg>
        <pc:spChg chg="add mod">
          <ac:chgData name="Manal El Bakkouri" userId="8b130982-2e3f-4164-b881-fd3a2e4b2453" providerId="ADAL" clId="{4457FA57-250B-44AC-8655-05D46C5A3D8A}" dt="2023-06-06T10:11:06.989" v="9418" actId="14100"/>
          <ac:spMkLst>
            <pc:docMk/>
            <pc:sldMk cId="1201520795" sldId="230717684"/>
            <ac:spMk id="33" creationId="{0C10A029-C052-446E-968C-3D5EC2C6106E}"/>
          </ac:spMkLst>
        </pc:spChg>
        <pc:spChg chg="add del mod">
          <ac:chgData name="Manal El Bakkouri" userId="8b130982-2e3f-4164-b881-fd3a2e4b2453" providerId="ADAL" clId="{4457FA57-250B-44AC-8655-05D46C5A3D8A}" dt="2023-06-04T13:12:44.590" v="7712"/>
          <ac:spMkLst>
            <pc:docMk/>
            <pc:sldMk cId="1201520795" sldId="230717684"/>
            <ac:spMk id="34" creationId="{FAA12DB7-D433-4A43-ABDA-8FF395FBDF56}"/>
          </ac:spMkLst>
        </pc:spChg>
        <pc:spChg chg="add mod">
          <ac:chgData name="Manal El Bakkouri" userId="8b130982-2e3f-4164-b881-fd3a2e4b2453" providerId="ADAL" clId="{4457FA57-250B-44AC-8655-05D46C5A3D8A}" dt="2023-06-04T13:14:22.938" v="7749" actId="20577"/>
          <ac:spMkLst>
            <pc:docMk/>
            <pc:sldMk cId="1201520795" sldId="230717684"/>
            <ac:spMk id="35" creationId="{ABBECA63-7CF9-4642-AA4C-8071057956F3}"/>
          </ac:spMkLst>
        </pc:spChg>
        <pc:grpChg chg="add del mod">
          <ac:chgData name="Manal El Bakkouri" userId="8b130982-2e3f-4164-b881-fd3a2e4b2453" providerId="ADAL" clId="{4457FA57-250B-44AC-8655-05D46C5A3D8A}" dt="2023-06-01T21:20:56.622" v="3691" actId="478"/>
          <ac:grpSpMkLst>
            <pc:docMk/>
            <pc:sldMk cId="1201520795" sldId="230717684"/>
            <ac:grpSpMk id="22" creationId="{C3011EDC-114A-4720-B4D5-826E9B3A04C7}"/>
          </ac:grpSpMkLst>
        </pc:grpChg>
        <pc:grpChg chg="add del mod topLvl">
          <ac:chgData name="Manal El Bakkouri" userId="8b130982-2e3f-4164-b881-fd3a2e4b2453" providerId="ADAL" clId="{4457FA57-250B-44AC-8655-05D46C5A3D8A}" dt="2023-06-01T21:20:55.778" v="3690" actId="478"/>
          <ac:grpSpMkLst>
            <pc:docMk/>
            <pc:sldMk cId="1201520795" sldId="230717684"/>
            <ac:grpSpMk id="23" creationId="{1782E2A8-5C59-4AD1-87EE-6CE86D788CCC}"/>
          </ac:grpSpMkLst>
        </pc:grpChg>
        <pc:grpChg chg="add del mod">
          <ac:chgData name="Manal El Bakkouri" userId="8b130982-2e3f-4164-b881-fd3a2e4b2453" providerId="ADAL" clId="{4457FA57-250B-44AC-8655-05D46C5A3D8A}" dt="2023-06-06T09:44:16.253" v="9261" actId="478"/>
          <ac:grpSpMkLst>
            <pc:docMk/>
            <pc:sldMk cId="1201520795" sldId="230717684"/>
            <ac:grpSpMk id="29" creationId="{38CB99D2-249F-4DC4-A079-7771A0004AB5}"/>
          </ac:grpSpMkLst>
        </pc:grpChg>
        <pc:picChg chg="add del mod ord topLvl">
          <ac:chgData name="Manal El Bakkouri" userId="8b130982-2e3f-4164-b881-fd3a2e4b2453" providerId="ADAL" clId="{4457FA57-250B-44AC-8655-05D46C5A3D8A}" dt="2023-06-06T09:44:16.253" v="9261" actId="478"/>
          <ac:picMkLst>
            <pc:docMk/>
            <pc:sldMk cId="1201520795" sldId="230717684"/>
            <ac:picMk id="3" creationId="{3A44552A-71BE-4DAB-8B2E-30085592CB03}"/>
          </ac:picMkLst>
        </pc:picChg>
        <pc:picChg chg="mod">
          <ac:chgData name="Manal El Bakkouri" userId="8b130982-2e3f-4164-b881-fd3a2e4b2453" providerId="ADAL" clId="{4457FA57-250B-44AC-8655-05D46C5A3D8A}" dt="2023-06-04T10:43:57.681" v="6470" actId="1076"/>
          <ac:picMkLst>
            <pc:docMk/>
            <pc:sldMk cId="1201520795" sldId="230717684"/>
            <ac:picMk id="6" creationId="{60F2190A-0A80-4435-A50F-BFB664B97049}"/>
          </ac:picMkLst>
        </pc:picChg>
        <pc:picChg chg="add del mod ord">
          <ac:chgData name="Manal El Bakkouri" userId="8b130982-2e3f-4164-b881-fd3a2e4b2453" providerId="ADAL" clId="{4457FA57-250B-44AC-8655-05D46C5A3D8A}" dt="2023-06-01T21:33:37.633" v="3771" actId="478"/>
          <ac:picMkLst>
            <pc:docMk/>
            <pc:sldMk cId="1201520795" sldId="230717684"/>
            <ac:picMk id="21" creationId="{8C6EA505-4495-48A9-938F-538D967A5FF5}"/>
          </ac:picMkLst>
        </pc:picChg>
        <pc:picChg chg="mod topLvl">
          <ac:chgData name="Manal El Bakkouri" userId="8b130982-2e3f-4164-b881-fd3a2e4b2453" providerId="ADAL" clId="{4457FA57-250B-44AC-8655-05D46C5A3D8A}" dt="2023-06-01T21:20:49.655" v="3683" actId="165"/>
          <ac:picMkLst>
            <pc:docMk/>
            <pc:sldMk cId="1201520795" sldId="230717684"/>
            <ac:picMk id="24" creationId="{7B59DE49-C353-49CA-89D7-DA3B665F9842}"/>
          </ac:picMkLst>
        </pc:picChg>
        <pc:picChg chg="del mod topLvl modCrop">
          <ac:chgData name="Manal El Bakkouri" userId="8b130982-2e3f-4164-b881-fd3a2e4b2453" providerId="ADAL" clId="{4457FA57-250B-44AC-8655-05D46C5A3D8A}" dt="2023-06-01T21:20:55.778" v="3690" actId="478"/>
          <ac:picMkLst>
            <pc:docMk/>
            <pc:sldMk cId="1201520795" sldId="230717684"/>
            <ac:picMk id="25" creationId="{19FA37BE-8AF9-4D30-B568-102BA957B1EA}"/>
          </ac:picMkLst>
        </pc:picChg>
        <pc:picChg chg="mod topLvl">
          <ac:chgData name="Manal El Bakkouri" userId="8b130982-2e3f-4164-b881-fd3a2e4b2453" providerId="ADAL" clId="{4457FA57-250B-44AC-8655-05D46C5A3D8A}" dt="2023-06-01T21:20:49.655" v="3683" actId="165"/>
          <ac:picMkLst>
            <pc:docMk/>
            <pc:sldMk cId="1201520795" sldId="230717684"/>
            <ac:picMk id="26" creationId="{B35EB455-0890-4652-92BF-AB188E144B5E}"/>
          </ac:picMkLst>
        </pc:picChg>
        <pc:picChg chg="add del mod ord topLvl">
          <ac:chgData name="Manal El Bakkouri" userId="8b130982-2e3f-4164-b881-fd3a2e4b2453" providerId="ADAL" clId="{4457FA57-250B-44AC-8655-05D46C5A3D8A}" dt="2023-06-06T09:44:17.384" v="9262" actId="478"/>
          <ac:picMkLst>
            <pc:docMk/>
            <pc:sldMk cId="1201520795" sldId="230717684"/>
            <ac:picMk id="28" creationId="{577F7BB9-FF36-406B-B6D1-F7DB9FA1DBF7}"/>
          </ac:picMkLst>
        </pc:picChg>
        <pc:picChg chg="add mod">
          <ac:chgData name="Manal El Bakkouri" userId="8b130982-2e3f-4164-b881-fd3a2e4b2453" providerId="ADAL" clId="{4457FA57-250B-44AC-8655-05D46C5A3D8A}" dt="2023-06-06T09:44:38.800" v="9266" actId="14100"/>
          <ac:picMkLst>
            <pc:docMk/>
            <pc:sldMk cId="1201520795" sldId="230717684"/>
            <ac:picMk id="37" creationId="{B58958BC-8969-4EA4-9ED0-CBE874A17C4A}"/>
          </ac:picMkLst>
        </pc:picChg>
        <pc:picChg chg="add mod ord">
          <ac:chgData name="Manal El Bakkouri" userId="8b130982-2e3f-4164-b881-fd3a2e4b2453" providerId="ADAL" clId="{4457FA57-250B-44AC-8655-05D46C5A3D8A}" dt="2023-06-06T09:58:51.209" v="9366" actId="171"/>
          <ac:picMkLst>
            <pc:docMk/>
            <pc:sldMk cId="1201520795" sldId="230717684"/>
            <ac:picMk id="38" creationId="{B4B9C553-CA8E-4CFE-A588-0660877A6E0D}"/>
          </ac:picMkLst>
        </pc:picChg>
      </pc:sldChg>
      <pc:sldChg chg="addSp delSp modSp add mod ord modTransition modNotesTx">
        <pc:chgData name="Manal El Bakkouri" userId="8b130982-2e3f-4164-b881-fd3a2e4b2453" providerId="ADAL" clId="{4457FA57-250B-44AC-8655-05D46C5A3D8A}" dt="2023-06-09T11:30:42.478" v="21779"/>
        <pc:sldMkLst>
          <pc:docMk/>
          <pc:sldMk cId="1530661064" sldId="230717685"/>
        </pc:sldMkLst>
        <pc:spChg chg="del">
          <ac:chgData name="Manal El Bakkouri" userId="8b130982-2e3f-4164-b881-fd3a2e4b2453" providerId="ADAL" clId="{4457FA57-250B-44AC-8655-05D46C5A3D8A}" dt="2023-06-02T15:14:08.221" v="5437" actId="478"/>
          <ac:spMkLst>
            <pc:docMk/>
            <pc:sldMk cId="1530661064" sldId="230717685"/>
            <ac:spMk id="5" creationId="{3FBD5709-5EA5-4800-BFAE-D683E9EA59B7}"/>
          </ac:spMkLst>
        </pc:spChg>
        <pc:spChg chg="del">
          <ac:chgData name="Manal El Bakkouri" userId="8b130982-2e3f-4164-b881-fd3a2e4b2453" providerId="ADAL" clId="{4457FA57-250B-44AC-8655-05D46C5A3D8A}" dt="2023-06-09T11:30:42.176" v="21778" actId="478"/>
          <ac:spMkLst>
            <pc:docMk/>
            <pc:sldMk cId="1530661064" sldId="230717685"/>
            <ac:spMk id="7" creationId="{B2FAACA5-EFCE-4655-8761-6FEC03BDB0B0}"/>
          </ac:spMkLst>
        </pc:spChg>
        <pc:spChg chg="del">
          <ac:chgData name="Manal El Bakkouri" userId="8b130982-2e3f-4164-b881-fd3a2e4b2453" providerId="ADAL" clId="{4457FA57-250B-44AC-8655-05D46C5A3D8A}" dt="2023-06-09T11:30:42.176" v="21778" actId="478"/>
          <ac:spMkLst>
            <pc:docMk/>
            <pc:sldMk cId="1530661064" sldId="230717685"/>
            <ac:spMk id="8" creationId="{A45F0BFB-3688-4B96-9AC7-BF0E08B3F706}"/>
          </ac:spMkLst>
        </pc:spChg>
        <pc:spChg chg="del">
          <ac:chgData name="Manal El Bakkouri" userId="8b130982-2e3f-4164-b881-fd3a2e4b2453" providerId="ADAL" clId="{4457FA57-250B-44AC-8655-05D46C5A3D8A}" dt="2023-06-09T11:30:42.176" v="21778" actId="478"/>
          <ac:spMkLst>
            <pc:docMk/>
            <pc:sldMk cId="1530661064" sldId="230717685"/>
            <ac:spMk id="9" creationId="{3888FD4A-C7D4-459E-B558-4260C7973FD2}"/>
          </ac:spMkLst>
        </pc:spChg>
        <pc:spChg chg="add mod">
          <ac:chgData name="Manal El Bakkouri" userId="8b130982-2e3f-4164-b881-fd3a2e4b2453" providerId="ADAL" clId="{4457FA57-250B-44AC-8655-05D46C5A3D8A}" dt="2023-06-09T11:30:42.478" v="21779"/>
          <ac:spMkLst>
            <pc:docMk/>
            <pc:sldMk cId="1530661064" sldId="230717685"/>
            <ac:spMk id="22" creationId="{78CD7115-9BF8-461E-90F1-9547A5610B0F}"/>
          </ac:spMkLst>
        </pc:spChg>
        <pc:spChg chg="add mod">
          <ac:chgData name="Manal El Bakkouri" userId="8b130982-2e3f-4164-b881-fd3a2e4b2453" providerId="ADAL" clId="{4457FA57-250B-44AC-8655-05D46C5A3D8A}" dt="2023-06-09T11:30:42.478" v="21779"/>
          <ac:spMkLst>
            <pc:docMk/>
            <pc:sldMk cId="1530661064" sldId="230717685"/>
            <ac:spMk id="23" creationId="{166750A8-B0F4-46D6-9C56-0E06A1AADB3D}"/>
          </ac:spMkLst>
        </pc:spChg>
        <pc:spChg chg="add mod">
          <ac:chgData name="Manal El Bakkouri" userId="8b130982-2e3f-4164-b881-fd3a2e4b2453" providerId="ADAL" clId="{4457FA57-250B-44AC-8655-05D46C5A3D8A}" dt="2023-06-09T11:30:42.478" v="21779"/>
          <ac:spMkLst>
            <pc:docMk/>
            <pc:sldMk cId="1530661064" sldId="230717685"/>
            <ac:spMk id="24" creationId="{60FF714E-D96C-4673-9802-C78BFF7DE083}"/>
          </ac:spMkLst>
        </pc:spChg>
        <pc:spChg chg="add mod">
          <ac:chgData name="Manal El Bakkouri" userId="8b130982-2e3f-4164-b881-fd3a2e4b2453" providerId="ADAL" clId="{4457FA57-250B-44AC-8655-05D46C5A3D8A}" dt="2023-06-09T11:30:42.478" v="21779"/>
          <ac:spMkLst>
            <pc:docMk/>
            <pc:sldMk cId="1530661064" sldId="230717685"/>
            <ac:spMk id="25" creationId="{4E4705C7-CBEE-4E15-905C-94F3A8E7D780}"/>
          </ac:spMkLst>
        </pc:spChg>
        <pc:spChg chg="add mod">
          <ac:chgData name="Manal El Bakkouri" userId="8b130982-2e3f-4164-b881-fd3a2e4b2453" providerId="ADAL" clId="{4457FA57-250B-44AC-8655-05D46C5A3D8A}" dt="2023-06-02T15:14:08.619" v="5438"/>
          <ac:spMkLst>
            <pc:docMk/>
            <pc:sldMk cId="1530661064" sldId="230717685"/>
            <ac:spMk id="29" creationId="{AD9E9555-172A-41A7-8352-370E99AEFA39}"/>
          </ac:spMkLst>
        </pc:spChg>
        <pc:spChg chg="add mod">
          <ac:chgData name="Manal El Bakkouri" userId="8b130982-2e3f-4164-b881-fd3a2e4b2453" providerId="ADAL" clId="{4457FA57-250B-44AC-8655-05D46C5A3D8A}" dt="2023-06-06T10:10:59.037" v="9416" actId="14100"/>
          <ac:spMkLst>
            <pc:docMk/>
            <pc:sldMk cId="1530661064" sldId="230717685"/>
            <ac:spMk id="30" creationId="{82BBE1E7-2365-4F6A-AE3F-453EDA09BAAB}"/>
          </ac:spMkLst>
        </pc:spChg>
        <pc:spChg chg="add del mod">
          <ac:chgData name="Manal El Bakkouri" userId="8b130982-2e3f-4164-b881-fd3a2e4b2453" providerId="ADAL" clId="{4457FA57-250B-44AC-8655-05D46C5A3D8A}" dt="2023-06-04T13:12:44.288" v="7711"/>
          <ac:spMkLst>
            <pc:docMk/>
            <pc:sldMk cId="1530661064" sldId="230717685"/>
            <ac:spMk id="31" creationId="{AADDB966-4741-48A3-AFC4-9C6DCF18BCFE}"/>
          </ac:spMkLst>
        </pc:spChg>
        <pc:spChg chg="add mod">
          <ac:chgData name="Manal El Bakkouri" userId="8b130982-2e3f-4164-b881-fd3a2e4b2453" providerId="ADAL" clId="{4457FA57-250B-44AC-8655-05D46C5A3D8A}" dt="2023-06-04T13:14:26.705" v="7752" actId="20577"/>
          <ac:spMkLst>
            <pc:docMk/>
            <pc:sldMk cId="1530661064" sldId="230717685"/>
            <ac:spMk id="32" creationId="{213A87F6-D7C5-48DA-8E15-62A924A2661B}"/>
          </ac:spMkLst>
        </pc:spChg>
        <pc:grpChg chg="add del mod">
          <ac:chgData name="Manal El Bakkouri" userId="8b130982-2e3f-4164-b881-fd3a2e4b2453" providerId="ADAL" clId="{4457FA57-250B-44AC-8655-05D46C5A3D8A}" dt="2023-06-02T09:04:08.916" v="3833" actId="165"/>
          <ac:grpSpMkLst>
            <pc:docMk/>
            <pc:sldMk cId="1530661064" sldId="230717685"/>
            <ac:grpSpMk id="24" creationId="{18094223-57C5-4DBE-A0AF-4801CA9E82B3}"/>
          </ac:grpSpMkLst>
        </pc:grpChg>
        <pc:grpChg chg="add del mod">
          <ac:chgData name="Manal El Bakkouri" userId="8b130982-2e3f-4164-b881-fd3a2e4b2453" providerId="ADAL" clId="{4457FA57-250B-44AC-8655-05D46C5A3D8A}" dt="2023-06-06T09:50:04.765" v="9304" actId="478"/>
          <ac:grpSpMkLst>
            <pc:docMk/>
            <pc:sldMk cId="1530661064" sldId="230717685"/>
            <ac:grpSpMk id="28" creationId="{789ADE9E-1E68-457A-9A4D-066715FDB6C9}"/>
          </ac:grpSpMkLst>
        </pc:grpChg>
        <pc:picChg chg="add del mod">
          <ac:chgData name="Manal El Bakkouri" userId="8b130982-2e3f-4164-b881-fd3a2e4b2453" providerId="ADAL" clId="{4457FA57-250B-44AC-8655-05D46C5A3D8A}" dt="2023-06-02T09:02:11.079" v="3804" actId="478"/>
          <ac:picMkLst>
            <pc:docMk/>
            <pc:sldMk cId="1530661064" sldId="230717685"/>
            <ac:picMk id="3" creationId="{BE16A9D3-F013-4179-9971-7599DF68A5BC}"/>
          </ac:picMkLst>
        </pc:picChg>
        <pc:picChg chg="del mod topLvl">
          <ac:chgData name="Manal El Bakkouri" userId="8b130982-2e3f-4164-b881-fd3a2e4b2453" providerId="ADAL" clId="{4457FA57-250B-44AC-8655-05D46C5A3D8A}" dt="2023-06-02T09:04:10.728" v="3834" actId="478"/>
          <ac:picMkLst>
            <pc:docMk/>
            <pc:sldMk cId="1530661064" sldId="230717685"/>
            <ac:picMk id="21" creationId="{26F892A1-85EE-4E08-B1C5-00F575121FD8}"/>
          </ac:picMkLst>
        </pc:picChg>
        <pc:picChg chg="add del mod topLvl">
          <ac:chgData name="Manal El Bakkouri" userId="8b130982-2e3f-4164-b881-fd3a2e4b2453" providerId="ADAL" clId="{4457FA57-250B-44AC-8655-05D46C5A3D8A}" dt="2023-06-02T09:04:10.728" v="3834" actId="478"/>
          <ac:picMkLst>
            <pc:docMk/>
            <pc:sldMk cId="1530661064" sldId="230717685"/>
            <ac:picMk id="22" creationId="{0C69746A-8FA7-45EE-B100-4D07E624A58F}"/>
          </ac:picMkLst>
        </pc:picChg>
        <pc:picChg chg="add del mod">
          <ac:chgData name="Manal El Bakkouri" userId="8b130982-2e3f-4164-b881-fd3a2e4b2453" providerId="ADAL" clId="{4457FA57-250B-44AC-8655-05D46C5A3D8A}" dt="2023-06-02T09:02:50.711" v="3816" actId="478"/>
          <ac:picMkLst>
            <pc:docMk/>
            <pc:sldMk cId="1530661064" sldId="230717685"/>
            <ac:picMk id="23" creationId="{683D95C1-37B0-40C2-B8DC-37F5C95BC967}"/>
          </ac:picMkLst>
        </pc:picChg>
        <pc:picChg chg="add del mod ord topLvl">
          <ac:chgData name="Manal El Bakkouri" userId="8b130982-2e3f-4164-b881-fd3a2e4b2453" providerId="ADAL" clId="{4457FA57-250B-44AC-8655-05D46C5A3D8A}" dt="2023-06-06T09:50:04.765" v="9304" actId="478"/>
          <ac:picMkLst>
            <pc:docMk/>
            <pc:sldMk cId="1530661064" sldId="230717685"/>
            <ac:picMk id="25" creationId="{3E726794-4727-4562-A2B2-037BBC2B28D3}"/>
          </ac:picMkLst>
        </pc:picChg>
        <pc:picChg chg="add del mod ord topLvl">
          <ac:chgData name="Manal El Bakkouri" userId="8b130982-2e3f-4164-b881-fd3a2e4b2453" providerId="ADAL" clId="{4457FA57-250B-44AC-8655-05D46C5A3D8A}" dt="2023-06-06T09:54:01.759" v="9308" actId="478"/>
          <ac:picMkLst>
            <pc:docMk/>
            <pc:sldMk cId="1530661064" sldId="230717685"/>
            <ac:picMk id="27" creationId="{C8262E96-1109-434F-A0EC-993F0625C04F}"/>
          </ac:picMkLst>
        </pc:picChg>
        <pc:picChg chg="add mod">
          <ac:chgData name="Manal El Bakkouri" userId="8b130982-2e3f-4164-b881-fd3a2e4b2453" providerId="ADAL" clId="{4457FA57-250B-44AC-8655-05D46C5A3D8A}" dt="2023-06-06T10:00:45.497" v="9384" actId="14100"/>
          <ac:picMkLst>
            <pc:docMk/>
            <pc:sldMk cId="1530661064" sldId="230717685"/>
            <ac:picMk id="34" creationId="{AF34AFE3-D78F-45AD-97FA-826A107FE1A4}"/>
          </ac:picMkLst>
        </pc:picChg>
        <pc:picChg chg="add mod ord">
          <ac:chgData name="Manal El Bakkouri" userId="8b130982-2e3f-4164-b881-fd3a2e4b2453" providerId="ADAL" clId="{4457FA57-250B-44AC-8655-05D46C5A3D8A}" dt="2023-06-06T10:00:19.436" v="9376" actId="167"/>
          <ac:picMkLst>
            <pc:docMk/>
            <pc:sldMk cId="1530661064" sldId="230717685"/>
            <ac:picMk id="35" creationId="{70964B11-96CE-4171-AE76-A903019772BC}"/>
          </ac:picMkLst>
        </pc:picChg>
      </pc:sldChg>
      <pc:sldChg chg="addSp delSp modSp add mod ord modTransition">
        <pc:chgData name="Manal El Bakkouri" userId="8b130982-2e3f-4164-b881-fd3a2e4b2453" providerId="ADAL" clId="{4457FA57-250B-44AC-8655-05D46C5A3D8A}" dt="2023-06-09T11:30:46.555" v="21781"/>
        <pc:sldMkLst>
          <pc:docMk/>
          <pc:sldMk cId="1840247035" sldId="230717686"/>
        </pc:sldMkLst>
        <pc:spChg chg="del">
          <ac:chgData name="Manal El Bakkouri" userId="8b130982-2e3f-4164-b881-fd3a2e4b2453" providerId="ADAL" clId="{4457FA57-250B-44AC-8655-05D46C5A3D8A}" dt="2023-06-02T15:14:03.345" v="5435" actId="478"/>
          <ac:spMkLst>
            <pc:docMk/>
            <pc:sldMk cId="1840247035" sldId="230717686"/>
            <ac:spMk id="5" creationId="{3FBD5709-5EA5-4800-BFAE-D683E9EA59B7}"/>
          </ac:spMkLst>
        </pc:spChg>
        <pc:spChg chg="del">
          <ac:chgData name="Manal El Bakkouri" userId="8b130982-2e3f-4164-b881-fd3a2e4b2453" providerId="ADAL" clId="{4457FA57-250B-44AC-8655-05D46C5A3D8A}" dt="2023-06-09T11:30:46.261" v="21780" actId="478"/>
          <ac:spMkLst>
            <pc:docMk/>
            <pc:sldMk cId="1840247035" sldId="230717686"/>
            <ac:spMk id="7" creationId="{B2FAACA5-EFCE-4655-8761-6FEC03BDB0B0}"/>
          </ac:spMkLst>
        </pc:spChg>
        <pc:spChg chg="del">
          <ac:chgData name="Manal El Bakkouri" userId="8b130982-2e3f-4164-b881-fd3a2e4b2453" providerId="ADAL" clId="{4457FA57-250B-44AC-8655-05D46C5A3D8A}" dt="2023-06-09T11:30:46.261" v="21780" actId="478"/>
          <ac:spMkLst>
            <pc:docMk/>
            <pc:sldMk cId="1840247035" sldId="230717686"/>
            <ac:spMk id="8" creationId="{A45F0BFB-3688-4B96-9AC7-BF0E08B3F706}"/>
          </ac:spMkLst>
        </pc:spChg>
        <pc:spChg chg="del">
          <ac:chgData name="Manal El Bakkouri" userId="8b130982-2e3f-4164-b881-fd3a2e4b2453" providerId="ADAL" clId="{4457FA57-250B-44AC-8655-05D46C5A3D8A}" dt="2023-06-09T11:30:46.261" v="21780" actId="478"/>
          <ac:spMkLst>
            <pc:docMk/>
            <pc:sldMk cId="1840247035" sldId="230717686"/>
            <ac:spMk id="9" creationId="{3888FD4A-C7D4-459E-B558-4260C7973FD2}"/>
          </ac:spMkLst>
        </pc:spChg>
        <pc:spChg chg="add mod">
          <ac:chgData name="Manal El Bakkouri" userId="8b130982-2e3f-4164-b881-fd3a2e4b2453" providerId="ADAL" clId="{4457FA57-250B-44AC-8655-05D46C5A3D8A}" dt="2023-06-02T15:14:04.447" v="5436"/>
          <ac:spMkLst>
            <pc:docMk/>
            <pc:sldMk cId="1840247035" sldId="230717686"/>
            <ac:spMk id="22" creationId="{0D2E918F-A12F-4F87-B81E-5D0A39B4A2F3}"/>
          </ac:spMkLst>
        </pc:spChg>
        <pc:spChg chg="add mod">
          <ac:chgData name="Manal El Bakkouri" userId="8b130982-2e3f-4164-b881-fd3a2e4b2453" providerId="ADAL" clId="{4457FA57-250B-44AC-8655-05D46C5A3D8A}" dt="2023-06-06T10:10:41.559" v="9413" actId="14100"/>
          <ac:spMkLst>
            <pc:docMk/>
            <pc:sldMk cId="1840247035" sldId="230717686"/>
            <ac:spMk id="23" creationId="{6E3DC3B4-5168-4372-8462-C57302EEE8A9}"/>
          </ac:spMkLst>
        </pc:spChg>
        <pc:spChg chg="add mod">
          <ac:chgData name="Manal El Bakkouri" userId="8b130982-2e3f-4164-b881-fd3a2e4b2453" providerId="ADAL" clId="{4457FA57-250B-44AC-8655-05D46C5A3D8A}" dt="2023-06-09T11:30:46.555" v="21781"/>
          <ac:spMkLst>
            <pc:docMk/>
            <pc:sldMk cId="1840247035" sldId="230717686"/>
            <ac:spMk id="24" creationId="{B9D833D3-17BB-432E-9A8D-DC666FA4F598}"/>
          </ac:spMkLst>
        </pc:spChg>
        <pc:spChg chg="add del mod">
          <ac:chgData name="Manal El Bakkouri" userId="8b130982-2e3f-4164-b881-fd3a2e4b2453" providerId="ADAL" clId="{4457FA57-250B-44AC-8655-05D46C5A3D8A}" dt="2023-06-04T13:12:41.641" v="7710"/>
          <ac:spMkLst>
            <pc:docMk/>
            <pc:sldMk cId="1840247035" sldId="230717686"/>
            <ac:spMk id="24" creationId="{DE9FB28C-E6E5-4E0F-A474-EAA8A031BF97}"/>
          </ac:spMkLst>
        </pc:spChg>
        <pc:spChg chg="add mod">
          <ac:chgData name="Manal El Bakkouri" userId="8b130982-2e3f-4164-b881-fd3a2e4b2453" providerId="ADAL" clId="{4457FA57-250B-44AC-8655-05D46C5A3D8A}" dt="2023-06-04T13:14:30.555" v="7755" actId="20577"/>
          <ac:spMkLst>
            <pc:docMk/>
            <pc:sldMk cId="1840247035" sldId="230717686"/>
            <ac:spMk id="25" creationId="{FEAC1113-CC69-43BE-8FCD-BCADC488CEB6}"/>
          </ac:spMkLst>
        </pc:spChg>
        <pc:spChg chg="add mod">
          <ac:chgData name="Manal El Bakkouri" userId="8b130982-2e3f-4164-b881-fd3a2e4b2453" providerId="ADAL" clId="{4457FA57-250B-44AC-8655-05D46C5A3D8A}" dt="2023-06-09T11:30:46.555" v="21781"/>
          <ac:spMkLst>
            <pc:docMk/>
            <pc:sldMk cId="1840247035" sldId="230717686"/>
            <ac:spMk id="26" creationId="{FDF67A36-024B-49E5-A6FC-C9F6668B3D3F}"/>
          </ac:spMkLst>
        </pc:spChg>
        <pc:spChg chg="add mod">
          <ac:chgData name="Manal El Bakkouri" userId="8b130982-2e3f-4164-b881-fd3a2e4b2453" providerId="ADAL" clId="{4457FA57-250B-44AC-8655-05D46C5A3D8A}" dt="2023-06-09T11:30:46.555" v="21781"/>
          <ac:spMkLst>
            <pc:docMk/>
            <pc:sldMk cId="1840247035" sldId="230717686"/>
            <ac:spMk id="29" creationId="{73343DE4-B415-4DDC-A9DE-C7AE208AE043}"/>
          </ac:spMkLst>
        </pc:spChg>
        <pc:spChg chg="add mod">
          <ac:chgData name="Manal El Bakkouri" userId="8b130982-2e3f-4164-b881-fd3a2e4b2453" providerId="ADAL" clId="{4457FA57-250B-44AC-8655-05D46C5A3D8A}" dt="2023-06-09T11:30:46.555" v="21781"/>
          <ac:spMkLst>
            <pc:docMk/>
            <pc:sldMk cId="1840247035" sldId="230717686"/>
            <ac:spMk id="30" creationId="{D7052CE0-8132-4CAB-A684-8758AA9A88CE}"/>
          </ac:spMkLst>
        </pc:spChg>
        <pc:grpChg chg="add del mod">
          <ac:chgData name="Manal El Bakkouri" userId="8b130982-2e3f-4164-b881-fd3a2e4b2453" providerId="ADAL" clId="{4457FA57-250B-44AC-8655-05D46C5A3D8A}" dt="2023-06-06T09:59:15.902" v="9369" actId="478"/>
          <ac:grpSpMkLst>
            <pc:docMk/>
            <pc:sldMk cId="1840247035" sldId="230717686"/>
            <ac:grpSpMk id="4" creationId="{F602E0E4-CF18-444A-948E-FECE4B97B8C1}"/>
          </ac:grpSpMkLst>
        </pc:grpChg>
        <pc:picChg chg="add del mod ord topLvl">
          <ac:chgData name="Manal El Bakkouri" userId="8b130982-2e3f-4164-b881-fd3a2e4b2453" providerId="ADAL" clId="{4457FA57-250B-44AC-8655-05D46C5A3D8A}" dt="2023-06-06T09:59:17.529" v="9370" actId="478"/>
          <ac:picMkLst>
            <pc:docMk/>
            <pc:sldMk cId="1840247035" sldId="230717686"/>
            <ac:picMk id="3" creationId="{E0FD2F26-F312-454C-AB66-F1F65B96D504}"/>
          </ac:picMkLst>
        </pc:picChg>
        <pc:picChg chg="del mod ord topLvl">
          <ac:chgData name="Manal El Bakkouri" userId="8b130982-2e3f-4164-b881-fd3a2e4b2453" providerId="ADAL" clId="{4457FA57-250B-44AC-8655-05D46C5A3D8A}" dt="2023-06-06T09:59:15.902" v="9369" actId="478"/>
          <ac:picMkLst>
            <pc:docMk/>
            <pc:sldMk cId="1840247035" sldId="230717686"/>
            <ac:picMk id="21" creationId="{26F892A1-85EE-4E08-B1C5-00F575121FD8}"/>
          </ac:picMkLst>
        </pc:picChg>
        <pc:picChg chg="add mod">
          <ac:chgData name="Manal El Bakkouri" userId="8b130982-2e3f-4164-b881-fd3a2e4b2453" providerId="ADAL" clId="{4457FA57-250B-44AC-8655-05D46C5A3D8A}" dt="2023-06-06T10:00:33.029" v="9382" actId="1076"/>
          <ac:picMkLst>
            <pc:docMk/>
            <pc:sldMk cId="1840247035" sldId="230717686"/>
            <ac:picMk id="27" creationId="{4E271B8A-9557-4831-AB97-86ECC5B9DD94}"/>
          </ac:picMkLst>
        </pc:picChg>
        <pc:picChg chg="add mod ord">
          <ac:chgData name="Manal El Bakkouri" userId="8b130982-2e3f-4164-b881-fd3a2e4b2453" providerId="ADAL" clId="{4457FA57-250B-44AC-8655-05D46C5A3D8A}" dt="2023-06-06T10:04:13.677" v="9393" actId="171"/>
          <ac:picMkLst>
            <pc:docMk/>
            <pc:sldMk cId="1840247035" sldId="230717686"/>
            <ac:picMk id="28" creationId="{E3962952-641E-42A0-9F0B-3C52F11AF4A5}"/>
          </ac:picMkLst>
        </pc:picChg>
      </pc:sldChg>
      <pc:sldChg chg="addSp delSp modSp add mod ord modTransition modNotesTx">
        <pc:chgData name="Manal El Bakkouri" userId="8b130982-2e3f-4164-b881-fd3a2e4b2453" providerId="ADAL" clId="{4457FA57-250B-44AC-8655-05D46C5A3D8A}" dt="2023-06-09T11:30:51.057" v="21783"/>
        <pc:sldMkLst>
          <pc:docMk/>
          <pc:sldMk cId="532341883" sldId="230717687"/>
        </pc:sldMkLst>
        <pc:spChg chg="mod">
          <ac:chgData name="Manal El Bakkouri" userId="8b130982-2e3f-4164-b881-fd3a2e4b2453" providerId="ADAL" clId="{4457FA57-250B-44AC-8655-05D46C5A3D8A}" dt="2023-06-02T11:09:04.938" v="4131" actId="20577"/>
          <ac:spMkLst>
            <pc:docMk/>
            <pc:sldMk cId="532341883" sldId="230717687"/>
            <ac:spMk id="5" creationId="{3FBD5709-5EA5-4800-BFAE-D683E9EA59B7}"/>
          </ac:spMkLst>
        </pc:spChg>
        <pc:spChg chg="del">
          <ac:chgData name="Manal El Bakkouri" userId="8b130982-2e3f-4164-b881-fd3a2e4b2453" providerId="ADAL" clId="{4457FA57-250B-44AC-8655-05D46C5A3D8A}" dt="2023-06-09T11:30:50.668" v="21782" actId="478"/>
          <ac:spMkLst>
            <pc:docMk/>
            <pc:sldMk cId="532341883" sldId="230717687"/>
            <ac:spMk id="7" creationId="{B2FAACA5-EFCE-4655-8761-6FEC03BDB0B0}"/>
          </ac:spMkLst>
        </pc:spChg>
        <pc:spChg chg="del">
          <ac:chgData name="Manal El Bakkouri" userId="8b130982-2e3f-4164-b881-fd3a2e4b2453" providerId="ADAL" clId="{4457FA57-250B-44AC-8655-05D46C5A3D8A}" dt="2023-06-09T11:30:50.668" v="21782" actId="478"/>
          <ac:spMkLst>
            <pc:docMk/>
            <pc:sldMk cId="532341883" sldId="230717687"/>
            <ac:spMk id="8" creationId="{A45F0BFB-3688-4B96-9AC7-BF0E08B3F706}"/>
          </ac:spMkLst>
        </pc:spChg>
        <pc:spChg chg="del">
          <ac:chgData name="Manal El Bakkouri" userId="8b130982-2e3f-4164-b881-fd3a2e4b2453" providerId="ADAL" clId="{4457FA57-250B-44AC-8655-05D46C5A3D8A}" dt="2023-06-09T11:30:50.668" v="21782" actId="478"/>
          <ac:spMkLst>
            <pc:docMk/>
            <pc:sldMk cId="532341883" sldId="230717687"/>
            <ac:spMk id="9" creationId="{3888FD4A-C7D4-459E-B558-4260C7973FD2}"/>
          </ac:spMkLst>
        </pc:spChg>
        <pc:spChg chg="add mod">
          <ac:chgData name="Manal El Bakkouri" userId="8b130982-2e3f-4164-b881-fd3a2e4b2453" providerId="ADAL" clId="{4457FA57-250B-44AC-8655-05D46C5A3D8A}" dt="2023-06-09T11:30:51.057" v="21783"/>
          <ac:spMkLst>
            <pc:docMk/>
            <pc:sldMk cId="532341883" sldId="230717687"/>
            <ac:spMk id="21" creationId="{B8C2CF1B-C504-4D74-B16C-41C937BA3F34}"/>
          </ac:spMkLst>
        </pc:spChg>
        <pc:spChg chg="add mod">
          <ac:chgData name="Manal El Bakkouri" userId="8b130982-2e3f-4164-b881-fd3a2e4b2453" providerId="ADAL" clId="{4457FA57-250B-44AC-8655-05D46C5A3D8A}" dt="2023-06-09T11:30:51.057" v="21783"/>
          <ac:spMkLst>
            <pc:docMk/>
            <pc:sldMk cId="532341883" sldId="230717687"/>
            <ac:spMk id="22" creationId="{13600B15-B298-48E7-8B5A-BB7D3FF563E3}"/>
          </ac:spMkLst>
        </pc:spChg>
        <pc:spChg chg="add mod">
          <ac:chgData name="Manal El Bakkouri" userId="8b130982-2e3f-4164-b881-fd3a2e4b2453" providerId="ADAL" clId="{4457FA57-250B-44AC-8655-05D46C5A3D8A}" dt="2023-06-06T10:10:31.648" v="9411" actId="403"/>
          <ac:spMkLst>
            <pc:docMk/>
            <pc:sldMk cId="532341883" sldId="230717687"/>
            <ac:spMk id="23" creationId="{FB10D7B6-E1AF-40FD-B1F2-0A8872FDFA12}"/>
          </ac:spMkLst>
        </pc:spChg>
        <pc:spChg chg="add mod">
          <ac:chgData name="Manal El Bakkouri" userId="8b130982-2e3f-4164-b881-fd3a2e4b2453" providerId="ADAL" clId="{4457FA57-250B-44AC-8655-05D46C5A3D8A}" dt="2023-06-04T13:14:34.136" v="7758" actId="20577"/>
          <ac:spMkLst>
            <pc:docMk/>
            <pc:sldMk cId="532341883" sldId="230717687"/>
            <ac:spMk id="24" creationId="{BBC5D596-7A0F-4A17-B991-9305A9C36469}"/>
          </ac:spMkLst>
        </pc:spChg>
        <pc:spChg chg="add mod">
          <ac:chgData name="Manal El Bakkouri" userId="8b130982-2e3f-4164-b881-fd3a2e4b2453" providerId="ADAL" clId="{4457FA57-250B-44AC-8655-05D46C5A3D8A}" dt="2023-06-09T11:30:51.057" v="21783"/>
          <ac:spMkLst>
            <pc:docMk/>
            <pc:sldMk cId="532341883" sldId="230717687"/>
            <ac:spMk id="25" creationId="{EAACDD2A-E3E7-4153-A449-00372E514C60}"/>
          </ac:spMkLst>
        </pc:spChg>
        <pc:spChg chg="add mod">
          <ac:chgData name="Manal El Bakkouri" userId="8b130982-2e3f-4164-b881-fd3a2e4b2453" providerId="ADAL" clId="{4457FA57-250B-44AC-8655-05D46C5A3D8A}" dt="2023-06-09T11:30:51.057" v="21783"/>
          <ac:spMkLst>
            <pc:docMk/>
            <pc:sldMk cId="532341883" sldId="230717687"/>
            <ac:spMk id="27" creationId="{31B7D064-7DC4-4C6A-B24A-47AF69F6A427}"/>
          </ac:spMkLst>
        </pc:spChg>
        <pc:grpChg chg="add del mod">
          <ac:chgData name="Manal El Bakkouri" userId="8b130982-2e3f-4164-b881-fd3a2e4b2453" providerId="ADAL" clId="{4457FA57-250B-44AC-8655-05D46C5A3D8A}" dt="2023-06-02T09:17:41.759" v="4044" actId="165"/>
          <ac:grpSpMkLst>
            <pc:docMk/>
            <pc:sldMk cId="532341883" sldId="230717687"/>
            <ac:grpSpMk id="4" creationId="{55DE5419-9F86-4E8A-8E9F-7BD2D0FDD7D6}"/>
          </ac:grpSpMkLst>
        </pc:grpChg>
        <pc:grpChg chg="add del mod">
          <ac:chgData name="Manal El Bakkouri" userId="8b130982-2e3f-4164-b881-fd3a2e4b2453" providerId="ADAL" clId="{4457FA57-250B-44AC-8655-05D46C5A3D8A}" dt="2023-06-06T10:00:51.751" v="9385" actId="478"/>
          <ac:grpSpMkLst>
            <pc:docMk/>
            <pc:sldMk cId="532341883" sldId="230717687"/>
            <ac:grpSpMk id="22" creationId="{09F15E61-DEC5-4A43-8B87-ECB29C085220}"/>
          </ac:grpSpMkLst>
        </pc:grpChg>
        <pc:picChg chg="add mod ord topLvl">
          <ac:chgData name="Manal El Bakkouri" userId="8b130982-2e3f-4164-b881-fd3a2e4b2453" providerId="ADAL" clId="{4457FA57-250B-44AC-8655-05D46C5A3D8A}" dt="2023-06-02T09:22:59.310" v="4106" actId="167"/>
          <ac:picMkLst>
            <pc:docMk/>
            <pc:sldMk cId="532341883" sldId="230717687"/>
            <ac:picMk id="3" creationId="{F2C9470F-C3EE-4184-8765-5AB5E1283CB7}"/>
          </ac:picMkLst>
        </pc:picChg>
        <pc:picChg chg="mod topLvl">
          <ac:chgData name="Manal El Bakkouri" userId="8b130982-2e3f-4164-b881-fd3a2e4b2453" providerId="ADAL" clId="{4457FA57-250B-44AC-8655-05D46C5A3D8A}" dt="2023-06-02T09:18:32.944" v="4056" actId="164"/>
          <ac:picMkLst>
            <pc:docMk/>
            <pc:sldMk cId="532341883" sldId="230717687"/>
            <ac:picMk id="21" creationId="{26F892A1-85EE-4E08-B1C5-00F575121FD8}"/>
          </ac:picMkLst>
        </pc:picChg>
        <pc:picChg chg="add mod">
          <ac:chgData name="Manal El Bakkouri" userId="8b130982-2e3f-4164-b881-fd3a2e4b2453" providerId="ADAL" clId="{4457FA57-250B-44AC-8655-05D46C5A3D8A}" dt="2023-06-06T10:04:01.756" v="9389" actId="14100"/>
          <ac:picMkLst>
            <pc:docMk/>
            <pc:sldMk cId="532341883" sldId="230717687"/>
            <ac:picMk id="26" creationId="{9FDFD332-0B4E-4694-ADB6-70D4C76C470F}"/>
          </ac:picMkLst>
        </pc:picChg>
      </pc:sldChg>
      <pc:sldChg chg="addSp delSp modSp add mod ord modTransition modNotesTx">
        <pc:chgData name="Manal El Bakkouri" userId="8b130982-2e3f-4164-b881-fd3a2e4b2453" providerId="ADAL" clId="{4457FA57-250B-44AC-8655-05D46C5A3D8A}" dt="2023-06-09T11:30:26.861" v="21773"/>
        <pc:sldMkLst>
          <pc:docMk/>
          <pc:sldMk cId="1300488745" sldId="230717688"/>
        </pc:sldMkLst>
        <pc:spChg chg="del">
          <ac:chgData name="Manal El Bakkouri" userId="8b130982-2e3f-4164-b881-fd3a2e4b2453" providerId="ADAL" clId="{4457FA57-250B-44AC-8655-05D46C5A3D8A}" dt="2023-06-02T15:14:17.721" v="5443" actId="478"/>
          <ac:spMkLst>
            <pc:docMk/>
            <pc:sldMk cId="1300488745" sldId="230717688"/>
            <ac:spMk id="5" creationId="{3FBD5709-5EA5-4800-BFAE-D683E9EA59B7}"/>
          </ac:spMkLst>
        </pc:spChg>
        <pc:spChg chg="del">
          <ac:chgData name="Manal El Bakkouri" userId="8b130982-2e3f-4164-b881-fd3a2e4b2453" providerId="ADAL" clId="{4457FA57-250B-44AC-8655-05D46C5A3D8A}" dt="2023-06-09T11:30:26.483" v="21772" actId="478"/>
          <ac:spMkLst>
            <pc:docMk/>
            <pc:sldMk cId="1300488745" sldId="230717688"/>
            <ac:spMk id="7" creationId="{B2FAACA5-EFCE-4655-8761-6FEC03BDB0B0}"/>
          </ac:spMkLst>
        </pc:spChg>
        <pc:spChg chg="del">
          <ac:chgData name="Manal El Bakkouri" userId="8b130982-2e3f-4164-b881-fd3a2e4b2453" providerId="ADAL" clId="{4457FA57-250B-44AC-8655-05D46C5A3D8A}" dt="2023-06-09T11:30:26.483" v="21772" actId="478"/>
          <ac:spMkLst>
            <pc:docMk/>
            <pc:sldMk cId="1300488745" sldId="230717688"/>
            <ac:spMk id="8" creationId="{A45F0BFB-3688-4B96-9AC7-BF0E08B3F706}"/>
          </ac:spMkLst>
        </pc:spChg>
        <pc:spChg chg="del">
          <ac:chgData name="Manal El Bakkouri" userId="8b130982-2e3f-4164-b881-fd3a2e4b2453" providerId="ADAL" clId="{4457FA57-250B-44AC-8655-05D46C5A3D8A}" dt="2023-06-09T11:30:26.483" v="21772" actId="478"/>
          <ac:spMkLst>
            <pc:docMk/>
            <pc:sldMk cId="1300488745" sldId="230717688"/>
            <ac:spMk id="9" creationId="{3888FD4A-C7D4-459E-B558-4260C7973FD2}"/>
          </ac:spMkLst>
        </pc:spChg>
        <pc:spChg chg="add mod">
          <ac:chgData name="Manal El Bakkouri" userId="8b130982-2e3f-4164-b881-fd3a2e4b2453" providerId="ADAL" clId="{4457FA57-250B-44AC-8655-05D46C5A3D8A}" dt="2023-06-09T11:30:26.861" v="21773"/>
          <ac:spMkLst>
            <pc:docMk/>
            <pc:sldMk cId="1300488745" sldId="230717688"/>
            <ac:spMk id="22" creationId="{28D79CD3-198F-497E-B09A-FE9D40EC7BFC}"/>
          </ac:spMkLst>
        </pc:spChg>
        <pc:spChg chg="add mod">
          <ac:chgData name="Manal El Bakkouri" userId="8b130982-2e3f-4164-b881-fd3a2e4b2453" providerId="ADAL" clId="{4457FA57-250B-44AC-8655-05D46C5A3D8A}" dt="2023-06-09T11:30:26.861" v="21773"/>
          <ac:spMkLst>
            <pc:docMk/>
            <pc:sldMk cId="1300488745" sldId="230717688"/>
            <ac:spMk id="23" creationId="{904D8793-618C-4841-B991-B58B19D0E923}"/>
          </ac:spMkLst>
        </pc:spChg>
        <pc:spChg chg="add mod">
          <ac:chgData name="Manal El Bakkouri" userId="8b130982-2e3f-4164-b881-fd3a2e4b2453" providerId="ADAL" clId="{4457FA57-250B-44AC-8655-05D46C5A3D8A}" dt="2023-06-02T15:14:18.125" v="5444"/>
          <ac:spMkLst>
            <pc:docMk/>
            <pc:sldMk cId="1300488745" sldId="230717688"/>
            <ac:spMk id="24" creationId="{A1FCD7DC-9EA1-4563-8ED0-041C52CFED20}"/>
          </ac:spMkLst>
        </pc:spChg>
        <pc:spChg chg="add mod">
          <ac:chgData name="Manal El Bakkouri" userId="8b130982-2e3f-4164-b881-fd3a2e4b2453" providerId="ADAL" clId="{4457FA57-250B-44AC-8655-05D46C5A3D8A}" dt="2023-06-06T10:11:17.066" v="9420" actId="403"/>
          <ac:spMkLst>
            <pc:docMk/>
            <pc:sldMk cId="1300488745" sldId="230717688"/>
            <ac:spMk id="25" creationId="{3A139E06-5F43-4B74-B5EA-7FA3600F1E43}"/>
          </ac:spMkLst>
        </pc:spChg>
        <pc:spChg chg="add del mod">
          <ac:chgData name="Manal El Bakkouri" userId="8b130982-2e3f-4164-b881-fd3a2e4b2453" providerId="ADAL" clId="{4457FA57-250B-44AC-8655-05D46C5A3D8A}" dt="2023-06-04T13:12:45.769" v="7714"/>
          <ac:spMkLst>
            <pc:docMk/>
            <pc:sldMk cId="1300488745" sldId="230717688"/>
            <ac:spMk id="26" creationId="{42C06049-7515-42C9-A343-CC192C146271}"/>
          </ac:spMkLst>
        </pc:spChg>
        <pc:spChg chg="add mod">
          <ac:chgData name="Manal El Bakkouri" userId="8b130982-2e3f-4164-b881-fd3a2e4b2453" providerId="ADAL" clId="{4457FA57-250B-44AC-8655-05D46C5A3D8A}" dt="2023-06-09T11:30:26.861" v="21773"/>
          <ac:spMkLst>
            <pc:docMk/>
            <pc:sldMk cId="1300488745" sldId="230717688"/>
            <ac:spMk id="26" creationId="{D2B8F511-59B7-478C-B013-2666EAF151A0}"/>
          </ac:spMkLst>
        </pc:spChg>
        <pc:spChg chg="add mod">
          <ac:chgData name="Manal El Bakkouri" userId="8b130982-2e3f-4164-b881-fd3a2e4b2453" providerId="ADAL" clId="{4457FA57-250B-44AC-8655-05D46C5A3D8A}" dt="2023-06-04T13:14:14.347" v="7743" actId="20577"/>
          <ac:spMkLst>
            <pc:docMk/>
            <pc:sldMk cId="1300488745" sldId="230717688"/>
            <ac:spMk id="27" creationId="{2C13325E-50C6-4ACB-AE00-DFFB93D06166}"/>
          </ac:spMkLst>
        </pc:spChg>
        <pc:spChg chg="add mod">
          <ac:chgData name="Manal El Bakkouri" userId="8b130982-2e3f-4164-b881-fd3a2e4b2453" providerId="ADAL" clId="{4457FA57-250B-44AC-8655-05D46C5A3D8A}" dt="2023-06-09T11:30:26.861" v="21773"/>
          <ac:spMkLst>
            <pc:docMk/>
            <pc:sldMk cId="1300488745" sldId="230717688"/>
            <ac:spMk id="28" creationId="{061F011F-B9EC-445E-9535-85C93055F019}"/>
          </ac:spMkLst>
        </pc:spChg>
        <pc:spChg chg="add del">
          <ac:chgData name="Manal El Bakkouri" userId="8b130982-2e3f-4164-b881-fd3a2e4b2453" providerId="ADAL" clId="{4457FA57-250B-44AC-8655-05D46C5A3D8A}" dt="2023-06-06T09:38:42.646" v="9218" actId="478"/>
          <ac:spMkLst>
            <pc:docMk/>
            <pc:sldMk cId="1300488745" sldId="230717688"/>
            <ac:spMk id="31" creationId="{C2A025CA-B8C6-48B4-9FE2-8A2BB5AE82A6}"/>
          </ac:spMkLst>
        </pc:spChg>
        <pc:grpChg chg="add del mod ord">
          <ac:chgData name="Manal El Bakkouri" userId="8b130982-2e3f-4164-b881-fd3a2e4b2453" providerId="ADAL" clId="{4457FA57-250B-44AC-8655-05D46C5A3D8A}" dt="2023-06-06T09:37:59.291" v="9202" actId="478"/>
          <ac:grpSpMkLst>
            <pc:docMk/>
            <pc:sldMk cId="1300488745" sldId="230717688"/>
            <ac:grpSpMk id="23" creationId="{C63674B2-24FB-4B5D-894B-A8A12E06AA40}"/>
          </ac:grpSpMkLst>
        </pc:grpChg>
        <pc:picChg chg="add del mod">
          <ac:chgData name="Manal El Bakkouri" userId="8b130982-2e3f-4164-b881-fd3a2e4b2453" providerId="ADAL" clId="{4457FA57-250B-44AC-8655-05D46C5A3D8A}" dt="2023-06-02T09:19:24.833" v="4061" actId="478"/>
          <ac:picMkLst>
            <pc:docMk/>
            <pc:sldMk cId="1300488745" sldId="230717688"/>
            <ac:picMk id="3" creationId="{4832DB42-EF3E-4E69-8655-DD7C607B9055}"/>
          </ac:picMkLst>
        </pc:picChg>
        <pc:picChg chg="mod">
          <ac:chgData name="Manal El Bakkouri" userId="8b130982-2e3f-4164-b881-fd3a2e4b2453" providerId="ADAL" clId="{4457FA57-250B-44AC-8655-05D46C5A3D8A}" dt="2023-06-02T16:16:42.768" v="5944" actId="1076"/>
          <ac:picMkLst>
            <pc:docMk/>
            <pc:sldMk cId="1300488745" sldId="230717688"/>
            <ac:picMk id="6" creationId="{60F2190A-0A80-4435-A50F-BFB664B97049}"/>
          </ac:picMkLst>
        </pc:picChg>
        <pc:picChg chg="add del mod ord topLvl">
          <ac:chgData name="Manal El Bakkouri" userId="8b130982-2e3f-4164-b881-fd3a2e4b2453" providerId="ADAL" clId="{4457FA57-250B-44AC-8655-05D46C5A3D8A}" dt="2023-06-06T09:39:23.581" v="9231" actId="478"/>
          <ac:picMkLst>
            <pc:docMk/>
            <pc:sldMk cId="1300488745" sldId="230717688"/>
            <ac:picMk id="21" creationId="{26F892A1-85EE-4E08-B1C5-00F575121FD8}"/>
          </ac:picMkLst>
        </pc:picChg>
        <pc:picChg chg="add del mod ord topLvl modCrop">
          <ac:chgData name="Manal El Bakkouri" userId="8b130982-2e3f-4164-b881-fd3a2e4b2453" providerId="ADAL" clId="{4457FA57-250B-44AC-8655-05D46C5A3D8A}" dt="2023-06-06T09:37:59.291" v="9202" actId="478"/>
          <ac:picMkLst>
            <pc:docMk/>
            <pc:sldMk cId="1300488745" sldId="230717688"/>
            <ac:picMk id="22" creationId="{0EF8C9A1-89D5-451A-A860-C43DE63F9294}"/>
          </ac:picMkLst>
        </pc:picChg>
        <pc:picChg chg="add del mod">
          <ac:chgData name="Manal El Bakkouri" userId="8b130982-2e3f-4164-b881-fd3a2e4b2453" providerId="ADAL" clId="{4457FA57-250B-44AC-8655-05D46C5A3D8A}" dt="2023-06-06T09:38:38.838" v="9216" actId="478"/>
          <ac:picMkLst>
            <pc:docMk/>
            <pc:sldMk cId="1300488745" sldId="230717688"/>
            <ac:picMk id="29" creationId="{0801C738-CA7B-4EC8-8C32-CE521CAE280F}"/>
          </ac:picMkLst>
        </pc:picChg>
        <pc:picChg chg="add mod ord">
          <ac:chgData name="Manal El Bakkouri" userId="8b130982-2e3f-4164-b881-fd3a2e4b2453" providerId="ADAL" clId="{4457FA57-250B-44AC-8655-05D46C5A3D8A}" dt="2023-06-06T10:14:36.336" v="9508" actId="1076"/>
          <ac:picMkLst>
            <pc:docMk/>
            <pc:sldMk cId="1300488745" sldId="230717688"/>
            <ac:picMk id="33" creationId="{F5CF68CC-A17A-4449-BE78-6521E2B0EB6B}"/>
          </ac:picMkLst>
        </pc:picChg>
        <pc:picChg chg="add mod ord">
          <ac:chgData name="Manal El Bakkouri" userId="8b130982-2e3f-4164-b881-fd3a2e4b2453" providerId="ADAL" clId="{4457FA57-250B-44AC-8655-05D46C5A3D8A}" dt="2023-06-06T09:49:45.034" v="9301" actId="167"/>
          <ac:picMkLst>
            <pc:docMk/>
            <pc:sldMk cId="1300488745" sldId="230717688"/>
            <ac:picMk id="34" creationId="{735D7D4E-52FC-4538-AD3E-0DE240F00B24}"/>
          </ac:picMkLst>
        </pc:picChg>
      </pc:sldChg>
      <pc:sldChg chg="addSp delSp modSp add mod ord modTransition modNotesTx">
        <pc:chgData name="Manal El Bakkouri" userId="8b130982-2e3f-4164-b881-fd3a2e4b2453" providerId="ADAL" clId="{4457FA57-250B-44AC-8655-05D46C5A3D8A}" dt="2023-06-09T11:30:32.796" v="21775"/>
        <pc:sldMkLst>
          <pc:docMk/>
          <pc:sldMk cId="2315312326" sldId="230717689"/>
        </pc:sldMkLst>
        <pc:spChg chg="del">
          <ac:chgData name="Manal El Bakkouri" userId="8b130982-2e3f-4164-b881-fd3a2e4b2453" providerId="ADAL" clId="{4457FA57-250B-44AC-8655-05D46C5A3D8A}" dt="2023-06-02T15:14:14.455" v="5441" actId="478"/>
          <ac:spMkLst>
            <pc:docMk/>
            <pc:sldMk cId="2315312326" sldId="230717689"/>
            <ac:spMk id="5" creationId="{3FBD5709-5EA5-4800-BFAE-D683E9EA59B7}"/>
          </ac:spMkLst>
        </pc:spChg>
        <pc:spChg chg="del">
          <ac:chgData name="Manal El Bakkouri" userId="8b130982-2e3f-4164-b881-fd3a2e4b2453" providerId="ADAL" clId="{4457FA57-250B-44AC-8655-05D46C5A3D8A}" dt="2023-06-09T11:30:32.315" v="21774" actId="478"/>
          <ac:spMkLst>
            <pc:docMk/>
            <pc:sldMk cId="2315312326" sldId="230717689"/>
            <ac:spMk id="7" creationId="{B2FAACA5-EFCE-4655-8761-6FEC03BDB0B0}"/>
          </ac:spMkLst>
        </pc:spChg>
        <pc:spChg chg="del">
          <ac:chgData name="Manal El Bakkouri" userId="8b130982-2e3f-4164-b881-fd3a2e4b2453" providerId="ADAL" clId="{4457FA57-250B-44AC-8655-05D46C5A3D8A}" dt="2023-06-09T11:30:32.315" v="21774" actId="478"/>
          <ac:spMkLst>
            <pc:docMk/>
            <pc:sldMk cId="2315312326" sldId="230717689"/>
            <ac:spMk id="8" creationId="{A45F0BFB-3688-4B96-9AC7-BF0E08B3F706}"/>
          </ac:spMkLst>
        </pc:spChg>
        <pc:spChg chg="del">
          <ac:chgData name="Manal El Bakkouri" userId="8b130982-2e3f-4164-b881-fd3a2e4b2453" providerId="ADAL" clId="{4457FA57-250B-44AC-8655-05D46C5A3D8A}" dt="2023-06-09T11:30:32.315" v="21774" actId="478"/>
          <ac:spMkLst>
            <pc:docMk/>
            <pc:sldMk cId="2315312326" sldId="230717689"/>
            <ac:spMk id="9" creationId="{3888FD4A-C7D4-459E-B558-4260C7973FD2}"/>
          </ac:spMkLst>
        </pc:spChg>
        <pc:spChg chg="add mod">
          <ac:chgData name="Manal El Bakkouri" userId="8b130982-2e3f-4164-b881-fd3a2e4b2453" providerId="ADAL" clId="{4457FA57-250B-44AC-8655-05D46C5A3D8A}" dt="2023-06-02T15:14:14.802" v="5442"/>
          <ac:spMkLst>
            <pc:docMk/>
            <pc:sldMk cId="2315312326" sldId="230717689"/>
            <ac:spMk id="22" creationId="{B9D139FD-47D5-4808-87D6-C94F67AB3428}"/>
          </ac:spMkLst>
        </pc:spChg>
        <pc:spChg chg="add mod">
          <ac:chgData name="Manal El Bakkouri" userId="8b130982-2e3f-4164-b881-fd3a2e4b2453" providerId="ADAL" clId="{4457FA57-250B-44AC-8655-05D46C5A3D8A}" dt="2023-06-06T10:11:12.156" v="9419" actId="403"/>
          <ac:spMkLst>
            <pc:docMk/>
            <pc:sldMk cId="2315312326" sldId="230717689"/>
            <ac:spMk id="23" creationId="{997BCDDD-0FAC-4BF4-ABD5-7F6973F9283D}"/>
          </ac:spMkLst>
        </pc:spChg>
        <pc:spChg chg="add del mod">
          <ac:chgData name="Manal El Bakkouri" userId="8b130982-2e3f-4164-b881-fd3a2e4b2453" providerId="ADAL" clId="{4457FA57-250B-44AC-8655-05D46C5A3D8A}" dt="2023-06-04T13:12:44.901" v="7713"/>
          <ac:spMkLst>
            <pc:docMk/>
            <pc:sldMk cId="2315312326" sldId="230717689"/>
            <ac:spMk id="24" creationId="{54A0CC9B-CDCA-4A85-A68F-D81E078FF546}"/>
          </ac:spMkLst>
        </pc:spChg>
        <pc:spChg chg="add mod">
          <ac:chgData name="Manal El Bakkouri" userId="8b130982-2e3f-4164-b881-fd3a2e4b2453" providerId="ADAL" clId="{4457FA57-250B-44AC-8655-05D46C5A3D8A}" dt="2023-06-09T11:30:32.796" v="21775"/>
          <ac:spMkLst>
            <pc:docMk/>
            <pc:sldMk cId="2315312326" sldId="230717689"/>
            <ac:spMk id="24" creationId="{DF9713E7-F5F7-42D6-9540-99BF76B5618E}"/>
          </ac:spMkLst>
        </pc:spChg>
        <pc:spChg chg="add mod">
          <ac:chgData name="Manal El Bakkouri" userId="8b130982-2e3f-4164-b881-fd3a2e4b2453" providerId="ADAL" clId="{4457FA57-250B-44AC-8655-05D46C5A3D8A}" dt="2023-06-04T13:14:17.924" v="7746" actId="20577"/>
          <ac:spMkLst>
            <pc:docMk/>
            <pc:sldMk cId="2315312326" sldId="230717689"/>
            <ac:spMk id="25" creationId="{2B8B02E2-52DF-48D8-BB0B-40BE852885B2}"/>
          </ac:spMkLst>
        </pc:spChg>
        <pc:spChg chg="add mod">
          <ac:chgData name="Manal El Bakkouri" userId="8b130982-2e3f-4164-b881-fd3a2e4b2453" providerId="ADAL" clId="{4457FA57-250B-44AC-8655-05D46C5A3D8A}" dt="2023-06-09T11:30:32.796" v="21775"/>
          <ac:spMkLst>
            <pc:docMk/>
            <pc:sldMk cId="2315312326" sldId="230717689"/>
            <ac:spMk id="26" creationId="{9BD5CC36-90B3-4553-98EF-3E6C28BFC9A8}"/>
          </ac:spMkLst>
        </pc:spChg>
        <pc:spChg chg="add mod">
          <ac:chgData name="Manal El Bakkouri" userId="8b130982-2e3f-4164-b881-fd3a2e4b2453" providerId="ADAL" clId="{4457FA57-250B-44AC-8655-05D46C5A3D8A}" dt="2023-06-09T11:30:32.796" v="21775"/>
          <ac:spMkLst>
            <pc:docMk/>
            <pc:sldMk cId="2315312326" sldId="230717689"/>
            <ac:spMk id="30" creationId="{39689899-1830-47CD-B116-DC576826DFF7}"/>
          </ac:spMkLst>
        </pc:spChg>
        <pc:spChg chg="add mod">
          <ac:chgData name="Manal El Bakkouri" userId="8b130982-2e3f-4164-b881-fd3a2e4b2453" providerId="ADAL" clId="{4457FA57-250B-44AC-8655-05D46C5A3D8A}" dt="2023-06-09T11:30:32.796" v="21775"/>
          <ac:spMkLst>
            <pc:docMk/>
            <pc:sldMk cId="2315312326" sldId="230717689"/>
            <ac:spMk id="31" creationId="{70AA9AF0-B5AA-4359-9805-0614FFB4136B}"/>
          </ac:spMkLst>
        </pc:spChg>
        <pc:grpChg chg="add del mod ord">
          <ac:chgData name="Manal El Bakkouri" userId="8b130982-2e3f-4164-b881-fd3a2e4b2453" providerId="ADAL" clId="{4457FA57-250B-44AC-8655-05D46C5A3D8A}" dt="2023-06-06T09:42:35.382" v="9257" actId="478"/>
          <ac:grpSpMkLst>
            <pc:docMk/>
            <pc:sldMk cId="2315312326" sldId="230717689"/>
            <ac:grpSpMk id="4" creationId="{AB882C09-8286-4BE0-98F9-1F87C04DE8E7}"/>
          </ac:grpSpMkLst>
        </pc:grpChg>
        <pc:picChg chg="add mod ord">
          <ac:chgData name="Manal El Bakkouri" userId="8b130982-2e3f-4164-b881-fd3a2e4b2453" providerId="ADAL" clId="{4457FA57-250B-44AC-8655-05D46C5A3D8A}" dt="2023-06-02T15:12:24.537" v="5434" actId="167"/>
          <ac:picMkLst>
            <pc:docMk/>
            <pc:sldMk cId="2315312326" sldId="230717689"/>
            <ac:picMk id="3" creationId="{E90F484B-55D6-4A2D-BE07-03423808D45F}"/>
          </ac:picMkLst>
        </pc:picChg>
        <pc:picChg chg="mod ord">
          <ac:chgData name="Manal El Bakkouri" userId="8b130982-2e3f-4164-b881-fd3a2e4b2453" providerId="ADAL" clId="{4457FA57-250B-44AC-8655-05D46C5A3D8A}" dt="2023-06-02T15:12:05.761" v="5420" actId="167"/>
          <ac:picMkLst>
            <pc:docMk/>
            <pc:sldMk cId="2315312326" sldId="230717689"/>
            <ac:picMk id="21" creationId="{26F892A1-85EE-4E08-B1C5-00F575121FD8}"/>
          </ac:picMkLst>
        </pc:picChg>
        <pc:picChg chg="add mod ord">
          <ac:chgData name="Manal El Bakkouri" userId="8b130982-2e3f-4164-b881-fd3a2e4b2453" providerId="ADAL" clId="{4457FA57-250B-44AC-8655-05D46C5A3D8A}" dt="2023-06-06T09:57:56.246" v="9354" actId="1076"/>
          <ac:picMkLst>
            <pc:docMk/>
            <pc:sldMk cId="2315312326" sldId="230717689"/>
            <ac:picMk id="27" creationId="{F0FA8C04-5C58-4C1D-9282-6229E7238B48}"/>
          </ac:picMkLst>
        </pc:picChg>
        <pc:picChg chg="add mod">
          <ac:chgData name="Manal El Bakkouri" userId="8b130982-2e3f-4164-b881-fd3a2e4b2453" providerId="ADAL" clId="{4457FA57-250B-44AC-8655-05D46C5A3D8A}" dt="2023-06-06T09:47:33.257" v="9288"/>
          <ac:picMkLst>
            <pc:docMk/>
            <pc:sldMk cId="2315312326" sldId="230717689"/>
            <ac:picMk id="28" creationId="{0686CDA3-9036-4900-96D8-74924DD7CED2}"/>
          </ac:picMkLst>
        </pc:picChg>
        <pc:picChg chg="add mod">
          <ac:chgData name="Manal El Bakkouri" userId="8b130982-2e3f-4164-b881-fd3a2e4b2453" providerId="ADAL" clId="{4457FA57-250B-44AC-8655-05D46C5A3D8A}" dt="2023-06-06T09:57:53.469" v="9353" actId="1076"/>
          <ac:picMkLst>
            <pc:docMk/>
            <pc:sldMk cId="2315312326" sldId="230717689"/>
            <ac:picMk id="29" creationId="{FE3BF6DE-DAD6-4BFF-903B-49497C060EF3}"/>
          </ac:picMkLst>
        </pc:picChg>
      </pc:sldChg>
      <pc:sldChg chg="addSp delSp modSp new mod ord modTransition modAnim modNotesTx">
        <pc:chgData name="Manal El Bakkouri" userId="8b130982-2e3f-4164-b881-fd3a2e4b2453" providerId="ADAL" clId="{4457FA57-250B-44AC-8655-05D46C5A3D8A}" dt="2023-06-09T11:30:59.076" v="21787"/>
        <pc:sldMkLst>
          <pc:docMk/>
          <pc:sldMk cId="1342995248" sldId="230717690"/>
        </pc:sldMkLst>
        <pc:spChg chg="del">
          <ac:chgData name="Manal El Bakkouri" userId="8b130982-2e3f-4164-b881-fd3a2e4b2453" providerId="ADAL" clId="{4457FA57-250B-44AC-8655-05D46C5A3D8A}" dt="2023-06-02T13:17:16.658" v="4135" actId="478"/>
          <ac:spMkLst>
            <pc:docMk/>
            <pc:sldMk cId="1342995248" sldId="230717690"/>
            <ac:spMk id="2" creationId="{160625DF-2051-47C9-B3F3-6943514EFCA7}"/>
          </ac:spMkLst>
        </pc:spChg>
        <pc:spChg chg="del mod">
          <ac:chgData name="Manal El Bakkouri" userId="8b130982-2e3f-4164-b881-fd3a2e4b2453" providerId="ADAL" clId="{4457FA57-250B-44AC-8655-05D46C5A3D8A}" dt="2023-06-02T13:17:18.071" v="4137" actId="478"/>
          <ac:spMkLst>
            <pc:docMk/>
            <pc:sldMk cId="1342995248" sldId="230717690"/>
            <ac:spMk id="3" creationId="{E23AA745-52D5-498A-A25A-4D786C6126EF}"/>
          </ac:spMkLst>
        </pc:spChg>
        <pc:spChg chg="del">
          <ac:chgData name="Manal El Bakkouri" userId="8b130982-2e3f-4164-b881-fd3a2e4b2453" providerId="ADAL" clId="{4457FA57-250B-44AC-8655-05D46C5A3D8A}" dt="2023-06-02T13:17:19.484" v="4138" actId="478"/>
          <ac:spMkLst>
            <pc:docMk/>
            <pc:sldMk cId="1342995248" sldId="230717690"/>
            <ac:spMk id="4" creationId="{63283BA4-75DA-4594-A26A-6151C5AF88A0}"/>
          </ac:spMkLst>
        </pc:spChg>
        <pc:spChg chg="add del mod">
          <ac:chgData name="Manal El Bakkouri" userId="8b130982-2e3f-4164-b881-fd3a2e4b2453" providerId="ADAL" clId="{4457FA57-250B-44AC-8655-05D46C5A3D8A}" dt="2023-06-09T11:30:58.741" v="21786" actId="478"/>
          <ac:spMkLst>
            <pc:docMk/>
            <pc:sldMk cId="1342995248" sldId="230717690"/>
            <ac:spMk id="5" creationId="{B90ABF0C-18AC-4F99-BE2B-152A4E1E2CE7}"/>
          </ac:spMkLst>
        </pc:spChg>
        <pc:spChg chg="add del mod">
          <ac:chgData name="Manal El Bakkouri" userId="8b130982-2e3f-4164-b881-fd3a2e4b2453" providerId="ADAL" clId="{4457FA57-250B-44AC-8655-05D46C5A3D8A}" dt="2023-06-09T11:30:58.741" v="21786" actId="478"/>
          <ac:spMkLst>
            <pc:docMk/>
            <pc:sldMk cId="1342995248" sldId="230717690"/>
            <ac:spMk id="6" creationId="{A1867357-F67F-4C87-B4D7-72C7D7909DE6}"/>
          </ac:spMkLst>
        </pc:spChg>
        <pc:spChg chg="add del mod">
          <ac:chgData name="Manal El Bakkouri" userId="8b130982-2e3f-4164-b881-fd3a2e4b2453" providerId="ADAL" clId="{4457FA57-250B-44AC-8655-05D46C5A3D8A}" dt="2023-06-09T11:30:58.741" v="21786" actId="478"/>
          <ac:spMkLst>
            <pc:docMk/>
            <pc:sldMk cId="1342995248" sldId="230717690"/>
            <ac:spMk id="7" creationId="{3A152E32-4785-4407-999B-2A8F73CC9E3E}"/>
          </ac:spMkLst>
        </pc:spChg>
        <pc:spChg chg="add mod">
          <ac:chgData name="Manal El Bakkouri" userId="8b130982-2e3f-4164-b881-fd3a2e4b2453" providerId="ADAL" clId="{4457FA57-250B-44AC-8655-05D46C5A3D8A}" dt="2023-06-02T13:17:36.747" v="4141"/>
          <ac:spMkLst>
            <pc:docMk/>
            <pc:sldMk cId="1342995248" sldId="230717690"/>
            <ac:spMk id="8" creationId="{A28F01A3-4922-4A31-B1C3-579E26A7E094}"/>
          </ac:spMkLst>
        </pc:spChg>
        <pc:spChg chg="add mod">
          <ac:chgData name="Manal El Bakkouri" userId="8b130982-2e3f-4164-b881-fd3a2e4b2453" providerId="ADAL" clId="{4457FA57-250B-44AC-8655-05D46C5A3D8A}" dt="2023-06-02T13:17:36.747" v="4141"/>
          <ac:spMkLst>
            <pc:docMk/>
            <pc:sldMk cId="1342995248" sldId="230717690"/>
            <ac:spMk id="9" creationId="{104A6B37-B4CF-4149-B6BD-3844BC2CEB80}"/>
          </ac:spMkLst>
        </pc:spChg>
        <pc:spChg chg="add mod">
          <ac:chgData name="Manal El Bakkouri" userId="8b130982-2e3f-4164-b881-fd3a2e4b2453" providerId="ADAL" clId="{4457FA57-250B-44AC-8655-05D46C5A3D8A}" dt="2023-06-02T13:17:36.747" v="4141"/>
          <ac:spMkLst>
            <pc:docMk/>
            <pc:sldMk cId="1342995248" sldId="230717690"/>
            <ac:spMk id="10" creationId="{14D6940C-F9DE-44CE-8E6E-BF3B199AB133}"/>
          </ac:spMkLst>
        </pc:spChg>
        <pc:spChg chg="add mod">
          <ac:chgData name="Manal El Bakkouri" userId="8b130982-2e3f-4164-b881-fd3a2e4b2453" providerId="ADAL" clId="{4457FA57-250B-44AC-8655-05D46C5A3D8A}" dt="2023-06-02T13:17:36.747" v="4141"/>
          <ac:spMkLst>
            <pc:docMk/>
            <pc:sldMk cId="1342995248" sldId="230717690"/>
            <ac:spMk id="11" creationId="{D55C0A20-CDA7-4A3D-BB08-D9CCBE2C01E6}"/>
          </ac:spMkLst>
        </pc:spChg>
        <pc:spChg chg="add mod">
          <ac:chgData name="Manal El Bakkouri" userId="8b130982-2e3f-4164-b881-fd3a2e4b2453" providerId="ADAL" clId="{4457FA57-250B-44AC-8655-05D46C5A3D8A}" dt="2023-06-02T13:17:36.747" v="4141"/>
          <ac:spMkLst>
            <pc:docMk/>
            <pc:sldMk cId="1342995248" sldId="230717690"/>
            <ac:spMk id="12" creationId="{600C4987-85DE-4E40-A200-6CEF5272A55A}"/>
          </ac:spMkLst>
        </pc:spChg>
        <pc:spChg chg="add mod">
          <ac:chgData name="Manal El Bakkouri" userId="8b130982-2e3f-4164-b881-fd3a2e4b2453" providerId="ADAL" clId="{4457FA57-250B-44AC-8655-05D46C5A3D8A}" dt="2023-06-02T13:17:36.747" v="4141"/>
          <ac:spMkLst>
            <pc:docMk/>
            <pc:sldMk cId="1342995248" sldId="230717690"/>
            <ac:spMk id="13" creationId="{DE80F741-E790-48A1-AEFF-C86A87FDD066}"/>
          </ac:spMkLst>
        </pc:spChg>
        <pc:spChg chg="add del mod">
          <ac:chgData name="Manal El Bakkouri" userId="8b130982-2e3f-4164-b881-fd3a2e4b2453" providerId="ADAL" clId="{4457FA57-250B-44AC-8655-05D46C5A3D8A}" dt="2023-06-02T15:14:34.173" v="5451" actId="478"/>
          <ac:spMkLst>
            <pc:docMk/>
            <pc:sldMk cId="1342995248" sldId="230717690"/>
            <ac:spMk id="15" creationId="{373A8EF2-C1E3-4386-B239-067770577521}"/>
          </ac:spMkLst>
        </pc:spChg>
        <pc:spChg chg="add mod">
          <ac:chgData name="Manal El Bakkouri" userId="8b130982-2e3f-4164-b881-fd3a2e4b2453" providerId="ADAL" clId="{4457FA57-250B-44AC-8655-05D46C5A3D8A}" dt="2023-06-02T13:36:58.543" v="4215" actId="207"/>
          <ac:spMkLst>
            <pc:docMk/>
            <pc:sldMk cId="1342995248" sldId="230717690"/>
            <ac:spMk id="18" creationId="{215E87B5-3EF6-436C-9F23-DF7762AAC27C}"/>
          </ac:spMkLst>
        </pc:spChg>
        <pc:spChg chg="add del mod">
          <ac:chgData name="Manal El Bakkouri" userId="8b130982-2e3f-4164-b881-fd3a2e4b2453" providerId="ADAL" clId="{4457FA57-250B-44AC-8655-05D46C5A3D8A}" dt="2023-06-02T13:36:58.543" v="4215" actId="207"/>
          <ac:spMkLst>
            <pc:docMk/>
            <pc:sldMk cId="1342995248" sldId="230717690"/>
            <ac:spMk id="19" creationId="{53B1757F-AAB9-47F3-9539-7310EEF91043}"/>
          </ac:spMkLst>
        </pc:spChg>
        <pc:spChg chg="add del mod">
          <ac:chgData name="Manal El Bakkouri" userId="8b130982-2e3f-4164-b881-fd3a2e4b2453" providerId="ADAL" clId="{4457FA57-250B-44AC-8655-05D46C5A3D8A}" dt="2023-06-02T13:36:58.543" v="4215" actId="207"/>
          <ac:spMkLst>
            <pc:docMk/>
            <pc:sldMk cId="1342995248" sldId="230717690"/>
            <ac:spMk id="20" creationId="{0D4DE5FA-B3BF-458F-BA67-50A482B8C095}"/>
          </ac:spMkLst>
        </pc:spChg>
        <pc:spChg chg="add del mod">
          <ac:chgData name="Manal El Bakkouri" userId="8b130982-2e3f-4164-b881-fd3a2e4b2453" providerId="ADAL" clId="{4457FA57-250B-44AC-8655-05D46C5A3D8A}" dt="2023-06-02T13:33:58.457" v="4160" actId="478"/>
          <ac:spMkLst>
            <pc:docMk/>
            <pc:sldMk cId="1342995248" sldId="230717690"/>
            <ac:spMk id="21" creationId="{72BDB1EC-3AE5-44E3-B933-6D98A42B7EA4}"/>
          </ac:spMkLst>
        </pc:spChg>
        <pc:spChg chg="add mod">
          <ac:chgData name="Manal El Bakkouri" userId="8b130982-2e3f-4164-b881-fd3a2e4b2453" providerId="ADAL" clId="{4457FA57-250B-44AC-8655-05D46C5A3D8A}" dt="2023-06-02T13:36:58.543" v="4215" actId="207"/>
          <ac:spMkLst>
            <pc:docMk/>
            <pc:sldMk cId="1342995248" sldId="230717690"/>
            <ac:spMk id="22" creationId="{164CC9E3-6C83-461F-88B0-8EC55DF3DD09}"/>
          </ac:spMkLst>
        </pc:spChg>
        <pc:spChg chg="add del mod">
          <ac:chgData name="Manal El Bakkouri" userId="8b130982-2e3f-4164-b881-fd3a2e4b2453" providerId="ADAL" clId="{4457FA57-250B-44AC-8655-05D46C5A3D8A}" dt="2023-06-02T13:34:54.606" v="4183" actId="478"/>
          <ac:spMkLst>
            <pc:docMk/>
            <pc:sldMk cId="1342995248" sldId="230717690"/>
            <ac:spMk id="23" creationId="{75A787B6-142A-419D-8619-FA978C245901}"/>
          </ac:spMkLst>
        </pc:spChg>
        <pc:spChg chg="add del mod">
          <ac:chgData name="Manal El Bakkouri" userId="8b130982-2e3f-4164-b881-fd3a2e4b2453" providerId="ADAL" clId="{4457FA57-250B-44AC-8655-05D46C5A3D8A}" dt="2023-06-02T13:33:01.985" v="4150" actId="478"/>
          <ac:spMkLst>
            <pc:docMk/>
            <pc:sldMk cId="1342995248" sldId="230717690"/>
            <ac:spMk id="24" creationId="{6F1A2937-2F3C-4DBB-A356-D13F83FB684A}"/>
          </ac:spMkLst>
        </pc:spChg>
        <pc:spChg chg="add del mod">
          <ac:chgData name="Manal El Bakkouri" userId="8b130982-2e3f-4164-b881-fd3a2e4b2453" providerId="ADAL" clId="{4457FA57-250B-44AC-8655-05D46C5A3D8A}" dt="2023-06-02T13:33:01.985" v="4150" actId="478"/>
          <ac:spMkLst>
            <pc:docMk/>
            <pc:sldMk cId="1342995248" sldId="230717690"/>
            <ac:spMk id="25" creationId="{23C926EE-1BED-4C0B-9282-B8FEF1F53662}"/>
          </ac:spMkLst>
        </pc:spChg>
        <pc:spChg chg="add del mod">
          <ac:chgData name="Manal El Bakkouri" userId="8b130982-2e3f-4164-b881-fd3a2e4b2453" providerId="ADAL" clId="{4457FA57-250B-44AC-8655-05D46C5A3D8A}" dt="2023-06-02T13:33:07.213" v="4152" actId="478"/>
          <ac:spMkLst>
            <pc:docMk/>
            <pc:sldMk cId="1342995248" sldId="230717690"/>
            <ac:spMk id="27" creationId="{201C5314-E2B2-4236-911A-686AA98CA4D4}"/>
          </ac:spMkLst>
        </pc:spChg>
        <pc:spChg chg="add mod">
          <ac:chgData name="Manal El Bakkouri" userId="8b130982-2e3f-4164-b881-fd3a2e4b2453" providerId="ADAL" clId="{4457FA57-250B-44AC-8655-05D46C5A3D8A}" dt="2023-06-02T13:36:58.543" v="4215" actId="207"/>
          <ac:spMkLst>
            <pc:docMk/>
            <pc:sldMk cId="1342995248" sldId="230717690"/>
            <ac:spMk id="28" creationId="{72C1240B-4604-4B2D-BAE8-06A7F98E804F}"/>
          </ac:spMkLst>
        </pc:spChg>
        <pc:spChg chg="add mod">
          <ac:chgData name="Manal El Bakkouri" userId="8b130982-2e3f-4164-b881-fd3a2e4b2453" providerId="ADAL" clId="{4457FA57-250B-44AC-8655-05D46C5A3D8A}" dt="2023-06-02T13:33:15.627" v="4155" actId="571"/>
          <ac:spMkLst>
            <pc:docMk/>
            <pc:sldMk cId="1342995248" sldId="230717690"/>
            <ac:spMk id="29" creationId="{D6DEC939-F2FC-44B7-AB34-BCD24FD047D3}"/>
          </ac:spMkLst>
        </pc:spChg>
        <pc:spChg chg="add mod">
          <ac:chgData name="Manal El Bakkouri" userId="8b130982-2e3f-4164-b881-fd3a2e4b2453" providerId="ADAL" clId="{4457FA57-250B-44AC-8655-05D46C5A3D8A}" dt="2023-06-02T13:33:15.627" v="4155" actId="571"/>
          <ac:spMkLst>
            <pc:docMk/>
            <pc:sldMk cId="1342995248" sldId="230717690"/>
            <ac:spMk id="30" creationId="{19D36576-8A43-4CEC-B722-81E95EDAD605}"/>
          </ac:spMkLst>
        </pc:spChg>
        <pc:spChg chg="add mod">
          <ac:chgData name="Manal El Bakkouri" userId="8b130982-2e3f-4164-b881-fd3a2e4b2453" providerId="ADAL" clId="{4457FA57-250B-44AC-8655-05D46C5A3D8A}" dt="2023-06-02T13:36:58.543" v="4215" actId="207"/>
          <ac:spMkLst>
            <pc:docMk/>
            <pc:sldMk cId="1342995248" sldId="230717690"/>
            <ac:spMk id="31" creationId="{9A2AC15C-C442-4BA8-933C-5903B1FC2863}"/>
          </ac:spMkLst>
        </pc:spChg>
        <pc:spChg chg="add del mod">
          <ac:chgData name="Manal El Bakkouri" userId="8b130982-2e3f-4164-b881-fd3a2e4b2453" providerId="ADAL" clId="{4457FA57-250B-44AC-8655-05D46C5A3D8A}" dt="2023-06-02T13:34:54.608" v="4185"/>
          <ac:spMkLst>
            <pc:docMk/>
            <pc:sldMk cId="1342995248" sldId="230717690"/>
            <ac:spMk id="32" creationId="{BCB3B7D0-A0AA-4200-89AA-A2C48DD79217}"/>
          </ac:spMkLst>
        </pc:spChg>
        <pc:spChg chg="add mod">
          <ac:chgData name="Manal El Bakkouri" userId="8b130982-2e3f-4164-b881-fd3a2e4b2453" providerId="ADAL" clId="{4457FA57-250B-44AC-8655-05D46C5A3D8A}" dt="2023-06-02T13:36:58.543" v="4215" actId="207"/>
          <ac:spMkLst>
            <pc:docMk/>
            <pc:sldMk cId="1342995248" sldId="230717690"/>
            <ac:spMk id="33" creationId="{92384EAE-BC52-47C6-9B02-4BF853642E2E}"/>
          </ac:spMkLst>
        </pc:spChg>
        <pc:spChg chg="add mod">
          <ac:chgData name="Manal El Bakkouri" userId="8b130982-2e3f-4164-b881-fd3a2e4b2453" providerId="ADAL" clId="{4457FA57-250B-44AC-8655-05D46C5A3D8A}" dt="2023-06-02T13:36:58.543" v="4215" actId="207"/>
          <ac:spMkLst>
            <pc:docMk/>
            <pc:sldMk cId="1342995248" sldId="230717690"/>
            <ac:spMk id="34" creationId="{B7049551-B0E8-419A-AF59-61B3AC95C142}"/>
          </ac:spMkLst>
        </pc:spChg>
        <pc:spChg chg="add mod">
          <ac:chgData name="Manal El Bakkouri" userId="8b130982-2e3f-4164-b881-fd3a2e4b2453" providerId="ADAL" clId="{4457FA57-250B-44AC-8655-05D46C5A3D8A}" dt="2023-06-02T13:36:58.543" v="4215" actId="207"/>
          <ac:spMkLst>
            <pc:docMk/>
            <pc:sldMk cId="1342995248" sldId="230717690"/>
            <ac:spMk id="35" creationId="{F8B1F7F1-A32C-496E-8617-705B56E0331F}"/>
          </ac:spMkLst>
        </pc:spChg>
        <pc:spChg chg="add mod">
          <ac:chgData name="Manal El Bakkouri" userId="8b130982-2e3f-4164-b881-fd3a2e4b2453" providerId="ADAL" clId="{4457FA57-250B-44AC-8655-05D46C5A3D8A}" dt="2023-06-02T13:36:58.543" v="4215" actId="207"/>
          <ac:spMkLst>
            <pc:docMk/>
            <pc:sldMk cId="1342995248" sldId="230717690"/>
            <ac:spMk id="36" creationId="{50185C7B-0800-477A-ABE2-4D1D91FBB649}"/>
          </ac:spMkLst>
        </pc:spChg>
        <pc:spChg chg="add mod">
          <ac:chgData name="Manal El Bakkouri" userId="8b130982-2e3f-4164-b881-fd3a2e4b2453" providerId="ADAL" clId="{4457FA57-250B-44AC-8655-05D46C5A3D8A}" dt="2023-06-02T13:36:58.543" v="4215" actId="207"/>
          <ac:spMkLst>
            <pc:docMk/>
            <pc:sldMk cId="1342995248" sldId="230717690"/>
            <ac:spMk id="37" creationId="{1C7CAE9F-7D7D-4B45-BF2E-1AE4E68EC77E}"/>
          </ac:spMkLst>
        </pc:spChg>
        <pc:spChg chg="add mod">
          <ac:chgData name="Manal El Bakkouri" userId="8b130982-2e3f-4164-b881-fd3a2e4b2453" providerId="ADAL" clId="{4457FA57-250B-44AC-8655-05D46C5A3D8A}" dt="2023-06-02T13:36:58.543" v="4215" actId="207"/>
          <ac:spMkLst>
            <pc:docMk/>
            <pc:sldMk cId="1342995248" sldId="230717690"/>
            <ac:spMk id="38" creationId="{4B5151AC-32FC-45DD-83EB-6569B5F2FEFF}"/>
          </ac:spMkLst>
        </pc:spChg>
        <pc:spChg chg="add mod">
          <ac:chgData name="Manal El Bakkouri" userId="8b130982-2e3f-4164-b881-fd3a2e4b2453" providerId="ADAL" clId="{4457FA57-250B-44AC-8655-05D46C5A3D8A}" dt="2023-06-05T08:20:48.585" v="7802" actId="208"/>
          <ac:spMkLst>
            <pc:docMk/>
            <pc:sldMk cId="1342995248" sldId="230717690"/>
            <ac:spMk id="48" creationId="{11ED3C6F-A752-41D5-AFDE-E67ED7B39BDF}"/>
          </ac:spMkLst>
        </pc:spChg>
        <pc:spChg chg="add mod">
          <ac:chgData name="Manal El Bakkouri" userId="8b130982-2e3f-4164-b881-fd3a2e4b2453" providerId="ADAL" clId="{4457FA57-250B-44AC-8655-05D46C5A3D8A}" dt="2023-06-02T15:09:02.482" v="5385" actId="208"/>
          <ac:spMkLst>
            <pc:docMk/>
            <pc:sldMk cId="1342995248" sldId="230717690"/>
            <ac:spMk id="49" creationId="{39A7DC35-4830-4D86-A9F8-2D2E350012A5}"/>
          </ac:spMkLst>
        </pc:spChg>
        <pc:spChg chg="add mod">
          <ac:chgData name="Manal El Bakkouri" userId="8b130982-2e3f-4164-b881-fd3a2e4b2453" providerId="ADAL" clId="{4457FA57-250B-44AC-8655-05D46C5A3D8A}" dt="2023-06-02T15:09:21.949" v="5392" actId="1035"/>
          <ac:spMkLst>
            <pc:docMk/>
            <pc:sldMk cId="1342995248" sldId="230717690"/>
            <ac:spMk id="50" creationId="{9481D3A6-6D03-42C8-A4EC-C88F360A62AE}"/>
          </ac:spMkLst>
        </pc:spChg>
        <pc:spChg chg="add mod">
          <ac:chgData name="Manal El Bakkouri" userId="8b130982-2e3f-4164-b881-fd3a2e4b2453" providerId="ADAL" clId="{4457FA57-250B-44AC-8655-05D46C5A3D8A}" dt="2023-06-02T15:08:41.648" v="5381" actId="208"/>
          <ac:spMkLst>
            <pc:docMk/>
            <pc:sldMk cId="1342995248" sldId="230717690"/>
            <ac:spMk id="51" creationId="{4210108C-F772-4C06-8CAA-2E5B886AF939}"/>
          </ac:spMkLst>
        </pc:spChg>
        <pc:spChg chg="add mod">
          <ac:chgData name="Manal El Bakkouri" userId="8b130982-2e3f-4164-b881-fd3a2e4b2453" providerId="ADAL" clId="{4457FA57-250B-44AC-8655-05D46C5A3D8A}" dt="2023-06-02T15:09:26.017" v="5395" actId="1035"/>
          <ac:spMkLst>
            <pc:docMk/>
            <pc:sldMk cId="1342995248" sldId="230717690"/>
            <ac:spMk id="52" creationId="{D097EF23-D5ED-432E-85ED-7E6B6A51F5A6}"/>
          </ac:spMkLst>
        </pc:spChg>
        <pc:spChg chg="add mod">
          <ac:chgData name="Manal El Bakkouri" userId="8b130982-2e3f-4164-b881-fd3a2e4b2453" providerId="ADAL" clId="{4457FA57-250B-44AC-8655-05D46C5A3D8A}" dt="2023-06-02T15:08:37.838" v="5380" actId="207"/>
          <ac:spMkLst>
            <pc:docMk/>
            <pc:sldMk cId="1342995248" sldId="230717690"/>
            <ac:spMk id="54" creationId="{73E4E667-46BA-411C-BFAC-DD8F92CC33D1}"/>
          </ac:spMkLst>
        </pc:spChg>
        <pc:spChg chg="add mod">
          <ac:chgData name="Manal El Bakkouri" userId="8b130982-2e3f-4164-b881-fd3a2e4b2453" providerId="ADAL" clId="{4457FA57-250B-44AC-8655-05D46C5A3D8A}" dt="2023-06-02T15:09:26.017" v="5395" actId="1035"/>
          <ac:spMkLst>
            <pc:docMk/>
            <pc:sldMk cId="1342995248" sldId="230717690"/>
            <ac:spMk id="55" creationId="{32A30521-6BD5-473E-8672-68FC095E7691}"/>
          </ac:spMkLst>
        </pc:spChg>
        <pc:spChg chg="add mod">
          <ac:chgData name="Manal El Bakkouri" userId="8b130982-2e3f-4164-b881-fd3a2e4b2453" providerId="ADAL" clId="{4457FA57-250B-44AC-8655-05D46C5A3D8A}" dt="2023-06-02T15:09:21.949" v="5392" actId="1035"/>
          <ac:spMkLst>
            <pc:docMk/>
            <pc:sldMk cId="1342995248" sldId="230717690"/>
            <ac:spMk id="56" creationId="{040750BA-9DA1-4204-8C0E-612A74C9763C}"/>
          </ac:spMkLst>
        </pc:spChg>
        <pc:spChg chg="add mod">
          <ac:chgData name="Manal El Bakkouri" userId="8b130982-2e3f-4164-b881-fd3a2e4b2453" providerId="ADAL" clId="{4457FA57-250B-44AC-8655-05D46C5A3D8A}" dt="2023-06-02T15:08:57.575" v="5384" actId="207"/>
          <ac:spMkLst>
            <pc:docMk/>
            <pc:sldMk cId="1342995248" sldId="230717690"/>
            <ac:spMk id="57" creationId="{4A54453A-16FD-42AB-8713-D6171D72043D}"/>
          </ac:spMkLst>
        </pc:spChg>
        <pc:spChg chg="add mod">
          <ac:chgData name="Manal El Bakkouri" userId="8b130982-2e3f-4164-b881-fd3a2e4b2453" providerId="ADAL" clId="{4457FA57-250B-44AC-8655-05D46C5A3D8A}" dt="2023-06-02T15:09:33.889" v="5401" actId="1036"/>
          <ac:spMkLst>
            <pc:docMk/>
            <pc:sldMk cId="1342995248" sldId="230717690"/>
            <ac:spMk id="58" creationId="{31FC65DF-3DEC-4EFA-8BCA-F9C86A060630}"/>
          </ac:spMkLst>
        </pc:spChg>
        <pc:spChg chg="add mod">
          <ac:chgData name="Manal El Bakkouri" userId="8b130982-2e3f-4164-b881-fd3a2e4b2453" providerId="ADAL" clId="{4457FA57-250B-44AC-8655-05D46C5A3D8A}" dt="2023-06-02T15:09:26.017" v="5395" actId="1035"/>
          <ac:spMkLst>
            <pc:docMk/>
            <pc:sldMk cId="1342995248" sldId="230717690"/>
            <ac:spMk id="59" creationId="{70DE8F94-89A0-4D37-8ED5-EF8F362C858A}"/>
          </ac:spMkLst>
        </pc:spChg>
        <pc:spChg chg="add mod">
          <ac:chgData name="Manal El Bakkouri" userId="8b130982-2e3f-4164-b881-fd3a2e4b2453" providerId="ADAL" clId="{4457FA57-250B-44AC-8655-05D46C5A3D8A}" dt="2023-06-09T11:30:59.076" v="21787"/>
          <ac:spMkLst>
            <pc:docMk/>
            <pc:sldMk cId="1342995248" sldId="230717690"/>
            <ac:spMk id="60" creationId="{3E3643D8-353D-433B-B14C-A7A644548E17}"/>
          </ac:spMkLst>
        </pc:spChg>
        <pc:spChg chg="add del mod">
          <ac:chgData name="Manal El Bakkouri" userId="8b130982-2e3f-4164-b881-fd3a2e4b2453" providerId="ADAL" clId="{4457FA57-250B-44AC-8655-05D46C5A3D8A}" dt="2023-06-02T13:48:38.844" v="4298" actId="478"/>
          <ac:spMkLst>
            <pc:docMk/>
            <pc:sldMk cId="1342995248" sldId="230717690"/>
            <ac:spMk id="60" creationId="{F94D2BC9-546F-4BAA-A74A-0874B0897FE5}"/>
          </ac:spMkLst>
        </pc:spChg>
        <pc:spChg chg="add mod">
          <ac:chgData name="Manal El Bakkouri" userId="8b130982-2e3f-4164-b881-fd3a2e4b2453" providerId="ADAL" clId="{4457FA57-250B-44AC-8655-05D46C5A3D8A}" dt="2023-06-02T14:59:48.691" v="5183" actId="14100"/>
          <ac:spMkLst>
            <pc:docMk/>
            <pc:sldMk cId="1342995248" sldId="230717690"/>
            <ac:spMk id="61" creationId="{31060949-A84E-4945-A50D-90759717C5D8}"/>
          </ac:spMkLst>
        </pc:spChg>
        <pc:spChg chg="add del mod">
          <ac:chgData name="Manal El Bakkouri" userId="8b130982-2e3f-4164-b881-fd3a2e4b2453" providerId="ADAL" clId="{4457FA57-250B-44AC-8655-05D46C5A3D8A}" dt="2023-06-02T13:48:51.534" v="4309" actId="478"/>
          <ac:spMkLst>
            <pc:docMk/>
            <pc:sldMk cId="1342995248" sldId="230717690"/>
            <ac:spMk id="62" creationId="{0E484B79-BD40-4737-A861-71BB471AE0DF}"/>
          </ac:spMkLst>
        </pc:spChg>
        <pc:spChg chg="add mod">
          <ac:chgData name="Manal El Bakkouri" userId="8b130982-2e3f-4164-b881-fd3a2e4b2453" providerId="ADAL" clId="{4457FA57-250B-44AC-8655-05D46C5A3D8A}" dt="2023-06-09T11:30:59.076" v="21787"/>
          <ac:spMkLst>
            <pc:docMk/>
            <pc:sldMk cId="1342995248" sldId="230717690"/>
            <ac:spMk id="62" creationId="{A7CA7350-6288-4B39-A016-ED7B75B197DC}"/>
          </ac:spMkLst>
        </pc:spChg>
        <pc:spChg chg="add mod">
          <ac:chgData name="Manal El Bakkouri" userId="8b130982-2e3f-4164-b881-fd3a2e4b2453" providerId="ADAL" clId="{4457FA57-250B-44AC-8655-05D46C5A3D8A}" dt="2023-06-02T15:09:21.949" v="5392" actId="1035"/>
          <ac:spMkLst>
            <pc:docMk/>
            <pc:sldMk cId="1342995248" sldId="230717690"/>
            <ac:spMk id="63" creationId="{6740C2A2-9294-4598-A218-1234D39E4992}"/>
          </ac:spMkLst>
        </pc:spChg>
        <pc:spChg chg="add del mod">
          <ac:chgData name="Manal El Bakkouri" userId="8b130982-2e3f-4164-b881-fd3a2e4b2453" providerId="ADAL" clId="{4457FA57-250B-44AC-8655-05D46C5A3D8A}" dt="2023-06-02T13:49:09.803" v="4320" actId="478"/>
          <ac:spMkLst>
            <pc:docMk/>
            <pc:sldMk cId="1342995248" sldId="230717690"/>
            <ac:spMk id="64" creationId="{AA9DADFC-FF85-4BEE-BA1A-0921C58046C4}"/>
          </ac:spMkLst>
        </pc:spChg>
        <pc:spChg chg="add mod">
          <ac:chgData name="Manal El Bakkouri" userId="8b130982-2e3f-4164-b881-fd3a2e4b2453" providerId="ADAL" clId="{4457FA57-250B-44AC-8655-05D46C5A3D8A}" dt="2023-06-09T11:30:59.076" v="21787"/>
          <ac:spMkLst>
            <pc:docMk/>
            <pc:sldMk cId="1342995248" sldId="230717690"/>
            <ac:spMk id="64" creationId="{CEFEB5F3-B23E-4823-B4B8-E201E104EAB3}"/>
          </ac:spMkLst>
        </pc:spChg>
        <pc:spChg chg="add mod topLvl">
          <ac:chgData name="Manal El Bakkouri" userId="8b130982-2e3f-4164-b881-fd3a2e4b2453" providerId="ADAL" clId="{4457FA57-250B-44AC-8655-05D46C5A3D8A}" dt="2023-06-02T13:52:39.829" v="4418" actId="165"/>
          <ac:spMkLst>
            <pc:docMk/>
            <pc:sldMk cId="1342995248" sldId="230717690"/>
            <ac:spMk id="65" creationId="{CE4109C4-F6A7-42B2-B77A-1793EDD62FA2}"/>
          </ac:spMkLst>
        </pc:spChg>
        <pc:spChg chg="add del mod">
          <ac:chgData name="Manal El Bakkouri" userId="8b130982-2e3f-4164-b881-fd3a2e4b2453" providerId="ADAL" clId="{4457FA57-250B-44AC-8655-05D46C5A3D8A}" dt="2023-06-02T13:49:21.109" v="4329" actId="478"/>
          <ac:spMkLst>
            <pc:docMk/>
            <pc:sldMk cId="1342995248" sldId="230717690"/>
            <ac:spMk id="66" creationId="{14DBE8A9-4A93-4FB5-AA25-DAFE52B3B574}"/>
          </ac:spMkLst>
        </pc:spChg>
        <pc:spChg chg="add mod">
          <ac:chgData name="Manal El Bakkouri" userId="8b130982-2e3f-4164-b881-fd3a2e4b2453" providerId="ADAL" clId="{4457FA57-250B-44AC-8655-05D46C5A3D8A}" dt="2023-06-09T11:30:59.076" v="21787"/>
          <ac:spMkLst>
            <pc:docMk/>
            <pc:sldMk cId="1342995248" sldId="230717690"/>
            <ac:spMk id="66" creationId="{F825F49E-32B9-4268-9E28-B37902FA8244}"/>
          </ac:spMkLst>
        </pc:spChg>
        <pc:spChg chg="add mod">
          <ac:chgData name="Manal El Bakkouri" userId="8b130982-2e3f-4164-b881-fd3a2e4b2453" providerId="ADAL" clId="{4457FA57-250B-44AC-8655-05D46C5A3D8A}" dt="2023-06-02T15:09:33.889" v="5401" actId="1036"/>
          <ac:spMkLst>
            <pc:docMk/>
            <pc:sldMk cId="1342995248" sldId="230717690"/>
            <ac:spMk id="67" creationId="{8A8B73DF-E882-4DD8-89E9-6D09DD76BB8F}"/>
          </ac:spMkLst>
        </pc:spChg>
        <pc:spChg chg="add del mod">
          <ac:chgData name="Manal El Bakkouri" userId="8b130982-2e3f-4164-b881-fd3a2e4b2453" providerId="ADAL" clId="{4457FA57-250B-44AC-8655-05D46C5A3D8A}" dt="2023-06-02T13:49:48.514" v="4355" actId="478"/>
          <ac:spMkLst>
            <pc:docMk/>
            <pc:sldMk cId="1342995248" sldId="230717690"/>
            <ac:spMk id="68" creationId="{1EB34C0A-8427-42F0-A4BD-4C7A13587B3D}"/>
          </ac:spMkLst>
        </pc:spChg>
        <pc:spChg chg="add mod">
          <ac:chgData name="Manal El Bakkouri" userId="8b130982-2e3f-4164-b881-fd3a2e4b2453" providerId="ADAL" clId="{4457FA57-250B-44AC-8655-05D46C5A3D8A}" dt="2023-06-02T15:09:26.017" v="5395" actId="1035"/>
          <ac:spMkLst>
            <pc:docMk/>
            <pc:sldMk cId="1342995248" sldId="230717690"/>
            <ac:spMk id="69" creationId="{5764D932-F3AD-409E-8972-2DC5C547CF3C}"/>
          </ac:spMkLst>
        </pc:spChg>
        <pc:spChg chg="add mod">
          <ac:chgData name="Manal El Bakkouri" userId="8b130982-2e3f-4164-b881-fd3a2e4b2453" providerId="ADAL" clId="{4457FA57-250B-44AC-8655-05D46C5A3D8A}" dt="2023-06-02T15:09:21.949" v="5392" actId="1035"/>
          <ac:spMkLst>
            <pc:docMk/>
            <pc:sldMk cId="1342995248" sldId="230717690"/>
            <ac:spMk id="70" creationId="{685E8A40-A2A6-4B27-9D6A-6C9B9134FB19}"/>
          </ac:spMkLst>
        </pc:spChg>
        <pc:spChg chg="add mod">
          <ac:chgData name="Manal El Bakkouri" userId="8b130982-2e3f-4164-b881-fd3a2e4b2453" providerId="ADAL" clId="{4457FA57-250B-44AC-8655-05D46C5A3D8A}" dt="2023-06-02T15:09:33.889" v="5401" actId="1036"/>
          <ac:spMkLst>
            <pc:docMk/>
            <pc:sldMk cId="1342995248" sldId="230717690"/>
            <ac:spMk id="71" creationId="{98CAB4AB-8A8C-4E68-9849-FCED582B44C4}"/>
          </ac:spMkLst>
        </pc:spChg>
        <pc:spChg chg="add mod">
          <ac:chgData name="Manal El Bakkouri" userId="8b130982-2e3f-4164-b881-fd3a2e4b2453" providerId="ADAL" clId="{4457FA57-250B-44AC-8655-05D46C5A3D8A}" dt="2023-06-02T13:52:39.829" v="4418" actId="165"/>
          <ac:spMkLst>
            <pc:docMk/>
            <pc:sldMk cId="1342995248" sldId="230717690"/>
            <ac:spMk id="72" creationId="{8143EBB8-2B96-47F8-95F7-783C104A6B87}"/>
          </ac:spMkLst>
        </pc:spChg>
        <pc:spChg chg="add mod">
          <ac:chgData name="Manal El Bakkouri" userId="8b130982-2e3f-4164-b881-fd3a2e4b2453" providerId="ADAL" clId="{4457FA57-250B-44AC-8655-05D46C5A3D8A}" dt="2023-06-02T14:59:48.691" v="5183" actId="14100"/>
          <ac:spMkLst>
            <pc:docMk/>
            <pc:sldMk cId="1342995248" sldId="230717690"/>
            <ac:spMk id="73" creationId="{2D607EDB-3ED7-4E76-94D4-1185023E6F50}"/>
          </ac:spMkLst>
        </pc:spChg>
        <pc:spChg chg="add mod">
          <ac:chgData name="Manal El Bakkouri" userId="8b130982-2e3f-4164-b881-fd3a2e4b2453" providerId="ADAL" clId="{4457FA57-250B-44AC-8655-05D46C5A3D8A}" dt="2023-06-02T13:43:24.562" v="4235" actId="571"/>
          <ac:spMkLst>
            <pc:docMk/>
            <pc:sldMk cId="1342995248" sldId="230717690"/>
            <ac:spMk id="75" creationId="{746DA9D0-EDAD-4545-93AF-9848B705D089}"/>
          </ac:spMkLst>
        </pc:spChg>
        <pc:spChg chg="add mod">
          <ac:chgData name="Manal El Bakkouri" userId="8b130982-2e3f-4164-b881-fd3a2e4b2453" providerId="ADAL" clId="{4457FA57-250B-44AC-8655-05D46C5A3D8A}" dt="2023-06-02T13:43:24.562" v="4235" actId="571"/>
          <ac:spMkLst>
            <pc:docMk/>
            <pc:sldMk cId="1342995248" sldId="230717690"/>
            <ac:spMk id="76" creationId="{C0BB3E25-9026-417C-B449-98527A4D8DFF}"/>
          </ac:spMkLst>
        </pc:spChg>
        <pc:spChg chg="add mod">
          <ac:chgData name="Manal El Bakkouri" userId="8b130982-2e3f-4164-b881-fd3a2e4b2453" providerId="ADAL" clId="{4457FA57-250B-44AC-8655-05D46C5A3D8A}" dt="2023-06-02T13:43:24.562" v="4235" actId="571"/>
          <ac:spMkLst>
            <pc:docMk/>
            <pc:sldMk cId="1342995248" sldId="230717690"/>
            <ac:spMk id="77" creationId="{637A4FC6-C9FE-4F19-9E00-798B95A7AFD1}"/>
          </ac:spMkLst>
        </pc:spChg>
        <pc:spChg chg="add mod">
          <ac:chgData name="Manal El Bakkouri" userId="8b130982-2e3f-4164-b881-fd3a2e4b2453" providerId="ADAL" clId="{4457FA57-250B-44AC-8655-05D46C5A3D8A}" dt="2023-06-02T13:43:24.562" v="4235" actId="571"/>
          <ac:spMkLst>
            <pc:docMk/>
            <pc:sldMk cId="1342995248" sldId="230717690"/>
            <ac:spMk id="78" creationId="{46FB7DAC-07BC-4D87-B0A8-C5F3F943BD9C}"/>
          </ac:spMkLst>
        </pc:spChg>
        <pc:spChg chg="add mod">
          <ac:chgData name="Manal El Bakkouri" userId="8b130982-2e3f-4164-b881-fd3a2e4b2453" providerId="ADAL" clId="{4457FA57-250B-44AC-8655-05D46C5A3D8A}" dt="2023-06-02T13:43:24.562" v="4235" actId="571"/>
          <ac:spMkLst>
            <pc:docMk/>
            <pc:sldMk cId="1342995248" sldId="230717690"/>
            <ac:spMk id="79" creationId="{B5F496D1-FD9D-492A-8125-DD4164EE57F1}"/>
          </ac:spMkLst>
        </pc:spChg>
        <pc:spChg chg="add mod topLvl">
          <ac:chgData name="Manal El Bakkouri" userId="8b130982-2e3f-4164-b881-fd3a2e4b2453" providerId="ADAL" clId="{4457FA57-250B-44AC-8655-05D46C5A3D8A}" dt="2023-06-02T15:09:29.567" v="5397" actId="1035"/>
          <ac:spMkLst>
            <pc:docMk/>
            <pc:sldMk cId="1342995248" sldId="230717690"/>
            <ac:spMk id="80" creationId="{767EBBBD-A93B-429D-85B6-6F5D8DC5769A}"/>
          </ac:spMkLst>
        </pc:spChg>
        <pc:spChg chg="add mod topLvl">
          <ac:chgData name="Manal El Bakkouri" userId="8b130982-2e3f-4164-b881-fd3a2e4b2453" providerId="ADAL" clId="{4457FA57-250B-44AC-8655-05D46C5A3D8A}" dt="2023-06-02T15:09:29.567" v="5397" actId="1035"/>
          <ac:spMkLst>
            <pc:docMk/>
            <pc:sldMk cId="1342995248" sldId="230717690"/>
            <ac:spMk id="81" creationId="{224D4727-0933-4F52-9225-FE7298D9A54A}"/>
          </ac:spMkLst>
        </pc:spChg>
        <pc:spChg chg="add mod topLvl">
          <ac:chgData name="Manal El Bakkouri" userId="8b130982-2e3f-4164-b881-fd3a2e4b2453" providerId="ADAL" clId="{4457FA57-250B-44AC-8655-05D46C5A3D8A}" dt="2023-06-02T15:09:29.567" v="5397" actId="1035"/>
          <ac:spMkLst>
            <pc:docMk/>
            <pc:sldMk cId="1342995248" sldId="230717690"/>
            <ac:spMk id="82" creationId="{D77269AF-18BB-47E7-B084-B189B1F78C14}"/>
          </ac:spMkLst>
        </pc:spChg>
        <pc:spChg chg="add del mod">
          <ac:chgData name="Manal El Bakkouri" userId="8b130982-2e3f-4164-b881-fd3a2e4b2453" providerId="ADAL" clId="{4457FA57-250B-44AC-8655-05D46C5A3D8A}" dt="2023-06-02T13:48:20.070" v="4276" actId="478"/>
          <ac:spMkLst>
            <pc:docMk/>
            <pc:sldMk cId="1342995248" sldId="230717690"/>
            <ac:spMk id="83" creationId="{F16A97FD-18CF-45A3-90B1-D6D02744F31F}"/>
          </ac:spMkLst>
        </pc:spChg>
        <pc:spChg chg="add mod topLvl">
          <ac:chgData name="Manal El Bakkouri" userId="8b130982-2e3f-4164-b881-fd3a2e4b2453" providerId="ADAL" clId="{4457FA57-250B-44AC-8655-05D46C5A3D8A}" dt="2023-06-02T15:09:29.567" v="5397" actId="1035"/>
          <ac:spMkLst>
            <pc:docMk/>
            <pc:sldMk cId="1342995248" sldId="230717690"/>
            <ac:spMk id="84" creationId="{E63BDE24-62AC-4354-A683-1701E3082117}"/>
          </ac:spMkLst>
        </pc:spChg>
        <pc:spChg chg="add mod">
          <ac:chgData name="Manal El Bakkouri" userId="8b130982-2e3f-4164-b881-fd3a2e4b2453" providerId="ADAL" clId="{4457FA57-250B-44AC-8655-05D46C5A3D8A}" dt="2023-06-02T15:08:04.374" v="5377" actId="113"/>
          <ac:spMkLst>
            <pc:docMk/>
            <pc:sldMk cId="1342995248" sldId="230717690"/>
            <ac:spMk id="100" creationId="{5C97E622-0E03-40BC-A388-DC80F820FE68}"/>
          </ac:spMkLst>
        </pc:spChg>
        <pc:spChg chg="add mod">
          <ac:chgData name="Manal El Bakkouri" userId="8b130982-2e3f-4164-b881-fd3a2e4b2453" providerId="ADAL" clId="{4457FA57-250B-44AC-8655-05D46C5A3D8A}" dt="2023-06-02T15:07:56.650" v="5375" actId="207"/>
          <ac:spMkLst>
            <pc:docMk/>
            <pc:sldMk cId="1342995248" sldId="230717690"/>
            <ac:spMk id="101" creationId="{2293CD82-947D-4D98-883A-C80C85DB9757}"/>
          </ac:spMkLst>
        </pc:spChg>
        <pc:spChg chg="add del mod">
          <ac:chgData name="Manal El Bakkouri" userId="8b130982-2e3f-4164-b881-fd3a2e4b2453" providerId="ADAL" clId="{4457FA57-250B-44AC-8655-05D46C5A3D8A}" dt="2023-06-02T15:14:31.322" v="5450" actId="478"/>
          <ac:spMkLst>
            <pc:docMk/>
            <pc:sldMk cId="1342995248" sldId="230717690"/>
            <ac:spMk id="102" creationId="{93E0C778-14F5-4B47-96A0-203FC08F7C61}"/>
          </ac:spMkLst>
        </pc:spChg>
        <pc:spChg chg="add mod">
          <ac:chgData name="Manal El Bakkouri" userId="8b130982-2e3f-4164-b881-fd3a2e4b2453" providerId="ADAL" clId="{4457FA57-250B-44AC-8655-05D46C5A3D8A}" dt="2023-06-02T15:14:34.577" v="5452"/>
          <ac:spMkLst>
            <pc:docMk/>
            <pc:sldMk cId="1342995248" sldId="230717690"/>
            <ac:spMk id="103" creationId="{05392CB9-B160-4D58-ACCF-CE87DA3ACDAD}"/>
          </ac:spMkLst>
        </pc:spChg>
        <pc:spChg chg="add del mod">
          <ac:chgData name="Manal El Bakkouri" userId="8b130982-2e3f-4164-b881-fd3a2e4b2453" providerId="ADAL" clId="{4457FA57-250B-44AC-8655-05D46C5A3D8A}" dt="2023-06-04T13:13:47.017" v="7730" actId="478"/>
          <ac:spMkLst>
            <pc:docMk/>
            <pc:sldMk cId="1342995248" sldId="230717690"/>
            <ac:spMk id="104" creationId="{94CD5A96-0427-486D-AFB3-1990D4D21D72}"/>
          </ac:spMkLst>
        </pc:spChg>
        <pc:spChg chg="add mod">
          <ac:chgData name="Manal El Bakkouri" userId="8b130982-2e3f-4164-b881-fd3a2e4b2453" providerId="ADAL" clId="{4457FA57-250B-44AC-8655-05D46C5A3D8A}" dt="2023-06-04T13:13:50.878" v="7733" actId="20577"/>
          <ac:spMkLst>
            <pc:docMk/>
            <pc:sldMk cId="1342995248" sldId="230717690"/>
            <ac:spMk id="105" creationId="{C6E17B22-C55A-4833-88F6-35E54676CF12}"/>
          </ac:spMkLst>
        </pc:spChg>
        <pc:grpChg chg="add del mod">
          <ac:chgData name="Manal El Bakkouri" userId="8b130982-2e3f-4164-b881-fd3a2e4b2453" providerId="ADAL" clId="{4457FA57-250B-44AC-8655-05D46C5A3D8A}" dt="2023-06-02T13:41:50.536" v="4219" actId="478"/>
          <ac:grpSpMkLst>
            <pc:docMk/>
            <pc:sldMk cId="1342995248" sldId="230717690"/>
            <ac:grpSpMk id="39" creationId="{857CC6F4-AE6F-47DD-A2B8-D69A71934860}"/>
          </ac:grpSpMkLst>
        </pc:grpChg>
        <pc:grpChg chg="add del mod">
          <ac:chgData name="Manal El Bakkouri" userId="8b130982-2e3f-4164-b881-fd3a2e4b2453" providerId="ADAL" clId="{4457FA57-250B-44AC-8655-05D46C5A3D8A}" dt="2023-06-02T13:41:50.536" v="4219" actId="478"/>
          <ac:grpSpMkLst>
            <pc:docMk/>
            <pc:sldMk cId="1342995248" sldId="230717690"/>
            <ac:grpSpMk id="40" creationId="{61E0D479-00DE-43B3-AE1B-CBB02D9F3DAD}"/>
          </ac:grpSpMkLst>
        </pc:grpChg>
        <pc:grpChg chg="add del mod">
          <ac:chgData name="Manal El Bakkouri" userId="8b130982-2e3f-4164-b881-fd3a2e4b2453" providerId="ADAL" clId="{4457FA57-250B-44AC-8655-05D46C5A3D8A}" dt="2023-06-02T13:41:50.536" v="4219" actId="478"/>
          <ac:grpSpMkLst>
            <pc:docMk/>
            <pc:sldMk cId="1342995248" sldId="230717690"/>
            <ac:grpSpMk id="41" creationId="{C95435FC-94A5-444B-A849-F165270B1E7E}"/>
          </ac:grpSpMkLst>
        </pc:grpChg>
        <pc:grpChg chg="add del mod">
          <ac:chgData name="Manal El Bakkouri" userId="8b130982-2e3f-4164-b881-fd3a2e4b2453" providerId="ADAL" clId="{4457FA57-250B-44AC-8655-05D46C5A3D8A}" dt="2023-06-02T13:41:50.536" v="4219" actId="478"/>
          <ac:grpSpMkLst>
            <pc:docMk/>
            <pc:sldMk cId="1342995248" sldId="230717690"/>
            <ac:grpSpMk id="42" creationId="{2CF83472-4151-4623-8D72-CCEEBEABC334}"/>
          </ac:grpSpMkLst>
        </pc:grpChg>
        <pc:grpChg chg="add del mod">
          <ac:chgData name="Manal El Bakkouri" userId="8b130982-2e3f-4164-b881-fd3a2e4b2453" providerId="ADAL" clId="{4457FA57-250B-44AC-8655-05D46C5A3D8A}" dt="2023-06-02T13:41:50.536" v="4219" actId="478"/>
          <ac:grpSpMkLst>
            <pc:docMk/>
            <pc:sldMk cId="1342995248" sldId="230717690"/>
            <ac:grpSpMk id="43" creationId="{99F23EE1-7D79-41FC-AB9B-DEAC31477133}"/>
          </ac:grpSpMkLst>
        </pc:grpChg>
        <pc:grpChg chg="add del mod">
          <ac:chgData name="Manal El Bakkouri" userId="8b130982-2e3f-4164-b881-fd3a2e4b2453" providerId="ADAL" clId="{4457FA57-250B-44AC-8655-05D46C5A3D8A}" dt="2023-06-02T13:41:50.536" v="4219" actId="478"/>
          <ac:grpSpMkLst>
            <pc:docMk/>
            <pc:sldMk cId="1342995248" sldId="230717690"/>
            <ac:grpSpMk id="44" creationId="{4C8ABA0A-574F-472D-855D-61A124B7E4F4}"/>
          </ac:grpSpMkLst>
        </pc:grpChg>
        <pc:grpChg chg="add del mod topLvl">
          <ac:chgData name="Manal El Bakkouri" userId="8b130982-2e3f-4164-b881-fd3a2e4b2453" providerId="ADAL" clId="{4457FA57-250B-44AC-8655-05D46C5A3D8A}" dt="2023-06-02T15:09:29.567" v="5397" actId="1035"/>
          <ac:grpSpMkLst>
            <pc:docMk/>
            <pc:sldMk cId="1342995248" sldId="230717690"/>
            <ac:grpSpMk id="85" creationId="{F039F60E-64AA-4C0E-BCFE-FBD5C549DE7C}"/>
          </ac:grpSpMkLst>
        </pc:grpChg>
        <pc:grpChg chg="add mod topLvl">
          <ac:chgData name="Manal El Bakkouri" userId="8b130982-2e3f-4164-b881-fd3a2e4b2453" providerId="ADAL" clId="{4457FA57-250B-44AC-8655-05D46C5A3D8A}" dt="2023-06-02T15:09:26.017" v="5395" actId="1035"/>
          <ac:grpSpMkLst>
            <pc:docMk/>
            <pc:sldMk cId="1342995248" sldId="230717690"/>
            <ac:grpSpMk id="86" creationId="{E0DF8F44-388B-4940-A724-8884C00A306D}"/>
          </ac:grpSpMkLst>
        </pc:grpChg>
        <pc:grpChg chg="add mod topLvl">
          <ac:chgData name="Manal El Bakkouri" userId="8b130982-2e3f-4164-b881-fd3a2e4b2453" providerId="ADAL" clId="{4457FA57-250B-44AC-8655-05D46C5A3D8A}" dt="2023-06-02T14:59:48.691" v="5183" actId="14100"/>
          <ac:grpSpMkLst>
            <pc:docMk/>
            <pc:sldMk cId="1342995248" sldId="230717690"/>
            <ac:grpSpMk id="87" creationId="{430647BF-0571-43E7-8265-CFAD0B652C1C}"/>
          </ac:grpSpMkLst>
        </pc:grpChg>
        <pc:grpChg chg="add mod topLvl">
          <ac:chgData name="Manal El Bakkouri" userId="8b130982-2e3f-4164-b881-fd3a2e4b2453" providerId="ADAL" clId="{4457FA57-250B-44AC-8655-05D46C5A3D8A}" dt="2023-06-02T15:09:21.949" v="5392" actId="1035"/>
          <ac:grpSpMkLst>
            <pc:docMk/>
            <pc:sldMk cId="1342995248" sldId="230717690"/>
            <ac:grpSpMk id="88" creationId="{A9D83019-ECA7-4C1A-AD02-1E0FC17C486E}"/>
          </ac:grpSpMkLst>
        </pc:grpChg>
        <pc:grpChg chg="add mod topLvl">
          <ac:chgData name="Manal El Bakkouri" userId="8b130982-2e3f-4164-b881-fd3a2e4b2453" providerId="ADAL" clId="{4457FA57-250B-44AC-8655-05D46C5A3D8A}" dt="2023-06-02T13:52:39.829" v="4418" actId="165"/>
          <ac:grpSpMkLst>
            <pc:docMk/>
            <pc:sldMk cId="1342995248" sldId="230717690"/>
            <ac:grpSpMk id="89" creationId="{33324FC4-AE2F-4803-8C5A-A50C4AE70A8F}"/>
          </ac:grpSpMkLst>
        </pc:grpChg>
        <pc:grpChg chg="add mod topLvl">
          <ac:chgData name="Manal El Bakkouri" userId="8b130982-2e3f-4164-b881-fd3a2e4b2453" providerId="ADAL" clId="{4457FA57-250B-44AC-8655-05D46C5A3D8A}" dt="2023-06-02T15:09:33.889" v="5401" actId="1036"/>
          <ac:grpSpMkLst>
            <pc:docMk/>
            <pc:sldMk cId="1342995248" sldId="230717690"/>
            <ac:grpSpMk id="90" creationId="{984BE51B-1CD1-442B-915B-7EBE57EF011A}"/>
          </ac:grpSpMkLst>
        </pc:grpChg>
        <pc:grpChg chg="add del mod">
          <ac:chgData name="Manal El Bakkouri" userId="8b130982-2e3f-4164-b881-fd3a2e4b2453" providerId="ADAL" clId="{4457FA57-250B-44AC-8655-05D46C5A3D8A}" dt="2023-06-02T13:51:18.424" v="4382" actId="165"/>
          <ac:grpSpMkLst>
            <pc:docMk/>
            <pc:sldMk cId="1342995248" sldId="230717690"/>
            <ac:grpSpMk id="92" creationId="{A8E12463-31A0-4AFA-B612-C51C6756D789}"/>
          </ac:grpSpMkLst>
        </pc:grpChg>
        <pc:grpChg chg="add del mod">
          <ac:chgData name="Manal El Bakkouri" userId="8b130982-2e3f-4164-b881-fd3a2e4b2453" providerId="ADAL" clId="{4457FA57-250B-44AC-8655-05D46C5A3D8A}" dt="2023-06-02T13:52:39.829" v="4418" actId="165"/>
          <ac:grpSpMkLst>
            <pc:docMk/>
            <pc:sldMk cId="1342995248" sldId="230717690"/>
            <ac:grpSpMk id="93" creationId="{EF92BB1D-78D4-4DB1-8653-43380F1F5B05}"/>
          </ac:grpSpMkLst>
        </pc:grpChg>
        <pc:grpChg chg="add mod">
          <ac:chgData name="Manal El Bakkouri" userId="8b130982-2e3f-4164-b881-fd3a2e4b2453" providerId="ADAL" clId="{4457FA57-250B-44AC-8655-05D46C5A3D8A}" dt="2023-06-02T15:01:02.410" v="5213" actId="164"/>
          <ac:grpSpMkLst>
            <pc:docMk/>
            <pc:sldMk cId="1342995248" sldId="230717690"/>
            <ac:grpSpMk id="94" creationId="{331D5DB9-65FC-4F6E-9112-BE8903BDECA9}"/>
          </ac:grpSpMkLst>
        </pc:grpChg>
        <pc:picChg chg="add del mod">
          <ac:chgData name="Manal El Bakkouri" userId="8b130982-2e3f-4164-b881-fd3a2e4b2453" providerId="ADAL" clId="{4457FA57-250B-44AC-8655-05D46C5A3D8A}" dt="2023-06-02T15:06:08.597" v="5234" actId="1076"/>
          <ac:picMkLst>
            <pc:docMk/>
            <pc:sldMk cId="1342995248" sldId="230717690"/>
            <ac:picMk id="14" creationId="{CAFD9878-8A1A-4042-983B-19B17629CA1E}"/>
          </ac:picMkLst>
        </pc:picChg>
        <pc:picChg chg="add del mod">
          <ac:chgData name="Manal El Bakkouri" userId="8b130982-2e3f-4164-b881-fd3a2e4b2453" providerId="ADAL" clId="{4457FA57-250B-44AC-8655-05D46C5A3D8A}" dt="2023-06-02T13:33:07.213" v="4152" actId="478"/>
          <ac:picMkLst>
            <pc:docMk/>
            <pc:sldMk cId="1342995248" sldId="230717690"/>
            <ac:picMk id="26" creationId="{D8AB3E1C-1D5E-466B-A1B6-B80DDE49D821}"/>
          </ac:picMkLst>
        </pc:picChg>
        <pc:picChg chg="add mod">
          <ac:chgData name="Manal El Bakkouri" userId="8b130982-2e3f-4164-b881-fd3a2e4b2453" providerId="ADAL" clId="{4457FA57-250B-44AC-8655-05D46C5A3D8A}" dt="2023-06-02T13:43:24.562" v="4235" actId="571"/>
          <ac:picMkLst>
            <pc:docMk/>
            <pc:sldMk cId="1342995248" sldId="230717690"/>
            <ac:picMk id="74" creationId="{9AFB79BE-BA52-4C96-8206-E4C02FD9B75D}"/>
          </ac:picMkLst>
        </pc:picChg>
        <pc:picChg chg="add mod ord">
          <ac:chgData name="Manal El Bakkouri" userId="8b130982-2e3f-4164-b881-fd3a2e4b2453" providerId="ADAL" clId="{4457FA57-250B-44AC-8655-05D46C5A3D8A}" dt="2023-06-02T15:06:40.948" v="5308" actId="1037"/>
          <ac:picMkLst>
            <pc:docMk/>
            <pc:sldMk cId="1342995248" sldId="230717690"/>
            <ac:picMk id="98" creationId="{3129F2FB-52A5-4399-9179-D27CA985FA94}"/>
          </ac:picMkLst>
        </pc:picChg>
        <pc:picChg chg="add mod">
          <ac:chgData name="Manal El Bakkouri" userId="8b130982-2e3f-4164-b881-fd3a2e4b2453" providerId="ADAL" clId="{4457FA57-250B-44AC-8655-05D46C5A3D8A}" dt="2023-06-02T15:07:01.984" v="5331" actId="1035"/>
          <ac:picMkLst>
            <pc:docMk/>
            <pc:sldMk cId="1342995248" sldId="230717690"/>
            <ac:picMk id="99" creationId="{AAE46FC6-3C3B-4A40-8C69-8A655A4C2A9C}"/>
          </ac:picMkLst>
        </pc:picChg>
        <pc:cxnChg chg="add del mod">
          <ac:chgData name="Manal El Bakkouri" userId="8b130982-2e3f-4164-b881-fd3a2e4b2453" providerId="ADAL" clId="{4457FA57-250B-44AC-8655-05D46C5A3D8A}" dt="2023-06-02T13:41:50.536" v="4219" actId="478"/>
          <ac:cxnSpMkLst>
            <pc:docMk/>
            <pc:sldMk cId="1342995248" sldId="230717690"/>
            <ac:cxnSpMk id="17" creationId="{8816A6BB-A3CB-4702-97F9-A85D1C008C35}"/>
          </ac:cxnSpMkLst>
        </pc:cxnChg>
        <pc:cxnChg chg="add mod topLvl">
          <ac:chgData name="Manal El Bakkouri" userId="8b130982-2e3f-4164-b881-fd3a2e4b2453" providerId="ADAL" clId="{4457FA57-250B-44AC-8655-05D46C5A3D8A}" dt="2023-06-02T13:52:39.829" v="4418" actId="165"/>
          <ac:cxnSpMkLst>
            <pc:docMk/>
            <pc:sldMk cId="1342995248" sldId="230717690"/>
            <ac:cxnSpMk id="53" creationId="{CC7934C1-B370-4AC9-8227-A4BD092211A1}"/>
          </ac:cxnSpMkLst>
        </pc:cxnChg>
        <pc:cxnChg chg="add del mod">
          <ac:chgData name="Manal El Bakkouri" userId="8b130982-2e3f-4164-b881-fd3a2e4b2453" providerId="ADAL" clId="{4457FA57-250B-44AC-8655-05D46C5A3D8A}" dt="2023-06-02T15:04:13.432" v="5223" actId="478"/>
          <ac:cxnSpMkLst>
            <pc:docMk/>
            <pc:sldMk cId="1342995248" sldId="230717690"/>
            <ac:cxnSpMk id="96" creationId="{AC0CE8C2-F9B3-4889-91F9-7EE046614F88}"/>
          </ac:cxnSpMkLst>
        </pc:cxnChg>
      </pc:sldChg>
      <pc:sldChg chg="add del mod ord modShow">
        <pc:chgData name="Manal El Bakkouri" userId="8b130982-2e3f-4164-b881-fd3a2e4b2453" providerId="ADAL" clId="{4457FA57-250B-44AC-8655-05D46C5A3D8A}" dt="2023-06-04T11:48:28.253" v="6965" actId="2696"/>
        <pc:sldMkLst>
          <pc:docMk/>
          <pc:sldMk cId="4053346636" sldId="230717691"/>
        </pc:sldMkLst>
      </pc:sldChg>
      <pc:sldChg chg="add del">
        <pc:chgData name="Manal El Bakkouri" userId="8b130982-2e3f-4164-b881-fd3a2e4b2453" providerId="ADAL" clId="{4457FA57-250B-44AC-8655-05D46C5A3D8A}" dt="2023-06-02T13:17:29.714" v="4140" actId="47"/>
        <pc:sldMkLst>
          <pc:docMk/>
          <pc:sldMk cId="4171914599" sldId="230717691"/>
        </pc:sldMkLst>
      </pc:sldChg>
      <pc:sldChg chg="addSp delSp modSp new del mod ord modShow">
        <pc:chgData name="Manal El Bakkouri" userId="8b130982-2e3f-4164-b881-fd3a2e4b2453" providerId="ADAL" clId="{4457FA57-250B-44AC-8655-05D46C5A3D8A}" dt="2023-06-06T10:56:17.774" v="9826" actId="2696"/>
        <pc:sldMkLst>
          <pc:docMk/>
          <pc:sldMk cId="3281407268" sldId="230717692"/>
        </pc:sldMkLst>
        <pc:spChg chg="del">
          <ac:chgData name="Manal El Bakkouri" userId="8b130982-2e3f-4164-b881-fd3a2e4b2453" providerId="ADAL" clId="{4457FA57-250B-44AC-8655-05D46C5A3D8A}" dt="2023-06-02T15:15:54.048" v="5467" actId="478"/>
          <ac:spMkLst>
            <pc:docMk/>
            <pc:sldMk cId="3281407268" sldId="230717692"/>
            <ac:spMk id="2" creationId="{FA45A6C6-286D-4AB6-9609-6BDA5F60360F}"/>
          </ac:spMkLst>
        </pc:spChg>
        <pc:spChg chg="del">
          <ac:chgData name="Manal El Bakkouri" userId="8b130982-2e3f-4164-b881-fd3a2e4b2453" providerId="ADAL" clId="{4457FA57-250B-44AC-8655-05D46C5A3D8A}" dt="2023-06-02T15:15:56.618" v="5468" actId="478"/>
          <ac:spMkLst>
            <pc:docMk/>
            <pc:sldMk cId="3281407268" sldId="230717692"/>
            <ac:spMk id="3" creationId="{4B5B322A-DBE5-4EE9-AAEB-F7B2FCB631D1}"/>
          </ac:spMkLst>
        </pc:spChg>
        <pc:spChg chg="del">
          <ac:chgData name="Manal El Bakkouri" userId="8b130982-2e3f-4164-b881-fd3a2e4b2453" providerId="ADAL" clId="{4457FA57-250B-44AC-8655-05D46C5A3D8A}" dt="2023-06-02T15:15:56.618" v="5468" actId="478"/>
          <ac:spMkLst>
            <pc:docMk/>
            <pc:sldMk cId="3281407268" sldId="230717692"/>
            <ac:spMk id="4" creationId="{96F8AF74-A67E-460A-9B67-56F9CABA155E}"/>
          </ac:spMkLst>
        </pc:spChg>
        <pc:spChg chg="add mod">
          <ac:chgData name="Manal El Bakkouri" userId="8b130982-2e3f-4164-b881-fd3a2e4b2453" providerId="ADAL" clId="{4457FA57-250B-44AC-8655-05D46C5A3D8A}" dt="2023-06-02T15:17:12.220" v="5546" actId="20577"/>
          <ac:spMkLst>
            <pc:docMk/>
            <pc:sldMk cId="3281407268" sldId="230717692"/>
            <ac:spMk id="5" creationId="{A0684A33-6204-492A-ABDD-BFFC5AAF7CF2}"/>
          </ac:spMkLst>
        </pc:spChg>
        <pc:spChg chg="add mod">
          <ac:chgData name="Manal El Bakkouri" userId="8b130982-2e3f-4164-b881-fd3a2e4b2453" providerId="ADAL" clId="{4457FA57-250B-44AC-8655-05D46C5A3D8A}" dt="2023-06-02T15:16:03.938" v="5470"/>
          <ac:spMkLst>
            <pc:docMk/>
            <pc:sldMk cId="3281407268" sldId="230717692"/>
            <ac:spMk id="6" creationId="{A8005E3A-B933-4799-A92C-CFFE292CFE33}"/>
          </ac:spMkLst>
        </pc:spChg>
        <pc:spChg chg="add mod">
          <ac:chgData name="Manal El Bakkouri" userId="8b130982-2e3f-4164-b881-fd3a2e4b2453" providerId="ADAL" clId="{4457FA57-250B-44AC-8655-05D46C5A3D8A}" dt="2023-06-02T15:16:03.938" v="5470"/>
          <ac:spMkLst>
            <pc:docMk/>
            <pc:sldMk cId="3281407268" sldId="230717692"/>
            <ac:spMk id="7" creationId="{E6791CF7-23BB-4A9A-9B19-AA94DB1D752D}"/>
          </ac:spMkLst>
        </pc:spChg>
        <pc:spChg chg="add mod">
          <ac:chgData name="Manal El Bakkouri" userId="8b130982-2e3f-4164-b881-fd3a2e4b2453" providerId="ADAL" clId="{4457FA57-250B-44AC-8655-05D46C5A3D8A}" dt="2023-06-02T15:16:03.938" v="5470"/>
          <ac:spMkLst>
            <pc:docMk/>
            <pc:sldMk cId="3281407268" sldId="230717692"/>
            <ac:spMk id="8" creationId="{646B6E14-1125-490B-B674-158E6AD9AC5D}"/>
          </ac:spMkLst>
        </pc:spChg>
        <pc:spChg chg="add mod">
          <ac:chgData name="Manal El Bakkouri" userId="8b130982-2e3f-4164-b881-fd3a2e4b2453" providerId="ADAL" clId="{4457FA57-250B-44AC-8655-05D46C5A3D8A}" dt="2023-06-02T15:16:03.938" v="5470"/>
          <ac:spMkLst>
            <pc:docMk/>
            <pc:sldMk cId="3281407268" sldId="230717692"/>
            <ac:spMk id="9" creationId="{815C5655-E760-4C47-9527-91230EE37EA2}"/>
          </ac:spMkLst>
        </pc:spChg>
        <pc:spChg chg="add mod">
          <ac:chgData name="Manal El Bakkouri" userId="8b130982-2e3f-4164-b881-fd3a2e4b2453" providerId="ADAL" clId="{4457FA57-250B-44AC-8655-05D46C5A3D8A}" dt="2023-06-02T15:16:03.938" v="5470"/>
          <ac:spMkLst>
            <pc:docMk/>
            <pc:sldMk cId="3281407268" sldId="230717692"/>
            <ac:spMk id="10" creationId="{889A08A4-F760-40E7-9CF4-C15B208534F9}"/>
          </ac:spMkLst>
        </pc:spChg>
        <pc:spChg chg="add mod">
          <ac:chgData name="Manal El Bakkouri" userId="8b130982-2e3f-4164-b881-fd3a2e4b2453" providerId="ADAL" clId="{4457FA57-250B-44AC-8655-05D46C5A3D8A}" dt="2023-06-02T15:16:03.938" v="5470"/>
          <ac:spMkLst>
            <pc:docMk/>
            <pc:sldMk cId="3281407268" sldId="230717692"/>
            <ac:spMk id="11" creationId="{0F2F58A2-928C-40B3-A69A-3F6EB675D553}"/>
          </ac:spMkLst>
        </pc:spChg>
        <pc:spChg chg="add mod">
          <ac:chgData name="Manal El Bakkouri" userId="8b130982-2e3f-4164-b881-fd3a2e4b2453" providerId="ADAL" clId="{4457FA57-250B-44AC-8655-05D46C5A3D8A}" dt="2023-06-02T15:16:03.938" v="5470"/>
          <ac:spMkLst>
            <pc:docMk/>
            <pc:sldMk cId="3281407268" sldId="230717692"/>
            <ac:spMk id="12" creationId="{859FFEE0-AD2D-4B53-95DA-67CD616BF396}"/>
          </ac:spMkLst>
        </pc:spChg>
        <pc:spChg chg="add mod">
          <ac:chgData name="Manal El Bakkouri" userId="8b130982-2e3f-4164-b881-fd3a2e4b2453" providerId="ADAL" clId="{4457FA57-250B-44AC-8655-05D46C5A3D8A}" dt="2023-06-02T15:16:03.938" v="5470"/>
          <ac:spMkLst>
            <pc:docMk/>
            <pc:sldMk cId="3281407268" sldId="230717692"/>
            <ac:spMk id="13" creationId="{EE0DB837-06FA-4AA4-9BC5-570F377831DB}"/>
          </ac:spMkLst>
        </pc:spChg>
        <pc:spChg chg="add mod">
          <ac:chgData name="Manal El Bakkouri" userId="8b130982-2e3f-4164-b881-fd3a2e4b2453" providerId="ADAL" clId="{4457FA57-250B-44AC-8655-05D46C5A3D8A}" dt="2023-06-02T15:16:03.938" v="5470"/>
          <ac:spMkLst>
            <pc:docMk/>
            <pc:sldMk cId="3281407268" sldId="230717692"/>
            <ac:spMk id="14" creationId="{79C162C8-B22F-4D05-B3FF-48C7623366E6}"/>
          </ac:spMkLst>
        </pc:spChg>
        <pc:spChg chg="add mod">
          <ac:chgData name="Manal El Bakkouri" userId="8b130982-2e3f-4164-b881-fd3a2e4b2453" providerId="ADAL" clId="{4457FA57-250B-44AC-8655-05D46C5A3D8A}" dt="2023-06-02T16:00:17.185" v="5878" actId="20577"/>
          <ac:spMkLst>
            <pc:docMk/>
            <pc:sldMk cId="3281407268" sldId="230717692"/>
            <ac:spMk id="21" creationId="{A0721A54-ED97-47CE-9B45-F4C980D11DEF}"/>
          </ac:spMkLst>
        </pc:spChg>
        <pc:spChg chg="add mod">
          <ac:chgData name="Manal El Bakkouri" userId="8b130982-2e3f-4164-b881-fd3a2e4b2453" providerId="ADAL" clId="{4457FA57-250B-44AC-8655-05D46C5A3D8A}" dt="2023-06-02T15:54:12.776" v="5802" actId="12788"/>
          <ac:spMkLst>
            <pc:docMk/>
            <pc:sldMk cId="3281407268" sldId="230717692"/>
            <ac:spMk id="24" creationId="{8D333577-13B3-49F7-BC25-A3CC03AE21E9}"/>
          </ac:spMkLst>
        </pc:spChg>
        <pc:spChg chg="add del mod">
          <ac:chgData name="Manal El Bakkouri" userId="8b130982-2e3f-4164-b881-fd3a2e4b2453" providerId="ADAL" clId="{4457FA57-250B-44AC-8655-05D46C5A3D8A}" dt="2023-06-02T16:09:42.128" v="5885"/>
          <ac:spMkLst>
            <pc:docMk/>
            <pc:sldMk cId="3281407268" sldId="230717692"/>
            <ac:spMk id="27" creationId="{19A9CE30-8032-4CF4-8857-757A0AE19FEB}"/>
          </ac:spMkLst>
        </pc:spChg>
        <pc:spChg chg="add del mod">
          <ac:chgData name="Manal El Bakkouri" userId="8b130982-2e3f-4164-b881-fd3a2e4b2453" providerId="ADAL" clId="{4457FA57-250B-44AC-8655-05D46C5A3D8A}" dt="2023-06-02T16:10:02.293" v="5888" actId="478"/>
          <ac:spMkLst>
            <pc:docMk/>
            <pc:sldMk cId="3281407268" sldId="230717692"/>
            <ac:spMk id="30" creationId="{F87D832F-36E2-47AD-AB22-DD2393CFE9A5}"/>
          </ac:spMkLst>
        </pc:spChg>
        <pc:picChg chg="add mod ord">
          <ac:chgData name="Manal El Bakkouri" userId="8b130982-2e3f-4164-b881-fd3a2e4b2453" providerId="ADAL" clId="{4457FA57-250B-44AC-8655-05D46C5A3D8A}" dt="2023-06-02T16:09:41.722" v="5884" actId="1076"/>
          <ac:picMkLst>
            <pc:docMk/>
            <pc:sldMk cId="3281407268" sldId="230717692"/>
            <ac:picMk id="15" creationId="{819A0666-D035-48A9-8911-1E69FF0B2EC0}"/>
          </ac:picMkLst>
        </pc:picChg>
        <pc:picChg chg="add mod">
          <ac:chgData name="Manal El Bakkouri" userId="8b130982-2e3f-4164-b881-fd3a2e4b2453" providerId="ADAL" clId="{4457FA57-250B-44AC-8655-05D46C5A3D8A}" dt="2023-06-02T15:54:22.004" v="5805" actId="1076"/>
          <ac:picMkLst>
            <pc:docMk/>
            <pc:sldMk cId="3281407268" sldId="230717692"/>
            <ac:picMk id="17" creationId="{F7CB0C9E-684C-4CDE-B607-DC6451CE2798}"/>
          </ac:picMkLst>
        </pc:picChg>
        <pc:picChg chg="add mod modCrop">
          <ac:chgData name="Manal El Bakkouri" userId="8b130982-2e3f-4164-b881-fd3a2e4b2453" providerId="ADAL" clId="{4457FA57-250B-44AC-8655-05D46C5A3D8A}" dt="2023-06-02T15:53:17.509" v="5726" actId="1076"/>
          <ac:picMkLst>
            <pc:docMk/>
            <pc:sldMk cId="3281407268" sldId="230717692"/>
            <ac:picMk id="19" creationId="{6706F3D5-EDF8-46CA-A33C-93DE3B785BA4}"/>
          </ac:picMkLst>
        </pc:picChg>
        <pc:picChg chg="add del mod">
          <ac:chgData name="Manal El Bakkouri" userId="8b130982-2e3f-4164-b881-fd3a2e4b2453" providerId="ADAL" clId="{4457FA57-250B-44AC-8655-05D46C5A3D8A}" dt="2023-06-02T16:09:42.128" v="5885"/>
          <ac:picMkLst>
            <pc:docMk/>
            <pc:sldMk cId="3281407268" sldId="230717692"/>
            <ac:picMk id="25" creationId="{64D4CF5F-B9E2-4D4B-9A90-AEB0A1FA276C}"/>
          </ac:picMkLst>
        </pc:picChg>
        <pc:picChg chg="add del mod">
          <ac:chgData name="Manal El Bakkouri" userId="8b130982-2e3f-4164-b881-fd3a2e4b2453" providerId="ADAL" clId="{4457FA57-250B-44AC-8655-05D46C5A3D8A}" dt="2023-06-02T16:09:42.128" v="5885"/>
          <ac:picMkLst>
            <pc:docMk/>
            <pc:sldMk cId="3281407268" sldId="230717692"/>
            <ac:picMk id="26" creationId="{F2AAE9A3-97B3-4DF7-9DF3-A97736A0268D}"/>
          </ac:picMkLst>
        </pc:picChg>
        <pc:picChg chg="add del mod">
          <ac:chgData name="Manal El Bakkouri" userId="8b130982-2e3f-4164-b881-fd3a2e4b2453" providerId="ADAL" clId="{4457FA57-250B-44AC-8655-05D46C5A3D8A}" dt="2023-06-02T16:10:02.293" v="5888" actId="478"/>
          <ac:picMkLst>
            <pc:docMk/>
            <pc:sldMk cId="3281407268" sldId="230717692"/>
            <ac:picMk id="28" creationId="{BED83540-49DC-4771-87A8-9D04E9691B2D}"/>
          </ac:picMkLst>
        </pc:picChg>
        <pc:picChg chg="add del mod">
          <ac:chgData name="Manal El Bakkouri" userId="8b130982-2e3f-4164-b881-fd3a2e4b2453" providerId="ADAL" clId="{4457FA57-250B-44AC-8655-05D46C5A3D8A}" dt="2023-06-02T16:10:02.293" v="5888" actId="478"/>
          <ac:picMkLst>
            <pc:docMk/>
            <pc:sldMk cId="3281407268" sldId="230717692"/>
            <ac:picMk id="29" creationId="{C956425D-1140-4764-BB00-3291AEB07253}"/>
          </ac:picMkLst>
        </pc:picChg>
        <pc:cxnChg chg="add mod">
          <ac:chgData name="Manal El Bakkouri" userId="8b130982-2e3f-4164-b881-fd3a2e4b2453" providerId="ADAL" clId="{4457FA57-250B-44AC-8655-05D46C5A3D8A}" dt="2023-06-02T15:53:17.509" v="5726" actId="1076"/>
          <ac:cxnSpMkLst>
            <pc:docMk/>
            <pc:sldMk cId="3281407268" sldId="230717692"/>
            <ac:cxnSpMk id="23" creationId="{756681BF-AB2C-48AC-947B-B3A003716CC9}"/>
          </ac:cxnSpMkLst>
        </pc:cxnChg>
      </pc:sldChg>
      <pc:sldChg chg="addSp delSp modSp new mod modTransition modAnim modNotesTx">
        <pc:chgData name="Manal El Bakkouri" userId="8b130982-2e3f-4164-b881-fd3a2e4b2453" providerId="ADAL" clId="{4457FA57-250B-44AC-8655-05D46C5A3D8A}" dt="2023-06-09T11:31:03.565" v="21789"/>
        <pc:sldMkLst>
          <pc:docMk/>
          <pc:sldMk cId="477373984" sldId="230717693"/>
        </pc:sldMkLst>
        <pc:spChg chg="del">
          <ac:chgData name="Manal El Bakkouri" userId="8b130982-2e3f-4164-b881-fd3a2e4b2453" providerId="ADAL" clId="{4457FA57-250B-44AC-8655-05D46C5A3D8A}" dt="2023-06-02T15:31:19.114" v="5619" actId="478"/>
          <ac:spMkLst>
            <pc:docMk/>
            <pc:sldMk cId="477373984" sldId="230717693"/>
            <ac:spMk id="2" creationId="{D1A2A3FB-94F0-4CA5-8E90-05AB4482E5A5}"/>
          </ac:spMkLst>
        </pc:spChg>
        <pc:spChg chg="del">
          <ac:chgData name="Manal El Bakkouri" userId="8b130982-2e3f-4164-b881-fd3a2e4b2453" providerId="ADAL" clId="{4457FA57-250B-44AC-8655-05D46C5A3D8A}" dt="2023-06-02T15:31:19.114" v="5619" actId="478"/>
          <ac:spMkLst>
            <pc:docMk/>
            <pc:sldMk cId="477373984" sldId="230717693"/>
            <ac:spMk id="3" creationId="{DFB3446C-01CC-49AC-8C78-AFC076D6320E}"/>
          </ac:spMkLst>
        </pc:spChg>
        <pc:spChg chg="del">
          <ac:chgData name="Manal El Bakkouri" userId="8b130982-2e3f-4164-b881-fd3a2e4b2453" providerId="ADAL" clId="{4457FA57-250B-44AC-8655-05D46C5A3D8A}" dt="2023-06-02T15:36:38.929" v="5669" actId="478"/>
          <ac:spMkLst>
            <pc:docMk/>
            <pc:sldMk cId="477373984" sldId="230717693"/>
            <ac:spMk id="4" creationId="{C1DF849B-1D12-42F9-845E-E0BE2BD6C9CB}"/>
          </ac:spMkLst>
        </pc:spChg>
        <pc:spChg chg="add del mod">
          <ac:chgData name="Manal El Bakkouri" userId="8b130982-2e3f-4164-b881-fd3a2e4b2453" providerId="ADAL" clId="{4457FA57-250B-44AC-8655-05D46C5A3D8A}" dt="2023-06-02T15:36:38.929" v="5669" actId="478"/>
          <ac:spMkLst>
            <pc:docMk/>
            <pc:sldMk cId="477373984" sldId="230717693"/>
            <ac:spMk id="5" creationId="{3C0DA681-2ED1-4109-9888-FB0A073AEAEB}"/>
          </ac:spMkLst>
        </pc:spChg>
        <pc:spChg chg="add del mod">
          <ac:chgData name="Manal El Bakkouri" userId="8b130982-2e3f-4164-b881-fd3a2e4b2453" providerId="ADAL" clId="{4457FA57-250B-44AC-8655-05D46C5A3D8A}" dt="2023-06-02T15:36:38.929" v="5669" actId="478"/>
          <ac:spMkLst>
            <pc:docMk/>
            <pc:sldMk cId="477373984" sldId="230717693"/>
            <ac:spMk id="6" creationId="{6D5FEAE0-7519-462D-91FF-4AB299803A0B}"/>
          </ac:spMkLst>
        </pc:spChg>
        <pc:spChg chg="add del mod">
          <ac:chgData name="Manal El Bakkouri" userId="8b130982-2e3f-4164-b881-fd3a2e4b2453" providerId="ADAL" clId="{4457FA57-250B-44AC-8655-05D46C5A3D8A}" dt="2023-06-02T15:31:46.447" v="5623" actId="478"/>
          <ac:spMkLst>
            <pc:docMk/>
            <pc:sldMk cId="477373984" sldId="230717693"/>
            <ac:spMk id="7" creationId="{D238590D-6B40-4832-B43E-254E3FE174A3}"/>
          </ac:spMkLst>
        </pc:spChg>
        <pc:spChg chg="add del mod">
          <ac:chgData name="Manal El Bakkouri" userId="8b130982-2e3f-4164-b881-fd3a2e4b2453" providerId="ADAL" clId="{4457FA57-250B-44AC-8655-05D46C5A3D8A}" dt="2023-06-02T15:31:46.447" v="5623" actId="478"/>
          <ac:spMkLst>
            <pc:docMk/>
            <pc:sldMk cId="477373984" sldId="230717693"/>
            <ac:spMk id="8" creationId="{1362CDF6-A3DC-4037-9B12-C59750A2A41E}"/>
          </ac:spMkLst>
        </pc:spChg>
        <pc:spChg chg="add del mod">
          <ac:chgData name="Manal El Bakkouri" userId="8b130982-2e3f-4164-b881-fd3a2e4b2453" providerId="ADAL" clId="{4457FA57-250B-44AC-8655-05D46C5A3D8A}" dt="2023-06-02T15:36:38.929" v="5669" actId="478"/>
          <ac:spMkLst>
            <pc:docMk/>
            <pc:sldMk cId="477373984" sldId="230717693"/>
            <ac:spMk id="9" creationId="{B4ADC20A-81E1-4732-8D78-5E08382FB985}"/>
          </ac:spMkLst>
        </pc:spChg>
        <pc:spChg chg="add del mod">
          <ac:chgData name="Manal El Bakkouri" userId="8b130982-2e3f-4164-b881-fd3a2e4b2453" providerId="ADAL" clId="{4457FA57-250B-44AC-8655-05D46C5A3D8A}" dt="2023-06-02T15:36:38.929" v="5669" actId="478"/>
          <ac:spMkLst>
            <pc:docMk/>
            <pc:sldMk cId="477373984" sldId="230717693"/>
            <ac:spMk id="10" creationId="{DAA2EAF3-3047-4026-B091-9E991EE5E3B0}"/>
          </ac:spMkLst>
        </pc:spChg>
        <pc:spChg chg="add del mod">
          <ac:chgData name="Manal El Bakkouri" userId="8b130982-2e3f-4164-b881-fd3a2e4b2453" providerId="ADAL" clId="{4457FA57-250B-44AC-8655-05D46C5A3D8A}" dt="2023-06-02T15:36:38.929" v="5669" actId="478"/>
          <ac:spMkLst>
            <pc:docMk/>
            <pc:sldMk cId="477373984" sldId="230717693"/>
            <ac:spMk id="11" creationId="{51629518-6BEC-4D9C-BFC5-52AA0320C43A}"/>
          </ac:spMkLst>
        </pc:spChg>
        <pc:spChg chg="add del mod">
          <ac:chgData name="Manal El Bakkouri" userId="8b130982-2e3f-4164-b881-fd3a2e4b2453" providerId="ADAL" clId="{4457FA57-250B-44AC-8655-05D46C5A3D8A}" dt="2023-06-02T15:36:38.929" v="5669" actId="478"/>
          <ac:spMkLst>
            <pc:docMk/>
            <pc:sldMk cId="477373984" sldId="230717693"/>
            <ac:spMk id="12" creationId="{EE390F84-1A96-4F68-B369-65F84FAF5AF5}"/>
          </ac:spMkLst>
        </pc:spChg>
        <pc:spChg chg="add del mod">
          <ac:chgData name="Manal El Bakkouri" userId="8b130982-2e3f-4164-b881-fd3a2e4b2453" providerId="ADAL" clId="{4457FA57-250B-44AC-8655-05D46C5A3D8A}" dt="2023-06-02T15:31:46.447" v="5623" actId="478"/>
          <ac:spMkLst>
            <pc:docMk/>
            <pc:sldMk cId="477373984" sldId="230717693"/>
            <ac:spMk id="13" creationId="{F5D4D4A1-5E20-4ECA-8FC4-10BFB02B34B8}"/>
          </ac:spMkLst>
        </pc:spChg>
        <pc:spChg chg="add del mod">
          <ac:chgData name="Manal El Bakkouri" userId="8b130982-2e3f-4164-b881-fd3a2e4b2453" providerId="ADAL" clId="{4457FA57-250B-44AC-8655-05D46C5A3D8A}" dt="2023-06-09T11:31:03.267" v="21788" actId="478"/>
          <ac:spMkLst>
            <pc:docMk/>
            <pc:sldMk cId="477373984" sldId="230717693"/>
            <ac:spMk id="15" creationId="{FF42F067-9161-4D91-B9B7-A54DD481CFE0}"/>
          </ac:spMkLst>
        </pc:spChg>
        <pc:spChg chg="add del mod">
          <ac:chgData name="Manal El Bakkouri" userId="8b130982-2e3f-4164-b881-fd3a2e4b2453" providerId="ADAL" clId="{4457FA57-250B-44AC-8655-05D46C5A3D8A}" dt="2023-06-09T11:31:03.267" v="21788" actId="478"/>
          <ac:spMkLst>
            <pc:docMk/>
            <pc:sldMk cId="477373984" sldId="230717693"/>
            <ac:spMk id="16" creationId="{F2102612-2453-4B62-97B6-74623E1D842A}"/>
          </ac:spMkLst>
        </pc:spChg>
        <pc:spChg chg="add del mod">
          <ac:chgData name="Manal El Bakkouri" userId="8b130982-2e3f-4164-b881-fd3a2e4b2453" providerId="ADAL" clId="{4457FA57-250B-44AC-8655-05D46C5A3D8A}" dt="2023-06-09T11:31:03.267" v="21788" actId="478"/>
          <ac:spMkLst>
            <pc:docMk/>
            <pc:sldMk cId="477373984" sldId="230717693"/>
            <ac:spMk id="17" creationId="{7139313D-6E70-4230-8469-2FB3BF3355AE}"/>
          </ac:spMkLst>
        </pc:spChg>
        <pc:spChg chg="add mod">
          <ac:chgData name="Manal El Bakkouri" userId="8b130982-2e3f-4164-b881-fd3a2e4b2453" providerId="ADAL" clId="{4457FA57-250B-44AC-8655-05D46C5A3D8A}" dt="2023-06-03T22:41:11.852" v="6076" actId="207"/>
          <ac:spMkLst>
            <pc:docMk/>
            <pc:sldMk cId="477373984" sldId="230717693"/>
            <ac:spMk id="18" creationId="{A9A55446-8B1B-49AE-805B-FCFE305B8072}"/>
          </ac:spMkLst>
        </pc:spChg>
        <pc:spChg chg="add mod">
          <ac:chgData name="Manal El Bakkouri" userId="8b130982-2e3f-4164-b881-fd3a2e4b2453" providerId="ADAL" clId="{4457FA57-250B-44AC-8655-05D46C5A3D8A}" dt="2023-06-03T22:41:15.317" v="6077" actId="207"/>
          <ac:spMkLst>
            <pc:docMk/>
            <pc:sldMk cId="477373984" sldId="230717693"/>
            <ac:spMk id="19" creationId="{0FA4C189-43B9-4D6F-A279-2AD9A302EF79}"/>
          </ac:spMkLst>
        </pc:spChg>
        <pc:spChg chg="add mod">
          <ac:chgData name="Manal El Bakkouri" userId="8b130982-2e3f-4164-b881-fd3a2e4b2453" providerId="ADAL" clId="{4457FA57-250B-44AC-8655-05D46C5A3D8A}" dt="2023-06-03T22:41:05.531" v="6075" actId="207"/>
          <ac:spMkLst>
            <pc:docMk/>
            <pc:sldMk cId="477373984" sldId="230717693"/>
            <ac:spMk id="20" creationId="{B0196BE7-5875-4B65-84D3-332D6069E8EE}"/>
          </ac:spMkLst>
        </pc:spChg>
        <pc:spChg chg="add mod">
          <ac:chgData name="Manal El Bakkouri" userId="8b130982-2e3f-4164-b881-fd3a2e4b2453" providerId="ADAL" clId="{4457FA57-250B-44AC-8655-05D46C5A3D8A}" dt="2023-06-03T22:41:23.222" v="6079" actId="207"/>
          <ac:spMkLst>
            <pc:docMk/>
            <pc:sldMk cId="477373984" sldId="230717693"/>
            <ac:spMk id="21" creationId="{BC4654CF-3E55-4582-862A-125C1CCD7752}"/>
          </ac:spMkLst>
        </pc:spChg>
        <pc:spChg chg="add mod">
          <ac:chgData name="Manal El Bakkouri" userId="8b130982-2e3f-4164-b881-fd3a2e4b2453" providerId="ADAL" clId="{4457FA57-250B-44AC-8655-05D46C5A3D8A}" dt="2023-06-02T15:36:39.442" v="5670"/>
          <ac:spMkLst>
            <pc:docMk/>
            <pc:sldMk cId="477373984" sldId="230717693"/>
            <ac:spMk id="22" creationId="{A3F7E8F7-0373-4EE7-9579-90ECB0A99875}"/>
          </ac:spMkLst>
        </pc:spChg>
        <pc:spChg chg="add mod">
          <ac:chgData name="Manal El Bakkouri" userId="8b130982-2e3f-4164-b881-fd3a2e4b2453" providerId="ADAL" clId="{4457FA57-250B-44AC-8655-05D46C5A3D8A}" dt="2023-06-02T15:36:39.442" v="5670"/>
          <ac:spMkLst>
            <pc:docMk/>
            <pc:sldMk cId="477373984" sldId="230717693"/>
            <ac:spMk id="23" creationId="{9EDD29BF-5065-4A89-A18F-78781C06768F}"/>
          </ac:spMkLst>
        </pc:spChg>
        <pc:spChg chg="add del mod">
          <ac:chgData name="Manal El Bakkouri" userId="8b130982-2e3f-4164-b881-fd3a2e4b2453" providerId="ADAL" clId="{4457FA57-250B-44AC-8655-05D46C5A3D8A}" dt="2023-06-02T16:15:45.489" v="5942" actId="478"/>
          <ac:spMkLst>
            <pc:docMk/>
            <pc:sldMk cId="477373984" sldId="230717693"/>
            <ac:spMk id="24" creationId="{ADC8D3C4-305E-48EF-A167-40C18CB5A2E7}"/>
          </ac:spMkLst>
        </pc:spChg>
        <pc:spChg chg="add mod">
          <ac:chgData name="Manal El Bakkouri" userId="8b130982-2e3f-4164-b881-fd3a2e4b2453" providerId="ADAL" clId="{4457FA57-250B-44AC-8655-05D46C5A3D8A}" dt="2023-06-09T11:31:03.565" v="21789"/>
          <ac:spMkLst>
            <pc:docMk/>
            <pc:sldMk cId="477373984" sldId="230717693"/>
            <ac:spMk id="28" creationId="{B3E6092B-0423-4E20-A26F-4205CAE0103C}"/>
          </ac:spMkLst>
        </pc:spChg>
        <pc:spChg chg="add mod">
          <ac:chgData name="Manal El Bakkouri" userId="8b130982-2e3f-4164-b881-fd3a2e4b2453" providerId="ADAL" clId="{4457FA57-250B-44AC-8655-05D46C5A3D8A}" dt="2023-06-09T11:31:03.565" v="21789"/>
          <ac:spMkLst>
            <pc:docMk/>
            <pc:sldMk cId="477373984" sldId="230717693"/>
            <ac:spMk id="30" creationId="{FA8E31BE-6C1A-4791-83B5-37677927C851}"/>
          </ac:spMkLst>
        </pc:spChg>
        <pc:spChg chg="add mod">
          <ac:chgData name="Manal El Bakkouri" userId="8b130982-2e3f-4164-b881-fd3a2e4b2453" providerId="ADAL" clId="{4457FA57-250B-44AC-8655-05D46C5A3D8A}" dt="2023-06-09T11:31:03.565" v="21789"/>
          <ac:spMkLst>
            <pc:docMk/>
            <pc:sldMk cId="477373984" sldId="230717693"/>
            <ac:spMk id="31" creationId="{445E0FF4-C35D-4C67-BAC7-8920F8E4DC0A}"/>
          </ac:spMkLst>
        </pc:spChg>
        <pc:spChg chg="add mod">
          <ac:chgData name="Manal El Bakkouri" userId="8b130982-2e3f-4164-b881-fd3a2e4b2453" providerId="ADAL" clId="{4457FA57-250B-44AC-8655-05D46C5A3D8A}" dt="2023-06-09T11:31:03.565" v="21789"/>
          <ac:spMkLst>
            <pc:docMk/>
            <pc:sldMk cId="477373984" sldId="230717693"/>
            <ac:spMk id="32" creationId="{62557511-C9C4-4D88-B88C-2DEA513EEAF0}"/>
          </ac:spMkLst>
        </pc:spChg>
        <pc:spChg chg="add del mod">
          <ac:chgData name="Manal El Bakkouri" userId="8b130982-2e3f-4164-b881-fd3a2e4b2453" providerId="ADAL" clId="{4457FA57-250B-44AC-8655-05D46C5A3D8A}" dt="2023-06-02T15:55:27.420" v="5810" actId="478"/>
          <ac:spMkLst>
            <pc:docMk/>
            <pc:sldMk cId="477373984" sldId="230717693"/>
            <ac:spMk id="34" creationId="{A3F4106F-FF5F-4365-AD80-90A6F242B5DC}"/>
          </ac:spMkLst>
        </pc:spChg>
        <pc:spChg chg="add del mod">
          <ac:chgData name="Manal El Bakkouri" userId="8b130982-2e3f-4164-b881-fd3a2e4b2453" providerId="ADAL" clId="{4457FA57-250B-44AC-8655-05D46C5A3D8A}" dt="2023-06-02T16:10:56.785" v="5889" actId="478"/>
          <ac:spMkLst>
            <pc:docMk/>
            <pc:sldMk cId="477373984" sldId="230717693"/>
            <ac:spMk id="35" creationId="{95B6832E-1BDA-4580-86FB-E7D4A8FBC404}"/>
          </ac:spMkLst>
        </pc:spChg>
        <pc:spChg chg="add mod topLvl">
          <ac:chgData name="Manal El Bakkouri" userId="8b130982-2e3f-4164-b881-fd3a2e4b2453" providerId="ADAL" clId="{4457FA57-250B-44AC-8655-05D46C5A3D8A}" dt="2023-06-03T23:07:26.168" v="6170" actId="208"/>
          <ac:spMkLst>
            <pc:docMk/>
            <pc:sldMk cId="477373984" sldId="230717693"/>
            <ac:spMk id="36" creationId="{4D23D8E2-CCC5-4390-A334-295A3AFA1917}"/>
          </ac:spMkLst>
        </pc:spChg>
        <pc:spChg chg="mod">
          <ac:chgData name="Manal El Bakkouri" userId="8b130982-2e3f-4164-b881-fd3a2e4b2453" providerId="ADAL" clId="{4457FA57-250B-44AC-8655-05D46C5A3D8A}" dt="2023-06-02T16:14:38.380" v="5933" actId="571"/>
          <ac:spMkLst>
            <pc:docMk/>
            <pc:sldMk cId="477373984" sldId="230717693"/>
            <ac:spMk id="41" creationId="{FFFF2309-30ED-4DBB-AB57-EBD72A37A22C}"/>
          </ac:spMkLst>
        </pc:spChg>
        <pc:spChg chg="mod">
          <ac:chgData name="Manal El Bakkouri" userId="8b130982-2e3f-4164-b881-fd3a2e4b2453" providerId="ADAL" clId="{4457FA57-250B-44AC-8655-05D46C5A3D8A}" dt="2023-06-02T16:14:41.235" v="5934" actId="571"/>
          <ac:spMkLst>
            <pc:docMk/>
            <pc:sldMk cId="477373984" sldId="230717693"/>
            <ac:spMk id="44" creationId="{0555F4F6-C1C8-4DBB-A240-25CFB4271B4A}"/>
          </ac:spMkLst>
        </pc:spChg>
        <pc:spChg chg="mod">
          <ac:chgData name="Manal El Bakkouri" userId="8b130982-2e3f-4164-b881-fd3a2e4b2453" providerId="ADAL" clId="{4457FA57-250B-44AC-8655-05D46C5A3D8A}" dt="2023-06-02T16:15:12.358" v="5935" actId="571"/>
          <ac:spMkLst>
            <pc:docMk/>
            <pc:sldMk cId="477373984" sldId="230717693"/>
            <ac:spMk id="47" creationId="{2BD39DB4-F4C3-4064-A1C3-830589CC9D8F}"/>
          </ac:spMkLst>
        </pc:spChg>
        <pc:spChg chg="add mod">
          <ac:chgData name="Manal El Bakkouri" userId="8b130982-2e3f-4164-b881-fd3a2e4b2453" providerId="ADAL" clId="{4457FA57-250B-44AC-8655-05D46C5A3D8A}" dt="2023-06-03T23:16:06.107" v="6431" actId="1036"/>
          <ac:spMkLst>
            <pc:docMk/>
            <pc:sldMk cId="477373984" sldId="230717693"/>
            <ac:spMk id="48" creationId="{C0EE927E-8228-4B24-9E74-01766CAB0C81}"/>
          </ac:spMkLst>
        </pc:spChg>
        <pc:spChg chg="add del mod">
          <ac:chgData name="Manal El Bakkouri" userId="8b130982-2e3f-4164-b881-fd3a2e4b2453" providerId="ADAL" clId="{4457FA57-250B-44AC-8655-05D46C5A3D8A}" dt="2023-06-03T23:10:32.743" v="6236" actId="478"/>
          <ac:spMkLst>
            <pc:docMk/>
            <pc:sldMk cId="477373984" sldId="230717693"/>
            <ac:spMk id="50" creationId="{906D38C4-7006-41D4-B0B7-E471C62B0315}"/>
          </ac:spMkLst>
        </pc:spChg>
        <pc:spChg chg="add del mod">
          <ac:chgData name="Manal El Bakkouri" userId="8b130982-2e3f-4164-b881-fd3a2e4b2453" providerId="ADAL" clId="{4457FA57-250B-44AC-8655-05D46C5A3D8A}" dt="2023-06-03T23:10:02.154" v="6231" actId="478"/>
          <ac:spMkLst>
            <pc:docMk/>
            <pc:sldMk cId="477373984" sldId="230717693"/>
            <ac:spMk id="52" creationId="{84CD684F-1404-4357-B3C8-F5D217CFDFB4}"/>
          </ac:spMkLst>
        </pc:spChg>
        <pc:spChg chg="add del mod">
          <ac:chgData name="Manal El Bakkouri" userId="8b130982-2e3f-4164-b881-fd3a2e4b2453" providerId="ADAL" clId="{4457FA57-250B-44AC-8655-05D46C5A3D8A}" dt="2023-06-03T23:04:09.199" v="6141" actId="478"/>
          <ac:spMkLst>
            <pc:docMk/>
            <pc:sldMk cId="477373984" sldId="230717693"/>
            <ac:spMk id="54" creationId="{172BF634-0671-4BFD-B72C-1F02FF2FC5DD}"/>
          </ac:spMkLst>
        </pc:spChg>
        <pc:spChg chg="add mod">
          <ac:chgData name="Manal El Bakkouri" userId="8b130982-2e3f-4164-b881-fd3a2e4b2453" providerId="ADAL" clId="{4457FA57-250B-44AC-8655-05D46C5A3D8A}" dt="2023-06-03T23:12:58.914" v="6260" actId="208"/>
          <ac:spMkLst>
            <pc:docMk/>
            <pc:sldMk cId="477373984" sldId="230717693"/>
            <ac:spMk id="55" creationId="{56FCA543-6235-4B89-A186-920944711955}"/>
          </ac:spMkLst>
        </pc:spChg>
        <pc:spChg chg="add mod topLvl">
          <ac:chgData name="Manal El Bakkouri" userId="8b130982-2e3f-4164-b881-fd3a2e4b2453" providerId="ADAL" clId="{4457FA57-250B-44AC-8655-05D46C5A3D8A}" dt="2023-06-03T23:12:58.914" v="6260" actId="208"/>
          <ac:spMkLst>
            <pc:docMk/>
            <pc:sldMk cId="477373984" sldId="230717693"/>
            <ac:spMk id="56" creationId="{193E25E1-0101-478F-BE7E-315D6FA60C71}"/>
          </ac:spMkLst>
        </pc:spChg>
        <pc:spChg chg="add mod">
          <ac:chgData name="Manal El Bakkouri" userId="8b130982-2e3f-4164-b881-fd3a2e4b2453" providerId="ADAL" clId="{4457FA57-250B-44AC-8655-05D46C5A3D8A}" dt="2023-06-06T10:40:31.821" v="9793" actId="164"/>
          <ac:spMkLst>
            <pc:docMk/>
            <pc:sldMk cId="477373984" sldId="230717693"/>
            <ac:spMk id="59" creationId="{F986F9AD-660A-4C99-86DC-DB49550D2C33}"/>
          </ac:spMkLst>
        </pc:spChg>
        <pc:spChg chg="add del">
          <ac:chgData name="Manal El Bakkouri" userId="8b130982-2e3f-4164-b881-fd3a2e4b2453" providerId="ADAL" clId="{4457FA57-250B-44AC-8655-05D46C5A3D8A}" dt="2023-06-03T23:09:33.464" v="6206" actId="478"/>
          <ac:spMkLst>
            <pc:docMk/>
            <pc:sldMk cId="477373984" sldId="230717693"/>
            <ac:spMk id="60" creationId="{6D91BD87-C9FF-45A9-BE4D-E8776D39BFFD}"/>
          </ac:spMkLst>
        </pc:spChg>
        <pc:spChg chg="add mod">
          <ac:chgData name="Manal El Bakkouri" userId="8b130982-2e3f-4164-b881-fd3a2e4b2453" providerId="ADAL" clId="{4457FA57-250B-44AC-8655-05D46C5A3D8A}" dt="2023-06-06T10:40:35.412" v="9794" actId="164"/>
          <ac:spMkLst>
            <pc:docMk/>
            <pc:sldMk cId="477373984" sldId="230717693"/>
            <ac:spMk id="61" creationId="{CD34B70C-83FA-4887-9FF2-16B98D62FFBA}"/>
          </ac:spMkLst>
        </pc:spChg>
        <pc:spChg chg="add del">
          <ac:chgData name="Manal El Bakkouri" userId="8b130982-2e3f-4164-b881-fd3a2e4b2453" providerId="ADAL" clId="{4457FA57-250B-44AC-8655-05D46C5A3D8A}" dt="2023-06-03T23:10:10.393" v="6233" actId="11529"/>
          <ac:spMkLst>
            <pc:docMk/>
            <pc:sldMk cId="477373984" sldId="230717693"/>
            <ac:spMk id="62" creationId="{D9FA0AD5-2EB3-4D08-8754-1A7033C176EB}"/>
          </ac:spMkLst>
        </pc:spChg>
        <pc:spChg chg="add mod">
          <ac:chgData name="Manal El Bakkouri" userId="8b130982-2e3f-4164-b881-fd3a2e4b2453" providerId="ADAL" clId="{4457FA57-250B-44AC-8655-05D46C5A3D8A}" dt="2023-06-06T10:40:35.412" v="9794" actId="164"/>
          <ac:spMkLst>
            <pc:docMk/>
            <pc:sldMk cId="477373984" sldId="230717693"/>
            <ac:spMk id="63" creationId="{050856CC-B82A-40D6-B5F8-E540E0872688}"/>
          </ac:spMkLst>
        </pc:spChg>
        <pc:spChg chg="add mod">
          <ac:chgData name="Manal El Bakkouri" userId="8b130982-2e3f-4164-b881-fd3a2e4b2453" providerId="ADAL" clId="{4457FA57-250B-44AC-8655-05D46C5A3D8A}" dt="2023-06-06T10:40:31.821" v="9793" actId="164"/>
          <ac:spMkLst>
            <pc:docMk/>
            <pc:sldMk cId="477373984" sldId="230717693"/>
            <ac:spMk id="64" creationId="{84255739-5FD5-46CF-8FAB-95E9B73D0D8F}"/>
          </ac:spMkLst>
        </pc:spChg>
        <pc:spChg chg="add mod">
          <ac:chgData name="Manal El Bakkouri" userId="8b130982-2e3f-4164-b881-fd3a2e4b2453" providerId="ADAL" clId="{4457FA57-250B-44AC-8655-05D46C5A3D8A}" dt="2023-06-04T13:14:40.103" v="7761" actId="20577"/>
          <ac:spMkLst>
            <pc:docMk/>
            <pc:sldMk cId="477373984" sldId="230717693"/>
            <ac:spMk id="66" creationId="{55EB67BF-AAB3-436B-B211-B48E332ED503}"/>
          </ac:spMkLst>
        </pc:spChg>
        <pc:spChg chg="add del mod">
          <ac:chgData name="Manal El Bakkouri" userId="8b130982-2e3f-4164-b881-fd3a2e4b2453" providerId="ADAL" clId="{4457FA57-250B-44AC-8655-05D46C5A3D8A}" dt="2023-06-04T13:18:09.918" v="7770" actId="478"/>
          <ac:spMkLst>
            <pc:docMk/>
            <pc:sldMk cId="477373984" sldId="230717693"/>
            <ac:spMk id="67" creationId="{849B27BF-6624-4C5B-9E75-24B2631CD64B}"/>
          </ac:spMkLst>
        </pc:spChg>
        <pc:grpChg chg="add del mod">
          <ac:chgData name="Manal El Bakkouri" userId="8b130982-2e3f-4164-b881-fd3a2e4b2453" providerId="ADAL" clId="{4457FA57-250B-44AC-8655-05D46C5A3D8A}" dt="2023-06-03T23:06:22.934" v="6157" actId="165"/>
          <ac:grpSpMkLst>
            <pc:docMk/>
            <pc:sldMk cId="477373984" sldId="230717693"/>
            <ac:grpSpMk id="37" creationId="{F407043B-7797-4D69-BC6E-DEC36B6E116A}"/>
          </ac:grpSpMkLst>
        </pc:grpChg>
        <pc:grpChg chg="add mod">
          <ac:chgData name="Manal El Bakkouri" userId="8b130982-2e3f-4164-b881-fd3a2e4b2453" providerId="ADAL" clId="{4457FA57-250B-44AC-8655-05D46C5A3D8A}" dt="2023-06-02T16:14:38.380" v="5933" actId="571"/>
          <ac:grpSpMkLst>
            <pc:docMk/>
            <pc:sldMk cId="477373984" sldId="230717693"/>
            <ac:grpSpMk id="39" creationId="{6F39039E-D24C-4890-AF48-0BA550B7830B}"/>
          </ac:grpSpMkLst>
        </pc:grpChg>
        <pc:grpChg chg="add del mod">
          <ac:chgData name="Manal El Bakkouri" userId="8b130982-2e3f-4164-b881-fd3a2e4b2453" providerId="ADAL" clId="{4457FA57-250B-44AC-8655-05D46C5A3D8A}" dt="2023-06-03T23:04:23.089" v="6145" actId="478"/>
          <ac:grpSpMkLst>
            <pc:docMk/>
            <pc:sldMk cId="477373984" sldId="230717693"/>
            <ac:grpSpMk id="42" creationId="{BA4C1E02-8D8C-4E98-B79D-46D35CF211CB}"/>
          </ac:grpSpMkLst>
        </pc:grpChg>
        <pc:grpChg chg="add del mod">
          <ac:chgData name="Manal El Bakkouri" userId="8b130982-2e3f-4164-b881-fd3a2e4b2453" providerId="ADAL" clId="{4457FA57-250B-44AC-8655-05D46C5A3D8A}" dt="2023-06-03T23:07:29.837" v="6171" actId="478"/>
          <ac:grpSpMkLst>
            <pc:docMk/>
            <pc:sldMk cId="477373984" sldId="230717693"/>
            <ac:grpSpMk id="45" creationId="{43316C81-2DFD-4459-A9E1-F2875C1EFB52}"/>
          </ac:grpSpMkLst>
        </pc:grpChg>
        <pc:grpChg chg="add mod ord">
          <ac:chgData name="Manal El Bakkouri" userId="8b130982-2e3f-4164-b881-fd3a2e4b2453" providerId="ADAL" clId="{4457FA57-250B-44AC-8655-05D46C5A3D8A}" dt="2023-06-06T10:41:10.130" v="9800" actId="164"/>
          <ac:grpSpMkLst>
            <pc:docMk/>
            <pc:sldMk cId="477373984" sldId="230717693"/>
            <ac:grpSpMk id="57" creationId="{A39D6D91-2A77-470C-8835-464FA251E031}"/>
          </ac:grpSpMkLst>
        </pc:grpChg>
        <pc:grpChg chg="add mod ord">
          <ac:chgData name="Manal El Bakkouri" userId="8b130982-2e3f-4164-b881-fd3a2e4b2453" providerId="ADAL" clId="{4457FA57-250B-44AC-8655-05D46C5A3D8A}" dt="2023-06-06T10:41:06.664" v="9799" actId="164"/>
          <ac:grpSpMkLst>
            <pc:docMk/>
            <pc:sldMk cId="477373984" sldId="230717693"/>
            <ac:grpSpMk id="58" creationId="{4D15F827-E901-4A39-9D2F-FB9B0D926788}"/>
          </ac:grpSpMkLst>
        </pc:grpChg>
        <pc:grpChg chg="add mod">
          <ac:chgData name="Manal El Bakkouri" userId="8b130982-2e3f-4164-b881-fd3a2e4b2453" providerId="ADAL" clId="{4457FA57-250B-44AC-8655-05D46C5A3D8A}" dt="2023-06-06T10:41:06.664" v="9799" actId="164"/>
          <ac:grpSpMkLst>
            <pc:docMk/>
            <pc:sldMk cId="477373984" sldId="230717693"/>
            <ac:grpSpMk id="68" creationId="{3D4A0F4D-87A1-4474-AA0A-52D620CF9D80}"/>
          </ac:grpSpMkLst>
        </pc:grpChg>
        <pc:grpChg chg="add mod">
          <ac:chgData name="Manal El Bakkouri" userId="8b130982-2e3f-4164-b881-fd3a2e4b2453" providerId="ADAL" clId="{4457FA57-250B-44AC-8655-05D46C5A3D8A}" dt="2023-06-06T10:41:10.130" v="9800" actId="164"/>
          <ac:grpSpMkLst>
            <pc:docMk/>
            <pc:sldMk cId="477373984" sldId="230717693"/>
            <ac:grpSpMk id="69" creationId="{DAE2A0F6-7CF9-4040-9CAD-35E80F992733}"/>
          </ac:grpSpMkLst>
        </pc:grpChg>
        <pc:grpChg chg="add mod">
          <ac:chgData name="Manal El Bakkouri" userId="8b130982-2e3f-4164-b881-fd3a2e4b2453" providerId="ADAL" clId="{4457FA57-250B-44AC-8655-05D46C5A3D8A}" dt="2023-06-06T10:41:06.664" v="9799" actId="164"/>
          <ac:grpSpMkLst>
            <pc:docMk/>
            <pc:sldMk cId="477373984" sldId="230717693"/>
            <ac:grpSpMk id="70" creationId="{A3482F5A-6E3C-4F4C-A0B7-9ACA33A231C9}"/>
          </ac:grpSpMkLst>
        </pc:grpChg>
        <pc:grpChg chg="add mod">
          <ac:chgData name="Manal El Bakkouri" userId="8b130982-2e3f-4164-b881-fd3a2e4b2453" providerId="ADAL" clId="{4457FA57-250B-44AC-8655-05D46C5A3D8A}" dt="2023-06-06T10:41:10.130" v="9800" actId="164"/>
          <ac:grpSpMkLst>
            <pc:docMk/>
            <pc:sldMk cId="477373984" sldId="230717693"/>
            <ac:grpSpMk id="71" creationId="{7491534F-A00F-42EF-BB88-61234C4315EE}"/>
          </ac:grpSpMkLst>
        </pc:grpChg>
        <pc:picChg chg="add del mod">
          <ac:chgData name="Manal El Bakkouri" userId="8b130982-2e3f-4164-b881-fd3a2e4b2453" providerId="ADAL" clId="{4457FA57-250B-44AC-8655-05D46C5A3D8A}" dt="2023-06-02T15:36:38.929" v="5669" actId="478"/>
          <ac:picMkLst>
            <pc:docMk/>
            <pc:sldMk cId="477373984" sldId="230717693"/>
            <ac:picMk id="14" creationId="{4C29014E-F57E-4B6E-BD0C-148303A3D7C4}"/>
          </ac:picMkLst>
        </pc:picChg>
        <pc:picChg chg="add del mod ord">
          <ac:chgData name="Manal El Bakkouri" userId="8b130982-2e3f-4164-b881-fd3a2e4b2453" providerId="ADAL" clId="{4457FA57-250B-44AC-8655-05D46C5A3D8A}" dt="2023-06-04T10:58:44.955" v="6594" actId="478"/>
          <ac:picMkLst>
            <pc:docMk/>
            <pc:sldMk cId="477373984" sldId="230717693"/>
            <ac:picMk id="25" creationId="{600A1F5B-705A-448E-8900-DF63CFE8B07C}"/>
          </ac:picMkLst>
        </pc:picChg>
        <pc:picChg chg="add del mod">
          <ac:chgData name="Manal El Bakkouri" userId="8b130982-2e3f-4164-b881-fd3a2e4b2453" providerId="ADAL" clId="{4457FA57-250B-44AC-8655-05D46C5A3D8A}" dt="2023-06-02T15:40:47.512" v="5722" actId="478"/>
          <ac:picMkLst>
            <pc:docMk/>
            <pc:sldMk cId="477373984" sldId="230717693"/>
            <ac:picMk id="27" creationId="{B1367B43-6A1A-4C8F-97B8-A82C3BC3B5A3}"/>
          </ac:picMkLst>
        </pc:picChg>
        <pc:picChg chg="add del mod topLvl">
          <ac:chgData name="Manal El Bakkouri" userId="8b130982-2e3f-4164-b881-fd3a2e4b2453" providerId="ADAL" clId="{4457FA57-250B-44AC-8655-05D46C5A3D8A}" dt="2023-06-03T23:07:21.401" v="6169" actId="208"/>
          <ac:picMkLst>
            <pc:docMk/>
            <pc:sldMk cId="477373984" sldId="230717693"/>
            <ac:picMk id="29" creationId="{8230F28E-1F2B-4297-9520-A3EA65866054}"/>
          </ac:picMkLst>
        </pc:picChg>
        <pc:picChg chg="add del mod">
          <ac:chgData name="Manal El Bakkouri" userId="8b130982-2e3f-4164-b881-fd3a2e4b2453" providerId="ADAL" clId="{4457FA57-250B-44AC-8655-05D46C5A3D8A}" dt="2023-06-02T15:40:08.302" v="5716" actId="478"/>
          <ac:picMkLst>
            <pc:docMk/>
            <pc:sldMk cId="477373984" sldId="230717693"/>
            <ac:picMk id="31" creationId="{1E7D8318-AB46-409A-8213-EF9B7AEEB3D3}"/>
          </ac:picMkLst>
        </pc:picChg>
        <pc:picChg chg="add del mod">
          <ac:chgData name="Manal El Bakkouri" userId="8b130982-2e3f-4164-b881-fd3a2e4b2453" providerId="ADAL" clId="{4457FA57-250B-44AC-8655-05D46C5A3D8A}" dt="2023-06-02T16:11:01.032" v="5892" actId="478"/>
          <ac:picMkLst>
            <pc:docMk/>
            <pc:sldMk cId="477373984" sldId="230717693"/>
            <ac:picMk id="33" creationId="{8A5950BF-68EB-468F-A1F6-BC2B23D9151F}"/>
          </ac:picMkLst>
        </pc:picChg>
        <pc:picChg chg="add mod">
          <ac:chgData name="Manal El Bakkouri" userId="8b130982-2e3f-4164-b881-fd3a2e4b2453" providerId="ADAL" clId="{4457FA57-250B-44AC-8655-05D46C5A3D8A}" dt="2023-06-02T16:14:38.380" v="5933" actId="571"/>
          <ac:picMkLst>
            <pc:docMk/>
            <pc:sldMk cId="477373984" sldId="230717693"/>
            <ac:picMk id="38" creationId="{805FE0C1-634D-4950-8D5C-4395289A4649}"/>
          </ac:picMkLst>
        </pc:picChg>
        <pc:picChg chg="mod">
          <ac:chgData name="Manal El Bakkouri" userId="8b130982-2e3f-4164-b881-fd3a2e4b2453" providerId="ADAL" clId="{4457FA57-250B-44AC-8655-05D46C5A3D8A}" dt="2023-06-02T16:14:38.380" v="5933" actId="571"/>
          <ac:picMkLst>
            <pc:docMk/>
            <pc:sldMk cId="477373984" sldId="230717693"/>
            <ac:picMk id="40" creationId="{E5C40D7B-41EC-4663-9B96-A4FD11260935}"/>
          </ac:picMkLst>
        </pc:picChg>
        <pc:picChg chg="mod">
          <ac:chgData name="Manal El Bakkouri" userId="8b130982-2e3f-4164-b881-fd3a2e4b2453" providerId="ADAL" clId="{4457FA57-250B-44AC-8655-05D46C5A3D8A}" dt="2023-06-02T16:14:41.235" v="5934" actId="571"/>
          <ac:picMkLst>
            <pc:docMk/>
            <pc:sldMk cId="477373984" sldId="230717693"/>
            <ac:picMk id="43" creationId="{1AB66513-0C49-4925-98FC-862E07A6CA2F}"/>
          </ac:picMkLst>
        </pc:picChg>
        <pc:picChg chg="mod">
          <ac:chgData name="Manal El Bakkouri" userId="8b130982-2e3f-4164-b881-fd3a2e4b2453" providerId="ADAL" clId="{4457FA57-250B-44AC-8655-05D46C5A3D8A}" dt="2023-06-02T16:15:12.358" v="5935" actId="571"/>
          <ac:picMkLst>
            <pc:docMk/>
            <pc:sldMk cId="477373984" sldId="230717693"/>
            <ac:picMk id="46" creationId="{98C0D8A7-7395-41B5-B9A3-6C5E7C824728}"/>
          </ac:picMkLst>
        </pc:picChg>
        <pc:picChg chg="add mod ord">
          <ac:chgData name="Manal El Bakkouri" userId="8b130982-2e3f-4164-b881-fd3a2e4b2453" providerId="ADAL" clId="{4457FA57-250B-44AC-8655-05D46C5A3D8A}" dt="2023-06-04T10:58:49.145" v="6596" actId="167"/>
          <ac:picMkLst>
            <pc:docMk/>
            <pc:sldMk cId="477373984" sldId="230717693"/>
            <ac:picMk id="65" creationId="{4AECFFC7-4569-4BBF-8C49-12081FD8ABC1}"/>
          </ac:picMkLst>
        </pc:picChg>
      </pc:sldChg>
      <pc:sldChg chg="addSp delSp modSp new del mod ord modAnim modShow">
        <pc:chgData name="Manal El Bakkouri" userId="8b130982-2e3f-4164-b881-fd3a2e4b2453" providerId="ADAL" clId="{4457FA57-250B-44AC-8655-05D46C5A3D8A}" dt="2023-06-06T10:56:22.379" v="9827" actId="2696"/>
        <pc:sldMkLst>
          <pc:docMk/>
          <pc:sldMk cId="2209099704" sldId="230717694"/>
        </pc:sldMkLst>
        <pc:spChg chg="del">
          <ac:chgData name="Manal El Bakkouri" userId="8b130982-2e3f-4164-b881-fd3a2e4b2453" providerId="ADAL" clId="{4457FA57-250B-44AC-8655-05D46C5A3D8A}" dt="2023-06-02T16:17:42.029" v="5946" actId="478"/>
          <ac:spMkLst>
            <pc:docMk/>
            <pc:sldMk cId="2209099704" sldId="230717694"/>
            <ac:spMk id="2" creationId="{F45EC5A3-8D51-4485-84FB-390B5222409E}"/>
          </ac:spMkLst>
        </pc:spChg>
        <pc:spChg chg="del">
          <ac:chgData name="Manal El Bakkouri" userId="8b130982-2e3f-4164-b881-fd3a2e4b2453" providerId="ADAL" clId="{4457FA57-250B-44AC-8655-05D46C5A3D8A}" dt="2023-06-02T16:17:42.029" v="5946" actId="478"/>
          <ac:spMkLst>
            <pc:docMk/>
            <pc:sldMk cId="2209099704" sldId="230717694"/>
            <ac:spMk id="3" creationId="{40CE46C1-8FCA-4102-AD5E-D03DF8E02DD0}"/>
          </ac:spMkLst>
        </pc:spChg>
        <pc:spChg chg="del">
          <ac:chgData name="Manal El Bakkouri" userId="8b130982-2e3f-4164-b881-fd3a2e4b2453" providerId="ADAL" clId="{4457FA57-250B-44AC-8655-05D46C5A3D8A}" dt="2023-06-02T16:17:42.029" v="5946" actId="478"/>
          <ac:spMkLst>
            <pc:docMk/>
            <pc:sldMk cId="2209099704" sldId="230717694"/>
            <ac:spMk id="4" creationId="{9218880A-491A-479B-B4E9-CA2DC331CA4A}"/>
          </ac:spMkLst>
        </pc:spChg>
        <pc:spChg chg="add del mod">
          <ac:chgData name="Manal El Bakkouri" userId="8b130982-2e3f-4164-b881-fd3a2e4b2453" providerId="ADAL" clId="{4457FA57-250B-44AC-8655-05D46C5A3D8A}" dt="2023-06-04T10:59:40.816" v="6600" actId="478"/>
          <ac:spMkLst>
            <pc:docMk/>
            <pc:sldMk cId="2209099704" sldId="230717694"/>
            <ac:spMk id="5" creationId="{87A154B1-BC3C-4AAB-8657-957CAD362D20}"/>
          </ac:spMkLst>
        </pc:spChg>
        <pc:spChg chg="add del mod">
          <ac:chgData name="Manal El Bakkouri" userId="8b130982-2e3f-4164-b881-fd3a2e4b2453" providerId="ADAL" clId="{4457FA57-250B-44AC-8655-05D46C5A3D8A}" dt="2023-06-04T10:59:40.816" v="6600" actId="478"/>
          <ac:spMkLst>
            <pc:docMk/>
            <pc:sldMk cId="2209099704" sldId="230717694"/>
            <ac:spMk id="6" creationId="{73164BBD-6C2C-47AD-B87F-DA9123DCE840}"/>
          </ac:spMkLst>
        </pc:spChg>
        <pc:spChg chg="add del mod">
          <ac:chgData name="Manal El Bakkouri" userId="8b130982-2e3f-4164-b881-fd3a2e4b2453" providerId="ADAL" clId="{4457FA57-250B-44AC-8655-05D46C5A3D8A}" dt="2023-06-04T10:59:40.816" v="6600" actId="478"/>
          <ac:spMkLst>
            <pc:docMk/>
            <pc:sldMk cId="2209099704" sldId="230717694"/>
            <ac:spMk id="7" creationId="{8082C438-396C-47E0-86F1-2A2A99C56A4D}"/>
          </ac:spMkLst>
        </pc:spChg>
        <pc:spChg chg="add del mod">
          <ac:chgData name="Manal El Bakkouri" userId="8b130982-2e3f-4164-b881-fd3a2e4b2453" providerId="ADAL" clId="{4457FA57-250B-44AC-8655-05D46C5A3D8A}" dt="2023-06-04T10:59:40.816" v="6600" actId="478"/>
          <ac:spMkLst>
            <pc:docMk/>
            <pc:sldMk cId="2209099704" sldId="230717694"/>
            <ac:spMk id="8" creationId="{CD302580-BC93-4E61-9F0D-3F964BEA4D24}"/>
          </ac:spMkLst>
        </pc:spChg>
        <pc:spChg chg="add del mod">
          <ac:chgData name="Manal El Bakkouri" userId="8b130982-2e3f-4164-b881-fd3a2e4b2453" providerId="ADAL" clId="{4457FA57-250B-44AC-8655-05D46C5A3D8A}" dt="2023-06-04T10:59:40.816" v="6600" actId="478"/>
          <ac:spMkLst>
            <pc:docMk/>
            <pc:sldMk cId="2209099704" sldId="230717694"/>
            <ac:spMk id="9" creationId="{6D1CEE73-2966-4F29-B289-FF79C4A472A7}"/>
          </ac:spMkLst>
        </pc:spChg>
        <pc:spChg chg="add del mod">
          <ac:chgData name="Manal El Bakkouri" userId="8b130982-2e3f-4164-b881-fd3a2e4b2453" providerId="ADAL" clId="{4457FA57-250B-44AC-8655-05D46C5A3D8A}" dt="2023-06-04T10:59:40.816" v="6600" actId="478"/>
          <ac:spMkLst>
            <pc:docMk/>
            <pc:sldMk cId="2209099704" sldId="230717694"/>
            <ac:spMk id="10" creationId="{6103F9C0-BEEB-4AD1-BC64-33AFBCA8359D}"/>
          </ac:spMkLst>
        </pc:spChg>
        <pc:spChg chg="add del mod">
          <ac:chgData name="Manal El Bakkouri" userId="8b130982-2e3f-4164-b881-fd3a2e4b2453" providerId="ADAL" clId="{4457FA57-250B-44AC-8655-05D46C5A3D8A}" dt="2023-06-04T10:59:40.816" v="6600" actId="478"/>
          <ac:spMkLst>
            <pc:docMk/>
            <pc:sldMk cId="2209099704" sldId="230717694"/>
            <ac:spMk id="11" creationId="{2FEBDD20-8978-41AE-B9B1-9409F253118A}"/>
          </ac:spMkLst>
        </pc:spChg>
        <pc:spChg chg="add del mod">
          <ac:chgData name="Manal El Bakkouri" userId="8b130982-2e3f-4164-b881-fd3a2e4b2453" providerId="ADAL" clId="{4457FA57-250B-44AC-8655-05D46C5A3D8A}" dt="2023-06-04T10:59:40.816" v="6600" actId="478"/>
          <ac:spMkLst>
            <pc:docMk/>
            <pc:sldMk cId="2209099704" sldId="230717694"/>
            <ac:spMk id="12" creationId="{36D76B45-DFC1-4C63-9D5F-E4F3A9B99694}"/>
          </ac:spMkLst>
        </pc:spChg>
        <pc:spChg chg="add del mod">
          <ac:chgData name="Manal El Bakkouri" userId="8b130982-2e3f-4164-b881-fd3a2e4b2453" providerId="ADAL" clId="{4457FA57-250B-44AC-8655-05D46C5A3D8A}" dt="2023-06-04T10:59:40.816" v="6600" actId="478"/>
          <ac:spMkLst>
            <pc:docMk/>
            <pc:sldMk cId="2209099704" sldId="230717694"/>
            <ac:spMk id="13" creationId="{E57D0EF5-FBC4-4156-9828-B4B8A0FD090B}"/>
          </ac:spMkLst>
        </pc:spChg>
        <pc:spChg chg="add del mod">
          <ac:chgData name="Manal El Bakkouri" userId="8b130982-2e3f-4164-b881-fd3a2e4b2453" providerId="ADAL" clId="{4457FA57-250B-44AC-8655-05D46C5A3D8A}" dt="2023-06-04T11:45:29.085" v="6943" actId="478"/>
          <ac:spMkLst>
            <pc:docMk/>
            <pc:sldMk cId="2209099704" sldId="230717694"/>
            <ac:spMk id="18" creationId="{4BA07837-D48B-459C-AAD4-919A9E5302CE}"/>
          </ac:spMkLst>
        </pc:spChg>
        <pc:spChg chg="mod">
          <ac:chgData name="Manal El Bakkouri" userId="8b130982-2e3f-4164-b881-fd3a2e4b2453" providerId="ADAL" clId="{4457FA57-250B-44AC-8655-05D46C5A3D8A}" dt="2023-06-04T13:00:06.422" v="7585" actId="207"/>
          <ac:spMkLst>
            <pc:docMk/>
            <pc:sldMk cId="2209099704" sldId="230717694"/>
            <ac:spMk id="20" creationId="{7E66B163-9E4D-4C64-AAD8-CD598E782C5C}"/>
          </ac:spMkLst>
        </pc:spChg>
        <pc:spChg chg="del mod">
          <ac:chgData name="Manal El Bakkouri" userId="8b130982-2e3f-4164-b881-fd3a2e4b2453" providerId="ADAL" clId="{4457FA57-250B-44AC-8655-05D46C5A3D8A}" dt="2023-06-04T11:45:37.535" v="6945" actId="478"/>
          <ac:spMkLst>
            <pc:docMk/>
            <pc:sldMk cId="2209099704" sldId="230717694"/>
            <ac:spMk id="21" creationId="{33B85D24-17D8-4D09-8731-63CDFE94FABB}"/>
          </ac:spMkLst>
        </pc:spChg>
        <pc:spChg chg="mod">
          <ac:chgData name="Manal El Bakkouri" userId="8b130982-2e3f-4164-b881-fd3a2e4b2453" providerId="ADAL" clId="{4457FA57-250B-44AC-8655-05D46C5A3D8A}" dt="2023-06-04T13:00:06.422" v="7585" actId="207"/>
          <ac:spMkLst>
            <pc:docMk/>
            <pc:sldMk cId="2209099704" sldId="230717694"/>
            <ac:spMk id="22" creationId="{2B042189-A305-43AF-B507-56774A852183}"/>
          </ac:spMkLst>
        </pc:spChg>
        <pc:spChg chg="add del mod">
          <ac:chgData name="Manal El Bakkouri" userId="8b130982-2e3f-4164-b881-fd3a2e4b2453" providerId="ADAL" clId="{4457FA57-250B-44AC-8655-05D46C5A3D8A}" dt="2023-06-04T13:14:46.574" v="7763" actId="478"/>
          <ac:spMkLst>
            <pc:docMk/>
            <pc:sldMk cId="2209099704" sldId="230717694"/>
            <ac:spMk id="24" creationId="{C2ADF5CE-F930-46E1-89D7-49D6163B6C18}"/>
          </ac:spMkLst>
        </pc:spChg>
        <pc:grpChg chg="add mod">
          <ac:chgData name="Manal El Bakkouri" userId="8b130982-2e3f-4164-b881-fd3a2e4b2453" providerId="ADAL" clId="{4457FA57-250B-44AC-8655-05D46C5A3D8A}" dt="2023-06-04T13:01:06.347" v="7586" actId="14100"/>
          <ac:grpSpMkLst>
            <pc:docMk/>
            <pc:sldMk cId="2209099704" sldId="230717694"/>
            <ac:grpSpMk id="19" creationId="{616CB3B5-4BD4-4F15-A6E2-FF010DC2DE11}"/>
          </ac:grpSpMkLst>
        </pc:grpChg>
        <pc:picChg chg="add del mod ord">
          <ac:chgData name="Manal El Bakkouri" userId="8b130982-2e3f-4164-b881-fd3a2e4b2453" providerId="ADAL" clId="{4457FA57-250B-44AC-8655-05D46C5A3D8A}" dt="2023-06-04T10:58:52.439" v="6597" actId="478"/>
          <ac:picMkLst>
            <pc:docMk/>
            <pc:sldMk cId="2209099704" sldId="230717694"/>
            <ac:picMk id="14" creationId="{2A48D609-9381-4C00-8150-BF7B70DE2212}"/>
          </ac:picMkLst>
        </pc:picChg>
        <pc:picChg chg="add del mod ord">
          <ac:chgData name="Manal El Bakkouri" userId="8b130982-2e3f-4164-b881-fd3a2e4b2453" providerId="ADAL" clId="{4457FA57-250B-44AC-8655-05D46C5A3D8A}" dt="2023-06-04T10:59:40.816" v="6600" actId="478"/>
          <ac:picMkLst>
            <pc:docMk/>
            <pc:sldMk cId="2209099704" sldId="230717694"/>
            <ac:picMk id="15" creationId="{2FEDC14C-8B08-4A39-9071-A70C5E2509F3}"/>
          </ac:picMkLst>
        </pc:picChg>
        <pc:picChg chg="add del mod">
          <ac:chgData name="Manal El Bakkouri" userId="8b130982-2e3f-4164-b881-fd3a2e4b2453" providerId="ADAL" clId="{4457FA57-250B-44AC-8655-05D46C5A3D8A}" dt="2023-06-04T12:59:19.047" v="7580" actId="478"/>
          <ac:picMkLst>
            <pc:docMk/>
            <pc:sldMk cId="2209099704" sldId="230717694"/>
            <ac:picMk id="16" creationId="{0DD440CA-D1A0-4824-A426-22DFAC590EF0}"/>
          </ac:picMkLst>
        </pc:picChg>
        <pc:picChg chg="add mod ord">
          <ac:chgData name="Manal El Bakkouri" userId="8b130982-2e3f-4164-b881-fd3a2e4b2453" providerId="ADAL" clId="{4457FA57-250B-44AC-8655-05D46C5A3D8A}" dt="2023-06-04T12:59:29.967" v="7582" actId="167"/>
          <ac:picMkLst>
            <pc:docMk/>
            <pc:sldMk cId="2209099704" sldId="230717694"/>
            <ac:picMk id="23" creationId="{CC74DCE5-92FA-4CD1-8B29-D705D17B80E0}"/>
          </ac:picMkLst>
        </pc:picChg>
      </pc:sldChg>
      <pc:sldChg chg="addSp delSp modSp new mod modAnim modNotesTx">
        <pc:chgData name="Manal El Bakkouri" userId="8b130982-2e3f-4164-b881-fd3a2e4b2453" providerId="ADAL" clId="{4457FA57-250B-44AC-8655-05D46C5A3D8A}" dt="2023-06-09T14:21:45.502" v="21858" actId="1035"/>
        <pc:sldMkLst>
          <pc:docMk/>
          <pc:sldMk cId="2764590468" sldId="230717695"/>
        </pc:sldMkLst>
        <pc:spChg chg="del">
          <ac:chgData name="Manal El Bakkouri" userId="8b130982-2e3f-4164-b881-fd3a2e4b2453" providerId="ADAL" clId="{4457FA57-250B-44AC-8655-05D46C5A3D8A}" dt="2023-06-04T11:00:51.948" v="6614" actId="478"/>
          <ac:spMkLst>
            <pc:docMk/>
            <pc:sldMk cId="2764590468" sldId="230717695"/>
            <ac:spMk id="2" creationId="{F49794D5-493B-4B6D-AF91-8F91D382E45F}"/>
          </ac:spMkLst>
        </pc:spChg>
        <pc:spChg chg="del">
          <ac:chgData name="Manal El Bakkouri" userId="8b130982-2e3f-4164-b881-fd3a2e4b2453" providerId="ADAL" clId="{4457FA57-250B-44AC-8655-05D46C5A3D8A}" dt="2023-06-04T11:00:51.948" v="6614" actId="478"/>
          <ac:spMkLst>
            <pc:docMk/>
            <pc:sldMk cId="2764590468" sldId="230717695"/>
            <ac:spMk id="3" creationId="{F3439482-14DD-45EF-A75D-22E0695D10AB}"/>
          </ac:spMkLst>
        </pc:spChg>
        <pc:spChg chg="del">
          <ac:chgData name="Manal El Bakkouri" userId="8b130982-2e3f-4164-b881-fd3a2e4b2453" providerId="ADAL" clId="{4457FA57-250B-44AC-8655-05D46C5A3D8A}" dt="2023-06-04T11:00:51.948" v="6614" actId="478"/>
          <ac:spMkLst>
            <pc:docMk/>
            <pc:sldMk cId="2764590468" sldId="230717695"/>
            <ac:spMk id="4" creationId="{9B12461E-D199-4FCE-9A82-5784939D04BD}"/>
          </ac:spMkLst>
        </pc:spChg>
        <pc:spChg chg="add del mod">
          <ac:chgData name="Manal El Bakkouri" userId="8b130982-2e3f-4164-b881-fd3a2e4b2453" providerId="ADAL" clId="{4457FA57-250B-44AC-8655-05D46C5A3D8A}" dt="2023-06-09T14:21:41.989" v="21856" actId="478"/>
          <ac:spMkLst>
            <pc:docMk/>
            <pc:sldMk cId="2764590468" sldId="230717695"/>
            <ac:spMk id="5" creationId="{D572A87A-8CA7-4706-8E30-3A810EF17B8F}"/>
          </ac:spMkLst>
        </pc:spChg>
        <pc:spChg chg="add mod topLvl">
          <ac:chgData name="Manal El Bakkouri" userId="8b130982-2e3f-4164-b881-fd3a2e4b2453" providerId="ADAL" clId="{4457FA57-250B-44AC-8655-05D46C5A3D8A}" dt="2023-06-06T10:10:04.575" v="9406" actId="403"/>
          <ac:spMkLst>
            <pc:docMk/>
            <pc:sldMk cId="2764590468" sldId="230717695"/>
            <ac:spMk id="6" creationId="{847A92B0-1BA6-406F-89CC-6FCC258A38C9}"/>
          </ac:spMkLst>
        </pc:spChg>
        <pc:spChg chg="add mod topLvl">
          <ac:chgData name="Manal El Bakkouri" userId="8b130982-2e3f-4164-b881-fd3a2e4b2453" providerId="ADAL" clId="{4457FA57-250B-44AC-8655-05D46C5A3D8A}" dt="2023-06-05T14:38:40.006" v="8572" actId="164"/>
          <ac:spMkLst>
            <pc:docMk/>
            <pc:sldMk cId="2764590468" sldId="230717695"/>
            <ac:spMk id="7" creationId="{A95EEB93-170D-4C9E-BA26-9D099421B3CE}"/>
          </ac:spMkLst>
        </pc:spChg>
        <pc:spChg chg="add mod topLvl">
          <ac:chgData name="Manal El Bakkouri" userId="8b130982-2e3f-4164-b881-fd3a2e4b2453" providerId="ADAL" clId="{4457FA57-250B-44AC-8655-05D46C5A3D8A}" dt="2023-06-05T14:38:40.006" v="8572" actId="164"/>
          <ac:spMkLst>
            <pc:docMk/>
            <pc:sldMk cId="2764590468" sldId="230717695"/>
            <ac:spMk id="8" creationId="{734BC65F-8BFB-4EB2-9364-5D654AE6BDE0}"/>
          </ac:spMkLst>
        </pc:spChg>
        <pc:spChg chg="add mod topLvl">
          <ac:chgData name="Manal El Bakkouri" userId="8b130982-2e3f-4164-b881-fd3a2e4b2453" providerId="ADAL" clId="{4457FA57-250B-44AC-8655-05D46C5A3D8A}" dt="2023-06-05T14:38:40.006" v="8572" actId="164"/>
          <ac:spMkLst>
            <pc:docMk/>
            <pc:sldMk cId="2764590468" sldId="230717695"/>
            <ac:spMk id="9" creationId="{702F4C0F-8852-4836-AE77-E6E9D5E6992A}"/>
          </ac:spMkLst>
        </pc:spChg>
        <pc:spChg chg="add mod topLvl">
          <ac:chgData name="Manal El Bakkouri" userId="8b130982-2e3f-4164-b881-fd3a2e4b2453" providerId="ADAL" clId="{4457FA57-250B-44AC-8655-05D46C5A3D8A}" dt="2023-06-05T14:38:40.006" v="8572" actId="164"/>
          <ac:spMkLst>
            <pc:docMk/>
            <pc:sldMk cId="2764590468" sldId="230717695"/>
            <ac:spMk id="10" creationId="{38934224-B71F-434C-A864-E99EC74725AD}"/>
          </ac:spMkLst>
        </pc:spChg>
        <pc:spChg chg="add mod topLvl">
          <ac:chgData name="Manal El Bakkouri" userId="8b130982-2e3f-4164-b881-fd3a2e4b2453" providerId="ADAL" clId="{4457FA57-250B-44AC-8655-05D46C5A3D8A}" dt="2023-06-06T10:10:09.561" v="9408" actId="403"/>
          <ac:spMkLst>
            <pc:docMk/>
            <pc:sldMk cId="2764590468" sldId="230717695"/>
            <ac:spMk id="11" creationId="{05559567-EADE-4F96-AFB6-612F49969B5A}"/>
          </ac:spMkLst>
        </pc:spChg>
        <pc:spChg chg="add mod topLvl">
          <ac:chgData name="Manal El Bakkouri" userId="8b130982-2e3f-4164-b881-fd3a2e4b2453" providerId="ADAL" clId="{4457FA57-250B-44AC-8655-05D46C5A3D8A}" dt="2023-06-05T14:38:13.418" v="8549" actId="164"/>
          <ac:spMkLst>
            <pc:docMk/>
            <pc:sldMk cId="2764590468" sldId="230717695"/>
            <ac:spMk id="12" creationId="{8D4CCD11-0DF2-4583-9427-DF84CDEACDF1}"/>
          </ac:spMkLst>
        </pc:spChg>
        <pc:spChg chg="add mod topLvl">
          <ac:chgData name="Manal El Bakkouri" userId="8b130982-2e3f-4164-b881-fd3a2e4b2453" providerId="ADAL" clId="{4457FA57-250B-44AC-8655-05D46C5A3D8A}" dt="2023-06-05T14:38:13.418" v="8549" actId="164"/>
          <ac:spMkLst>
            <pc:docMk/>
            <pc:sldMk cId="2764590468" sldId="230717695"/>
            <ac:spMk id="13" creationId="{91C48917-6D4B-4ED9-A591-EC9CA61939AF}"/>
          </ac:spMkLst>
        </pc:spChg>
        <pc:spChg chg="add mod topLvl">
          <ac:chgData name="Manal El Bakkouri" userId="8b130982-2e3f-4164-b881-fd3a2e4b2453" providerId="ADAL" clId="{4457FA57-250B-44AC-8655-05D46C5A3D8A}" dt="2023-06-05T14:38:13.418" v="8549" actId="164"/>
          <ac:spMkLst>
            <pc:docMk/>
            <pc:sldMk cId="2764590468" sldId="230717695"/>
            <ac:spMk id="14" creationId="{1935FB17-4D7C-4977-9CEA-50E4075324C7}"/>
          </ac:spMkLst>
        </pc:spChg>
        <pc:spChg chg="add mod topLvl">
          <ac:chgData name="Manal El Bakkouri" userId="8b130982-2e3f-4164-b881-fd3a2e4b2453" providerId="ADAL" clId="{4457FA57-250B-44AC-8655-05D46C5A3D8A}" dt="2023-06-05T14:38:13.418" v="8549" actId="164"/>
          <ac:spMkLst>
            <pc:docMk/>
            <pc:sldMk cId="2764590468" sldId="230717695"/>
            <ac:spMk id="15" creationId="{253599BA-DA44-4F68-A3E2-0424016142D9}"/>
          </ac:spMkLst>
        </pc:spChg>
        <pc:spChg chg="add mod topLvl">
          <ac:chgData name="Manal El Bakkouri" userId="8b130982-2e3f-4164-b881-fd3a2e4b2453" providerId="ADAL" clId="{4457FA57-250B-44AC-8655-05D46C5A3D8A}" dt="2023-06-06T10:10:12.527" v="9410" actId="403"/>
          <ac:spMkLst>
            <pc:docMk/>
            <pc:sldMk cId="2764590468" sldId="230717695"/>
            <ac:spMk id="16" creationId="{6660C3ED-F0B9-49FF-8B7C-93467C01634F}"/>
          </ac:spMkLst>
        </pc:spChg>
        <pc:spChg chg="add mod topLvl">
          <ac:chgData name="Manal El Bakkouri" userId="8b130982-2e3f-4164-b881-fd3a2e4b2453" providerId="ADAL" clId="{4457FA57-250B-44AC-8655-05D46C5A3D8A}" dt="2023-06-05T14:38:01.415" v="8548" actId="164"/>
          <ac:spMkLst>
            <pc:docMk/>
            <pc:sldMk cId="2764590468" sldId="230717695"/>
            <ac:spMk id="17" creationId="{EFC7C330-8152-454C-8D77-A36517F5F2DA}"/>
          </ac:spMkLst>
        </pc:spChg>
        <pc:spChg chg="add mod topLvl">
          <ac:chgData name="Manal El Bakkouri" userId="8b130982-2e3f-4164-b881-fd3a2e4b2453" providerId="ADAL" clId="{4457FA57-250B-44AC-8655-05D46C5A3D8A}" dt="2023-06-05T14:38:01.415" v="8548" actId="164"/>
          <ac:spMkLst>
            <pc:docMk/>
            <pc:sldMk cId="2764590468" sldId="230717695"/>
            <ac:spMk id="18" creationId="{49BD0CDE-2F8E-4BE1-ACE4-EBCF5DF159AA}"/>
          </ac:spMkLst>
        </pc:spChg>
        <pc:spChg chg="add del mod topLvl">
          <ac:chgData name="Manal El Bakkouri" userId="8b130982-2e3f-4164-b881-fd3a2e4b2453" providerId="ADAL" clId="{4457FA57-250B-44AC-8655-05D46C5A3D8A}" dt="2023-06-04T11:19:26.630" v="6696" actId="478"/>
          <ac:spMkLst>
            <pc:docMk/>
            <pc:sldMk cId="2764590468" sldId="230717695"/>
            <ac:spMk id="19" creationId="{BBFC741E-1F24-4F88-9E8B-E8438070A067}"/>
          </ac:spMkLst>
        </pc:spChg>
        <pc:spChg chg="add mod topLvl">
          <ac:chgData name="Manal El Bakkouri" userId="8b130982-2e3f-4164-b881-fd3a2e4b2453" providerId="ADAL" clId="{4457FA57-250B-44AC-8655-05D46C5A3D8A}" dt="2023-06-05T14:38:01.415" v="8548" actId="164"/>
          <ac:spMkLst>
            <pc:docMk/>
            <pc:sldMk cId="2764590468" sldId="230717695"/>
            <ac:spMk id="20" creationId="{CE36917F-EEAD-4AB3-895E-E637BDF9757F}"/>
          </ac:spMkLst>
        </pc:spChg>
        <pc:spChg chg="add mod topLvl">
          <ac:chgData name="Manal El Bakkouri" userId="8b130982-2e3f-4164-b881-fd3a2e4b2453" providerId="ADAL" clId="{4457FA57-250B-44AC-8655-05D46C5A3D8A}" dt="2023-06-05T14:38:01.415" v="8548" actId="164"/>
          <ac:spMkLst>
            <pc:docMk/>
            <pc:sldMk cId="2764590468" sldId="230717695"/>
            <ac:spMk id="21" creationId="{C59DF20A-C5A2-4FD3-986D-13F3DAAF0435}"/>
          </ac:spMkLst>
        </pc:spChg>
        <pc:spChg chg="add del mod topLvl">
          <ac:chgData name="Manal El Bakkouri" userId="8b130982-2e3f-4164-b881-fd3a2e4b2453" providerId="ADAL" clId="{4457FA57-250B-44AC-8655-05D46C5A3D8A}" dt="2023-06-04T11:17:36.640" v="6675" actId="478"/>
          <ac:spMkLst>
            <pc:docMk/>
            <pc:sldMk cId="2764590468" sldId="230717695"/>
            <ac:spMk id="22" creationId="{A8D88D36-B8FE-4762-B4FE-498FBB691C20}"/>
          </ac:spMkLst>
        </pc:spChg>
        <pc:spChg chg="add del mod topLvl">
          <ac:chgData name="Manal El Bakkouri" userId="8b130982-2e3f-4164-b881-fd3a2e4b2453" providerId="ADAL" clId="{4457FA57-250B-44AC-8655-05D46C5A3D8A}" dt="2023-06-04T11:08:15.045" v="6638" actId="21"/>
          <ac:spMkLst>
            <pc:docMk/>
            <pc:sldMk cId="2764590468" sldId="230717695"/>
            <ac:spMk id="23" creationId="{BCD5F7F6-166E-46A5-A56A-07FEF7D5DEF0}"/>
          </ac:spMkLst>
        </pc:spChg>
        <pc:spChg chg="add del mod">
          <ac:chgData name="Manal El Bakkouri" userId="8b130982-2e3f-4164-b881-fd3a2e4b2453" providerId="ADAL" clId="{4457FA57-250B-44AC-8655-05D46C5A3D8A}" dt="2023-06-04T11:08:21.671" v="6641" actId="478"/>
          <ac:spMkLst>
            <pc:docMk/>
            <pc:sldMk cId="2764590468" sldId="230717695"/>
            <ac:spMk id="27" creationId="{BD6017D8-A80E-4ED7-BB5C-69763AC44224}"/>
          </ac:spMkLst>
        </pc:spChg>
        <pc:spChg chg="add mod">
          <ac:chgData name="Manal El Bakkouri" userId="8b130982-2e3f-4164-b881-fd3a2e4b2453" providerId="ADAL" clId="{4457FA57-250B-44AC-8655-05D46C5A3D8A}" dt="2023-06-04T11:22:55.282" v="6731" actId="208"/>
          <ac:spMkLst>
            <pc:docMk/>
            <pc:sldMk cId="2764590468" sldId="230717695"/>
            <ac:spMk id="28" creationId="{CBF25018-0997-4B99-A20A-06F8D8F7E299}"/>
          </ac:spMkLst>
        </pc:spChg>
        <pc:spChg chg="add mod">
          <ac:chgData name="Manal El Bakkouri" userId="8b130982-2e3f-4164-b881-fd3a2e4b2453" providerId="ADAL" clId="{4457FA57-250B-44AC-8655-05D46C5A3D8A}" dt="2023-06-04T11:23:22.505" v="6741" actId="208"/>
          <ac:spMkLst>
            <pc:docMk/>
            <pc:sldMk cId="2764590468" sldId="230717695"/>
            <ac:spMk id="32" creationId="{D6E0D87B-6449-4D24-967B-D2AE87C5F393}"/>
          </ac:spMkLst>
        </pc:spChg>
        <pc:spChg chg="add del mod">
          <ac:chgData name="Manal El Bakkouri" userId="8b130982-2e3f-4164-b881-fd3a2e4b2453" providerId="ADAL" clId="{4457FA57-250B-44AC-8655-05D46C5A3D8A}" dt="2023-06-09T11:31:12.804" v="21792"/>
          <ac:spMkLst>
            <pc:docMk/>
            <pc:sldMk cId="2764590468" sldId="230717695"/>
            <ac:spMk id="34" creationId="{D745DE7C-3139-494A-9181-6C0BFAAABC1F}"/>
          </ac:spMkLst>
        </pc:spChg>
        <pc:spChg chg="add mod">
          <ac:chgData name="Manal El Bakkouri" userId="8b130982-2e3f-4164-b881-fd3a2e4b2453" providerId="ADAL" clId="{4457FA57-250B-44AC-8655-05D46C5A3D8A}" dt="2023-06-04T11:23:25.583" v="6742" actId="208"/>
          <ac:spMkLst>
            <pc:docMk/>
            <pc:sldMk cId="2764590468" sldId="230717695"/>
            <ac:spMk id="36" creationId="{DABCFAD3-C632-4694-BFB8-08A62AE859E8}"/>
          </ac:spMkLst>
        </pc:spChg>
        <pc:spChg chg="add mod">
          <ac:chgData name="Manal El Bakkouri" userId="8b130982-2e3f-4164-b881-fd3a2e4b2453" providerId="ADAL" clId="{4457FA57-250B-44AC-8655-05D46C5A3D8A}" dt="2023-06-04T13:14:51.607" v="7766" actId="20577"/>
          <ac:spMkLst>
            <pc:docMk/>
            <pc:sldMk cId="2764590468" sldId="230717695"/>
            <ac:spMk id="39" creationId="{7C4DA9F1-C32D-4A97-97FC-1856D28FDB1E}"/>
          </ac:spMkLst>
        </pc:spChg>
        <pc:spChg chg="add del mod">
          <ac:chgData name="Manal El Bakkouri" userId="8b130982-2e3f-4164-b881-fd3a2e4b2453" providerId="ADAL" clId="{4457FA57-250B-44AC-8655-05D46C5A3D8A}" dt="2023-06-09T11:31:12.804" v="21792"/>
          <ac:spMkLst>
            <pc:docMk/>
            <pc:sldMk cId="2764590468" sldId="230717695"/>
            <ac:spMk id="43" creationId="{CA45713E-C0EF-4DCF-959A-69DB95D5E025}"/>
          </ac:spMkLst>
        </pc:spChg>
        <pc:spChg chg="add del mod">
          <ac:chgData name="Manal El Bakkouri" userId="8b130982-2e3f-4164-b881-fd3a2e4b2453" providerId="ADAL" clId="{4457FA57-250B-44AC-8655-05D46C5A3D8A}" dt="2023-06-09T11:31:12.804" v="21792"/>
          <ac:spMkLst>
            <pc:docMk/>
            <pc:sldMk cId="2764590468" sldId="230717695"/>
            <ac:spMk id="44" creationId="{A9556D22-3DA6-46AC-9EAA-B7576DC55AF8}"/>
          </ac:spMkLst>
        </pc:spChg>
        <pc:spChg chg="add del mod">
          <ac:chgData name="Manal El Bakkouri" userId="8b130982-2e3f-4164-b881-fd3a2e4b2453" providerId="ADAL" clId="{4457FA57-250B-44AC-8655-05D46C5A3D8A}" dt="2023-06-09T11:31:12.804" v="21792"/>
          <ac:spMkLst>
            <pc:docMk/>
            <pc:sldMk cId="2764590468" sldId="230717695"/>
            <ac:spMk id="45" creationId="{F31DD574-E571-40BD-9A9D-513BFD405FBA}"/>
          </ac:spMkLst>
        </pc:spChg>
        <pc:spChg chg="add mod">
          <ac:chgData name="Manal El Bakkouri" userId="8b130982-2e3f-4164-b881-fd3a2e4b2453" providerId="ADAL" clId="{4457FA57-250B-44AC-8655-05D46C5A3D8A}" dt="2023-06-09T11:31:48.835" v="21808" actId="20577"/>
          <ac:spMkLst>
            <pc:docMk/>
            <pc:sldMk cId="2764590468" sldId="230717695"/>
            <ac:spMk id="46" creationId="{F12C50F1-386E-4B89-8F56-E6F374FE83D7}"/>
          </ac:spMkLst>
        </pc:spChg>
        <pc:spChg chg="add mod">
          <ac:chgData name="Manal El Bakkouri" userId="8b130982-2e3f-4164-b881-fd3a2e4b2453" providerId="ADAL" clId="{4457FA57-250B-44AC-8655-05D46C5A3D8A}" dt="2023-06-09T14:21:43.169" v="21857" actId="408"/>
          <ac:spMkLst>
            <pc:docMk/>
            <pc:sldMk cId="2764590468" sldId="230717695"/>
            <ac:spMk id="47" creationId="{A561F1DD-79E4-43C4-B8D8-1BF2C088A287}"/>
          </ac:spMkLst>
        </pc:spChg>
        <pc:spChg chg="add mod">
          <ac:chgData name="Manal El Bakkouri" userId="8b130982-2e3f-4164-b881-fd3a2e4b2453" providerId="ADAL" clId="{4457FA57-250B-44AC-8655-05D46C5A3D8A}" dt="2023-06-09T11:31:17.662" v="21795"/>
          <ac:spMkLst>
            <pc:docMk/>
            <pc:sldMk cId="2764590468" sldId="230717695"/>
            <ac:spMk id="48" creationId="{10246E12-730F-4D35-9592-C9B8E1562F37}"/>
          </ac:spMkLst>
        </pc:spChg>
        <pc:spChg chg="add mod">
          <ac:chgData name="Manal El Bakkouri" userId="8b130982-2e3f-4164-b881-fd3a2e4b2453" providerId="ADAL" clId="{4457FA57-250B-44AC-8655-05D46C5A3D8A}" dt="2023-06-09T14:21:43.169" v="21857" actId="408"/>
          <ac:spMkLst>
            <pc:docMk/>
            <pc:sldMk cId="2764590468" sldId="230717695"/>
            <ac:spMk id="49" creationId="{9A86F34B-4D97-4CA5-9737-69AC737FD985}"/>
          </ac:spMkLst>
        </pc:spChg>
        <pc:spChg chg="add mod">
          <ac:chgData name="Manal El Bakkouri" userId="8b130982-2e3f-4164-b881-fd3a2e4b2453" providerId="ADAL" clId="{4457FA57-250B-44AC-8655-05D46C5A3D8A}" dt="2023-06-09T11:31:25.007" v="21797" actId="571"/>
          <ac:spMkLst>
            <pc:docMk/>
            <pc:sldMk cId="2764590468" sldId="230717695"/>
            <ac:spMk id="50" creationId="{EBC6228C-BD13-42B3-9603-A17EA24140CE}"/>
          </ac:spMkLst>
        </pc:spChg>
        <pc:grpChg chg="add del mod">
          <ac:chgData name="Manal El Bakkouri" userId="8b130982-2e3f-4164-b881-fd3a2e4b2453" providerId="ADAL" clId="{4457FA57-250B-44AC-8655-05D46C5A3D8A}" dt="2023-06-04T11:06:34.100" v="6626" actId="165"/>
          <ac:grpSpMkLst>
            <pc:docMk/>
            <pc:sldMk cId="2764590468" sldId="230717695"/>
            <ac:grpSpMk id="24" creationId="{98AED4B2-C0A4-46DF-BAEE-5255084B297A}"/>
          </ac:grpSpMkLst>
        </pc:grpChg>
        <pc:grpChg chg="add mod">
          <ac:chgData name="Manal El Bakkouri" userId="8b130982-2e3f-4164-b881-fd3a2e4b2453" providerId="ADAL" clId="{4457FA57-250B-44AC-8655-05D46C5A3D8A}" dt="2023-06-05T14:38:40.006" v="8572" actId="164"/>
          <ac:grpSpMkLst>
            <pc:docMk/>
            <pc:sldMk cId="2764590468" sldId="230717695"/>
            <ac:grpSpMk id="29" creationId="{AED4052F-929C-4370-A9FE-486E0BF80107}"/>
          </ac:grpSpMkLst>
        </pc:grpChg>
        <pc:grpChg chg="add mod">
          <ac:chgData name="Manal El Bakkouri" userId="8b130982-2e3f-4164-b881-fd3a2e4b2453" providerId="ADAL" clId="{4457FA57-250B-44AC-8655-05D46C5A3D8A}" dt="2023-06-05T14:38:13.418" v="8549" actId="164"/>
          <ac:grpSpMkLst>
            <pc:docMk/>
            <pc:sldMk cId="2764590468" sldId="230717695"/>
            <ac:grpSpMk id="33" creationId="{2C647C21-2494-49A4-A02C-B1E3415ACB37}"/>
          </ac:grpSpMkLst>
        </pc:grpChg>
        <pc:grpChg chg="add mod">
          <ac:chgData name="Manal El Bakkouri" userId="8b130982-2e3f-4164-b881-fd3a2e4b2453" providerId="ADAL" clId="{4457FA57-250B-44AC-8655-05D46C5A3D8A}" dt="2023-06-05T14:38:01.415" v="8548" actId="164"/>
          <ac:grpSpMkLst>
            <pc:docMk/>
            <pc:sldMk cId="2764590468" sldId="230717695"/>
            <ac:grpSpMk id="37" creationId="{C9755054-1EE6-4375-BF88-AF490537E022}"/>
          </ac:grpSpMkLst>
        </pc:grpChg>
        <pc:grpChg chg="add mod">
          <ac:chgData name="Manal El Bakkouri" userId="8b130982-2e3f-4164-b881-fd3a2e4b2453" providerId="ADAL" clId="{4457FA57-250B-44AC-8655-05D46C5A3D8A}" dt="2023-06-09T14:21:45.502" v="21858" actId="1035"/>
          <ac:grpSpMkLst>
            <pc:docMk/>
            <pc:sldMk cId="2764590468" sldId="230717695"/>
            <ac:grpSpMk id="40" creationId="{54ABA50C-86B2-4275-953A-C2598CDDF7CC}"/>
          </ac:grpSpMkLst>
        </pc:grpChg>
        <pc:grpChg chg="add mod">
          <ac:chgData name="Manal El Bakkouri" userId="8b130982-2e3f-4164-b881-fd3a2e4b2453" providerId="ADAL" clId="{4457FA57-250B-44AC-8655-05D46C5A3D8A}" dt="2023-06-09T14:21:45.502" v="21858" actId="1035"/>
          <ac:grpSpMkLst>
            <pc:docMk/>
            <pc:sldMk cId="2764590468" sldId="230717695"/>
            <ac:grpSpMk id="41" creationId="{4BC33681-33EF-4BF4-AF20-4B5E4BA642B8}"/>
          </ac:grpSpMkLst>
        </pc:grpChg>
        <pc:grpChg chg="add mod">
          <ac:chgData name="Manal El Bakkouri" userId="8b130982-2e3f-4164-b881-fd3a2e4b2453" providerId="ADAL" clId="{4457FA57-250B-44AC-8655-05D46C5A3D8A}" dt="2023-06-09T14:21:45.502" v="21858" actId="1035"/>
          <ac:grpSpMkLst>
            <pc:docMk/>
            <pc:sldMk cId="2764590468" sldId="230717695"/>
            <ac:grpSpMk id="42" creationId="{5B865F31-7D89-4D58-BA48-2A35B33F67D2}"/>
          </ac:grpSpMkLst>
        </pc:grpChg>
        <pc:picChg chg="add mod">
          <ac:chgData name="Manal El Bakkouri" userId="8b130982-2e3f-4164-b881-fd3a2e4b2453" providerId="ADAL" clId="{4457FA57-250B-44AC-8655-05D46C5A3D8A}" dt="2023-06-04T11:23:00.368" v="6732" actId="207"/>
          <ac:picMkLst>
            <pc:docMk/>
            <pc:sldMk cId="2764590468" sldId="230717695"/>
            <ac:picMk id="26" creationId="{1EF00B20-2FC8-456B-94DC-6AC48D4E5B63}"/>
          </ac:picMkLst>
        </pc:picChg>
        <pc:picChg chg="add mod">
          <ac:chgData name="Manal El Bakkouri" userId="8b130982-2e3f-4164-b881-fd3a2e4b2453" providerId="ADAL" clId="{4457FA57-250B-44AC-8655-05D46C5A3D8A}" dt="2023-06-04T11:23:16.044" v="6739" actId="207"/>
          <ac:picMkLst>
            <pc:docMk/>
            <pc:sldMk cId="2764590468" sldId="230717695"/>
            <ac:picMk id="31" creationId="{14C41D92-A78C-447B-8C43-7BDCE007C795}"/>
          </ac:picMkLst>
        </pc:picChg>
        <pc:picChg chg="add mod">
          <ac:chgData name="Manal El Bakkouri" userId="8b130982-2e3f-4164-b881-fd3a2e4b2453" providerId="ADAL" clId="{4457FA57-250B-44AC-8655-05D46C5A3D8A}" dt="2023-06-04T11:23:30.418" v="6743" actId="207"/>
          <ac:picMkLst>
            <pc:docMk/>
            <pc:sldMk cId="2764590468" sldId="230717695"/>
            <ac:picMk id="35" creationId="{482F73D0-6F71-43FA-B131-41EE1769971F}"/>
          </ac:picMkLst>
        </pc:picChg>
        <pc:picChg chg="add mod ord">
          <ac:chgData name="Manal El Bakkouri" userId="8b130982-2e3f-4164-b881-fd3a2e4b2453" providerId="ADAL" clId="{4457FA57-250B-44AC-8655-05D46C5A3D8A}" dt="2023-06-04T11:24:07.543" v="6746" actId="167"/>
          <ac:picMkLst>
            <pc:docMk/>
            <pc:sldMk cId="2764590468" sldId="230717695"/>
            <ac:picMk id="38" creationId="{88FEB537-EC55-4150-A542-18D9FF0ABEF4}"/>
          </ac:picMkLst>
        </pc:picChg>
      </pc:sldChg>
      <pc:sldChg chg="addSp delSp modSp new mod ord">
        <pc:chgData name="Manal El Bakkouri" userId="8b130982-2e3f-4164-b881-fd3a2e4b2453" providerId="ADAL" clId="{4457FA57-250B-44AC-8655-05D46C5A3D8A}" dt="2023-06-09T15:04:37.317" v="22856" actId="1038"/>
        <pc:sldMkLst>
          <pc:docMk/>
          <pc:sldMk cId="1443789472" sldId="230717696"/>
        </pc:sldMkLst>
        <pc:spChg chg="add mod topLvl">
          <ac:chgData name="Manal El Bakkouri" userId="8b130982-2e3f-4164-b881-fd3a2e4b2453" providerId="ADAL" clId="{4457FA57-250B-44AC-8655-05D46C5A3D8A}" dt="2023-06-09T15:04:37.317" v="22856" actId="1038"/>
          <ac:spMkLst>
            <pc:docMk/>
            <pc:sldMk cId="1443789472" sldId="230717696"/>
            <ac:spMk id="2" creationId="{9EEF47B3-7457-4DEB-B01C-DA060CD67828}"/>
          </ac:spMkLst>
        </pc:spChg>
        <pc:spChg chg="del">
          <ac:chgData name="Manal El Bakkouri" userId="8b130982-2e3f-4164-b881-fd3a2e4b2453" providerId="ADAL" clId="{4457FA57-250B-44AC-8655-05D46C5A3D8A}" dt="2023-06-04T11:53:39.951" v="6994" actId="478"/>
          <ac:spMkLst>
            <pc:docMk/>
            <pc:sldMk cId="1443789472" sldId="230717696"/>
            <ac:spMk id="2" creationId="{C07B36A6-110C-478A-9891-58EA6F868BF2}"/>
          </ac:spMkLst>
        </pc:spChg>
        <pc:spChg chg="del">
          <ac:chgData name="Manal El Bakkouri" userId="8b130982-2e3f-4164-b881-fd3a2e4b2453" providerId="ADAL" clId="{4457FA57-250B-44AC-8655-05D46C5A3D8A}" dt="2023-06-04T11:53:40.984" v="6995" actId="478"/>
          <ac:spMkLst>
            <pc:docMk/>
            <pc:sldMk cId="1443789472" sldId="230717696"/>
            <ac:spMk id="3" creationId="{4A71FA9C-A34F-49DE-91EE-414C336C118A}"/>
          </ac:spMkLst>
        </pc:spChg>
        <pc:spChg chg="del mod">
          <ac:chgData name="Manal El Bakkouri" userId="8b130982-2e3f-4164-b881-fd3a2e4b2453" providerId="ADAL" clId="{4457FA57-250B-44AC-8655-05D46C5A3D8A}" dt="2023-06-04T11:53:42.495" v="6997" actId="478"/>
          <ac:spMkLst>
            <pc:docMk/>
            <pc:sldMk cId="1443789472" sldId="230717696"/>
            <ac:spMk id="4" creationId="{C548A391-58A2-48A2-8479-B87189BDD91E}"/>
          </ac:spMkLst>
        </pc:spChg>
        <pc:spChg chg="add del mod">
          <ac:chgData name="Manal El Bakkouri" userId="8b130982-2e3f-4164-b881-fd3a2e4b2453" providerId="ADAL" clId="{4457FA57-250B-44AC-8655-05D46C5A3D8A}" dt="2023-06-04T11:56:32.892" v="6999"/>
          <ac:spMkLst>
            <pc:docMk/>
            <pc:sldMk cId="1443789472" sldId="230717696"/>
            <ac:spMk id="5" creationId="{68DF423C-B28B-4E15-9165-9238467EDBAC}"/>
          </ac:spMkLst>
        </pc:spChg>
        <pc:spChg chg="add del mod">
          <ac:chgData name="Manal El Bakkouri" userId="8b130982-2e3f-4164-b881-fd3a2e4b2453" providerId="ADAL" clId="{4457FA57-250B-44AC-8655-05D46C5A3D8A}" dt="2023-06-04T11:56:32.892" v="6999"/>
          <ac:spMkLst>
            <pc:docMk/>
            <pc:sldMk cId="1443789472" sldId="230717696"/>
            <ac:spMk id="6" creationId="{109FDE5F-A53A-4759-AF55-7275AA90B8FB}"/>
          </ac:spMkLst>
        </pc:spChg>
        <pc:spChg chg="add del mod">
          <ac:chgData name="Manal El Bakkouri" userId="8b130982-2e3f-4164-b881-fd3a2e4b2453" providerId="ADAL" clId="{4457FA57-250B-44AC-8655-05D46C5A3D8A}" dt="2023-06-04T11:56:32.892" v="6999"/>
          <ac:spMkLst>
            <pc:docMk/>
            <pc:sldMk cId="1443789472" sldId="230717696"/>
            <ac:spMk id="7" creationId="{A04D1BB2-500A-445D-9086-B7B5B94B4D64}"/>
          </ac:spMkLst>
        </pc:spChg>
        <pc:spChg chg="add del mod">
          <ac:chgData name="Manal El Bakkouri" userId="8b130982-2e3f-4164-b881-fd3a2e4b2453" providerId="ADAL" clId="{4457FA57-250B-44AC-8655-05D46C5A3D8A}" dt="2023-06-04T11:56:32.892" v="6999"/>
          <ac:spMkLst>
            <pc:docMk/>
            <pc:sldMk cId="1443789472" sldId="230717696"/>
            <ac:spMk id="8" creationId="{3E28C6B9-EB84-4B3F-B330-632C32343AA2}"/>
          </ac:spMkLst>
        </pc:spChg>
        <pc:spChg chg="add del mod">
          <ac:chgData name="Manal El Bakkouri" userId="8b130982-2e3f-4164-b881-fd3a2e4b2453" providerId="ADAL" clId="{4457FA57-250B-44AC-8655-05D46C5A3D8A}" dt="2023-06-04T11:56:32.892" v="6999"/>
          <ac:spMkLst>
            <pc:docMk/>
            <pc:sldMk cId="1443789472" sldId="230717696"/>
            <ac:spMk id="9" creationId="{7B308EB0-6A4E-4A2C-9275-07DB429A3B22}"/>
          </ac:spMkLst>
        </pc:spChg>
        <pc:spChg chg="add del mod">
          <ac:chgData name="Manal El Bakkouri" userId="8b130982-2e3f-4164-b881-fd3a2e4b2453" providerId="ADAL" clId="{4457FA57-250B-44AC-8655-05D46C5A3D8A}" dt="2023-06-04T11:56:32.892" v="6999"/>
          <ac:spMkLst>
            <pc:docMk/>
            <pc:sldMk cId="1443789472" sldId="230717696"/>
            <ac:spMk id="10" creationId="{91667F5B-DA6F-4BE9-814B-2EEA827CB5DE}"/>
          </ac:spMkLst>
        </pc:spChg>
        <pc:spChg chg="add del mod">
          <ac:chgData name="Manal El Bakkouri" userId="8b130982-2e3f-4164-b881-fd3a2e4b2453" providerId="ADAL" clId="{4457FA57-250B-44AC-8655-05D46C5A3D8A}" dt="2023-06-04T11:56:32.892" v="6999"/>
          <ac:spMkLst>
            <pc:docMk/>
            <pc:sldMk cId="1443789472" sldId="230717696"/>
            <ac:spMk id="11" creationId="{92F36890-8B7A-4B33-9AFD-C28AE966BCAC}"/>
          </ac:spMkLst>
        </pc:spChg>
        <pc:spChg chg="add del mod">
          <ac:chgData name="Manal El Bakkouri" userId="8b130982-2e3f-4164-b881-fd3a2e4b2453" providerId="ADAL" clId="{4457FA57-250B-44AC-8655-05D46C5A3D8A}" dt="2023-06-04T11:56:32.892" v="6999"/>
          <ac:spMkLst>
            <pc:docMk/>
            <pc:sldMk cId="1443789472" sldId="230717696"/>
            <ac:spMk id="12" creationId="{BEF91C9C-871C-4C32-9ABC-2564931CE772}"/>
          </ac:spMkLst>
        </pc:spChg>
        <pc:spChg chg="add del mod">
          <ac:chgData name="Manal El Bakkouri" userId="8b130982-2e3f-4164-b881-fd3a2e4b2453" providerId="ADAL" clId="{4457FA57-250B-44AC-8655-05D46C5A3D8A}" dt="2023-06-04T11:56:32.892" v="6999"/>
          <ac:spMkLst>
            <pc:docMk/>
            <pc:sldMk cId="1443789472" sldId="230717696"/>
            <ac:spMk id="13" creationId="{9BBD7A34-73A7-47AA-9EE4-BE5C2416B257}"/>
          </ac:spMkLst>
        </pc:spChg>
        <pc:spChg chg="add del mod">
          <ac:chgData name="Manal El Bakkouri" userId="8b130982-2e3f-4164-b881-fd3a2e4b2453" providerId="ADAL" clId="{4457FA57-250B-44AC-8655-05D46C5A3D8A}" dt="2023-06-04T11:56:32.892" v="6999"/>
          <ac:spMkLst>
            <pc:docMk/>
            <pc:sldMk cId="1443789472" sldId="230717696"/>
            <ac:spMk id="14" creationId="{73618A8E-96E1-4F53-B379-1C1543925596}"/>
          </ac:spMkLst>
        </pc:spChg>
        <pc:spChg chg="add del mod">
          <ac:chgData name="Manal El Bakkouri" userId="8b130982-2e3f-4164-b881-fd3a2e4b2453" providerId="ADAL" clId="{4457FA57-250B-44AC-8655-05D46C5A3D8A}" dt="2023-06-04T11:56:32.892" v="6999"/>
          <ac:spMkLst>
            <pc:docMk/>
            <pc:sldMk cId="1443789472" sldId="230717696"/>
            <ac:spMk id="15" creationId="{94C0DEDE-DF4B-4178-BAD9-E38B4A36EAEA}"/>
          </ac:spMkLst>
        </pc:spChg>
        <pc:spChg chg="add del mod">
          <ac:chgData name="Manal El Bakkouri" userId="8b130982-2e3f-4164-b881-fd3a2e4b2453" providerId="ADAL" clId="{4457FA57-250B-44AC-8655-05D46C5A3D8A}" dt="2023-06-04T11:56:32.892" v="6999"/>
          <ac:spMkLst>
            <pc:docMk/>
            <pc:sldMk cId="1443789472" sldId="230717696"/>
            <ac:spMk id="16" creationId="{E76EAE53-64F4-4719-8E4C-55BF6E80467D}"/>
          </ac:spMkLst>
        </pc:spChg>
        <pc:spChg chg="add del mod">
          <ac:chgData name="Manal El Bakkouri" userId="8b130982-2e3f-4164-b881-fd3a2e4b2453" providerId="ADAL" clId="{4457FA57-250B-44AC-8655-05D46C5A3D8A}" dt="2023-06-04T11:56:32.892" v="6999"/>
          <ac:spMkLst>
            <pc:docMk/>
            <pc:sldMk cId="1443789472" sldId="230717696"/>
            <ac:spMk id="17" creationId="{F7578338-0186-47B3-95C4-B77398077651}"/>
          </ac:spMkLst>
        </pc:spChg>
        <pc:spChg chg="add del mod">
          <ac:chgData name="Manal El Bakkouri" userId="8b130982-2e3f-4164-b881-fd3a2e4b2453" providerId="ADAL" clId="{4457FA57-250B-44AC-8655-05D46C5A3D8A}" dt="2023-06-04T11:56:32.892" v="6999"/>
          <ac:spMkLst>
            <pc:docMk/>
            <pc:sldMk cId="1443789472" sldId="230717696"/>
            <ac:spMk id="18" creationId="{BAF858AD-577A-4532-A3B4-DC5E0EB24ABD}"/>
          </ac:spMkLst>
        </pc:spChg>
        <pc:spChg chg="add del mod">
          <ac:chgData name="Manal El Bakkouri" userId="8b130982-2e3f-4164-b881-fd3a2e4b2453" providerId="ADAL" clId="{4457FA57-250B-44AC-8655-05D46C5A3D8A}" dt="2023-06-04T11:56:32.892" v="6999"/>
          <ac:spMkLst>
            <pc:docMk/>
            <pc:sldMk cId="1443789472" sldId="230717696"/>
            <ac:spMk id="19" creationId="{25A67F17-E0A1-45F0-9CE4-E95D90085550}"/>
          </ac:spMkLst>
        </pc:spChg>
        <pc:spChg chg="add del mod">
          <ac:chgData name="Manal El Bakkouri" userId="8b130982-2e3f-4164-b881-fd3a2e4b2453" providerId="ADAL" clId="{4457FA57-250B-44AC-8655-05D46C5A3D8A}" dt="2023-06-04T11:56:32.892" v="6999"/>
          <ac:spMkLst>
            <pc:docMk/>
            <pc:sldMk cId="1443789472" sldId="230717696"/>
            <ac:spMk id="20" creationId="{56E47A20-2CA1-462B-883C-217B90FD216F}"/>
          </ac:spMkLst>
        </pc:spChg>
        <pc:spChg chg="add del mod">
          <ac:chgData name="Manal El Bakkouri" userId="8b130982-2e3f-4164-b881-fd3a2e4b2453" providerId="ADAL" clId="{4457FA57-250B-44AC-8655-05D46C5A3D8A}" dt="2023-06-04T11:56:32.892" v="6999"/>
          <ac:spMkLst>
            <pc:docMk/>
            <pc:sldMk cId="1443789472" sldId="230717696"/>
            <ac:spMk id="21" creationId="{38833601-B01C-4347-B648-94442C67A11C}"/>
          </ac:spMkLst>
        </pc:spChg>
        <pc:spChg chg="add del mod">
          <ac:chgData name="Manal El Bakkouri" userId="8b130982-2e3f-4164-b881-fd3a2e4b2453" providerId="ADAL" clId="{4457FA57-250B-44AC-8655-05D46C5A3D8A}" dt="2023-06-04T11:56:32.892" v="6999"/>
          <ac:spMkLst>
            <pc:docMk/>
            <pc:sldMk cId="1443789472" sldId="230717696"/>
            <ac:spMk id="22" creationId="{31D52B6E-AD6A-416F-B370-49FB600E82C8}"/>
          </ac:spMkLst>
        </pc:spChg>
        <pc:spChg chg="add del mod">
          <ac:chgData name="Manal El Bakkouri" userId="8b130982-2e3f-4164-b881-fd3a2e4b2453" providerId="ADAL" clId="{4457FA57-250B-44AC-8655-05D46C5A3D8A}" dt="2023-06-04T11:56:32.892" v="6999"/>
          <ac:spMkLst>
            <pc:docMk/>
            <pc:sldMk cId="1443789472" sldId="230717696"/>
            <ac:spMk id="23" creationId="{DB2B95CC-48DE-4819-B3B9-5EE43EA4E706}"/>
          </ac:spMkLst>
        </pc:spChg>
        <pc:spChg chg="add del mod">
          <ac:chgData name="Manal El Bakkouri" userId="8b130982-2e3f-4164-b881-fd3a2e4b2453" providerId="ADAL" clId="{4457FA57-250B-44AC-8655-05D46C5A3D8A}" dt="2023-06-04T11:56:32.892" v="6999"/>
          <ac:spMkLst>
            <pc:docMk/>
            <pc:sldMk cId="1443789472" sldId="230717696"/>
            <ac:spMk id="24" creationId="{71948837-7148-425C-958D-3043B0DAD002}"/>
          </ac:spMkLst>
        </pc:spChg>
        <pc:spChg chg="add del mod">
          <ac:chgData name="Manal El Bakkouri" userId="8b130982-2e3f-4164-b881-fd3a2e4b2453" providerId="ADAL" clId="{4457FA57-250B-44AC-8655-05D46C5A3D8A}" dt="2023-06-04T11:56:32.892" v="6999"/>
          <ac:spMkLst>
            <pc:docMk/>
            <pc:sldMk cId="1443789472" sldId="230717696"/>
            <ac:spMk id="25" creationId="{E36C488F-EA95-42DF-9DD9-BC7A6F75779D}"/>
          </ac:spMkLst>
        </pc:spChg>
        <pc:spChg chg="add del mod">
          <ac:chgData name="Manal El Bakkouri" userId="8b130982-2e3f-4164-b881-fd3a2e4b2453" providerId="ADAL" clId="{4457FA57-250B-44AC-8655-05D46C5A3D8A}" dt="2023-06-04T11:56:32.892" v="6999"/>
          <ac:spMkLst>
            <pc:docMk/>
            <pc:sldMk cId="1443789472" sldId="230717696"/>
            <ac:spMk id="26" creationId="{1C5DC0F4-1806-48ED-BE2C-6445393331BA}"/>
          </ac:spMkLst>
        </pc:spChg>
        <pc:spChg chg="add del mod">
          <ac:chgData name="Manal El Bakkouri" userId="8b130982-2e3f-4164-b881-fd3a2e4b2453" providerId="ADAL" clId="{4457FA57-250B-44AC-8655-05D46C5A3D8A}" dt="2023-06-04T11:56:32.892" v="6999"/>
          <ac:spMkLst>
            <pc:docMk/>
            <pc:sldMk cId="1443789472" sldId="230717696"/>
            <ac:spMk id="27" creationId="{F0617BC0-D3E2-42B8-8203-C594C958E2E9}"/>
          </ac:spMkLst>
        </pc:spChg>
        <pc:spChg chg="add del mod">
          <ac:chgData name="Manal El Bakkouri" userId="8b130982-2e3f-4164-b881-fd3a2e4b2453" providerId="ADAL" clId="{4457FA57-250B-44AC-8655-05D46C5A3D8A}" dt="2023-06-04T11:56:32.892" v="6999"/>
          <ac:spMkLst>
            <pc:docMk/>
            <pc:sldMk cId="1443789472" sldId="230717696"/>
            <ac:spMk id="28" creationId="{9D2E3420-3C19-40CB-AAD3-F71038DC86C6}"/>
          </ac:spMkLst>
        </pc:spChg>
        <pc:spChg chg="add del mod">
          <ac:chgData name="Manal El Bakkouri" userId="8b130982-2e3f-4164-b881-fd3a2e4b2453" providerId="ADAL" clId="{4457FA57-250B-44AC-8655-05D46C5A3D8A}" dt="2023-06-04T11:56:32.892" v="6999"/>
          <ac:spMkLst>
            <pc:docMk/>
            <pc:sldMk cId="1443789472" sldId="230717696"/>
            <ac:spMk id="29" creationId="{B1AC23B1-41E2-4B62-A7D3-AD1BB7652FA0}"/>
          </ac:spMkLst>
        </pc:spChg>
        <pc:spChg chg="add del mod">
          <ac:chgData name="Manal El Bakkouri" userId="8b130982-2e3f-4164-b881-fd3a2e4b2453" providerId="ADAL" clId="{4457FA57-250B-44AC-8655-05D46C5A3D8A}" dt="2023-06-04T11:56:32.892" v="6999"/>
          <ac:spMkLst>
            <pc:docMk/>
            <pc:sldMk cId="1443789472" sldId="230717696"/>
            <ac:spMk id="30" creationId="{D3CB5506-E934-4B48-93DA-505161370E03}"/>
          </ac:spMkLst>
        </pc:spChg>
        <pc:spChg chg="add del mod">
          <ac:chgData name="Manal El Bakkouri" userId="8b130982-2e3f-4164-b881-fd3a2e4b2453" providerId="ADAL" clId="{4457FA57-250B-44AC-8655-05D46C5A3D8A}" dt="2023-06-04T11:56:32.892" v="6999"/>
          <ac:spMkLst>
            <pc:docMk/>
            <pc:sldMk cId="1443789472" sldId="230717696"/>
            <ac:spMk id="31" creationId="{50F96894-946E-48B8-A939-9B29FEFB9FD3}"/>
          </ac:spMkLst>
        </pc:spChg>
        <pc:spChg chg="add del mod">
          <ac:chgData name="Manal El Bakkouri" userId="8b130982-2e3f-4164-b881-fd3a2e4b2453" providerId="ADAL" clId="{4457FA57-250B-44AC-8655-05D46C5A3D8A}" dt="2023-06-04T11:56:32.892" v="6999"/>
          <ac:spMkLst>
            <pc:docMk/>
            <pc:sldMk cId="1443789472" sldId="230717696"/>
            <ac:spMk id="32" creationId="{F9A53101-902F-413F-917B-65BC9F88BE31}"/>
          </ac:spMkLst>
        </pc:spChg>
        <pc:spChg chg="add del mod">
          <ac:chgData name="Manal El Bakkouri" userId="8b130982-2e3f-4164-b881-fd3a2e4b2453" providerId="ADAL" clId="{4457FA57-250B-44AC-8655-05D46C5A3D8A}" dt="2023-06-04T11:56:32.892" v="6999"/>
          <ac:spMkLst>
            <pc:docMk/>
            <pc:sldMk cId="1443789472" sldId="230717696"/>
            <ac:spMk id="33" creationId="{459194A5-3108-4A34-A662-034FE5D5CA19}"/>
          </ac:spMkLst>
        </pc:spChg>
        <pc:spChg chg="add del mod">
          <ac:chgData name="Manal El Bakkouri" userId="8b130982-2e3f-4164-b881-fd3a2e4b2453" providerId="ADAL" clId="{4457FA57-250B-44AC-8655-05D46C5A3D8A}" dt="2023-06-04T11:56:32.892" v="6999"/>
          <ac:spMkLst>
            <pc:docMk/>
            <pc:sldMk cId="1443789472" sldId="230717696"/>
            <ac:spMk id="34" creationId="{62A74DF4-AD7A-466A-B760-FB378D06B5D6}"/>
          </ac:spMkLst>
        </pc:spChg>
        <pc:spChg chg="add del mod">
          <ac:chgData name="Manal El Bakkouri" userId="8b130982-2e3f-4164-b881-fd3a2e4b2453" providerId="ADAL" clId="{4457FA57-250B-44AC-8655-05D46C5A3D8A}" dt="2023-06-04T11:56:32.892" v="6999"/>
          <ac:spMkLst>
            <pc:docMk/>
            <pc:sldMk cId="1443789472" sldId="230717696"/>
            <ac:spMk id="35" creationId="{F2DC3125-6DDF-445D-A18F-F0C5C20498B4}"/>
          </ac:spMkLst>
        </pc:spChg>
        <pc:spChg chg="add del mod">
          <ac:chgData name="Manal El Bakkouri" userId="8b130982-2e3f-4164-b881-fd3a2e4b2453" providerId="ADAL" clId="{4457FA57-250B-44AC-8655-05D46C5A3D8A}" dt="2023-06-04T11:56:32.892" v="6999"/>
          <ac:spMkLst>
            <pc:docMk/>
            <pc:sldMk cId="1443789472" sldId="230717696"/>
            <ac:spMk id="36" creationId="{3D7ACB0E-6D60-405E-96E3-900FD95DFE7C}"/>
          </ac:spMkLst>
        </pc:spChg>
        <pc:spChg chg="add del mod">
          <ac:chgData name="Manal El Bakkouri" userId="8b130982-2e3f-4164-b881-fd3a2e4b2453" providerId="ADAL" clId="{4457FA57-250B-44AC-8655-05D46C5A3D8A}" dt="2023-06-04T11:56:32.892" v="6999"/>
          <ac:spMkLst>
            <pc:docMk/>
            <pc:sldMk cId="1443789472" sldId="230717696"/>
            <ac:spMk id="37" creationId="{530C19CE-ABA4-42A3-93BC-2441F1853EF1}"/>
          </ac:spMkLst>
        </pc:spChg>
        <pc:spChg chg="add del mod">
          <ac:chgData name="Manal El Bakkouri" userId="8b130982-2e3f-4164-b881-fd3a2e4b2453" providerId="ADAL" clId="{4457FA57-250B-44AC-8655-05D46C5A3D8A}" dt="2023-06-04T11:56:32.892" v="6999"/>
          <ac:spMkLst>
            <pc:docMk/>
            <pc:sldMk cId="1443789472" sldId="230717696"/>
            <ac:spMk id="38" creationId="{05E002CD-6544-4971-B6C3-E61D55C2E4B2}"/>
          </ac:spMkLst>
        </pc:spChg>
        <pc:spChg chg="add del mod">
          <ac:chgData name="Manal El Bakkouri" userId="8b130982-2e3f-4164-b881-fd3a2e4b2453" providerId="ADAL" clId="{4457FA57-250B-44AC-8655-05D46C5A3D8A}" dt="2023-06-04T11:56:32.892" v="6999"/>
          <ac:spMkLst>
            <pc:docMk/>
            <pc:sldMk cId="1443789472" sldId="230717696"/>
            <ac:spMk id="39" creationId="{97D71D25-32A0-4A03-BE56-6153E5B7AC7A}"/>
          </ac:spMkLst>
        </pc:spChg>
        <pc:spChg chg="add del mod">
          <ac:chgData name="Manal El Bakkouri" userId="8b130982-2e3f-4164-b881-fd3a2e4b2453" providerId="ADAL" clId="{4457FA57-250B-44AC-8655-05D46C5A3D8A}" dt="2023-06-04T11:56:32.892" v="6999"/>
          <ac:spMkLst>
            <pc:docMk/>
            <pc:sldMk cId="1443789472" sldId="230717696"/>
            <ac:spMk id="40" creationId="{9A3E6349-15DB-4DA8-B638-862000A33C4C}"/>
          </ac:spMkLst>
        </pc:spChg>
        <pc:spChg chg="add del mod">
          <ac:chgData name="Manal El Bakkouri" userId="8b130982-2e3f-4164-b881-fd3a2e4b2453" providerId="ADAL" clId="{4457FA57-250B-44AC-8655-05D46C5A3D8A}" dt="2023-06-04T11:56:32.892" v="6999"/>
          <ac:spMkLst>
            <pc:docMk/>
            <pc:sldMk cId="1443789472" sldId="230717696"/>
            <ac:spMk id="41" creationId="{1794397D-6A3E-470E-BCC4-49F0C7380C4B}"/>
          </ac:spMkLst>
        </pc:spChg>
        <pc:spChg chg="add del mod">
          <ac:chgData name="Manal El Bakkouri" userId="8b130982-2e3f-4164-b881-fd3a2e4b2453" providerId="ADAL" clId="{4457FA57-250B-44AC-8655-05D46C5A3D8A}" dt="2023-06-04T11:56:32.892" v="6999"/>
          <ac:spMkLst>
            <pc:docMk/>
            <pc:sldMk cId="1443789472" sldId="230717696"/>
            <ac:spMk id="42" creationId="{37CDD3BD-472A-422D-A264-B9489FDB2CD8}"/>
          </ac:spMkLst>
        </pc:spChg>
        <pc:spChg chg="add del mod">
          <ac:chgData name="Manal El Bakkouri" userId="8b130982-2e3f-4164-b881-fd3a2e4b2453" providerId="ADAL" clId="{4457FA57-250B-44AC-8655-05D46C5A3D8A}" dt="2023-06-04T11:56:32.892" v="6999"/>
          <ac:spMkLst>
            <pc:docMk/>
            <pc:sldMk cId="1443789472" sldId="230717696"/>
            <ac:spMk id="43" creationId="{5CF8AC77-0BBB-432D-A375-C6DF27A72443}"/>
          </ac:spMkLst>
        </pc:spChg>
        <pc:spChg chg="add del mod">
          <ac:chgData name="Manal El Bakkouri" userId="8b130982-2e3f-4164-b881-fd3a2e4b2453" providerId="ADAL" clId="{4457FA57-250B-44AC-8655-05D46C5A3D8A}" dt="2023-06-04T11:56:32.892" v="6999"/>
          <ac:spMkLst>
            <pc:docMk/>
            <pc:sldMk cId="1443789472" sldId="230717696"/>
            <ac:spMk id="44" creationId="{767A6265-B7E6-4C8C-B564-1A02EDF337EF}"/>
          </ac:spMkLst>
        </pc:spChg>
        <pc:spChg chg="add del mod">
          <ac:chgData name="Manal El Bakkouri" userId="8b130982-2e3f-4164-b881-fd3a2e4b2453" providerId="ADAL" clId="{4457FA57-250B-44AC-8655-05D46C5A3D8A}" dt="2023-06-04T11:56:32.892" v="6999"/>
          <ac:spMkLst>
            <pc:docMk/>
            <pc:sldMk cId="1443789472" sldId="230717696"/>
            <ac:spMk id="45" creationId="{67EB6BCA-17FB-4335-8609-281DE3096A3D}"/>
          </ac:spMkLst>
        </pc:spChg>
        <pc:spChg chg="add del mod">
          <ac:chgData name="Manal El Bakkouri" userId="8b130982-2e3f-4164-b881-fd3a2e4b2453" providerId="ADAL" clId="{4457FA57-250B-44AC-8655-05D46C5A3D8A}" dt="2023-06-04T11:56:32.892" v="6999"/>
          <ac:spMkLst>
            <pc:docMk/>
            <pc:sldMk cId="1443789472" sldId="230717696"/>
            <ac:spMk id="46" creationId="{339B78B2-BDFA-4A20-AFD5-B304B4532FBE}"/>
          </ac:spMkLst>
        </pc:spChg>
        <pc:spChg chg="add del mod">
          <ac:chgData name="Manal El Bakkouri" userId="8b130982-2e3f-4164-b881-fd3a2e4b2453" providerId="ADAL" clId="{4457FA57-250B-44AC-8655-05D46C5A3D8A}" dt="2023-06-04T11:56:32.892" v="6999"/>
          <ac:spMkLst>
            <pc:docMk/>
            <pc:sldMk cId="1443789472" sldId="230717696"/>
            <ac:spMk id="47" creationId="{33FC4CA5-D166-411C-8878-F639A72CA6C9}"/>
          </ac:spMkLst>
        </pc:spChg>
        <pc:spChg chg="add del mod">
          <ac:chgData name="Manal El Bakkouri" userId="8b130982-2e3f-4164-b881-fd3a2e4b2453" providerId="ADAL" clId="{4457FA57-250B-44AC-8655-05D46C5A3D8A}" dt="2023-06-04T11:56:32.892" v="6999"/>
          <ac:spMkLst>
            <pc:docMk/>
            <pc:sldMk cId="1443789472" sldId="230717696"/>
            <ac:spMk id="48" creationId="{9893ED7B-C870-4950-A2BE-74B8ECF4B0F9}"/>
          </ac:spMkLst>
        </pc:spChg>
        <pc:spChg chg="add del mod">
          <ac:chgData name="Manal El Bakkouri" userId="8b130982-2e3f-4164-b881-fd3a2e4b2453" providerId="ADAL" clId="{4457FA57-250B-44AC-8655-05D46C5A3D8A}" dt="2023-06-04T11:56:32.892" v="6999"/>
          <ac:spMkLst>
            <pc:docMk/>
            <pc:sldMk cId="1443789472" sldId="230717696"/>
            <ac:spMk id="49" creationId="{696161D5-490D-4343-A1D4-DE04F0C15305}"/>
          </ac:spMkLst>
        </pc:spChg>
        <pc:spChg chg="add del mod">
          <ac:chgData name="Manal El Bakkouri" userId="8b130982-2e3f-4164-b881-fd3a2e4b2453" providerId="ADAL" clId="{4457FA57-250B-44AC-8655-05D46C5A3D8A}" dt="2023-06-04T11:56:32.892" v="6999"/>
          <ac:spMkLst>
            <pc:docMk/>
            <pc:sldMk cId="1443789472" sldId="230717696"/>
            <ac:spMk id="50" creationId="{7DB5763D-6D5A-4E76-A673-6A475397AEE2}"/>
          </ac:spMkLst>
        </pc:spChg>
        <pc:spChg chg="add del mod">
          <ac:chgData name="Manal El Bakkouri" userId="8b130982-2e3f-4164-b881-fd3a2e4b2453" providerId="ADAL" clId="{4457FA57-250B-44AC-8655-05D46C5A3D8A}" dt="2023-06-04T11:56:32.892" v="6999"/>
          <ac:spMkLst>
            <pc:docMk/>
            <pc:sldMk cId="1443789472" sldId="230717696"/>
            <ac:spMk id="51" creationId="{21D2C651-C6E3-4D8C-9FA5-EB59BFB14FEB}"/>
          </ac:spMkLst>
        </pc:spChg>
        <pc:spChg chg="add del mod">
          <ac:chgData name="Manal El Bakkouri" userId="8b130982-2e3f-4164-b881-fd3a2e4b2453" providerId="ADAL" clId="{4457FA57-250B-44AC-8655-05D46C5A3D8A}" dt="2023-06-04T11:56:32.892" v="6999"/>
          <ac:spMkLst>
            <pc:docMk/>
            <pc:sldMk cId="1443789472" sldId="230717696"/>
            <ac:spMk id="52" creationId="{F0279BE5-5EF8-4C4E-BC03-26AFF0B48DC5}"/>
          </ac:spMkLst>
        </pc:spChg>
        <pc:spChg chg="add del mod">
          <ac:chgData name="Manal El Bakkouri" userId="8b130982-2e3f-4164-b881-fd3a2e4b2453" providerId="ADAL" clId="{4457FA57-250B-44AC-8655-05D46C5A3D8A}" dt="2023-06-04T11:56:32.892" v="6999"/>
          <ac:spMkLst>
            <pc:docMk/>
            <pc:sldMk cId="1443789472" sldId="230717696"/>
            <ac:spMk id="53" creationId="{AE5CD383-A658-456E-8745-E327B6C14E2C}"/>
          </ac:spMkLst>
        </pc:spChg>
        <pc:spChg chg="add del mod">
          <ac:chgData name="Manal El Bakkouri" userId="8b130982-2e3f-4164-b881-fd3a2e4b2453" providerId="ADAL" clId="{4457FA57-250B-44AC-8655-05D46C5A3D8A}" dt="2023-06-04T11:56:32.892" v="6999"/>
          <ac:spMkLst>
            <pc:docMk/>
            <pc:sldMk cId="1443789472" sldId="230717696"/>
            <ac:spMk id="54" creationId="{886C4A21-C0EC-4171-8CDB-0FF9D22A915B}"/>
          </ac:spMkLst>
        </pc:spChg>
        <pc:spChg chg="add del mod">
          <ac:chgData name="Manal El Bakkouri" userId="8b130982-2e3f-4164-b881-fd3a2e4b2453" providerId="ADAL" clId="{4457FA57-250B-44AC-8655-05D46C5A3D8A}" dt="2023-06-04T11:56:32.892" v="6999"/>
          <ac:spMkLst>
            <pc:docMk/>
            <pc:sldMk cId="1443789472" sldId="230717696"/>
            <ac:spMk id="55" creationId="{EEE94D43-B7A2-47A0-9D4E-9CEAA2BE9297}"/>
          </ac:spMkLst>
        </pc:spChg>
        <pc:spChg chg="add del mod">
          <ac:chgData name="Manal El Bakkouri" userId="8b130982-2e3f-4164-b881-fd3a2e4b2453" providerId="ADAL" clId="{4457FA57-250B-44AC-8655-05D46C5A3D8A}" dt="2023-06-04T11:56:32.892" v="6999"/>
          <ac:spMkLst>
            <pc:docMk/>
            <pc:sldMk cId="1443789472" sldId="230717696"/>
            <ac:spMk id="56" creationId="{95A901A5-331A-4163-A22C-C224E732D3A6}"/>
          </ac:spMkLst>
        </pc:spChg>
        <pc:spChg chg="add del mod">
          <ac:chgData name="Manal El Bakkouri" userId="8b130982-2e3f-4164-b881-fd3a2e4b2453" providerId="ADAL" clId="{4457FA57-250B-44AC-8655-05D46C5A3D8A}" dt="2023-06-04T11:56:32.892" v="6999"/>
          <ac:spMkLst>
            <pc:docMk/>
            <pc:sldMk cId="1443789472" sldId="230717696"/>
            <ac:spMk id="57" creationId="{8C329C15-5D48-4189-B6FC-7F49232C1643}"/>
          </ac:spMkLst>
        </pc:spChg>
        <pc:spChg chg="add del mod">
          <ac:chgData name="Manal El Bakkouri" userId="8b130982-2e3f-4164-b881-fd3a2e4b2453" providerId="ADAL" clId="{4457FA57-250B-44AC-8655-05D46C5A3D8A}" dt="2023-06-04T11:56:32.892" v="6999"/>
          <ac:spMkLst>
            <pc:docMk/>
            <pc:sldMk cId="1443789472" sldId="230717696"/>
            <ac:spMk id="58" creationId="{7EFFFADB-41F8-4E4C-B803-1AC9CB83270A}"/>
          </ac:spMkLst>
        </pc:spChg>
        <pc:spChg chg="add del mod">
          <ac:chgData name="Manal El Bakkouri" userId="8b130982-2e3f-4164-b881-fd3a2e4b2453" providerId="ADAL" clId="{4457FA57-250B-44AC-8655-05D46C5A3D8A}" dt="2023-06-04T11:56:32.892" v="6999"/>
          <ac:spMkLst>
            <pc:docMk/>
            <pc:sldMk cId="1443789472" sldId="230717696"/>
            <ac:spMk id="59" creationId="{27AC8EDA-2346-4FDE-8C13-02848E5ACFC3}"/>
          </ac:spMkLst>
        </pc:spChg>
        <pc:spChg chg="add del mod">
          <ac:chgData name="Manal El Bakkouri" userId="8b130982-2e3f-4164-b881-fd3a2e4b2453" providerId="ADAL" clId="{4457FA57-250B-44AC-8655-05D46C5A3D8A}" dt="2023-06-04T11:56:32.892" v="6999"/>
          <ac:spMkLst>
            <pc:docMk/>
            <pc:sldMk cId="1443789472" sldId="230717696"/>
            <ac:spMk id="60" creationId="{380A1950-DF49-458C-A105-18E6B6601ABA}"/>
          </ac:spMkLst>
        </pc:spChg>
        <pc:spChg chg="add del mod">
          <ac:chgData name="Manal El Bakkouri" userId="8b130982-2e3f-4164-b881-fd3a2e4b2453" providerId="ADAL" clId="{4457FA57-250B-44AC-8655-05D46C5A3D8A}" dt="2023-06-04T11:56:32.892" v="6999"/>
          <ac:spMkLst>
            <pc:docMk/>
            <pc:sldMk cId="1443789472" sldId="230717696"/>
            <ac:spMk id="61" creationId="{C8914EA9-0296-46E0-8344-FA163CCFA5A3}"/>
          </ac:spMkLst>
        </pc:spChg>
        <pc:spChg chg="add del mod">
          <ac:chgData name="Manal El Bakkouri" userId="8b130982-2e3f-4164-b881-fd3a2e4b2453" providerId="ADAL" clId="{4457FA57-250B-44AC-8655-05D46C5A3D8A}" dt="2023-06-04T11:56:32.892" v="6999"/>
          <ac:spMkLst>
            <pc:docMk/>
            <pc:sldMk cId="1443789472" sldId="230717696"/>
            <ac:spMk id="62" creationId="{FA5C66C2-339E-457A-B0B5-8578F5889A53}"/>
          </ac:spMkLst>
        </pc:spChg>
        <pc:spChg chg="add del mod">
          <ac:chgData name="Manal El Bakkouri" userId="8b130982-2e3f-4164-b881-fd3a2e4b2453" providerId="ADAL" clId="{4457FA57-250B-44AC-8655-05D46C5A3D8A}" dt="2023-06-04T11:56:32.892" v="6999"/>
          <ac:spMkLst>
            <pc:docMk/>
            <pc:sldMk cId="1443789472" sldId="230717696"/>
            <ac:spMk id="63" creationId="{DEDD1A88-88EF-4F2D-BFF2-D5FF44A5F559}"/>
          </ac:spMkLst>
        </pc:spChg>
        <pc:spChg chg="add del mod">
          <ac:chgData name="Manal El Bakkouri" userId="8b130982-2e3f-4164-b881-fd3a2e4b2453" providerId="ADAL" clId="{4457FA57-250B-44AC-8655-05D46C5A3D8A}" dt="2023-06-04T11:56:32.892" v="6999"/>
          <ac:spMkLst>
            <pc:docMk/>
            <pc:sldMk cId="1443789472" sldId="230717696"/>
            <ac:spMk id="64" creationId="{3E5DADC6-724A-40EA-AA37-6FBE2B2DF137}"/>
          </ac:spMkLst>
        </pc:spChg>
        <pc:spChg chg="add del mod">
          <ac:chgData name="Manal El Bakkouri" userId="8b130982-2e3f-4164-b881-fd3a2e4b2453" providerId="ADAL" clId="{4457FA57-250B-44AC-8655-05D46C5A3D8A}" dt="2023-06-04T11:56:32.892" v="6999"/>
          <ac:spMkLst>
            <pc:docMk/>
            <pc:sldMk cId="1443789472" sldId="230717696"/>
            <ac:spMk id="65" creationId="{110FEE9A-F0BF-41E9-B683-0D28201E4AE6}"/>
          </ac:spMkLst>
        </pc:spChg>
        <pc:spChg chg="add del mod">
          <ac:chgData name="Manal El Bakkouri" userId="8b130982-2e3f-4164-b881-fd3a2e4b2453" providerId="ADAL" clId="{4457FA57-250B-44AC-8655-05D46C5A3D8A}" dt="2023-06-04T11:56:32.892" v="6999"/>
          <ac:spMkLst>
            <pc:docMk/>
            <pc:sldMk cId="1443789472" sldId="230717696"/>
            <ac:spMk id="66" creationId="{EE8FC57E-3A6E-4ECD-B5B2-4CB7420ED3E2}"/>
          </ac:spMkLst>
        </pc:spChg>
        <pc:spChg chg="add del mod">
          <ac:chgData name="Manal El Bakkouri" userId="8b130982-2e3f-4164-b881-fd3a2e4b2453" providerId="ADAL" clId="{4457FA57-250B-44AC-8655-05D46C5A3D8A}" dt="2023-06-04T11:56:32.892" v="6999"/>
          <ac:spMkLst>
            <pc:docMk/>
            <pc:sldMk cId="1443789472" sldId="230717696"/>
            <ac:spMk id="67" creationId="{2CCCFBB0-4403-4D33-A83B-DECA6C0EE6B7}"/>
          </ac:spMkLst>
        </pc:spChg>
        <pc:spChg chg="add del mod">
          <ac:chgData name="Manal El Bakkouri" userId="8b130982-2e3f-4164-b881-fd3a2e4b2453" providerId="ADAL" clId="{4457FA57-250B-44AC-8655-05D46C5A3D8A}" dt="2023-06-04T11:56:32.892" v="6999"/>
          <ac:spMkLst>
            <pc:docMk/>
            <pc:sldMk cId="1443789472" sldId="230717696"/>
            <ac:spMk id="68" creationId="{F3519935-A8E2-4FF1-9454-E9F5571FD733}"/>
          </ac:spMkLst>
        </pc:spChg>
        <pc:spChg chg="add del mod">
          <ac:chgData name="Manal El Bakkouri" userId="8b130982-2e3f-4164-b881-fd3a2e4b2453" providerId="ADAL" clId="{4457FA57-250B-44AC-8655-05D46C5A3D8A}" dt="2023-06-04T11:56:32.892" v="6999"/>
          <ac:spMkLst>
            <pc:docMk/>
            <pc:sldMk cId="1443789472" sldId="230717696"/>
            <ac:spMk id="69" creationId="{D358DA3B-1FF9-478C-8164-6C7B8E751237}"/>
          </ac:spMkLst>
        </pc:spChg>
        <pc:spChg chg="add del mod">
          <ac:chgData name="Manal El Bakkouri" userId="8b130982-2e3f-4164-b881-fd3a2e4b2453" providerId="ADAL" clId="{4457FA57-250B-44AC-8655-05D46C5A3D8A}" dt="2023-06-04T11:56:32.892" v="6999"/>
          <ac:spMkLst>
            <pc:docMk/>
            <pc:sldMk cId="1443789472" sldId="230717696"/>
            <ac:spMk id="70" creationId="{D1C2B588-CB35-4125-816C-8E2BECAC3B7D}"/>
          </ac:spMkLst>
        </pc:spChg>
        <pc:spChg chg="add del mod">
          <ac:chgData name="Manal El Bakkouri" userId="8b130982-2e3f-4164-b881-fd3a2e4b2453" providerId="ADAL" clId="{4457FA57-250B-44AC-8655-05D46C5A3D8A}" dt="2023-06-04T11:56:32.892" v="6999"/>
          <ac:spMkLst>
            <pc:docMk/>
            <pc:sldMk cId="1443789472" sldId="230717696"/>
            <ac:spMk id="71" creationId="{1B73D457-8376-4BB9-BE77-5BE386FFBB33}"/>
          </ac:spMkLst>
        </pc:spChg>
        <pc:spChg chg="add del mod">
          <ac:chgData name="Manal El Bakkouri" userId="8b130982-2e3f-4164-b881-fd3a2e4b2453" providerId="ADAL" clId="{4457FA57-250B-44AC-8655-05D46C5A3D8A}" dt="2023-06-04T11:56:32.892" v="6999"/>
          <ac:spMkLst>
            <pc:docMk/>
            <pc:sldMk cId="1443789472" sldId="230717696"/>
            <ac:spMk id="72" creationId="{5BFF95A6-4606-4134-98B0-419890475A4C}"/>
          </ac:spMkLst>
        </pc:spChg>
        <pc:spChg chg="add del mod">
          <ac:chgData name="Manal El Bakkouri" userId="8b130982-2e3f-4164-b881-fd3a2e4b2453" providerId="ADAL" clId="{4457FA57-250B-44AC-8655-05D46C5A3D8A}" dt="2023-06-04T11:56:32.892" v="6999"/>
          <ac:spMkLst>
            <pc:docMk/>
            <pc:sldMk cId="1443789472" sldId="230717696"/>
            <ac:spMk id="73" creationId="{5B07C054-E4FA-419A-AAA5-095A62B80ADD}"/>
          </ac:spMkLst>
        </pc:spChg>
        <pc:spChg chg="add del mod">
          <ac:chgData name="Manal El Bakkouri" userId="8b130982-2e3f-4164-b881-fd3a2e4b2453" providerId="ADAL" clId="{4457FA57-250B-44AC-8655-05D46C5A3D8A}" dt="2023-06-04T11:56:32.892" v="6999"/>
          <ac:spMkLst>
            <pc:docMk/>
            <pc:sldMk cId="1443789472" sldId="230717696"/>
            <ac:spMk id="74" creationId="{B38CF581-F07B-42D6-A332-9064AC6E7EDE}"/>
          </ac:spMkLst>
        </pc:spChg>
        <pc:spChg chg="add del mod">
          <ac:chgData name="Manal El Bakkouri" userId="8b130982-2e3f-4164-b881-fd3a2e4b2453" providerId="ADAL" clId="{4457FA57-250B-44AC-8655-05D46C5A3D8A}" dt="2023-06-04T11:56:32.892" v="6999"/>
          <ac:spMkLst>
            <pc:docMk/>
            <pc:sldMk cId="1443789472" sldId="230717696"/>
            <ac:spMk id="75" creationId="{81FB87E3-F35D-4558-A754-8857FB933840}"/>
          </ac:spMkLst>
        </pc:spChg>
        <pc:spChg chg="add del mod">
          <ac:chgData name="Manal El Bakkouri" userId="8b130982-2e3f-4164-b881-fd3a2e4b2453" providerId="ADAL" clId="{4457FA57-250B-44AC-8655-05D46C5A3D8A}" dt="2023-06-04T11:56:32.892" v="6999"/>
          <ac:spMkLst>
            <pc:docMk/>
            <pc:sldMk cId="1443789472" sldId="230717696"/>
            <ac:spMk id="76" creationId="{5B8CB3E3-83B0-4ED0-9224-37663A67DE7C}"/>
          </ac:spMkLst>
        </pc:spChg>
        <pc:spChg chg="add del mod">
          <ac:chgData name="Manal El Bakkouri" userId="8b130982-2e3f-4164-b881-fd3a2e4b2453" providerId="ADAL" clId="{4457FA57-250B-44AC-8655-05D46C5A3D8A}" dt="2023-06-04T11:56:32.892" v="6999"/>
          <ac:spMkLst>
            <pc:docMk/>
            <pc:sldMk cId="1443789472" sldId="230717696"/>
            <ac:spMk id="77" creationId="{9C2BA3B8-6FC0-43B9-8EB9-C32CFAF818FF}"/>
          </ac:spMkLst>
        </pc:spChg>
        <pc:spChg chg="add del mod">
          <ac:chgData name="Manal El Bakkouri" userId="8b130982-2e3f-4164-b881-fd3a2e4b2453" providerId="ADAL" clId="{4457FA57-250B-44AC-8655-05D46C5A3D8A}" dt="2023-06-04T11:56:32.892" v="6999"/>
          <ac:spMkLst>
            <pc:docMk/>
            <pc:sldMk cId="1443789472" sldId="230717696"/>
            <ac:spMk id="78" creationId="{385CBAFE-E090-4DD9-BB40-AD6FEEA7E9C3}"/>
          </ac:spMkLst>
        </pc:spChg>
        <pc:spChg chg="add del mod">
          <ac:chgData name="Manal El Bakkouri" userId="8b130982-2e3f-4164-b881-fd3a2e4b2453" providerId="ADAL" clId="{4457FA57-250B-44AC-8655-05D46C5A3D8A}" dt="2023-06-04T11:56:32.892" v="6999"/>
          <ac:spMkLst>
            <pc:docMk/>
            <pc:sldMk cId="1443789472" sldId="230717696"/>
            <ac:spMk id="79" creationId="{23410AF4-F1AE-43FB-8995-838FC03E1330}"/>
          </ac:spMkLst>
        </pc:spChg>
        <pc:spChg chg="add del mod">
          <ac:chgData name="Manal El Bakkouri" userId="8b130982-2e3f-4164-b881-fd3a2e4b2453" providerId="ADAL" clId="{4457FA57-250B-44AC-8655-05D46C5A3D8A}" dt="2023-06-04T11:56:32.892" v="6999"/>
          <ac:spMkLst>
            <pc:docMk/>
            <pc:sldMk cId="1443789472" sldId="230717696"/>
            <ac:spMk id="80" creationId="{3BA36313-80C8-431F-B3E7-1C752C4BEA58}"/>
          </ac:spMkLst>
        </pc:spChg>
        <pc:spChg chg="add del mod">
          <ac:chgData name="Manal El Bakkouri" userId="8b130982-2e3f-4164-b881-fd3a2e4b2453" providerId="ADAL" clId="{4457FA57-250B-44AC-8655-05D46C5A3D8A}" dt="2023-06-04T11:56:32.892" v="6999"/>
          <ac:spMkLst>
            <pc:docMk/>
            <pc:sldMk cId="1443789472" sldId="230717696"/>
            <ac:spMk id="81" creationId="{F9A3980D-F3AA-4CDD-8D08-49923317CEBD}"/>
          </ac:spMkLst>
        </pc:spChg>
        <pc:spChg chg="add del mod">
          <ac:chgData name="Manal El Bakkouri" userId="8b130982-2e3f-4164-b881-fd3a2e4b2453" providerId="ADAL" clId="{4457FA57-250B-44AC-8655-05D46C5A3D8A}" dt="2023-06-04T11:56:32.892" v="6999"/>
          <ac:spMkLst>
            <pc:docMk/>
            <pc:sldMk cId="1443789472" sldId="230717696"/>
            <ac:spMk id="82" creationId="{5AC12C20-58E1-4769-B66B-908F751C8C0B}"/>
          </ac:spMkLst>
        </pc:spChg>
        <pc:spChg chg="add del mod">
          <ac:chgData name="Manal El Bakkouri" userId="8b130982-2e3f-4164-b881-fd3a2e4b2453" providerId="ADAL" clId="{4457FA57-250B-44AC-8655-05D46C5A3D8A}" dt="2023-06-04T11:56:32.892" v="6999"/>
          <ac:spMkLst>
            <pc:docMk/>
            <pc:sldMk cId="1443789472" sldId="230717696"/>
            <ac:spMk id="83" creationId="{864C9B63-5AFE-45A8-95CD-475123005390}"/>
          </ac:spMkLst>
        </pc:spChg>
        <pc:spChg chg="add del mod">
          <ac:chgData name="Manal El Bakkouri" userId="8b130982-2e3f-4164-b881-fd3a2e4b2453" providerId="ADAL" clId="{4457FA57-250B-44AC-8655-05D46C5A3D8A}" dt="2023-06-04T11:56:32.892" v="6999"/>
          <ac:spMkLst>
            <pc:docMk/>
            <pc:sldMk cId="1443789472" sldId="230717696"/>
            <ac:spMk id="84" creationId="{1F850B1F-7CA8-4520-996C-34C20CB07B5F}"/>
          </ac:spMkLst>
        </pc:spChg>
        <pc:spChg chg="add del mod">
          <ac:chgData name="Manal El Bakkouri" userId="8b130982-2e3f-4164-b881-fd3a2e4b2453" providerId="ADAL" clId="{4457FA57-250B-44AC-8655-05D46C5A3D8A}" dt="2023-06-04T11:56:32.892" v="6999"/>
          <ac:spMkLst>
            <pc:docMk/>
            <pc:sldMk cId="1443789472" sldId="230717696"/>
            <ac:spMk id="85" creationId="{7573C689-E304-44F1-8D23-A3E146FB3DF9}"/>
          </ac:spMkLst>
        </pc:spChg>
        <pc:spChg chg="add del mod">
          <ac:chgData name="Manal El Bakkouri" userId="8b130982-2e3f-4164-b881-fd3a2e4b2453" providerId="ADAL" clId="{4457FA57-250B-44AC-8655-05D46C5A3D8A}" dt="2023-06-04T11:56:32.892" v="6999"/>
          <ac:spMkLst>
            <pc:docMk/>
            <pc:sldMk cId="1443789472" sldId="230717696"/>
            <ac:spMk id="86" creationId="{AF1D6CBB-2E51-41A3-B9A9-AE4DAC8B17F0}"/>
          </ac:spMkLst>
        </pc:spChg>
        <pc:spChg chg="add del mod">
          <ac:chgData name="Manal El Bakkouri" userId="8b130982-2e3f-4164-b881-fd3a2e4b2453" providerId="ADAL" clId="{4457FA57-250B-44AC-8655-05D46C5A3D8A}" dt="2023-06-04T11:56:32.892" v="6999"/>
          <ac:spMkLst>
            <pc:docMk/>
            <pc:sldMk cId="1443789472" sldId="230717696"/>
            <ac:spMk id="87" creationId="{9615F741-9BE2-40FA-AA59-1F7AD2811C96}"/>
          </ac:spMkLst>
        </pc:spChg>
        <pc:spChg chg="add del mod">
          <ac:chgData name="Manal El Bakkouri" userId="8b130982-2e3f-4164-b881-fd3a2e4b2453" providerId="ADAL" clId="{4457FA57-250B-44AC-8655-05D46C5A3D8A}" dt="2023-06-04T11:56:32.892" v="6999"/>
          <ac:spMkLst>
            <pc:docMk/>
            <pc:sldMk cId="1443789472" sldId="230717696"/>
            <ac:spMk id="88" creationId="{057D99B0-5F9F-4770-ABFE-4FEC7FFBF73D}"/>
          </ac:spMkLst>
        </pc:spChg>
        <pc:spChg chg="add del mod">
          <ac:chgData name="Manal El Bakkouri" userId="8b130982-2e3f-4164-b881-fd3a2e4b2453" providerId="ADAL" clId="{4457FA57-250B-44AC-8655-05D46C5A3D8A}" dt="2023-06-04T11:56:32.892" v="6999"/>
          <ac:spMkLst>
            <pc:docMk/>
            <pc:sldMk cId="1443789472" sldId="230717696"/>
            <ac:spMk id="89" creationId="{5565E92A-AAF4-46A6-9E61-78C79A03DE37}"/>
          </ac:spMkLst>
        </pc:spChg>
        <pc:spChg chg="add del mod">
          <ac:chgData name="Manal El Bakkouri" userId="8b130982-2e3f-4164-b881-fd3a2e4b2453" providerId="ADAL" clId="{4457FA57-250B-44AC-8655-05D46C5A3D8A}" dt="2023-06-04T11:56:32.892" v="6999"/>
          <ac:spMkLst>
            <pc:docMk/>
            <pc:sldMk cId="1443789472" sldId="230717696"/>
            <ac:spMk id="90" creationId="{F810C7B7-1B97-4749-A54D-6550250FE18E}"/>
          </ac:spMkLst>
        </pc:spChg>
        <pc:spChg chg="add del mod">
          <ac:chgData name="Manal El Bakkouri" userId="8b130982-2e3f-4164-b881-fd3a2e4b2453" providerId="ADAL" clId="{4457FA57-250B-44AC-8655-05D46C5A3D8A}" dt="2023-06-04T11:56:32.892" v="6999"/>
          <ac:spMkLst>
            <pc:docMk/>
            <pc:sldMk cId="1443789472" sldId="230717696"/>
            <ac:spMk id="91" creationId="{9B352D18-44C1-4A9C-94C8-98C3546B93D7}"/>
          </ac:spMkLst>
        </pc:spChg>
        <pc:spChg chg="add del mod">
          <ac:chgData name="Manal El Bakkouri" userId="8b130982-2e3f-4164-b881-fd3a2e4b2453" providerId="ADAL" clId="{4457FA57-250B-44AC-8655-05D46C5A3D8A}" dt="2023-06-04T11:56:32.892" v="6999"/>
          <ac:spMkLst>
            <pc:docMk/>
            <pc:sldMk cId="1443789472" sldId="230717696"/>
            <ac:spMk id="92" creationId="{02CA7A25-C7F4-4C15-AF15-BAAC68E897A2}"/>
          </ac:spMkLst>
        </pc:spChg>
        <pc:spChg chg="add del mod">
          <ac:chgData name="Manal El Bakkouri" userId="8b130982-2e3f-4164-b881-fd3a2e4b2453" providerId="ADAL" clId="{4457FA57-250B-44AC-8655-05D46C5A3D8A}" dt="2023-06-04T11:56:32.892" v="6999"/>
          <ac:spMkLst>
            <pc:docMk/>
            <pc:sldMk cId="1443789472" sldId="230717696"/>
            <ac:spMk id="93" creationId="{D9522D19-F20D-46CF-8E8B-294585274868}"/>
          </ac:spMkLst>
        </pc:spChg>
        <pc:spChg chg="add del mod">
          <ac:chgData name="Manal El Bakkouri" userId="8b130982-2e3f-4164-b881-fd3a2e4b2453" providerId="ADAL" clId="{4457FA57-250B-44AC-8655-05D46C5A3D8A}" dt="2023-06-04T11:56:32.892" v="6999"/>
          <ac:spMkLst>
            <pc:docMk/>
            <pc:sldMk cId="1443789472" sldId="230717696"/>
            <ac:spMk id="94" creationId="{E63D3EB5-E7A9-4E76-98EE-870B544A98DE}"/>
          </ac:spMkLst>
        </pc:spChg>
        <pc:spChg chg="add del mod">
          <ac:chgData name="Manal El Bakkouri" userId="8b130982-2e3f-4164-b881-fd3a2e4b2453" providerId="ADAL" clId="{4457FA57-250B-44AC-8655-05D46C5A3D8A}" dt="2023-06-04T11:56:32.892" v="6999"/>
          <ac:spMkLst>
            <pc:docMk/>
            <pc:sldMk cId="1443789472" sldId="230717696"/>
            <ac:spMk id="95" creationId="{943074FC-DFCF-4EF9-9A8C-4F0E5563A2B1}"/>
          </ac:spMkLst>
        </pc:spChg>
        <pc:spChg chg="add del mod">
          <ac:chgData name="Manal El Bakkouri" userId="8b130982-2e3f-4164-b881-fd3a2e4b2453" providerId="ADAL" clId="{4457FA57-250B-44AC-8655-05D46C5A3D8A}" dt="2023-06-04T11:56:32.892" v="6999"/>
          <ac:spMkLst>
            <pc:docMk/>
            <pc:sldMk cId="1443789472" sldId="230717696"/>
            <ac:spMk id="96" creationId="{C9CE9F65-7811-4323-877A-4285A29CAB5C}"/>
          </ac:spMkLst>
        </pc:spChg>
        <pc:spChg chg="add del mod">
          <ac:chgData name="Manal El Bakkouri" userId="8b130982-2e3f-4164-b881-fd3a2e4b2453" providerId="ADAL" clId="{4457FA57-250B-44AC-8655-05D46C5A3D8A}" dt="2023-06-04T11:56:32.892" v="6999"/>
          <ac:spMkLst>
            <pc:docMk/>
            <pc:sldMk cId="1443789472" sldId="230717696"/>
            <ac:spMk id="97" creationId="{26DD1A44-10DC-4F79-916C-E3BEF0C04091}"/>
          </ac:spMkLst>
        </pc:spChg>
        <pc:spChg chg="add del mod">
          <ac:chgData name="Manal El Bakkouri" userId="8b130982-2e3f-4164-b881-fd3a2e4b2453" providerId="ADAL" clId="{4457FA57-250B-44AC-8655-05D46C5A3D8A}" dt="2023-06-04T11:56:32.892" v="6999"/>
          <ac:spMkLst>
            <pc:docMk/>
            <pc:sldMk cId="1443789472" sldId="230717696"/>
            <ac:spMk id="98" creationId="{D68AE7B3-757E-406B-ACA7-2FBABB45E107}"/>
          </ac:spMkLst>
        </pc:spChg>
        <pc:spChg chg="add del mod">
          <ac:chgData name="Manal El Bakkouri" userId="8b130982-2e3f-4164-b881-fd3a2e4b2453" providerId="ADAL" clId="{4457FA57-250B-44AC-8655-05D46C5A3D8A}" dt="2023-06-04T11:56:32.892" v="6999"/>
          <ac:spMkLst>
            <pc:docMk/>
            <pc:sldMk cId="1443789472" sldId="230717696"/>
            <ac:spMk id="99" creationId="{217E7E84-AB30-422D-8BA0-19D5F19722FC}"/>
          </ac:spMkLst>
        </pc:spChg>
        <pc:spChg chg="add del mod">
          <ac:chgData name="Manal El Bakkouri" userId="8b130982-2e3f-4164-b881-fd3a2e4b2453" providerId="ADAL" clId="{4457FA57-250B-44AC-8655-05D46C5A3D8A}" dt="2023-06-04T11:56:32.892" v="6999"/>
          <ac:spMkLst>
            <pc:docMk/>
            <pc:sldMk cId="1443789472" sldId="230717696"/>
            <ac:spMk id="100" creationId="{116A632D-6BFA-4D80-BC1C-48209910AF7B}"/>
          </ac:spMkLst>
        </pc:spChg>
        <pc:spChg chg="add del mod">
          <ac:chgData name="Manal El Bakkouri" userId="8b130982-2e3f-4164-b881-fd3a2e4b2453" providerId="ADAL" clId="{4457FA57-250B-44AC-8655-05D46C5A3D8A}" dt="2023-06-04T11:56:32.892" v="6999"/>
          <ac:spMkLst>
            <pc:docMk/>
            <pc:sldMk cId="1443789472" sldId="230717696"/>
            <ac:spMk id="101" creationId="{8AD81E13-B25D-42F6-BF7A-BD6BDAF4FB32}"/>
          </ac:spMkLst>
        </pc:spChg>
        <pc:spChg chg="add del mod">
          <ac:chgData name="Manal El Bakkouri" userId="8b130982-2e3f-4164-b881-fd3a2e4b2453" providerId="ADAL" clId="{4457FA57-250B-44AC-8655-05D46C5A3D8A}" dt="2023-06-04T11:56:32.892" v="6999"/>
          <ac:spMkLst>
            <pc:docMk/>
            <pc:sldMk cId="1443789472" sldId="230717696"/>
            <ac:spMk id="102" creationId="{2F2667DD-D1C8-4F67-8E1C-75DFA87B69DE}"/>
          </ac:spMkLst>
        </pc:spChg>
        <pc:spChg chg="add del mod">
          <ac:chgData name="Manal El Bakkouri" userId="8b130982-2e3f-4164-b881-fd3a2e4b2453" providerId="ADAL" clId="{4457FA57-250B-44AC-8655-05D46C5A3D8A}" dt="2023-06-04T11:56:32.892" v="6999"/>
          <ac:spMkLst>
            <pc:docMk/>
            <pc:sldMk cId="1443789472" sldId="230717696"/>
            <ac:spMk id="103" creationId="{845D1488-34B2-40C6-BD78-0363EF54C01D}"/>
          </ac:spMkLst>
        </pc:spChg>
        <pc:spChg chg="add del mod">
          <ac:chgData name="Manal El Bakkouri" userId="8b130982-2e3f-4164-b881-fd3a2e4b2453" providerId="ADAL" clId="{4457FA57-250B-44AC-8655-05D46C5A3D8A}" dt="2023-06-04T11:56:32.892" v="6999"/>
          <ac:spMkLst>
            <pc:docMk/>
            <pc:sldMk cId="1443789472" sldId="230717696"/>
            <ac:spMk id="104" creationId="{11209547-CA9A-4CA6-AC91-C9182FE93B71}"/>
          </ac:spMkLst>
        </pc:spChg>
        <pc:spChg chg="add del mod">
          <ac:chgData name="Manal El Bakkouri" userId="8b130982-2e3f-4164-b881-fd3a2e4b2453" providerId="ADAL" clId="{4457FA57-250B-44AC-8655-05D46C5A3D8A}" dt="2023-06-04T11:56:32.892" v="6999"/>
          <ac:spMkLst>
            <pc:docMk/>
            <pc:sldMk cId="1443789472" sldId="230717696"/>
            <ac:spMk id="105" creationId="{9335D75D-79F6-4A5B-B400-92A539050667}"/>
          </ac:spMkLst>
        </pc:spChg>
        <pc:spChg chg="add del mod">
          <ac:chgData name="Manal El Bakkouri" userId="8b130982-2e3f-4164-b881-fd3a2e4b2453" providerId="ADAL" clId="{4457FA57-250B-44AC-8655-05D46C5A3D8A}" dt="2023-06-04T11:56:32.892" v="6999"/>
          <ac:spMkLst>
            <pc:docMk/>
            <pc:sldMk cId="1443789472" sldId="230717696"/>
            <ac:spMk id="106" creationId="{0E046330-4502-489F-9A74-6CF9C35CE940}"/>
          </ac:spMkLst>
        </pc:spChg>
        <pc:spChg chg="add del mod">
          <ac:chgData name="Manal El Bakkouri" userId="8b130982-2e3f-4164-b881-fd3a2e4b2453" providerId="ADAL" clId="{4457FA57-250B-44AC-8655-05D46C5A3D8A}" dt="2023-06-04T11:56:32.892" v="6999"/>
          <ac:spMkLst>
            <pc:docMk/>
            <pc:sldMk cId="1443789472" sldId="230717696"/>
            <ac:spMk id="107" creationId="{08F28EA2-BF56-4D97-B482-606290A62DEE}"/>
          </ac:spMkLst>
        </pc:spChg>
        <pc:spChg chg="add del mod">
          <ac:chgData name="Manal El Bakkouri" userId="8b130982-2e3f-4164-b881-fd3a2e4b2453" providerId="ADAL" clId="{4457FA57-250B-44AC-8655-05D46C5A3D8A}" dt="2023-06-04T11:56:32.892" v="6999"/>
          <ac:spMkLst>
            <pc:docMk/>
            <pc:sldMk cId="1443789472" sldId="230717696"/>
            <ac:spMk id="108" creationId="{4C7141DB-BDD0-4850-947A-52FA5B39AC19}"/>
          </ac:spMkLst>
        </pc:spChg>
        <pc:spChg chg="add del mod">
          <ac:chgData name="Manal El Bakkouri" userId="8b130982-2e3f-4164-b881-fd3a2e4b2453" providerId="ADAL" clId="{4457FA57-250B-44AC-8655-05D46C5A3D8A}" dt="2023-06-04T11:56:32.892" v="6999"/>
          <ac:spMkLst>
            <pc:docMk/>
            <pc:sldMk cId="1443789472" sldId="230717696"/>
            <ac:spMk id="109" creationId="{17A810E7-E8CC-4705-B0EA-A14AB71114C4}"/>
          </ac:spMkLst>
        </pc:spChg>
        <pc:spChg chg="add del mod">
          <ac:chgData name="Manal El Bakkouri" userId="8b130982-2e3f-4164-b881-fd3a2e4b2453" providerId="ADAL" clId="{4457FA57-250B-44AC-8655-05D46C5A3D8A}" dt="2023-06-04T11:56:32.892" v="6999"/>
          <ac:spMkLst>
            <pc:docMk/>
            <pc:sldMk cId="1443789472" sldId="230717696"/>
            <ac:spMk id="110" creationId="{27EDB9DF-A930-4FD4-8E94-39E9A0A178C8}"/>
          </ac:spMkLst>
        </pc:spChg>
        <pc:spChg chg="add del mod">
          <ac:chgData name="Manal El Bakkouri" userId="8b130982-2e3f-4164-b881-fd3a2e4b2453" providerId="ADAL" clId="{4457FA57-250B-44AC-8655-05D46C5A3D8A}" dt="2023-06-04T11:56:32.892" v="6999"/>
          <ac:spMkLst>
            <pc:docMk/>
            <pc:sldMk cId="1443789472" sldId="230717696"/>
            <ac:spMk id="111" creationId="{4906C13E-C89A-4BA7-977F-F9576319B1C5}"/>
          </ac:spMkLst>
        </pc:spChg>
        <pc:spChg chg="add del mod">
          <ac:chgData name="Manal El Bakkouri" userId="8b130982-2e3f-4164-b881-fd3a2e4b2453" providerId="ADAL" clId="{4457FA57-250B-44AC-8655-05D46C5A3D8A}" dt="2023-06-04T11:56:32.892" v="6999"/>
          <ac:spMkLst>
            <pc:docMk/>
            <pc:sldMk cId="1443789472" sldId="230717696"/>
            <ac:spMk id="112" creationId="{CEDE30C0-E2CA-4071-A6BD-9D73060BDD39}"/>
          </ac:spMkLst>
        </pc:spChg>
        <pc:spChg chg="add del mod">
          <ac:chgData name="Manal El Bakkouri" userId="8b130982-2e3f-4164-b881-fd3a2e4b2453" providerId="ADAL" clId="{4457FA57-250B-44AC-8655-05D46C5A3D8A}" dt="2023-06-04T11:56:32.892" v="6999"/>
          <ac:spMkLst>
            <pc:docMk/>
            <pc:sldMk cId="1443789472" sldId="230717696"/>
            <ac:spMk id="113" creationId="{5A2068AF-5B0F-4115-B6E1-5C3CF613A772}"/>
          </ac:spMkLst>
        </pc:spChg>
        <pc:spChg chg="add del mod">
          <ac:chgData name="Manal El Bakkouri" userId="8b130982-2e3f-4164-b881-fd3a2e4b2453" providerId="ADAL" clId="{4457FA57-250B-44AC-8655-05D46C5A3D8A}" dt="2023-06-04T11:56:32.892" v="6999"/>
          <ac:spMkLst>
            <pc:docMk/>
            <pc:sldMk cId="1443789472" sldId="230717696"/>
            <ac:spMk id="114" creationId="{FEE7DDA5-5837-4EDB-804A-936D0F7A9986}"/>
          </ac:spMkLst>
        </pc:spChg>
        <pc:spChg chg="add del mod">
          <ac:chgData name="Manal El Bakkouri" userId="8b130982-2e3f-4164-b881-fd3a2e4b2453" providerId="ADAL" clId="{4457FA57-250B-44AC-8655-05D46C5A3D8A}" dt="2023-06-04T11:56:32.892" v="6999"/>
          <ac:spMkLst>
            <pc:docMk/>
            <pc:sldMk cId="1443789472" sldId="230717696"/>
            <ac:spMk id="115" creationId="{4CF87C02-DC0A-4963-8B17-53BDFB979E7D}"/>
          </ac:spMkLst>
        </pc:spChg>
        <pc:spChg chg="add del mod">
          <ac:chgData name="Manal El Bakkouri" userId="8b130982-2e3f-4164-b881-fd3a2e4b2453" providerId="ADAL" clId="{4457FA57-250B-44AC-8655-05D46C5A3D8A}" dt="2023-06-04T11:56:32.892" v="6999"/>
          <ac:spMkLst>
            <pc:docMk/>
            <pc:sldMk cId="1443789472" sldId="230717696"/>
            <ac:spMk id="116" creationId="{46D1865F-CA93-403E-A333-95E06891852B}"/>
          </ac:spMkLst>
        </pc:spChg>
        <pc:spChg chg="add del mod">
          <ac:chgData name="Manal El Bakkouri" userId="8b130982-2e3f-4164-b881-fd3a2e4b2453" providerId="ADAL" clId="{4457FA57-250B-44AC-8655-05D46C5A3D8A}" dt="2023-06-04T11:56:32.892" v="6999"/>
          <ac:spMkLst>
            <pc:docMk/>
            <pc:sldMk cId="1443789472" sldId="230717696"/>
            <ac:spMk id="117" creationId="{446804F1-62BA-4F7E-BA9F-7A87CB19801D}"/>
          </ac:spMkLst>
        </pc:spChg>
        <pc:spChg chg="add del mod">
          <ac:chgData name="Manal El Bakkouri" userId="8b130982-2e3f-4164-b881-fd3a2e4b2453" providerId="ADAL" clId="{4457FA57-250B-44AC-8655-05D46C5A3D8A}" dt="2023-06-04T11:56:32.892" v="6999"/>
          <ac:spMkLst>
            <pc:docMk/>
            <pc:sldMk cId="1443789472" sldId="230717696"/>
            <ac:spMk id="118" creationId="{42F1CA03-75EC-4E39-B1E5-3ABBD59C7381}"/>
          </ac:spMkLst>
        </pc:spChg>
        <pc:spChg chg="add del mod">
          <ac:chgData name="Manal El Bakkouri" userId="8b130982-2e3f-4164-b881-fd3a2e4b2453" providerId="ADAL" clId="{4457FA57-250B-44AC-8655-05D46C5A3D8A}" dt="2023-06-04T11:56:32.892" v="6999"/>
          <ac:spMkLst>
            <pc:docMk/>
            <pc:sldMk cId="1443789472" sldId="230717696"/>
            <ac:spMk id="119" creationId="{FC31122D-6647-450E-8B3B-C9E2EAA75AB9}"/>
          </ac:spMkLst>
        </pc:spChg>
        <pc:spChg chg="add del mod">
          <ac:chgData name="Manal El Bakkouri" userId="8b130982-2e3f-4164-b881-fd3a2e4b2453" providerId="ADAL" clId="{4457FA57-250B-44AC-8655-05D46C5A3D8A}" dt="2023-06-04T11:56:32.892" v="6999"/>
          <ac:spMkLst>
            <pc:docMk/>
            <pc:sldMk cId="1443789472" sldId="230717696"/>
            <ac:spMk id="120" creationId="{01A4A185-5C84-48CF-BA21-DD7192D6E1F3}"/>
          </ac:spMkLst>
        </pc:spChg>
        <pc:spChg chg="add del mod">
          <ac:chgData name="Manal El Bakkouri" userId="8b130982-2e3f-4164-b881-fd3a2e4b2453" providerId="ADAL" clId="{4457FA57-250B-44AC-8655-05D46C5A3D8A}" dt="2023-06-04T11:56:32.892" v="6999"/>
          <ac:spMkLst>
            <pc:docMk/>
            <pc:sldMk cId="1443789472" sldId="230717696"/>
            <ac:spMk id="121" creationId="{C1FC1976-54BE-4DC9-AE62-0C7228998899}"/>
          </ac:spMkLst>
        </pc:spChg>
        <pc:spChg chg="add del mod">
          <ac:chgData name="Manal El Bakkouri" userId="8b130982-2e3f-4164-b881-fd3a2e4b2453" providerId="ADAL" clId="{4457FA57-250B-44AC-8655-05D46C5A3D8A}" dt="2023-06-04T11:56:32.892" v="6999"/>
          <ac:spMkLst>
            <pc:docMk/>
            <pc:sldMk cId="1443789472" sldId="230717696"/>
            <ac:spMk id="122" creationId="{A3D1DFD4-C9D0-4889-BFA5-A5B0CB0C7B34}"/>
          </ac:spMkLst>
        </pc:spChg>
        <pc:spChg chg="add del mod">
          <ac:chgData name="Manal El Bakkouri" userId="8b130982-2e3f-4164-b881-fd3a2e4b2453" providerId="ADAL" clId="{4457FA57-250B-44AC-8655-05D46C5A3D8A}" dt="2023-06-04T11:56:32.892" v="6999"/>
          <ac:spMkLst>
            <pc:docMk/>
            <pc:sldMk cId="1443789472" sldId="230717696"/>
            <ac:spMk id="123" creationId="{56BE60C8-5955-4B1D-9AAF-274D903FADB5}"/>
          </ac:spMkLst>
        </pc:spChg>
        <pc:spChg chg="add del mod">
          <ac:chgData name="Manal El Bakkouri" userId="8b130982-2e3f-4164-b881-fd3a2e4b2453" providerId="ADAL" clId="{4457FA57-250B-44AC-8655-05D46C5A3D8A}" dt="2023-06-04T11:56:32.892" v="6999"/>
          <ac:spMkLst>
            <pc:docMk/>
            <pc:sldMk cId="1443789472" sldId="230717696"/>
            <ac:spMk id="124" creationId="{B05E057B-591A-427F-AF76-951CE78EBDEF}"/>
          </ac:spMkLst>
        </pc:spChg>
        <pc:spChg chg="add del mod">
          <ac:chgData name="Manal El Bakkouri" userId="8b130982-2e3f-4164-b881-fd3a2e4b2453" providerId="ADAL" clId="{4457FA57-250B-44AC-8655-05D46C5A3D8A}" dt="2023-06-04T11:56:32.892" v="6999"/>
          <ac:spMkLst>
            <pc:docMk/>
            <pc:sldMk cId="1443789472" sldId="230717696"/>
            <ac:spMk id="125" creationId="{F847614C-F91E-403C-9847-9620AC469E29}"/>
          </ac:spMkLst>
        </pc:spChg>
        <pc:spChg chg="add del mod">
          <ac:chgData name="Manal El Bakkouri" userId="8b130982-2e3f-4164-b881-fd3a2e4b2453" providerId="ADAL" clId="{4457FA57-250B-44AC-8655-05D46C5A3D8A}" dt="2023-06-04T11:56:32.892" v="6999"/>
          <ac:spMkLst>
            <pc:docMk/>
            <pc:sldMk cId="1443789472" sldId="230717696"/>
            <ac:spMk id="126" creationId="{0DFE9F94-1DC1-407E-853E-01EB3B7593C2}"/>
          </ac:spMkLst>
        </pc:spChg>
        <pc:spChg chg="add del mod">
          <ac:chgData name="Manal El Bakkouri" userId="8b130982-2e3f-4164-b881-fd3a2e4b2453" providerId="ADAL" clId="{4457FA57-250B-44AC-8655-05D46C5A3D8A}" dt="2023-06-04T11:56:32.892" v="6999"/>
          <ac:spMkLst>
            <pc:docMk/>
            <pc:sldMk cId="1443789472" sldId="230717696"/>
            <ac:spMk id="127" creationId="{D394006C-599F-4A95-B259-38B162BEBE6C}"/>
          </ac:spMkLst>
        </pc:spChg>
        <pc:spChg chg="add del mod">
          <ac:chgData name="Manal El Bakkouri" userId="8b130982-2e3f-4164-b881-fd3a2e4b2453" providerId="ADAL" clId="{4457FA57-250B-44AC-8655-05D46C5A3D8A}" dt="2023-06-04T11:56:32.892" v="6999"/>
          <ac:spMkLst>
            <pc:docMk/>
            <pc:sldMk cId="1443789472" sldId="230717696"/>
            <ac:spMk id="128" creationId="{EAEFB09D-9016-498D-8A5A-826D47B236C0}"/>
          </ac:spMkLst>
        </pc:spChg>
        <pc:spChg chg="add del mod">
          <ac:chgData name="Manal El Bakkouri" userId="8b130982-2e3f-4164-b881-fd3a2e4b2453" providerId="ADAL" clId="{4457FA57-250B-44AC-8655-05D46C5A3D8A}" dt="2023-06-04T11:56:32.892" v="6999"/>
          <ac:spMkLst>
            <pc:docMk/>
            <pc:sldMk cId="1443789472" sldId="230717696"/>
            <ac:spMk id="129" creationId="{26C503CD-BC13-4282-99EF-80606DCD1F63}"/>
          </ac:spMkLst>
        </pc:spChg>
        <pc:spChg chg="add del mod">
          <ac:chgData name="Manal El Bakkouri" userId="8b130982-2e3f-4164-b881-fd3a2e4b2453" providerId="ADAL" clId="{4457FA57-250B-44AC-8655-05D46C5A3D8A}" dt="2023-06-04T11:56:32.892" v="6999"/>
          <ac:spMkLst>
            <pc:docMk/>
            <pc:sldMk cId="1443789472" sldId="230717696"/>
            <ac:spMk id="130" creationId="{92119927-2F83-4257-A808-7B8767D02B0A}"/>
          </ac:spMkLst>
        </pc:spChg>
        <pc:spChg chg="add del mod">
          <ac:chgData name="Manal El Bakkouri" userId="8b130982-2e3f-4164-b881-fd3a2e4b2453" providerId="ADAL" clId="{4457FA57-250B-44AC-8655-05D46C5A3D8A}" dt="2023-06-04T11:56:32.892" v="6999"/>
          <ac:spMkLst>
            <pc:docMk/>
            <pc:sldMk cId="1443789472" sldId="230717696"/>
            <ac:spMk id="131" creationId="{2F9BC27D-CF09-47F2-9C8C-F2F15A2F1D0C}"/>
          </ac:spMkLst>
        </pc:spChg>
        <pc:spChg chg="add del mod">
          <ac:chgData name="Manal El Bakkouri" userId="8b130982-2e3f-4164-b881-fd3a2e4b2453" providerId="ADAL" clId="{4457FA57-250B-44AC-8655-05D46C5A3D8A}" dt="2023-06-04T11:56:32.892" v="6999"/>
          <ac:spMkLst>
            <pc:docMk/>
            <pc:sldMk cId="1443789472" sldId="230717696"/>
            <ac:spMk id="132" creationId="{7616EB4A-4467-475C-8A3C-A5BCC432C011}"/>
          </ac:spMkLst>
        </pc:spChg>
        <pc:spChg chg="add del mod">
          <ac:chgData name="Manal El Bakkouri" userId="8b130982-2e3f-4164-b881-fd3a2e4b2453" providerId="ADAL" clId="{4457FA57-250B-44AC-8655-05D46C5A3D8A}" dt="2023-06-04T11:56:32.892" v="6999"/>
          <ac:spMkLst>
            <pc:docMk/>
            <pc:sldMk cId="1443789472" sldId="230717696"/>
            <ac:spMk id="133" creationId="{5D12818B-2303-4042-8756-0E6C22AE9149}"/>
          </ac:spMkLst>
        </pc:spChg>
        <pc:spChg chg="add del mod">
          <ac:chgData name="Manal El Bakkouri" userId="8b130982-2e3f-4164-b881-fd3a2e4b2453" providerId="ADAL" clId="{4457FA57-250B-44AC-8655-05D46C5A3D8A}" dt="2023-06-04T11:56:32.892" v="6999"/>
          <ac:spMkLst>
            <pc:docMk/>
            <pc:sldMk cId="1443789472" sldId="230717696"/>
            <ac:spMk id="134" creationId="{A51DB05B-D996-4B51-B0A8-75D909D8400E}"/>
          </ac:spMkLst>
        </pc:spChg>
        <pc:spChg chg="add del mod">
          <ac:chgData name="Manal El Bakkouri" userId="8b130982-2e3f-4164-b881-fd3a2e4b2453" providerId="ADAL" clId="{4457FA57-250B-44AC-8655-05D46C5A3D8A}" dt="2023-06-04T11:56:32.892" v="6999"/>
          <ac:spMkLst>
            <pc:docMk/>
            <pc:sldMk cId="1443789472" sldId="230717696"/>
            <ac:spMk id="135" creationId="{85373533-C921-4DFC-8B29-7F448B2A4D07}"/>
          </ac:spMkLst>
        </pc:spChg>
        <pc:spChg chg="add del mod">
          <ac:chgData name="Manal El Bakkouri" userId="8b130982-2e3f-4164-b881-fd3a2e4b2453" providerId="ADAL" clId="{4457FA57-250B-44AC-8655-05D46C5A3D8A}" dt="2023-06-04T11:56:32.892" v="6999"/>
          <ac:spMkLst>
            <pc:docMk/>
            <pc:sldMk cId="1443789472" sldId="230717696"/>
            <ac:spMk id="136" creationId="{061475F7-743E-4BAD-B662-004A3AFDE734}"/>
          </ac:spMkLst>
        </pc:spChg>
        <pc:spChg chg="add del mod">
          <ac:chgData name="Manal El Bakkouri" userId="8b130982-2e3f-4164-b881-fd3a2e4b2453" providerId="ADAL" clId="{4457FA57-250B-44AC-8655-05D46C5A3D8A}" dt="2023-06-04T11:56:32.892" v="6999"/>
          <ac:spMkLst>
            <pc:docMk/>
            <pc:sldMk cId="1443789472" sldId="230717696"/>
            <ac:spMk id="137" creationId="{4DB02F20-650C-468F-B897-110A5295532C}"/>
          </ac:spMkLst>
        </pc:spChg>
        <pc:spChg chg="add del mod">
          <ac:chgData name="Manal El Bakkouri" userId="8b130982-2e3f-4164-b881-fd3a2e4b2453" providerId="ADAL" clId="{4457FA57-250B-44AC-8655-05D46C5A3D8A}" dt="2023-06-04T11:56:32.892" v="6999"/>
          <ac:spMkLst>
            <pc:docMk/>
            <pc:sldMk cId="1443789472" sldId="230717696"/>
            <ac:spMk id="138" creationId="{435A8DE8-7D62-4480-9C67-832FA81DBFAD}"/>
          </ac:spMkLst>
        </pc:spChg>
        <pc:spChg chg="add del mod">
          <ac:chgData name="Manal El Bakkouri" userId="8b130982-2e3f-4164-b881-fd3a2e4b2453" providerId="ADAL" clId="{4457FA57-250B-44AC-8655-05D46C5A3D8A}" dt="2023-06-04T11:56:32.892" v="6999"/>
          <ac:spMkLst>
            <pc:docMk/>
            <pc:sldMk cId="1443789472" sldId="230717696"/>
            <ac:spMk id="139" creationId="{52EBB973-300E-41D3-A7C9-B2C93F5A023B}"/>
          </ac:spMkLst>
        </pc:spChg>
        <pc:spChg chg="add del mod">
          <ac:chgData name="Manal El Bakkouri" userId="8b130982-2e3f-4164-b881-fd3a2e4b2453" providerId="ADAL" clId="{4457FA57-250B-44AC-8655-05D46C5A3D8A}" dt="2023-06-04T11:56:32.892" v="6999"/>
          <ac:spMkLst>
            <pc:docMk/>
            <pc:sldMk cId="1443789472" sldId="230717696"/>
            <ac:spMk id="140" creationId="{93170E47-9502-47AC-B9A2-3C5B751A41FB}"/>
          </ac:spMkLst>
        </pc:spChg>
        <pc:spChg chg="add del mod">
          <ac:chgData name="Manal El Bakkouri" userId="8b130982-2e3f-4164-b881-fd3a2e4b2453" providerId="ADAL" clId="{4457FA57-250B-44AC-8655-05D46C5A3D8A}" dt="2023-06-04T11:56:32.892" v="6999"/>
          <ac:spMkLst>
            <pc:docMk/>
            <pc:sldMk cId="1443789472" sldId="230717696"/>
            <ac:spMk id="141" creationId="{3E2913FE-ADB4-4267-99B8-22C6FE55A011}"/>
          </ac:spMkLst>
        </pc:spChg>
        <pc:spChg chg="add del mod">
          <ac:chgData name="Manal El Bakkouri" userId="8b130982-2e3f-4164-b881-fd3a2e4b2453" providerId="ADAL" clId="{4457FA57-250B-44AC-8655-05D46C5A3D8A}" dt="2023-06-04T11:56:32.892" v="6999"/>
          <ac:spMkLst>
            <pc:docMk/>
            <pc:sldMk cId="1443789472" sldId="230717696"/>
            <ac:spMk id="142" creationId="{3BA847EF-3B9C-4DDD-B7F9-B980DBAA5B3B}"/>
          </ac:spMkLst>
        </pc:spChg>
        <pc:spChg chg="add del mod">
          <ac:chgData name="Manal El Bakkouri" userId="8b130982-2e3f-4164-b881-fd3a2e4b2453" providerId="ADAL" clId="{4457FA57-250B-44AC-8655-05D46C5A3D8A}" dt="2023-06-04T11:56:32.892" v="6999"/>
          <ac:spMkLst>
            <pc:docMk/>
            <pc:sldMk cId="1443789472" sldId="230717696"/>
            <ac:spMk id="143" creationId="{15AEF3DB-C0C7-4E2C-9EA8-A55566796A6C}"/>
          </ac:spMkLst>
        </pc:spChg>
        <pc:spChg chg="add del mod">
          <ac:chgData name="Manal El Bakkouri" userId="8b130982-2e3f-4164-b881-fd3a2e4b2453" providerId="ADAL" clId="{4457FA57-250B-44AC-8655-05D46C5A3D8A}" dt="2023-06-04T11:56:32.892" v="6999"/>
          <ac:spMkLst>
            <pc:docMk/>
            <pc:sldMk cId="1443789472" sldId="230717696"/>
            <ac:spMk id="144" creationId="{105396FB-334F-4392-B113-533AEE12929A}"/>
          </ac:spMkLst>
        </pc:spChg>
        <pc:spChg chg="add del mod">
          <ac:chgData name="Manal El Bakkouri" userId="8b130982-2e3f-4164-b881-fd3a2e4b2453" providerId="ADAL" clId="{4457FA57-250B-44AC-8655-05D46C5A3D8A}" dt="2023-06-04T11:56:32.892" v="6999"/>
          <ac:spMkLst>
            <pc:docMk/>
            <pc:sldMk cId="1443789472" sldId="230717696"/>
            <ac:spMk id="145" creationId="{8E6FB9CB-8C62-4F98-B367-4BF2BBD51CC5}"/>
          </ac:spMkLst>
        </pc:spChg>
        <pc:spChg chg="add del mod">
          <ac:chgData name="Manal El Bakkouri" userId="8b130982-2e3f-4164-b881-fd3a2e4b2453" providerId="ADAL" clId="{4457FA57-250B-44AC-8655-05D46C5A3D8A}" dt="2023-06-04T11:56:32.892" v="6999"/>
          <ac:spMkLst>
            <pc:docMk/>
            <pc:sldMk cId="1443789472" sldId="230717696"/>
            <ac:spMk id="146" creationId="{F945413A-CCED-4793-9148-8D912DB71F12}"/>
          </ac:spMkLst>
        </pc:spChg>
        <pc:spChg chg="add del mod">
          <ac:chgData name="Manal El Bakkouri" userId="8b130982-2e3f-4164-b881-fd3a2e4b2453" providerId="ADAL" clId="{4457FA57-250B-44AC-8655-05D46C5A3D8A}" dt="2023-06-04T11:56:32.892" v="6999"/>
          <ac:spMkLst>
            <pc:docMk/>
            <pc:sldMk cId="1443789472" sldId="230717696"/>
            <ac:spMk id="147" creationId="{7C22A227-D0F3-4D80-8119-9C6D01FA2414}"/>
          </ac:spMkLst>
        </pc:spChg>
        <pc:spChg chg="add del mod">
          <ac:chgData name="Manal El Bakkouri" userId="8b130982-2e3f-4164-b881-fd3a2e4b2453" providerId="ADAL" clId="{4457FA57-250B-44AC-8655-05D46C5A3D8A}" dt="2023-06-04T11:56:32.892" v="6999"/>
          <ac:spMkLst>
            <pc:docMk/>
            <pc:sldMk cId="1443789472" sldId="230717696"/>
            <ac:spMk id="148" creationId="{04745EF7-7B33-44E2-8E60-0B29EEA72439}"/>
          </ac:spMkLst>
        </pc:spChg>
        <pc:spChg chg="add del mod">
          <ac:chgData name="Manal El Bakkouri" userId="8b130982-2e3f-4164-b881-fd3a2e4b2453" providerId="ADAL" clId="{4457FA57-250B-44AC-8655-05D46C5A3D8A}" dt="2023-06-04T11:56:32.892" v="6999"/>
          <ac:spMkLst>
            <pc:docMk/>
            <pc:sldMk cId="1443789472" sldId="230717696"/>
            <ac:spMk id="149" creationId="{B6F61348-87C4-47A3-B9B5-02D0CC12BDE1}"/>
          </ac:spMkLst>
        </pc:spChg>
        <pc:spChg chg="add del mod">
          <ac:chgData name="Manal El Bakkouri" userId="8b130982-2e3f-4164-b881-fd3a2e4b2453" providerId="ADAL" clId="{4457FA57-250B-44AC-8655-05D46C5A3D8A}" dt="2023-06-04T11:56:32.892" v="6999"/>
          <ac:spMkLst>
            <pc:docMk/>
            <pc:sldMk cId="1443789472" sldId="230717696"/>
            <ac:spMk id="150" creationId="{F3CCA9CC-3281-4854-82A4-A606331BED28}"/>
          </ac:spMkLst>
        </pc:spChg>
        <pc:spChg chg="add del mod">
          <ac:chgData name="Manal El Bakkouri" userId="8b130982-2e3f-4164-b881-fd3a2e4b2453" providerId="ADAL" clId="{4457FA57-250B-44AC-8655-05D46C5A3D8A}" dt="2023-06-04T11:56:32.892" v="6999"/>
          <ac:spMkLst>
            <pc:docMk/>
            <pc:sldMk cId="1443789472" sldId="230717696"/>
            <ac:spMk id="151" creationId="{569B011C-5A05-4710-829E-394772A36A00}"/>
          </ac:spMkLst>
        </pc:spChg>
        <pc:spChg chg="add del mod">
          <ac:chgData name="Manal El Bakkouri" userId="8b130982-2e3f-4164-b881-fd3a2e4b2453" providerId="ADAL" clId="{4457FA57-250B-44AC-8655-05D46C5A3D8A}" dt="2023-06-04T11:56:32.892" v="6999"/>
          <ac:spMkLst>
            <pc:docMk/>
            <pc:sldMk cId="1443789472" sldId="230717696"/>
            <ac:spMk id="152" creationId="{94CD23A3-F35C-43F4-BB87-8EC1A1E9B563}"/>
          </ac:spMkLst>
        </pc:spChg>
        <pc:spChg chg="add del mod">
          <ac:chgData name="Manal El Bakkouri" userId="8b130982-2e3f-4164-b881-fd3a2e4b2453" providerId="ADAL" clId="{4457FA57-250B-44AC-8655-05D46C5A3D8A}" dt="2023-06-04T11:56:32.892" v="6999"/>
          <ac:spMkLst>
            <pc:docMk/>
            <pc:sldMk cId="1443789472" sldId="230717696"/>
            <ac:spMk id="153" creationId="{85AA8157-B859-4B46-B76B-0C217C071717}"/>
          </ac:spMkLst>
        </pc:spChg>
        <pc:spChg chg="add del mod">
          <ac:chgData name="Manal El Bakkouri" userId="8b130982-2e3f-4164-b881-fd3a2e4b2453" providerId="ADAL" clId="{4457FA57-250B-44AC-8655-05D46C5A3D8A}" dt="2023-06-04T11:56:32.892" v="6999"/>
          <ac:spMkLst>
            <pc:docMk/>
            <pc:sldMk cId="1443789472" sldId="230717696"/>
            <ac:spMk id="154" creationId="{33A38952-9577-4A2F-8A06-FBE5A0B5D517}"/>
          </ac:spMkLst>
        </pc:spChg>
        <pc:spChg chg="add del mod">
          <ac:chgData name="Manal El Bakkouri" userId="8b130982-2e3f-4164-b881-fd3a2e4b2453" providerId="ADAL" clId="{4457FA57-250B-44AC-8655-05D46C5A3D8A}" dt="2023-06-04T11:56:32.892" v="6999"/>
          <ac:spMkLst>
            <pc:docMk/>
            <pc:sldMk cId="1443789472" sldId="230717696"/>
            <ac:spMk id="155" creationId="{3A9F2299-D803-4261-86BE-FD9E98ED0D55}"/>
          </ac:spMkLst>
        </pc:spChg>
        <pc:spChg chg="add del mod">
          <ac:chgData name="Manal El Bakkouri" userId="8b130982-2e3f-4164-b881-fd3a2e4b2453" providerId="ADAL" clId="{4457FA57-250B-44AC-8655-05D46C5A3D8A}" dt="2023-06-04T11:56:32.892" v="6999"/>
          <ac:spMkLst>
            <pc:docMk/>
            <pc:sldMk cId="1443789472" sldId="230717696"/>
            <ac:spMk id="156" creationId="{38466C21-8011-4212-A171-407CD479266A}"/>
          </ac:spMkLst>
        </pc:spChg>
        <pc:spChg chg="add del mod">
          <ac:chgData name="Manal El Bakkouri" userId="8b130982-2e3f-4164-b881-fd3a2e4b2453" providerId="ADAL" clId="{4457FA57-250B-44AC-8655-05D46C5A3D8A}" dt="2023-06-04T11:56:32.892" v="6999"/>
          <ac:spMkLst>
            <pc:docMk/>
            <pc:sldMk cId="1443789472" sldId="230717696"/>
            <ac:spMk id="157" creationId="{9189E502-6C6A-40FF-9956-6AA3A189BAAF}"/>
          </ac:spMkLst>
        </pc:spChg>
        <pc:spChg chg="add del mod">
          <ac:chgData name="Manal El Bakkouri" userId="8b130982-2e3f-4164-b881-fd3a2e4b2453" providerId="ADAL" clId="{4457FA57-250B-44AC-8655-05D46C5A3D8A}" dt="2023-06-04T11:56:32.892" v="6999"/>
          <ac:spMkLst>
            <pc:docMk/>
            <pc:sldMk cId="1443789472" sldId="230717696"/>
            <ac:spMk id="158" creationId="{159FA8EA-CAE5-47B5-9591-3DA5FC686546}"/>
          </ac:spMkLst>
        </pc:spChg>
        <pc:spChg chg="add del mod">
          <ac:chgData name="Manal El Bakkouri" userId="8b130982-2e3f-4164-b881-fd3a2e4b2453" providerId="ADAL" clId="{4457FA57-250B-44AC-8655-05D46C5A3D8A}" dt="2023-06-04T11:56:32.892" v="6999"/>
          <ac:spMkLst>
            <pc:docMk/>
            <pc:sldMk cId="1443789472" sldId="230717696"/>
            <ac:spMk id="159" creationId="{F259E8FD-1C72-43CC-897A-EE872106DB0A}"/>
          </ac:spMkLst>
        </pc:spChg>
        <pc:spChg chg="add del mod">
          <ac:chgData name="Manal El Bakkouri" userId="8b130982-2e3f-4164-b881-fd3a2e4b2453" providerId="ADAL" clId="{4457FA57-250B-44AC-8655-05D46C5A3D8A}" dt="2023-06-04T11:56:32.892" v="6999"/>
          <ac:spMkLst>
            <pc:docMk/>
            <pc:sldMk cId="1443789472" sldId="230717696"/>
            <ac:spMk id="160" creationId="{6E56EC8D-E8B6-403F-9D17-7C5D300BEF84}"/>
          </ac:spMkLst>
        </pc:spChg>
        <pc:spChg chg="add del mod">
          <ac:chgData name="Manal El Bakkouri" userId="8b130982-2e3f-4164-b881-fd3a2e4b2453" providerId="ADAL" clId="{4457FA57-250B-44AC-8655-05D46C5A3D8A}" dt="2023-06-04T11:56:32.892" v="6999"/>
          <ac:spMkLst>
            <pc:docMk/>
            <pc:sldMk cId="1443789472" sldId="230717696"/>
            <ac:spMk id="161" creationId="{FEC5CFFA-EF10-43E4-8B3F-FB6A937525EC}"/>
          </ac:spMkLst>
        </pc:spChg>
        <pc:spChg chg="add del mod">
          <ac:chgData name="Manal El Bakkouri" userId="8b130982-2e3f-4164-b881-fd3a2e4b2453" providerId="ADAL" clId="{4457FA57-250B-44AC-8655-05D46C5A3D8A}" dt="2023-06-04T11:56:32.892" v="6999"/>
          <ac:spMkLst>
            <pc:docMk/>
            <pc:sldMk cId="1443789472" sldId="230717696"/>
            <ac:spMk id="162" creationId="{956D0EEE-C37D-4B80-91E7-16BEEF05A1C8}"/>
          </ac:spMkLst>
        </pc:spChg>
        <pc:spChg chg="add del mod">
          <ac:chgData name="Manal El Bakkouri" userId="8b130982-2e3f-4164-b881-fd3a2e4b2453" providerId="ADAL" clId="{4457FA57-250B-44AC-8655-05D46C5A3D8A}" dt="2023-06-04T11:56:32.892" v="6999"/>
          <ac:spMkLst>
            <pc:docMk/>
            <pc:sldMk cId="1443789472" sldId="230717696"/>
            <ac:spMk id="163" creationId="{4F587143-51AD-4A49-972B-220D8D550683}"/>
          </ac:spMkLst>
        </pc:spChg>
        <pc:spChg chg="add del mod">
          <ac:chgData name="Manal El Bakkouri" userId="8b130982-2e3f-4164-b881-fd3a2e4b2453" providerId="ADAL" clId="{4457FA57-250B-44AC-8655-05D46C5A3D8A}" dt="2023-06-04T11:56:32.892" v="6999"/>
          <ac:spMkLst>
            <pc:docMk/>
            <pc:sldMk cId="1443789472" sldId="230717696"/>
            <ac:spMk id="164" creationId="{E3A276EF-65EB-4047-B2CE-D320000B6F4D}"/>
          </ac:spMkLst>
        </pc:spChg>
        <pc:spChg chg="add del mod">
          <ac:chgData name="Manal El Bakkouri" userId="8b130982-2e3f-4164-b881-fd3a2e4b2453" providerId="ADAL" clId="{4457FA57-250B-44AC-8655-05D46C5A3D8A}" dt="2023-06-04T11:56:32.892" v="6999"/>
          <ac:spMkLst>
            <pc:docMk/>
            <pc:sldMk cId="1443789472" sldId="230717696"/>
            <ac:spMk id="165" creationId="{3CC57CA3-6593-43E3-82BC-97A0BE19C390}"/>
          </ac:spMkLst>
        </pc:spChg>
        <pc:spChg chg="add del mod">
          <ac:chgData name="Manal El Bakkouri" userId="8b130982-2e3f-4164-b881-fd3a2e4b2453" providerId="ADAL" clId="{4457FA57-250B-44AC-8655-05D46C5A3D8A}" dt="2023-06-04T11:56:32.892" v="6999"/>
          <ac:spMkLst>
            <pc:docMk/>
            <pc:sldMk cId="1443789472" sldId="230717696"/>
            <ac:spMk id="166" creationId="{358899CB-B212-4010-900D-4F0A0B5834C1}"/>
          </ac:spMkLst>
        </pc:spChg>
        <pc:spChg chg="add del mod">
          <ac:chgData name="Manal El Bakkouri" userId="8b130982-2e3f-4164-b881-fd3a2e4b2453" providerId="ADAL" clId="{4457FA57-250B-44AC-8655-05D46C5A3D8A}" dt="2023-06-04T11:56:32.892" v="6999"/>
          <ac:spMkLst>
            <pc:docMk/>
            <pc:sldMk cId="1443789472" sldId="230717696"/>
            <ac:spMk id="167" creationId="{11D7BF12-1809-4298-9BB9-8A0333CFD3C3}"/>
          </ac:spMkLst>
        </pc:spChg>
        <pc:spChg chg="add del mod">
          <ac:chgData name="Manal El Bakkouri" userId="8b130982-2e3f-4164-b881-fd3a2e4b2453" providerId="ADAL" clId="{4457FA57-250B-44AC-8655-05D46C5A3D8A}" dt="2023-06-04T11:56:32.892" v="6999"/>
          <ac:spMkLst>
            <pc:docMk/>
            <pc:sldMk cId="1443789472" sldId="230717696"/>
            <ac:spMk id="168" creationId="{FE0A0BDD-00C0-4045-BA78-0C7482BB6386}"/>
          </ac:spMkLst>
        </pc:spChg>
        <pc:spChg chg="add del mod">
          <ac:chgData name="Manal El Bakkouri" userId="8b130982-2e3f-4164-b881-fd3a2e4b2453" providerId="ADAL" clId="{4457FA57-250B-44AC-8655-05D46C5A3D8A}" dt="2023-06-04T11:56:32.892" v="6999"/>
          <ac:spMkLst>
            <pc:docMk/>
            <pc:sldMk cId="1443789472" sldId="230717696"/>
            <ac:spMk id="169" creationId="{F86F91FE-5BC6-4473-A22C-04E90B5005D3}"/>
          </ac:spMkLst>
        </pc:spChg>
        <pc:spChg chg="add del mod">
          <ac:chgData name="Manal El Bakkouri" userId="8b130982-2e3f-4164-b881-fd3a2e4b2453" providerId="ADAL" clId="{4457FA57-250B-44AC-8655-05D46C5A3D8A}" dt="2023-06-04T11:56:32.892" v="6999"/>
          <ac:spMkLst>
            <pc:docMk/>
            <pc:sldMk cId="1443789472" sldId="230717696"/>
            <ac:spMk id="170" creationId="{7623A529-3B42-4FB9-BD1D-6AC90CB540EA}"/>
          </ac:spMkLst>
        </pc:spChg>
        <pc:spChg chg="add del mod">
          <ac:chgData name="Manal El Bakkouri" userId="8b130982-2e3f-4164-b881-fd3a2e4b2453" providerId="ADAL" clId="{4457FA57-250B-44AC-8655-05D46C5A3D8A}" dt="2023-06-04T11:56:32.892" v="6999"/>
          <ac:spMkLst>
            <pc:docMk/>
            <pc:sldMk cId="1443789472" sldId="230717696"/>
            <ac:spMk id="171" creationId="{2E708F2B-1569-4691-AE17-B8DC679ECB4F}"/>
          </ac:spMkLst>
        </pc:spChg>
        <pc:spChg chg="add del mod">
          <ac:chgData name="Manal El Bakkouri" userId="8b130982-2e3f-4164-b881-fd3a2e4b2453" providerId="ADAL" clId="{4457FA57-250B-44AC-8655-05D46C5A3D8A}" dt="2023-06-04T11:56:32.892" v="6999"/>
          <ac:spMkLst>
            <pc:docMk/>
            <pc:sldMk cId="1443789472" sldId="230717696"/>
            <ac:spMk id="172" creationId="{EE654A8E-9BC7-4089-B9B2-130102D259C9}"/>
          </ac:spMkLst>
        </pc:spChg>
        <pc:spChg chg="add del mod">
          <ac:chgData name="Manal El Bakkouri" userId="8b130982-2e3f-4164-b881-fd3a2e4b2453" providerId="ADAL" clId="{4457FA57-250B-44AC-8655-05D46C5A3D8A}" dt="2023-06-04T11:56:32.892" v="6999"/>
          <ac:spMkLst>
            <pc:docMk/>
            <pc:sldMk cId="1443789472" sldId="230717696"/>
            <ac:spMk id="173" creationId="{E043EFFE-1B00-4958-B050-4F1C4125E8B8}"/>
          </ac:spMkLst>
        </pc:spChg>
        <pc:spChg chg="add del mod">
          <ac:chgData name="Manal El Bakkouri" userId="8b130982-2e3f-4164-b881-fd3a2e4b2453" providerId="ADAL" clId="{4457FA57-250B-44AC-8655-05D46C5A3D8A}" dt="2023-06-04T11:56:32.892" v="6999"/>
          <ac:spMkLst>
            <pc:docMk/>
            <pc:sldMk cId="1443789472" sldId="230717696"/>
            <ac:spMk id="174" creationId="{8638735F-0728-4B1F-8A12-628536AD005F}"/>
          </ac:spMkLst>
        </pc:spChg>
        <pc:spChg chg="add del mod">
          <ac:chgData name="Manal El Bakkouri" userId="8b130982-2e3f-4164-b881-fd3a2e4b2453" providerId="ADAL" clId="{4457FA57-250B-44AC-8655-05D46C5A3D8A}" dt="2023-06-04T11:56:32.892" v="6999"/>
          <ac:spMkLst>
            <pc:docMk/>
            <pc:sldMk cId="1443789472" sldId="230717696"/>
            <ac:spMk id="175" creationId="{DAD0B858-3AC8-4D57-9A38-BA02BB602C71}"/>
          </ac:spMkLst>
        </pc:spChg>
        <pc:spChg chg="add del mod">
          <ac:chgData name="Manal El Bakkouri" userId="8b130982-2e3f-4164-b881-fd3a2e4b2453" providerId="ADAL" clId="{4457FA57-250B-44AC-8655-05D46C5A3D8A}" dt="2023-06-04T11:56:32.892" v="6999"/>
          <ac:spMkLst>
            <pc:docMk/>
            <pc:sldMk cId="1443789472" sldId="230717696"/>
            <ac:spMk id="176" creationId="{38BC101B-E0A3-4493-B949-DC9008E71405}"/>
          </ac:spMkLst>
        </pc:spChg>
        <pc:spChg chg="add del mod">
          <ac:chgData name="Manal El Bakkouri" userId="8b130982-2e3f-4164-b881-fd3a2e4b2453" providerId="ADAL" clId="{4457FA57-250B-44AC-8655-05D46C5A3D8A}" dt="2023-06-04T11:56:32.892" v="6999"/>
          <ac:spMkLst>
            <pc:docMk/>
            <pc:sldMk cId="1443789472" sldId="230717696"/>
            <ac:spMk id="177" creationId="{4F167617-9133-41C3-98C1-4176B220CB05}"/>
          </ac:spMkLst>
        </pc:spChg>
        <pc:spChg chg="add del mod">
          <ac:chgData name="Manal El Bakkouri" userId="8b130982-2e3f-4164-b881-fd3a2e4b2453" providerId="ADAL" clId="{4457FA57-250B-44AC-8655-05D46C5A3D8A}" dt="2023-06-04T11:56:32.892" v="6999"/>
          <ac:spMkLst>
            <pc:docMk/>
            <pc:sldMk cId="1443789472" sldId="230717696"/>
            <ac:spMk id="178" creationId="{E461F479-44FF-4282-B00B-74DC0C5E1A1B}"/>
          </ac:spMkLst>
        </pc:spChg>
        <pc:spChg chg="add del mod">
          <ac:chgData name="Manal El Bakkouri" userId="8b130982-2e3f-4164-b881-fd3a2e4b2453" providerId="ADAL" clId="{4457FA57-250B-44AC-8655-05D46C5A3D8A}" dt="2023-06-04T11:56:32.892" v="6999"/>
          <ac:spMkLst>
            <pc:docMk/>
            <pc:sldMk cId="1443789472" sldId="230717696"/>
            <ac:spMk id="179" creationId="{5FC2D5E4-2F35-4199-BEB2-56CF60FEF56B}"/>
          </ac:spMkLst>
        </pc:spChg>
        <pc:spChg chg="add del mod">
          <ac:chgData name="Manal El Bakkouri" userId="8b130982-2e3f-4164-b881-fd3a2e4b2453" providerId="ADAL" clId="{4457FA57-250B-44AC-8655-05D46C5A3D8A}" dt="2023-06-04T11:56:32.892" v="6999"/>
          <ac:spMkLst>
            <pc:docMk/>
            <pc:sldMk cId="1443789472" sldId="230717696"/>
            <ac:spMk id="180" creationId="{07A45A8D-4108-4372-B81C-F61F16BF79AC}"/>
          </ac:spMkLst>
        </pc:spChg>
        <pc:spChg chg="add del mod">
          <ac:chgData name="Manal El Bakkouri" userId="8b130982-2e3f-4164-b881-fd3a2e4b2453" providerId="ADAL" clId="{4457FA57-250B-44AC-8655-05D46C5A3D8A}" dt="2023-06-04T11:56:32.892" v="6999"/>
          <ac:spMkLst>
            <pc:docMk/>
            <pc:sldMk cId="1443789472" sldId="230717696"/>
            <ac:spMk id="181" creationId="{C26D6A71-142B-4CFF-9865-334C14248C31}"/>
          </ac:spMkLst>
        </pc:spChg>
        <pc:spChg chg="add del mod">
          <ac:chgData name="Manal El Bakkouri" userId="8b130982-2e3f-4164-b881-fd3a2e4b2453" providerId="ADAL" clId="{4457FA57-250B-44AC-8655-05D46C5A3D8A}" dt="2023-06-04T11:56:32.892" v="6999"/>
          <ac:spMkLst>
            <pc:docMk/>
            <pc:sldMk cId="1443789472" sldId="230717696"/>
            <ac:spMk id="182" creationId="{E1DC08CC-E011-47A3-B147-BF006AFC1F62}"/>
          </ac:spMkLst>
        </pc:spChg>
        <pc:spChg chg="add del mod">
          <ac:chgData name="Manal El Bakkouri" userId="8b130982-2e3f-4164-b881-fd3a2e4b2453" providerId="ADAL" clId="{4457FA57-250B-44AC-8655-05D46C5A3D8A}" dt="2023-06-04T11:56:32.892" v="6999"/>
          <ac:spMkLst>
            <pc:docMk/>
            <pc:sldMk cId="1443789472" sldId="230717696"/>
            <ac:spMk id="183" creationId="{C340B741-2ACB-466A-8481-596ADEE2CBF0}"/>
          </ac:spMkLst>
        </pc:spChg>
        <pc:spChg chg="add del mod">
          <ac:chgData name="Manal El Bakkouri" userId="8b130982-2e3f-4164-b881-fd3a2e4b2453" providerId="ADAL" clId="{4457FA57-250B-44AC-8655-05D46C5A3D8A}" dt="2023-06-04T11:56:32.892" v="6999"/>
          <ac:spMkLst>
            <pc:docMk/>
            <pc:sldMk cId="1443789472" sldId="230717696"/>
            <ac:spMk id="184" creationId="{74918CD1-E071-4F52-8994-EB6704105237}"/>
          </ac:spMkLst>
        </pc:spChg>
        <pc:spChg chg="add del mod">
          <ac:chgData name="Manal El Bakkouri" userId="8b130982-2e3f-4164-b881-fd3a2e4b2453" providerId="ADAL" clId="{4457FA57-250B-44AC-8655-05D46C5A3D8A}" dt="2023-06-04T11:56:32.892" v="6999"/>
          <ac:spMkLst>
            <pc:docMk/>
            <pc:sldMk cId="1443789472" sldId="230717696"/>
            <ac:spMk id="185" creationId="{C8E464D5-1F04-467B-9DE2-01D10AD95120}"/>
          </ac:spMkLst>
        </pc:spChg>
        <pc:spChg chg="add del mod">
          <ac:chgData name="Manal El Bakkouri" userId="8b130982-2e3f-4164-b881-fd3a2e4b2453" providerId="ADAL" clId="{4457FA57-250B-44AC-8655-05D46C5A3D8A}" dt="2023-06-04T11:56:32.892" v="6999"/>
          <ac:spMkLst>
            <pc:docMk/>
            <pc:sldMk cId="1443789472" sldId="230717696"/>
            <ac:spMk id="186" creationId="{ECB3D73B-552F-4810-B0DD-A130A3B7AE7B}"/>
          </ac:spMkLst>
        </pc:spChg>
        <pc:spChg chg="add del mod">
          <ac:chgData name="Manal El Bakkouri" userId="8b130982-2e3f-4164-b881-fd3a2e4b2453" providerId="ADAL" clId="{4457FA57-250B-44AC-8655-05D46C5A3D8A}" dt="2023-06-04T11:56:32.892" v="6999"/>
          <ac:spMkLst>
            <pc:docMk/>
            <pc:sldMk cId="1443789472" sldId="230717696"/>
            <ac:spMk id="187" creationId="{601CA627-BF05-4944-875D-5441083D98A7}"/>
          </ac:spMkLst>
        </pc:spChg>
        <pc:spChg chg="add del mod">
          <ac:chgData name="Manal El Bakkouri" userId="8b130982-2e3f-4164-b881-fd3a2e4b2453" providerId="ADAL" clId="{4457FA57-250B-44AC-8655-05D46C5A3D8A}" dt="2023-06-04T11:56:32.892" v="6999"/>
          <ac:spMkLst>
            <pc:docMk/>
            <pc:sldMk cId="1443789472" sldId="230717696"/>
            <ac:spMk id="188" creationId="{C81094B2-7B35-4E57-A072-4A46A1D96336}"/>
          </ac:spMkLst>
        </pc:spChg>
        <pc:spChg chg="add del mod">
          <ac:chgData name="Manal El Bakkouri" userId="8b130982-2e3f-4164-b881-fd3a2e4b2453" providerId="ADAL" clId="{4457FA57-250B-44AC-8655-05D46C5A3D8A}" dt="2023-06-04T11:56:32.892" v="6999"/>
          <ac:spMkLst>
            <pc:docMk/>
            <pc:sldMk cId="1443789472" sldId="230717696"/>
            <ac:spMk id="189" creationId="{F87D464B-544C-4166-A4ED-B3C3F7A1511C}"/>
          </ac:spMkLst>
        </pc:spChg>
        <pc:spChg chg="add del mod">
          <ac:chgData name="Manal El Bakkouri" userId="8b130982-2e3f-4164-b881-fd3a2e4b2453" providerId="ADAL" clId="{4457FA57-250B-44AC-8655-05D46C5A3D8A}" dt="2023-06-04T11:56:32.892" v="6999"/>
          <ac:spMkLst>
            <pc:docMk/>
            <pc:sldMk cId="1443789472" sldId="230717696"/>
            <ac:spMk id="190" creationId="{A7DC20B6-FDDD-4D54-B8CF-02D798056CF9}"/>
          </ac:spMkLst>
        </pc:spChg>
        <pc:spChg chg="add del mod">
          <ac:chgData name="Manal El Bakkouri" userId="8b130982-2e3f-4164-b881-fd3a2e4b2453" providerId="ADAL" clId="{4457FA57-250B-44AC-8655-05D46C5A3D8A}" dt="2023-06-04T11:56:32.892" v="6999"/>
          <ac:spMkLst>
            <pc:docMk/>
            <pc:sldMk cId="1443789472" sldId="230717696"/>
            <ac:spMk id="191" creationId="{B127F7DF-F4F8-48BD-AFE2-59D8410895FF}"/>
          </ac:spMkLst>
        </pc:spChg>
        <pc:spChg chg="add del mod">
          <ac:chgData name="Manal El Bakkouri" userId="8b130982-2e3f-4164-b881-fd3a2e4b2453" providerId="ADAL" clId="{4457FA57-250B-44AC-8655-05D46C5A3D8A}" dt="2023-06-04T11:56:32.892" v="6999"/>
          <ac:spMkLst>
            <pc:docMk/>
            <pc:sldMk cId="1443789472" sldId="230717696"/>
            <ac:spMk id="192" creationId="{4C9FEC9A-E8DC-484A-ACEA-6EA59B629BAC}"/>
          </ac:spMkLst>
        </pc:spChg>
        <pc:spChg chg="add del mod">
          <ac:chgData name="Manal El Bakkouri" userId="8b130982-2e3f-4164-b881-fd3a2e4b2453" providerId="ADAL" clId="{4457FA57-250B-44AC-8655-05D46C5A3D8A}" dt="2023-06-04T11:56:32.892" v="6999"/>
          <ac:spMkLst>
            <pc:docMk/>
            <pc:sldMk cId="1443789472" sldId="230717696"/>
            <ac:spMk id="193" creationId="{2EE17265-541D-489B-94DC-EF40289CE803}"/>
          </ac:spMkLst>
        </pc:spChg>
        <pc:spChg chg="add del mod">
          <ac:chgData name="Manal El Bakkouri" userId="8b130982-2e3f-4164-b881-fd3a2e4b2453" providerId="ADAL" clId="{4457FA57-250B-44AC-8655-05D46C5A3D8A}" dt="2023-06-04T11:56:32.892" v="6999"/>
          <ac:spMkLst>
            <pc:docMk/>
            <pc:sldMk cId="1443789472" sldId="230717696"/>
            <ac:spMk id="194" creationId="{F817AD7A-D6F8-487F-9D95-5385C694C537}"/>
          </ac:spMkLst>
        </pc:spChg>
        <pc:spChg chg="add del mod">
          <ac:chgData name="Manal El Bakkouri" userId="8b130982-2e3f-4164-b881-fd3a2e4b2453" providerId="ADAL" clId="{4457FA57-250B-44AC-8655-05D46C5A3D8A}" dt="2023-06-04T11:56:32.892" v="6999"/>
          <ac:spMkLst>
            <pc:docMk/>
            <pc:sldMk cId="1443789472" sldId="230717696"/>
            <ac:spMk id="195" creationId="{448EC87B-30DC-40D8-BFBE-21986F83B662}"/>
          </ac:spMkLst>
        </pc:spChg>
        <pc:spChg chg="add del mod">
          <ac:chgData name="Manal El Bakkouri" userId="8b130982-2e3f-4164-b881-fd3a2e4b2453" providerId="ADAL" clId="{4457FA57-250B-44AC-8655-05D46C5A3D8A}" dt="2023-06-04T11:56:32.892" v="6999"/>
          <ac:spMkLst>
            <pc:docMk/>
            <pc:sldMk cId="1443789472" sldId="230717696"/>
            <ac:spMk id="196" creationId="{0B9E2AC6-2A94-46B0-9232-6408F58B042A}"/>
          </ac:spMkLst>
        </pc:spChg>
        <pc:spChg chg="add del mod">
          <ac:chgData name="Manal El Bakkouri" userId="8b130982-2e3f-4164-b881-fd3a2e4b2453" providerId="ADAL" clId="{4457FA57-250B-44AC-8655-05D46C5A3D8A}" dt="2023-06-04T11:56:32.892" v="6999"/>
          <ac:spMkLst>
            <pc:docMk/>
            <pc:sldMk cId="1443789472" sldId="230717696"/>
            <ac:spMk id="197" creationId="{AB32D195-12DC-45C9-B046-C83FFF9A9789}"/>
          </ac:spMkLst>
        </pc:spChg>
        <pc:spChg chg="add del mod">
          <ac:chgData name="Manal El Bakkouri" userId="8b130982-2e3f-4164-b881-fd3a2e4b2453" providerId="ADAL" clId="{4457FA57-250B-44AC-8655-05D46C5A3D8A}" dt="2023-06-04T11:56:32.892" v="6999"/>
          <ac:spMkLst>
            <pc:docMk/>
            <pc:sldMk cId="1443789472" sldId="230717696"/>
            <ac:spMk id="198" creationId="{931AB698-F08E-4C8D-B260-B068EA0FC69A}"/>
          </ac:spMkLst>
        </pc:spChg>
        <pc:spChg chg="add del mod">
          <ac:chgData name="Manal El Bakkouri" userId="8b130982-2e3f-4164-b881-fd3a2e4b2453" providerId="ADAL" clId="{4457FA57-250B-44AC-8655-05D46C5A3D8A}" dt="2023-06-04T11:56:32.892" v="6999"/>
          <ac:spMkLst>
            <pc:docMk/>
            <pc:sldMk cId="1443789472" sldId="230717696"/>
            <ac:spMk id="199" creationId="{57529ECB-9647-4B41-8BB9-2BB1B6CB545F}"/>
          </ac:spMkLst>
        </pc:spChg>
        <pc:spChg chg="add del mod">
          <ac:chgData name="Manal El Bakkouri" userId="8b130982-2e3f-4164-b881-fd3a2e4b2453" providerId="ADAL" clId="{4457FA57-250B-44AC-8655-05D46C5A3D8A}" dt="2023-06-04T11:56:32.892" v="6999"/>
          <ac:spMkLst>
            <pc:docMk/>
            <pc:sldMk cId="1443789472" sldId="230717696"/>
            <ac:spMk id="200" creationId="{2C417C4A-275E-472E-9129-9F4FD83567A2}"/>
          </ac:spMkLst>
        </pc:spChg>
        <pc:spChg chg="add del mod">
          <ac:chgData name="Manal El Bakkouri" userId="8b130982-2e3f-4164-b881-fd3a2e4b2453" providerId="ADAL" clId="{4457FA57-250B-44AC-8655-05D46C5A3D8A}" dt="2023-06-04T11:56:32.892" v="6999"/>
          <ac:spMkLst>
            <pc:docMk/>
            <pc:sldMk cId="1443789472" sldId="230717696"/>
            <ac:spMk id="201" creationId="{85F5D427-62A0-4D6C-B6C0-63A9097DCD11}"/>
          </ac:spMkLst>
        </pc:spChg>
        <pc:spChg chg="add del mod">
          <ac:chgData name="Manal El Bakkouri" userId="8b130982-2e3f-4164-b881-fd3a2e4b2453" providerId="ADAL" clId="{4457FA57-250B-44AC-8655-05D46C5A3D8A}" dt="2023-06-04T11:56:32.892" v="6999"/>
          <ac:spMkLst>
            <pc:docMk/>
            <pc:sldMk cId="1443789472" sldId="230717696"/>
            <ac:spMk id="202" creationId="{9B838F6F-4D0D-4DE1-A1EC-0A72AE8ECB1C}"/>
          </ac:spMkLst>
        </pc:spChg>
        <pc:spChg chg="add del mod">
          <ac:chgData name="Manal El Bakkouri" userId="8b130982-2e3f-4164-b881-fd3a2e4b2453" providerId="ADAL" clId="{4457FA57-250B-44AC-8655-05D46C5A3D8A}" dt="2023-06-04T11:56:32.892" v="6999"/>
          <ac:spMkLst>
            <pc:docMk/>
            <pc:sldMk cId="1443789472" sldId="230717696"/>
            <ac:spMk id="203" creationId="{DED906F4-4AAF-49B1-9AEE-706634D985FD}"/>
          </ac:spMkLst>
        </pc:spChg>
        <pc:spChg chg="add del mod">
          <ac:chgData name="Manal El Bakkouri" userId="8b130982-2e3f-4164-b881-fd3a2e4b2453" providerId="ADAL" clId="{4457FA57-250B-44AC-8655-05D46C5A3D8A}" dt="2023-06-04T11:56:32.892" v="6999"/>
          <ac:spMkLst>
            <pc:docMk/>
            <pc:sldMk cId="1443789472" sldId="230717696"/>
            <ac:spMk id="204" creationId="{3000F66C-BDB8-4469-83BE-24874B82C5D5}"/>
          </ac:spMkLst>
        </pc:spChg>
        <pc:spChg chg="add del mod">
          <ac:chgData name="Manal El Bakkouri" userId="8b130982-2e3f-4164-b881-fd3a2e4b2453" providerId="ADAL" clId="{4457FA57-250B-44AC-8655-05D46C5A3D8A}" dt="2023-06-04T11:56:32.892" v="6999"/>
          <ac:spMkLst>
            <pc:docMk/>
            <pc:sldMk cId="1443789472" sldId="230717696"/>
            <ac:spMk id="205" creationId="{D4D308B2-B308-49E9-A2BD-AA6AFF79478D}"/>
          </ac:spMkLst>
        </pc:spChg>
        <pc:spChg chg="add del mod">
          <ac:chgData name="Manal El Bakkouri" userId="8b130982-2e3f-4164-b881-fd3a2e4b2453" providerId="ADAL" clId="{4457FA57-250B-44AC-8655-05D46C5A3D8A}" dt="2023-06-04T11:56:32.892" v="6999"/>
          <ac:spMkLst>
            <pc:docMk/>
            <pc:sldMk cId="1443789472" sldId="230717696"/>
            <ac:spMk id="206" creationId="{C3EEA5AF-4C31-48F8-8477-98923E068745}"/>
          </ac:spMkLst>
        </pc:spChg>
        <pc:spChg chg="add del mod">
          <ac:chgData name="Manal El Bakkouri" userId="8b130982-2e3f-4164-b881-fd3a2e4b2453" providerId="ADAL" clId="{4457FA57-250B-44AC-8655-05D46C5A3D8A}" dt="2023-06-04T11:56:32.892" v="6999"/>
          <ac:spMkLst>
            <pc:docMk/>
            <pc:sldMk cId="1443789472" sldId="230717696"/>
            <ac:spMk id="207" creationId="{6AD5DCD4-B259-432F-987F-B88E375F874E}"/>
          </ac:spMkLst>
        </pc:spChg>
        <pc:spChg chg="add del mod">
          <ac:chgData name="Manal El Bakkouri" userId="8b130982-2e3f-4164-b881-fd3a2e4b2453" providerId="ADAL" clId="{4457FA57-250B-44AC-8655-05D46C5A3D8A}" dt="2023-06-04T11:56:32.892" v="6999"/>
          <ac:spMkLst>
            <pc:docMk/>
            <pc:sldMk cId="1443789472" sldId="230717696"/>
            <ac:spMk id="208" creationId="{0DB5ADF3-3AE1-4792-99C9-4B2FC8627550}"/>
          </ac:spMkLst>
        </pc:spChg>
        <pc:spChg chg="add del mod">
          <ac:chgData name="Manal El Bakkouri" userId="8b130982-2e3f-4164-b881-fd3a2e4b2453" providerId="ADAL" clId="{4457FA57-250B-44AC-8655-05D46C5A3D8A}" dt="2023-06-04T11:56:32.892" v="6999"/>
          <ac:spMkLst>
            <pc:docMk/>
            <pc:sldMk cId="1443789472" sldId="230717696"/>
            <ac:spMk id="209" creationId="{C8A51A60-331A-4CE5-B100-D913FA18781C}"/>
          </ac:spMkLst>
        </pc:spChg>
        <pc:spChg chg="add del mod">
          <ac:chgData name="Manal El Bakkouri" userId="8b130982-2e3f-4164-b881-fd3a2e4b2453" providerId="ADAL" clId="{4457FA57-250B-44AC-8655-05D46C5A3D8A}" dt="2023-06-04T11:56:32.892" v="6999"/>
          <ac:spMkLst>
            <pc:docMk/>
            <pc:sldMk cId="1443789472" sldId="230717696"/>
            <ac:spMk id="210" creationId="{6CEEB449-AF1B-445D-B6DB-FBBCCA7973A7}"/>
          </ac:spMkLst>
        </pc:spChg>
        <pc:spChg chg="add del mod">
          <ac:chgData name="Manal El Bakkouri" userId="8b130982-2e3f-4164-b881-fd3a2e4b2453" providerId="ADAL" clId="{4457FA57-250B-44AC-8655-05D46C5A3D8A}" dt="2023-06-04T11:56:32.892" v="6999"/>
          <ac:spMkLst>
            <pc:docMk/>
            <pc:sldMk cId="1443789472" sldId="230717696"/>
            <ac:spMk id="211" creationId="{DDA0A29C-2681-41CC-9918-D11B2A25F141}"/>
          </ac:spMkLst>
        </pc:spChg>
        <pc:spChg chg="add del mod">
          <ac:chgData name="Manal El Bakkouri" userId="8b130982-2e3f-4164-b881-fd3a2e4b2453" providerId="ADAL" clId="{4457FA57-250B-44AC-8655-05D46C5A3D8A}" dt="2023-06-04T11:56:32.892" v="6999"/>
          <ac:spMkLst>
            <pc:docMk/>
            <pc:sldMk cId="1443789472" sldId="230717696"/>
            <ac:spMk id="212" creationId="{913F8F3A-9136-44DC-934B-CCD34BD3D991}"/>
          </ac:spMkLst>
        </pc:spChg>
        <pc:spChg chg="add del mod">
          <ac:chgData name="Manal El Bakkouri" userId="8b130982-2e3f-4164-b881-fd3a2e4b2453" providerId="ADAL" clId="{4457FA57-250B-44AC-8655-05D46C5A3D8A}" dt="2023-06-04T11:56:32.892" v="6999"/>
          <ac:spMkLst>
            <pc:docMk/>
            <pc:sldMk cId="1443789472" sldId="230717696"/>
            <ac:spMk id="213" creationId="{7BD36952-B2B5-44F4-992D-5DC74046DC6A}"/>
          </ac:spMkLst>
        </pc:spChg>
        <pc:spChg chg="add del mod">
          <ac:chgData name="Manal El Bakkouri" userId="8b130982-2e3f-4164-b881-fd3a2e4b2453" providerId="ADAL" clId="{4457FA57-250B-44AC-8655-05D46C5A3D8A}" dt="2023-06-04T11:56:32.892" v="6999"/>
          <ac:spMkLst>
            <pc:docMk/>
            <pc:sldMk cId="1443789472" sldId="230717696"/>
            <ac:spMk id="214" creationId="{5E549755-040B-424C-B8CA-917153460C06}"/>
          </ac:spMkLst>
        </pc:spChg>
        <pc:spChg chg="add del mod">
          <ac:chgData name="Manal El Bakkouri" userId="8b130982-2e3f-4164-b881-fd3a2e4b2453" providerId="ADAL" clId="{4457FA57-250B-44AC-8655-05D46C5A3D8A}" dt="2023-06-04T11:56:32.892" v="6999"/>
          <ac:spMkLst>
            <pc:docMk/>
            <pc:sldMk cId="1443789472" sldId="230717696"/>
            <ac:spMk id="215" creationId="{74557DD8-475F-4180-A82F-BA56E90DFE6D}"/>
          </ac:spMkLst>
        </pc:spChg>
        <pc:spChg chg="add del mod">
          <ac:chgData name="Manal El Bakkouri" userId="8b130982-2e3f-4164-b881-fd3a2e4b2453" providerId="ADAL" clId="{4457FA57-250B-44AC-8655-05D46C5A3D8A}" dt="2023-06-04T11:56:32.892" v="6999"/>
          <ac:spMkLst>
            <pc:docMk/>
            <pc:sldMk cId="1443789472" sldId="230717696"/>
            <ac:spMk id="216" creationId="{818A2964-70F7-4D7E-9C02-5C27428A70CA}"/>
          </ac:spMkLst>
        </pc:spChg>
        <pc:spChg chg="add del mod">
          <ac:chgData name="Manal El Bakkouri" userId="8b130982-2e3f-4164-b881-fd3a2e4b2453" providerId="ADAL" clId="{4457FA57-250B-44AC-8655-05D46C5A3D8A}" dt="2023-06-04T11:56:32.892" v="6999"/>
          <ac:spMkLst>
            <pc:docMk/>
            <pc:sldMk cId="1443789472" sldId="230717696"/>
            <ac:spMk id="217" creationId="{2841813D-3D91-4244-B023-DA0DAD8FE35C}"/>
          </ac:spMkLst>
        </pc:spChg>
        <pc:spChg chg="add del mod">
          <ac:chgData name="Manal El Bakkouri" userId="8b130982-2e3f-4164-b881-fd3a2e4b2453" providerId="ADAL" clId="{4457FA57-250B-44AC-8655-05D46C5A3D8A}" dt="2023-06-04T11:56:32.892" v="6999"/>
          <ac:spMkLst>
            <pc:docMk/>
            <pc:sldMk cId="1443789472" sldId="230717696"/>
            <ac:spMk id="218" creationId="{48957031-B898-487E-B36A-7E4924216AEE}"/>
          </ac:spMkLst>
        </pc:spChg>
        <pc:spChg chg="add del mod">
          <ac:chgData name="Manal El Bakkouri" userId="8b130982-2e3f-4164-b881-fd3a2e4b2453" providerId="ADAL" clId="{4457FA57-250B-44AC-8655-05D46C5A3D8A}" dt="2023-06-04T11:56:32.892" v="6999"/>
          <ac:spMkLst>
            <pc:docMk/>
            <pc:sldMk cId="1443789472" sldId="230717696"/>
            <ac:spMk id="219" creationId="{A49FDA21-D8EF-4F20-8E86-04B9D1FD2FE2}"/>
          </ac:spMkLst>
        </pc:spChg>
        <pc:spChg chg="add del mod">
          <ac:chgData name="Manal El Bakkouri" userId="8b130982-2e3f-4164-b881-fd3a2e4b2453" providerId="ADAL" clId="{4457FA57-250B-44AC-8655-05D46C5A3D8A}" dt="2023-06-04T11:56:32.892" v="6999"/>
          <ac:spMkLst>
            <pc:docMk/>
            <pc:sldMk cId="1443789472" sldId="230717696"/>
            <ac:spMk id="220" creationId="{493340A6-1361-4511-A1FB-B34D58E806E5}"/>
          </ac:spMkLst>
        </pc:spChg>
        <pc:spChg chg="add del mod">
          <ac:chgData name="Manal El Bakkouri" userId="8b130982-2e3f-4164-b881-fd3a2e4b2453" providerId="ADAL" clId="{4457FA57-250B-44AC-8655-05D46C5A3D8A}" dt="2023-06-04T11:56:32.892" v="6999"/>
          <ac:spMkLst>
            <pc:docMk/>
            <pc:sldMk cId="1443789472" sldId="230717696"/>
            <ac:spMk id="221" creationId="{C916244F-77F3-4C40-880E-AD0F2D014216}"/>
          </ac:spMkLst>
        </pc:spChg>
        <pc:spChg chg="add del mod">
          <ac:chgData name="Manal El Bakkouri" userId="8b130982-2e3f-4164-b881-fd3a2e4b2453" providerId="ADAL" clId="{4457FA57-250B-44AC-8655-05D46C5A3D8A}" dt="2023-06-04T11:56:32.892" v="6999"/>
          <ac:spMkLst>
            <pc:docMk/>
            <pc:sldMk cId="1443789472" sldId="230717696"/>
            <ac:spMk id="222" creationId="{46A7666E-BB5B-48EA-BE04-70AC18093893}"/>
          </ac:spMkLst>
        </pc:spChg>
        <pc:spChg chg="add del mod">
          <ac:chgData name="Manal El Bakkouri" userId="8b130982-2e3f-4164-b881-fd3a2e4b2453" providerId="ADAL" clId="{4457FA57-250B-44AC-8655-05D46C5A3D8A}" dt="2023-06-04T11:56:32.892" v="6999"/>
          <ac:spMkLst>
            <pc:docMk/>
            <pc:sldMk cId="1443789472" sldId="230717696"/>
            <ac:spMk id="223" creationId="{015CFFAC-54C1-40C4-9C08-D685012772C2}"/>
          </ac:spMkLst>
        </pc:spChg>
        <pc:spChg chg="add del mod">
          <ac:chgData name="Manal El Bakkouri" userId="8b130982-2e3f-4164-b881-fd3a2e4b2453" providerId="ADAL" clId="{4457FA57-250B-44AC-8655-05D46C5A3D8A}" dt="2023-06-04T11:56:32.892" v="6999"/>
          <ac:spMkLst>
            <pc:docMk/>
            <pc:sldMk cId="1443789472" sldId="230717696"/>
            <ac:spMk id="224" creationId="{F87D5E2D-FB63-4DB5-A59B-BDFCE0A16A04}"/>
          </ac:spMkLst>
        </pc:spChg>
        <pc:spChg chg="add del mod">
          <ac:chgData name="Manal El Bakkouri" userId="8b130982-2e3f-4164-b881-fd3a2e4b2453" providerId="ADAL" clId="{4457FA57-250B-44AC-8655-05D46C5A3D8A}" dt="2023-06-04T11:56:32.892" v="6999"/>
          <ac:spMkLst>
            <pc:docMk/>
            <pc:sldMk cId="1443789472" sldId="230717696"/>
            <ac:spMk id="225" creationId="{A31D325A-70FF-4C95-9216-4201211DBFAF}"/>
          </ac:spMkLst>
        </pc:spChg>
        <pc:spChg chg="add del mod">
          <ac:chgData name="Manal El Bakkouri" userId="8b130982-2e3f-4164-b881-fd3a2e4b2453" providerId="ADAL" clId="{4457FA57-250B-44AC-8655-05D46C5A3D8A}" dt="2023-06-04T11:56:32.892" v="6999"/>
          <ac:spMkLst>
            <pc:docMk/>
            <pc:sldMk cId="1443789472" sldId="230717696"/>
            <ac:spMk id="226" creationId="{0A5016ED-CC92-4F8F-9555-126EF8D671BF}"/>
          </ac:spMkLst>
        </pc:spChg>
        <pc:spChg chg="add del mod">
          <ac:chgData name="Manal El Bakkouri" userId="8b130982-2e3f-4164-b881-fd3a2e4b2453" providerId="ADAL" clId="{4457FA57-250B-44AC-8655-05D46C5A3D8A}" dt="2023-06-04T11:56:32.892" v="6999"/>
          <ac:spMkLst>
            <pc:docMk/>
            <pc:sldMk cId="1443789472" sldId="230717696"/>
            <ac:spMk id="227" creationId="{04615A51-10FD-4224-A48C-710BF0A20118}"/>
          </ac:spMkLst>
        </pc:spChg>
        <pc:spChg chg="add del mod">
          <ac:chgData name="Manal El Bakkouri" userId="8b130982-2e3f-4164-b881-fd3a2e4b2453" providerId="ADAL" clId="{4457FA57-250B-44AC-8655-05D46C5A3D8A}" dt="2023-06-04T11:56:32.892" v="6999"/>
          <ac:spMkLst>
            <pc:docMk/>
            <pc:sldMk cId="1443789472" sldId="230717696"/>
            <ac:spMk id="228" creationId="{3C4CC0D9-263C-4462-9169-A475EFC6E5C6}"/>
          </ac:spMkLst>
        </pc:spChg>
        <pc:spChg chg="add del mod">
          <ac:chgData name="Manal El Bakkouri" userId="8b130982-2e3f-4164-b881-fd3a2e4b2453" providerId="ADAL" clId="{4457FA57-250B-44AC-8655-05D46C5A3D8A}" dt="2023-06-04T11:56:32.892" v="6999"/>
          <ac:spMkLst>
            <pc:docMk/>
            <pc:sldMk cId="1443789472" sldId="230717696"/>
            <ac:spMk id="229" creationId="{3F35CC00-CE20-4F4B-A403-39E40F972782}"/>
          </ac:spMkLst>
        </pc:spChg>
        <pc:spChg chg="add del mod">
          <ac:chgData name="Manal El Bakkouri" userId="8b130982-2e3f-4164-b881-fd3a2e4b2453" providerId="ADAL" clId="{4457FA57-250B-44AC-8655-05D46C5A3D8A}" dt="2023-06-04T11:56:32.892" v="6999"/>
          <ac:spMkLst>
            <pc:docMk/>
            <pc:sldMk cId="1443789472" sldId="230717696"/>
            <ac:spMk id="230" creationId="{09FD56EB-85BE-4C8F-BDE3-DE5D6AA01629}"/>
          </ac:spMkLst>
        </pc:spChg>
        <pc:spChg chg="add del mod">
          <ac:chgData name="Manal El Bakkouri" userId="8b130982-2e3f-4164-b881-fd3a2e4b2453" providerId="ADAL" clId="{4457FA57-250B-44AC-8655-05D46C5A3D8A}" dt="2023-06-04T11:56:32.892" v="6999"/>
          <ac:spMkLst>
            <pc:docMk/>
            <pc:sldMk cId="1443789472" sldId="230717696"/>
            <ac:spMk id="231" creationId="{9494F427-E0D1-4D9B-BD25-969669AB550B}"/>
          </ac:spMkLst>
        </pc:spChg>
        <pc:spChg chg="add del mod">
          <ac:chgData name="Manal El Bakkouri" userId="8b130982-2e3f-4164-b881-fd3a2e4b2453" providerId="ADAL" clId="{4457FA57-250B-44AC-8655-05D46C5A3D8A}" dt="2023-06-04T11:56:32.892" v="6999"/>
          <ac:spMkLst>
            <pc:docMk/>
            <pc:sldMk cId="1443789472" sldId="230717696"/>
            <ac:spMk id="232" creationId="{2ACC5C55-1E72-4E53-BED2-71B9E6F86AB4}"/>
          </ac:spMkLst>
        </pc:spChg>
        <pc:spChg chg="add del mod">
          <ac:chgData name="Manal El Bakkouri" userId="8b130982-2e3f-4164-b881-fd3a2e4b2453" providerId="ADAL" clId="{4457FA57-250B-44AC-8655-05D46C5A3D8A}" dt="2023-06-04T11:56:32.892" v="6999"/>
          <ac:spMkLst>
            <pc:docMk/>
            <pc:sldMk cId="1443789472" sldId="230717696"/>
            <ac:spMk id="233" creationId="{ED08DC3C-268A-4073-A814-3528FAF08401}"/>
          </ac:spMkLst>
        </pc:spChg>
        <pc:spChg chg="add del mod">
          <ac:chgData name="Manal El Bakkouri" userId="8b130982-2e3f-4164-b881-fd3a2e4b2453" providerId="ADAL" clId="{4457FA57-250B-44AC-8655-05D46C5A3D8A}" dt="2023-06-04T11:56:32.892" v="6999"/>
          <ac:spMkLst>
            <pc:docMk/>
            <pc:sldMk cId="1443789472" sldId="230717696"/>
            <ac:spMk id="234" creationId="{5F59B6AF-2B1C-4AF3-85FB-9E49119F840C}"/>
          </ac:spMkLst>
        </pc:spChg>
        <pc:spChg chg="add del mod">
          <ac:chgData name="Manal El Bakkouri" userId="8b130982-2e3f-4164-b881-fd3a2e4b2453" providerId="ADAL" clId="{4457FA57-250B-44AC-8655-05D46C5A3D8A}" dt="2023-06-04T11:56:32.892" v="6999"/>
          <ac:spMkLst>
            <pc:docMk/>
            <pc:sldMk cId="1443789472" sldId="230717696"/>
            <ac:spMk id="235" creationId="{289C6094-4520-466B-B0E8-28BFC7EF32C4}"/>
          </ac:spMkLst>
        </pc:spChg>
        <pc:spChg chg="add del mod">
          <ac:chgData name="Manal El Bakkouri" userId="8b130982-2e3f-4164-b881-fd3a2e4b2453" providerId="ADAL" clId="{4457FA57-250B-44AC-8655-05D46C5A3D8A}" dt="2023-06-04T11:56:32.892" v="6999"/>
          <ac:spMkLst>
            <pc:docMk/>
            <pc:sldMk cId="1443789472" sldId="230717696"/>
            <ac:spMk id="236" creationId="{6ECBA0E2-C304-438D-BF43-75C28DAAE60E}"/>
          </ac:spMkLst>
        </pc:spChg>
        <pc:spChg chg="add del mod">
          <ac:chgData name="Manal El Bakkouri" userId="8b130982-2e3f-4164-b881-fd3a2e4b2453" providerId="ADAL" clId="{4457FA57-250B-44AC-8655-05D46C5A3D8A}" dt="2023-06-04T11:56:32.892" v="6999"/>
          <ac:spMkLst>
            <pc:docMk/>
            <pc:sldMk cId="1443789472" sldId="230717696"/>
            <ac:spMk id="237" creationId="{FD4E7823-1B62-41BE-B7DF-E4183369D0DE}"/>
          </ac:spMkLst>
        </pc:spChg>
        <pc:spChg chg="add del mod">
          <ac:chgData name="Manal El Bakkouri" userId="8b130982-2e3f-4164-b881-fd3a2e4b2453" providerId="ADAL" clId="{4457FA57-250B-44AC-8655-05D46C5A3D8A}" dt="2023-06-04T11:56:32.892" v="6999"/>
          <ac:spMkLst>
            <pc:docMk/>
            <pc:sldMk cId="1443789472" sldId="230717696"/>
            <ac:spMk id="238" creationId="{35F70602-A0B3-4FB7-A9ED-DEC23BB4A92A}"/>
          </ac:spMkLst>
        </pc:spChg>
        <pc:spChg chg="add del mod">
          <ac:chgData name="Manal El Bakkouri" userId="8b130982-2e3f-4164-b881-fd3a2e4b2453" providerId="ADAL" clId="{4457FA57-250B-44AC-8655-05D46C5A3D8A}" dt="2023-06-04T11:56:32.892" v="6999"/>
          <ac:spMkLst>
            <pc:docMk/>
            <pc:sldMk cId="1443789472" sldId="230717696"/>
            <ac:spMk id="239" creationId="{B2BAF3BF-67D0-49FA-902F-091CD4E265ED}"/>
          </ac:spMkLst>
        </pc:spChg>
        <pc:spChg chg="add del mod">
          <ac:chgData name="Manal El Bakkouri" userId="8b130982-2e3f-4164-b881-fd3a2e4b2453" providerId="ADAL" clId="{4457FA57-250B-44AC-8655-05D46C5A3D8A}" dt="2023-06-04T11:56:32.892" v="6999"/>
          <ac:spMkLst>
            <pc:docMk/>
            <pc:sldMk cId="1443789472" sldId="230717696"/>
            <ac:spMk id="240" creationId="{6DD043D6-3B90-4F27-BB99-93D2CF543F7D}"/>
          </ac:spMkLst>
        </pc:spChg>
        <pc:spChg chg="add del mod">
          <ac:chgData name="Manal El Bakkouri" userId="8b130982-2e3f-4164-b881-fd3a2e4b2453" providerId="ADAL" clId="{4457FA57-250B-44AC-8655-05D46C5A3D8A}" dt="2023-06-04T11:56:32.892" v="6999"/>
          <ac:spMkLst>
            <pc:docMk/>
            <pc:sldMk cId="1443789472" sldId="230717696"/>
            <ac:spMk id="241" creationId="{AE682FBA-F306-4012-95AA-FBE29485437F}"/>
          </ac:spMkLst>
        </pc:spChg>
        <pc:spChg chg="add del mod">
          <ac:chgData name="Manal El Bakkouri" userId="8b130982-2e3f-4164-b881-fd3a2e4b2453" providerId="ADAL" clId="{4457FA57-250B-44AC-8655-05D46C5A3D8A}" dt="2023-06-04T11:56:32.892" v="6999"/>
          <ac:spMkLst>
            <pc:docMk/>
            <pc:sldMk cId="1443789472" sldId="230717696"/>
            <ac:spMk id="242" creationId="{39C8ED43-B403-45CD-8082-0572E7243DA4}"/>
          </ac:spMkLst>
        </pc:spChg>
        <pc:spChg chg="add del mod">
          <ac:chgData name="Manal El Bakkouri" userId="8b130982-2e3f-4164-b881-fd3a2e4b2453" providerId="ADAL" clId="{4457FA57-250B-44AC-8655-05D46C5A3D8A}" dt="2023-06-04T11:56:32.892" v="6999"/>
          <ac:spMkLst>
            <pc:docMk/>
            <pc:sldMk cId="1443789472" sldId="230717696"/>
            <ac:spMk id="243" creationId="{1A9EEC02-82BC-485C-8389-61E6BE6B4F6C}"/>
          </ac:spMkLst>
        </pc:spChg>
        <pc:spChg chg="add del mod">
          <ac:chgData name="Manal El Bakkouri" userId="8b130982-2e3f-4164-b881-fd3a2e4b2453" providerId="ADAL" clId="{4457FA57-250B-44AC-8655-05D46C5A3D8A}" dt="2023-06-04T11:56:32.892" v="6999"/>
          <ac:spMkLst>
            <pc:docMk/>
            <pc:sldMk cId="1443789472" sldId="230717696"/>
            <ac:spMk id="244" creationId="{C0ED4111-AABD-4AEA-AC74-0D9AF4408053}"/>
          </ac:spMkLst>
        </pc:spChg>
        <pc:spChg chg="add del mod">
          <ac:chgData name="Manal El Bakkouri" userId="8b130982-2e3f-4164-b881-fd3a2e4b2453" providerId="ADAL" clId="{4457FA57-250B-44AC-8655-05D46C5A3D8A}" dt="2023-06-04T11:56:32.892" v="6999"/>
          <ac:spMkLst>
            <pc:docMk/>
            <pc:sldMk cId="1443789472" sldId="230717696"/>
            <ac:spMk id="245" creationId="{A5F52059-8F26-4A0F-A2AD-E1ED2E2FF9E5}"/>
          </ac:spMkLst>
        </pc:spChg>
        <pc:spChg chg="add del mod">
          <ac:chgData name="Manal El Bakkouri" userId="8b130982-2e3f-4164-b881-fd3a2e4b2453" providerId="ADAL" clId="{4457FA57-250B-44AC-8655-05D46C5A3D8A}" dt="2023-06-04T11:56:32.892" v="6999"/>
          <ac:spMkLst>
            <pc:docMk/>
            <pc:sldMk cId="1443789472" sldId="230717696"/>
            <ac:spMk id="246" creationId="{1C918449-4953-429A-8332-BC150E095EF4}"/>
          </ac:spMkLst>
        </pc:spChg>
        <pc:spChg chg="add del mod">
          <ac:chgData name="Manal El Bakkouri" userId="8b130982-2e3f-4164-b881-fd3a2e4b2453" providerId="ADAL" clId="{4457FA57-250B-44AC-8655-05D46C5A3D8A}" dt="2023-06-04T11:56:32.892" v="6999"/>
          <ac:spMkLst>
            <pc:docMk/>
            <pc:sldMk cId="1443789472" sldId="230717696"/>
            <ac:spMk id="247" creationId="{35B9790C-1585-499E-99EE-492970FA7EC3}"/>
          </ac:spMkLst>
        </pc:spChg>
        <pc:spChg chg="add del mod">
          <ac:chgData name="Manal El Bakkouri" userId="8b130982-2e3f-4164-b881-fd3a2e4b2453" providerId="ADAL" clId="{4457FA57-250B-44AC-8655-05D46C5A3D8A}" dt="2023-06-04T11:56:32.892" v="6999"/>
          <ac:spMkLst>
            <pc:docMk/>
            <pc:sldMk cId="1443789472" sldId="230717696"/>
            <ac:spMk id="248" creationId="{32A9B5FB-4529-4A70-AC24-168AB3FBEC19}"/>
          </ac:spMkLst>
        </pc:spChg>
        <pc:spChg chg="add del mod">
          <ac:chgData name="Manal El Bakkouri" userId="8b130982-2e3f-4164-b881-fd3a2e4b2453" providerId="ADAL" clId="{4457FA57-250B-44AC-8655-05D46C5A3D8A}" dt="2023-06-04T11:56:32.892" v="6999"/>
          <ac:spMkLst>
            <pc:docMk/>
            <pc:sldMk cId="1443789472" sldId="230717696"/>
            <ac:spMk id="249" creationId="{1EA16BEF-991B-42D7-9509-4D6ED471DBF9}"/>
          </ac:spMkLst>
        </pc:spChg>
        <pc:spChg chg="add del mod">
          <ac:chgData name="Manal El Bakkouri" userId="8b130982-2e3f-4164-b881-fd3a2e4b2453" providerId="ADAL" clId="{4457FA57-250B-44AC-8655-05D46C5A3D8A}" dt="2023-06-04T11:56:32.892" v="6999"/>
          <ac:spMkLst>
            <pc:docMk/>
            <pc:sldMk cId="1443789472" sldId="230717696"/>
            <ac:spMk id="250" creationId="{FAFD89C0-8847-4B45-9FD4-6185732E30DA}"/>
          </ac:spMkLst>
        </pc:spChg>
        <pc:spChg chg="add del mod">
          <ac:chgData name="Manal El Bakkouri" userId="8b130982-2e3f-4164-b881-fd3a2e4b2453" providerId="ADAL" clId="{4457FA57-250B-44AC-8655-05D46C5A3D8A}" dt="2023-06-04T11:56:32.892" v="6999"/>
          <ac:spMkLst>
            <pc:docMk/>
            <pc:sldMk cId="1443789472" sldId="230717696"/>
            <ac:spMk id="251" creationId="{A09FEA0D-762C-4B9D-BD52-6B2D00614FD1}"/>
          </ac:spMkLst>
        </pc:spChg>
        <pc:spChg chg="add del mod">
          <ac:chgData name="Manal El Bakkouri" userId="8b130982-2e3f-4164-b881-fd3a2e4b2453" providerId="ADAL" clId="{4457FA57-250B-44AC-8655-05D46C5A3D8A}" dt="2023-06-04T11:56:32.892" v="6999"/>
          <ac:spMkLst>
            <pc:docMk/>
            <pc:sldMk cId="1443789472" sldId="230717696"/>
            <ac:spMk id="252" creationId="{4F8EE8AF-F8EE-4834-B801-0B7C799AAF88}"/>
          </ac:spMkLst>
        </pc:spChg>
        <pc:spChg chg="add del mod">
          <ac:chgData name="Manal El Bakkouri" userId="8b130982-2e3f-4164-b881-fd3a2e4b2453" providerId="ADAL" clId="{4457FA57-250B-44AC-8655-05D46C5A3D8A}" dt="2023-06-04T11:56:32.892" v="6999"/>
          <ac:spMkLst>
            <pc:docMk/>
            <pc:sldMk cId="1443789472" sldId="230717696"/>
            <ac:spMk id="253" creationId="{D2FCA868-A111-46B6-A155-4E5320932E71}"/>
          </ac:spMkLst>
        </pc:spChg>
        <pc:spChg chg="add del mod">
          <ac:chgData name="Manal El Bakkouri" userId="8b130982-2e3f-4164-b881-fd3a2e4b2453" providerId="ADAL" clId="{4457FA57-250B-44AC-8655-05D46C5A3D8A}" dt="2023-06-04T11:56:32.892" v="6999"/>
          <ac:spMkLst>
            <pc:docMk/>
            <pc:sldMk cId="1443789472" sldId="230717696"/>
            <ac:spMk id="254" creationId="{D2CCC570-570B-4AE7-AE59-EFD448BA6D98}"/>
          </ac:spMkLst>
        </pc:spChg>
        <pc:spChg chg="add del mod">
          <ac:chgData name="Manal El Bakkouri" userId="8b130982-2e3f-4164-b881-fd3a2e4b2453" providerId="ADAL" clId="{4457FA57-250B-44AC-8655-05D46C5A3D8A}" dt="2023-06-04T11:56:32.892" v="6999"/>
          <ac:spMkLst>
            <pc:docMk/>
            <pc:sldMk cId="1443789472" sldId="230717696"/>
            <ac:spMk id="255" creationId="{B9865D32-ED99-4995-91DC-3D9B895BB826}"/>
          </ac:spMkLst>
        </pc:spChg>
        <pc:spChg chg="add del mod">
          <ac:chgData name="Manal El Bakkouri" userId="8b130982-2e3f-4164-b881-fd3a2e4b2453" providerId="ADAL" clId="{4457FA57-250B-44AC-8655-05D46C5A3D8A}" dt="2023-06-04T11:56:32.892" v="6999"/>
          <ac:spMkLst>
            <pc:docMk/>
            <pc:sldMk cId="1443789472" sldId="230717696"/>
            <ac:spMk id="256" creationId="{68FAF434-3D05-42EC-A06B-A92214DFC844}"/>
          </ac:spMkLst>
        </pc:spChg>
        <pc:spChg chg="add del mod">
          <ac:chgData name="Manal El Bakkouri" userId="8b130982-2e3f-4164-b881-fd3a2e4b2453" providerId="ADAL" clId="{4457FA57-250B-44AC-8655-05D46C5A3D8A}" dt="2023-06-04T11:56:32.892" v="6999"/>
          <ac:spMkLst>
            <pc:docMk/>
            <pc:sldMk cId="1443789472" sldId="230717696"/>
            <ac:spMk id="257" creationId="{77EA649B-359B-49BB-9C6C-31C42A57C3A0}"/>
          </ac:spMkLst>
        </pc:spChg>
        <pc:spChg chg="add del mod">
          <ac:chgData name="Manal El Bakkouri" userId="8b130982-2e3f-4164-b881-fd3a2e4b2453" providerId="ADAL" clId="{4457FA57-250B-44AC-8655-05D46C5A3D8A}" dt="2023-06-04T11:56:32.892" v="6999"/>
          <ac:spMkLst>
            <pc:docMk/>
            <pc:sldMk cId="1443789472" sldId="230717696"/>
            <ac:spMk id="258" creationId="{C831F61E-778B-4470-9732-0F520B37C0A0}"/>
          </ac:spMkLst>
        </pc:spChg>
        <pc:spChg chg="add del mod">
          <ac:chgData name="Manal El Bakkouri" userId="8b130982-2e3f-4164-b881-fd3a2e4b2453" providerId="ADAL" clId="{4457FA57-250B-44AC-8655-05D46C5A3D8A}" dt="2023-06-04T11:56:32.892" v="6999"/>
          <ac:spMkLst>
            <pc:docMk/>
            <pc:sldMk cId="1443789472" sldId="230717696"/>
            <ac:spMk id="259" creationId="{A2CAD2BC-0F5B-40F2-A2B5-07C4300E90CF}"/>
          </ac:spMkLst>
        </pc:spChg>
        <pc:spChg chg="add del mod">
          <ac:chgData name="Manal El Bakkouri" userId="8b130982-2e3f-4164-b881-fd3a2e4b2453" providerId="ADAL" clId="{4457FA57-250B-44AC-8655-05D46C5A3D8A}" dt="2023-06-04T11:56:32.892" v="6999"/>
          <ac:spMkLst>
            <pc:docMk/>
            <pc:sldMk cId="1443789472" sldId="230717696"/>
            <ac:spMk id="260" creationId="{64456AAD-FECE-45E6-8D34-940E4568D282}"/>
          </ac:spMkLst>
        </pc:spChg>
        <pc:spChg chg="add del mod">
          <ac:chgData name="Manal El Bakkouri" userId="8b130982-2e3f-4164-b881-fd3a2e4b2453" providerId="ADAL" clId="{4457FA57-250B-44AC-8655-05D46C5A3D8A}" dt="2023-06-04T11:56:32.892" v="6999"/>
          <ac:spMkLst>
            <pc:docMk/>
            <pc:sldMk cId="1443789472" sldId="230717696"/>
            <ac:spMk id="261" creationId="{F88DCB27-EB59-4E68-8A1F-FE3ABCBF613C}"/>
          </ac:spMkLst>
        </pc:spChg>
        <pc:spChg chg="add del mod">
          <ac:chgData name="Manal El Bakkouri" userId="8b130982-2e3f-4164-b881-fd3a2e4b2453" providerId="ADAL" clId="{4457FA57-250B-44AC-8655-05D46C5A3D8A}" dt="2023-06-04T11:56:32.892" v="6999"/>
          <ac:spMkLst>
            <pc:docMk/>
            <pc:sldMk cId="1443789472" sldId="230717696"/>
            <ac:spMk id="262" creationId="{C3DA35A9-4F85-4E2A-848E-47895603D3ED}"/>
          </ac:spMkLst>
        </pc:spChg>
        <pc:spChg chg="add del mod">
          <ac:chgData name="Manal El Bakkouri" userId="8b130982-2e3f-4164-b881-fd3a2e4b2453" providerId="ADAL" clId="{4457FA57-250B-44AC-8655-05D46C5A3D8A}" dt="2023-06-04T11:56:32.892" v="6999"/>
          <ac:spMkLst>
            <pc:docMk/>
            <pc:sldMk cId="1443789472" sldId="230717696"/>
            <ac:spMk id="263" creationId="{F747EC07-3D7D-4060-9612-E8391BE253E4}"/>
          </ac:spMkLst>
        </pc:spChg>
        <pc:spChg chg="add del mod">
          <ac:chgData name="Manal El Bakkouri" userId="8b130982-2e3f-4164-b881-fd3a2e4b2453" providerId="ADAL" clId="{4457FA57-250B-44AC-8655-05D46C5A3D8A}" dt="2023-06-04T11:56:32.892" v="6999"/>
          <ac:spMkLst>
            <pc:docMk/>
            <pc:sldMk cId="1443789472" sldId="230717696"/>
            <ac:spMk id="264" creationId="{CC6C076C-6643-4B6A-A85D-D5BCA0BC3E75}"/>
          </ac:spMkLst>
        </pc:spChg>
        <pc:spChg chg="add del mod">
          <ac:chgData name="Manal El Bakkouri" userId="8b130982-2e3f-4164-b881-fd3a2e4b2453" providerId="ADAL" clId="{4457FA57-250B-44AC-8655-05D46C5A3D8A}" dt="2023-06-04T11:56:32.892" v="6999"/>
          <ac:spMkLst>
            <pc:docMk/>
            <pc:sldMk cId="1443789472" sldId="230717696"/>
            <ac:spMk id="265" creationId="{7A5BCE63-36B1-4A91-9928-AE2B8F5800B2}"/>
          </ac:spMkLst>
        </pc:spChg>
        <pc:spChg chg="add del mod">
          <ac:chgData name="Manal El Bakkouri" userId="8b130982-2e3f-4164-b881-fd3a2e4b2453" providerId="ADAL" clId="{4457FA57-250B-44AC-8655-05D46C5A3D8A}" dt="2023-06-04T11:56:32.892" v="6999"/>
          <ac:spMkLst>
            <pc:docMk/>
            <pc:sldMk cId="1443789472" sldId="230717696"/>
            <ac:spMk id="266" creationId="{D6B8D78E-8AF8-4216-96ED-CCEEC66179FC}"/>
          </ac:spMkLst>
        </pc:spChg>
        <pc:spChg chg="add del mod">
          <ac:chgData name="Manal El Bakkouri" userId="8b130982-2e3f-4164-b881-fd3a2e4b2453" providerId="ADAL" clId="{4457FA57-250B-44AC-8655-05D46C5A3D8A}" dt="2023-06-04T11:56:32.892" v="6999"/>
          <ac:spMkLst>
            <pc:docMk/>
            <pc:sldMk cId="1443789472" sldId="230717696"/>
            <ac:spMk id="267" creationId="{E6DB5A62-FCA4-4566-914D-A7A084F7A533}"/>
          </ac:spMkLst>
        </pc:spChg>
        <pc:spChg chg="add mod">
          <ac:chgData name="Manal El Bakkouri" userId="8b130982-2e3f-4164-b881-fd3a2e4b2453" providerId="ADAL" clId="{4457FA57-250B-44AC-8655-05D46C5A3D8A}" dt="2023-06-09T14:59:24.706" v="22797" actId="1076"/>
          <ac:spMkLst>
            <pc:docMk/>
            <pc:sldMk cId="1443789472" sldId="230717696"/>
            <ac:spMk id="268" creationId="{CE652860-8A1A-4CA4-99C0-4062A50E930A}"/>
          </ac:spMkLst>
        </pc:spChg>
        <pc:spChg chg="add mod">
          <ac:chgData name="Manal El Bakkouri" userId="8b130982-2e3f-4164-b881-fd3a2e4b2453" providerId="ADAL" clId="{4457FA57-250B-44AC-8655-05D46C5A3D8A}" dt="2023-06-09T14:59:24.706" v="22797" actId="1076"/>
          <ac:spMkLst>
            <pc:docMk/>
            <pc:sldMk cId="1443789472" sldId="230717696"/>
            <ac:spMk id="269" creationId="{833296F1-008D-454A-BC36-EAEF111EA24C}"/>
          </ac:spMkLst>
        </pc:spChg>
        <pc:spChg chg="add mod">
          <ac:chgData name="Manal El Bakkouri" userId="8b130982-2e3f-4164-b881-fd3a2e4b2453" providerId="ADAL" clId="{4457FA57-250B-44AC-8655-05D46C5A3D8A}" dt="2023-06-09T14:59:24.706" v="22797" actId="1076"/>
          <ac:spMkLst>
            <pc:docMk/>
            <pc:sldMk cId="1443789472" sldId="230717696"/>
            <ac:spMk id="270" creationId="{293A16CF-9AD2-4561-B43E-1723099315C4}"/>
          </ac:spMkLst>
        </pc:spChg>
        <pc:spChg chg="add mod">
          <ac:chgData name="Manal El Bakkouri" userId="8b130982-2e3f-4164-b881-fd3a2e4b2453" providerId="ADAL" clId="{4457FA57-250B-44AC-8655-05D46C5A3D8A}" dt="2023-06-09T14:59:24.706" v="22797" actId="1076"/>
          <ac:spMkLst>
            <pc:docMk/>
            <pc:sldMk cId="1443789472" sldId="230717696"/>
            <ac:spMk id="271" creationId="{439CCB1A-37FD-45CD-8BC5-E30FCB03D895}"/>
          </ac:spMkLst>
        </pc:spChg>
        <pc:spChg chg="add mod">
          <ac:chgData name="Manal El Bakkouri" userId="8b130982-2e3f-4164-b881-fd3a2e4b2453" providerId="ADAL" clId="{4457FA57-250B-44AC-8655-05D46C5A3D8A}" dt="2023-06-09T14:59:24.706" v="22797" actId="1076"/>
          <ac:spMkLst>
            <pc:docMk/>
            <pc:sldMk cId="1443789472" sldId="230717696"/>
            <ac:spMk id="272" creationId="{2991FE01-980A-438D-BBA3-359E07578D44}"/>
          </ac:spMkLst>
        </pc:spChg>
        <pc:spChg chg="add mod">
          <ac:chgData name="Manal El Bakkouri" userId="8b130982-2e3f-4164-b881-fd3a2e4b2453" providerId="ADAL" clId="{4457FA57-250B-44AC-8655-05D46C5A3D8A}" dt="2023-06-09T14:59:24.706" v="22797" actId="1076"/>
          <ac:spMkLst>
            <pc:docMk/>
            <pc:sldMk cId="1443789472" sldId="230717696"/>
            <ac:spMk id="273" creationId="{28F9E49F-8237-4D7E-9944-009FCC6EDA05}"/>
          </ac:spMkLst>
        </pc:spChg>
        <pc:spChg chg="add mod">
          <ac:chgData name="Manal El Bakkouri" userId="8b130982-2e3f-4164-b881-fd3a2e4b2453" providerId="ADAL" clId="{4457FA57-250B-44AC-8655-05D46C5A3D8A}" dt="2023-06-09T14:59:24.706" v="22797" actId="1076"/>
          <ac:spMkLst>
            <pc:docMk/>
            <pc:sldMk cId="1443789472" sldId="230717696"/>
            <ac:spMk id="274" creationId="{FB5B553A-94BC-4207-9995-6A39953408D6}"/>
          </ac:spMkLst>
        </pc:spChg>
        <pc:spChg chg="add mod">
          <ac:chgData name="Manal El Bakkouri" userId="8b130982-2e3f-4164-b881-fd3a2e4b2453" providerId="ADAL" clId="{4457FA57-250B-44AC-8655-05D46C5A3D8A}" dt="2023-06-09T14:59:24.706" v="22797" actId="1076"/>
          <ac:spMkLst>
            <pc:docMk/>
            <pc:sldMk cId="1443789472" sldId="230717696"/>
            <ac:spMk id="275" creationId="{496F69AA-5DD3-4315-B62F-5696B5D25058}"/>
          </ac:spMkLst>
        </pc:spChg>
        <pc:spChg chg="add mod">
          <ac:chgData name="Manal El Bakkouri" userId="8b130982-2e3f-4164-b881-fd3a2e4b2453" providerId="ADAL" clId="{4457FA57-250B-44AC-8655-05D46C5A3D8A}" dt="2023-06-09T14:59:24.706" v="22797" actId="1076"/>
          <ac:spMkLst>
            <pc:docMk/>
            <pc:sldMk cId="1443789472" sldId="230717696"/>
            <ac:spMk id="276" creationId="{B89BF3C8-E141-4EC1-868C-C57F761F5C96}"/>
          </ac:spMkLst>
        </pc:spChg>
        <pc:spChg chg="add mod">
          <ac:chgData name="Manal El Bakkouri" userId="8b130982-2e3f-4164-b881-fd3a2e4b2453" providerId="ADAL" clId="{4457FA57-250B-44AC-8655-05D46C5A3D8A}" dt="2023-06-09T14:59:24.706" v="22797" actId="1076"/>
          <ac:spMkLst>
            <pc:docMk/>
            <pc:sldMk cId="1443789472" sldId="230717696"/>
            <ac:spMk id="277" creationId="{9B276151-3A02-41C1-91C5-9F8CB9D9E369}"/>
          </ac:spMkLst>
        </pc:spChg>
        <pc:spChg chg="add mod">
          <ac:chgData name="Manal El Bakkouri" userId="8b130982-2e3f-4164-b881-fd3a2e4b2453" providerId="ADAL" clId="{4457FA57-250B-44AC-8655-05D46C5A3D8A}" dt="2023-06-09T14:59:24.706" v="22797" actId="1076"/>
          <ac:spMkLst>
            <pc:docMk/>
            <pc:sldMk cId="1443789472" sldId="230717696"/>
            <ac:spMk id="278" creationId="{C4DF1098-1EBF-4D65-98E6-DB1F91E0FDB7}"/>
          </ac:spMkLst>
        </pc:spChg>
        <pc:spChg chg="add mod">
          <ac:chgData name="Manal El Bakkouri" userId="8b130982-2e3f-4164-b881-fd3a2e4b2453" providerId="ADAL" clId="{4457FA57-250B-44AC-8655-05D46C5A3D8A}" dt="2023-06-09T14:59:24.706" v="22797" actId="1076"/>
          <ac:spMkLst>
            <pc:docMk/>
            <pc:sldMk cId="1443789472" sldId="230717696"/>
            <ac:spMk id="279" creationId="{D323F7C5-A48A-456C-9D6E-CC1CC0755C1E}"/>
          </ac:spMkLst>
        </pc:spChg>
        <pc:spChg chg="add mod">
          <ac:chgData name="Manal El Bakkouri" userId="8b130982-2e3f-4164-b881-fd3a2e4b2453" providerId="ADAL" clId="{4457FA57-250B-44AC-8655-05D46C5A3D8A}" dt="2023-06-09T14:59:24.706" v="22797" actId="1076"/>
          <ac:spMkLst>
            <pc:docMk/>
            <pc:sldMk cId="1443789472" sldId="230717696"/>
            <ac:spMk id="280" creationId="{18F73713-7E47-4831-8D36-228409E5E7EF}"/>
          </ac:spMkLst>
        </pc:spChg>
        <pc:spChg chg="add mod">
          <ac:chgData name="Manal El Bakkouri" userId="8b130982-2e3f-4164-b881-fd3a2e4b2453" providerId="ADAL" clId="{4457FA57-250B-44AC-8655-05D46C5A3D8A}" dt="2023-06-09T14:59:24.706" v="22797" actId="1076"/>
          <ac:spMkLst>
            <pc:docMk/>
            <pc:sldMk cId="1443789472" sldId="230717696"/>
            <ac:spMk id="281" creationId="{A5CC6177-A874-4B09-A81F-5347FA449CAB}"/>
          </ac:spMkLst>
        </pc:spChg>
        <pc:spChg chg="add mod">
          <ac:chgData name="Manal El Bakkouri" userId="8b130982-2e3f-4164-b881-fd3a2e4b2453" providerId="ADAL" clId="{4457FA57-250B-44AC-8655-05D46C5A3D8A}" dt="2023-06-09T14:59:24.706" v="22797" actId="1076"/>
          <ac:spMkLst>
            <pc:docMk/>
            <pc:sldMk cId="1443789472" sldId="230717696"/>
            <ac:spMk id="282" creationId="{B554B8A6-132E-4104-92B5-1ADF8BD24D92}"/>
          </ac:spMkLst>
        </pc:spChg>
        <pc:spChg chg="add mod">
          <ac:chgData name="Manal El Bakkouri" userId="8b130982-2e3f-4164-b881-fd3a2e4b2453" providerId="ADAL" clId="{4457FA57-250B-44AC-8655-05D46C5A3D8A}" dt="2023-06-09T14:59:24.706" v="22797" actId="1076"/>
          <ac:spMkLst>
            <pc:docMk/>
            <pc:sldMk cId="1443789472" sldId="230717696"/>
            <ac:spMk id="283" creationId="{0EBCDDB5-11EF-473E-84C8-EFCA05023F27}"/>
          </ac:spMkLst>
        </pc:spChg>
        <pc:spChg chg="add mod">
          <ac:chgData name="Manal El Bakkouri" userId="8b130982-2e3f-4164-b881-fd3a2e4b2453" providerId="ADAL" clId="{4457FA57-250B-44AC-8655-05D46C5A3D8A}" dt="2023-06-09T14:59:24.706" v="22797" actId="1076"/>
          <ac:spMkLst>
            <pc:docMk/>
            <pc:sldMk cId="1443789472" sldId="230717696"/>
            <ac:spMk id="284" creationId="{BB01A4B7-81CA-4B8D-81FB-5C3B588A631B}"/>
          </ac:spMkLst>
        </pc:spChg>
        <pc:spChg chg="add mod">
          <ac:chgData name="Manal El Bakkouri" userId="8b130982-2e3f-4164-b881-fd3a2e4b2453" providerId="ADAL" clId="{4457FA57-250B-44AC-8655-05D46C5A3D8A}" dt="2023-06-09T14:59:24.706" v="22797" actId="1076"/>
          <ac:spMkLst>
            <pc:docMk/>
            <pc:sldMk cId="1443789472" sldId="230717696"/>
            <ac:spMk id="285" creationId="{EE8ABC59-03B6-4C48-9060-4CBA9A7B0481}"/>
          </ac:spMkLst>
        </pc:spChg>
        <pc:spChg chg="add mod">
          <ac:chgData name="Manal El Bakkouri" userId="8b130982-2e3f-4164-b881-fd3a2e4b2453" providerId="ADAL" clId="{4457FA57-250B-44AC-8655-05D46C5A3D8A}" dt="2023-06-09T14:59:24.706" v="22797" actId="1076"/>
          <ac:spMkLst>
            <pc:docMk/>
            <pc:sldMk cId="1443789472" sldId="230717696"/>
            <ac:spMk id="286" creationId="{6AB30D61-0FD6-4E14-A5F9-664EBE786615}"/>
          </ac:spMkLst>
        </pc:spChg>
        <pc:spChg chg="add mod">
          <ac:chgData name="Manal El Bakkouri" userId="8b130982-2e3f-4164-b881-fd3a2e4b2453" providerId="ADAL" clId="{4457FA57-250B-44AC-8655-05D46C5A3D8A}" dt="2023-06-09T14:59:24.706" v="22797" actId="1076"/>
          <ac:spMkLst>
            <pc:docMk/>
            <pc:sldMk cId="1443789472" sldId="230717696"/>
            <ac:spMk id="287" creationId="{C4D297ED-3A70-4F81-895F-6E61CCCBBB2B}"/>
          </ac:spMkLst>
        </pc:spChg>
        <pc:spChg chg="add mod">
          <ac:chgData name="Manal El Bakkouri" userId="8b130982-2e3f-4164-b881-fd3a2e4b2453" providerId="ADAL" clId="{4457FA57-250B-44AC-8655-05D46C5A3D8A}" dt="2023-06-09T14:59:24.706" v="22797" actId="1076"/>
          <ac:spMkLst>
            <pc:docMk/>
            <pc:sldMk cId="1443789472" sldId="230717696"/>
            <ac:spMk id="288" creationId="{1BB61577-4434-4D7F-96AA-3BA9E84F6F95}"/>
          </ac:spMkLst>
        </pc:spChg>
        <pc:spChg chg="add mod">
          <ac:chgData name="Manal El Bakkouri" userId="8b130982-2e3f-4164-b881-fd3a2e4b2453" providerId="ADAL" clId="{4457FA57-250B-44AC-8655-05D46C5A3D8A}" dt="2023-06-09T14:59:24.706" v="22797" actId="1076"/>
          <ac:spMkLst>
            <pc:docMk/>
            <pc:sldMk cId="1443789472" sldId="230717696"/>
            <ac:spMk id="289" creationId="{0F874465-F3F8-47C1-A22F-037017A431A4}"/>
          </ac:spMkLst>
        </pc:spChg>
        <pc:spChg chg="add mod">
          <ac:chgData name="Manal El Bakkouri" userId="8b130982-2e3f-4164-b881-fd3a2e4b2453" providerId="ADAL" clId="{4457FA57-250B-44AC-8655-05D46C5A3D8A}" dt="2023-06-09T14:59:24.706" v="22797" actId="1076"/>
          <ac:spMkLst>
            <pc:docMk/>
            <pc:sldMk cId="1443789472" sldId="230717696"/>
            <ac:spMk id="290" creationId="{07E15A50-D0B8-4C1C-8D7B-A11F4F3A6299}"/>
          </ac:spMkLst>
        </pc:spChg>
        <pc:spChg chg="add mod">
          <ac:chgData name="Manal El Bakkouri" userId="8b130982-2e3f-4164-b881-fd3a2e4b2453" providerId="ADAL" clId="{4457FA57-250B-44AC-8655-05D46C5A3D8A}" dt="2023-06-09T14:59:24.706" v="22797" actId="1076"/>
          <ac:spMkLst>
            <pc:docMk/>
            <pc:sldMk cId="1443789472" sldId="230717696"/>
            <ac:spMk id="291" creationId="{F96DA7D7-4F83-4E0D-805D-A9A93497E16D}"/>
          </ac:spMkLst>
        </pc:spChg>
        <pc:spChg chg="add mod">
          <ac:chgData name="Manal El Bakkouri" userId="8b130982-2e3f-4164-b881-fd3a2e4b2453" providerId="ADAL" clId="{4457FA57-250B-44AC-8655-05D46C5A3D8A}" dt="2023-06-09T14:59:24.706" v="22797" actId="1076"/>
          <ac:spMkLst>
            <pc:docMk/>
            <pc:sldMk cId="1443789472" sldId="230717696"/>
            <ac:spMk id="292" creationId="{7304EA26-65EE-418D-BEC8-8AAE4598B08E}"/>
          </ac:spMkLst>
        </pc:spChg>
        <pc:spChg chg="add mod">
          <ac:chgData name="Manal El Bakkouri" userId="8b130982-2e3f-4164-b881-fd3a2e4b2453" providerId="ADAL" clId="{4457FA57-250B-44AC-8655-05D46C5A3D8A}" dt="2023-06-09T14:59:24.706" v="22797" actId="1076"/>
          <ac:spMkLst>
            <pc:docMk/>
            <pc:sldMk cId="1443789472" sldId="230717696"/>
            <ac:spMk id="293" creationId="{5E2917EA-5CA6-45FA-9FAC-5C8091E90DB9}"/>
          </ac:spMkLst>
        </pc:spChg>
        <pc:spChg chg="add mod">
          <ac:chgData name="Manal El Bakkouri" userId="8b130982-2e3f-4164-b881-fd3a2e4b2453" providerId="ADAL" clId="{4457FA57-250B-44AC-8655-05D46C5A3D8A}" dt="2023-06-09T14:59:24.706" v="22797" actId="1076"/>
          <ac:spMkLst>
            <pc:docMk/>
            <pc:sldMk cId="1443789472" sldId="230717696"/>
            <ac:spMk id="294" creationId="{6024A6A0-5D89-4565-850F-829C340F08F9}"/>
          </ac:spMkLst>
        </pc:spChg>
        <pc:spChg chg="add mod">
          <ac:chgData name="Manal El Bakkouri" userId="8b130982-2e3f-4164-b881-fd3a2e4b2453" providerId="ADAL" clId="{4457FA57-250B-44AC-8655-05D46C5A3D8A}" dt="2023-06-09T14:59:24.706" v="22797" actId="1076"/>
          <ac:spMkLst>
            <pc:docMk/>
            <pc:sldMk cId="1443789472" sldId="230717696"/>
            <ac:spMk id="295" creationId="{DC4A3213-6DA8-4F35-8280-A801F008AD29}"/>
          </ac:spMkLst>
        </pc:spChg>
        <pc:spChg chg="add mod">
          <ac:chgData name="Manal El Bakkouri" userId="8b130982-2e3f-4164-b881-fd3a2e4b2453" providerId="ADAL" clId="{4457FA57-250B-44AC-8655-05D46C5A3D8A}" dt="2023-06-09T14:59:24.706" v="22797" actId="1076"/>
          <ac:spMkLst>
            <pc:docMk/>
            <pc:sldMk cId="1443789472" sldId="230717696"/>
            <ac:spMk id="296" creationId="{B00F4A88-87F8-4499-AA24-FA7828B712DA}"/>
          </ac:spMkLst>
        </pc:spChg>
        <pc:spChg chg="add mod">
          <ac:chgData name="Manal El Bakkouri" userId="8b130982-2e3f-4164-b881-fd3a2e4b2453" providerId="ADAL" clId="{4457FA57-250B-44AC-8655-05D46C5A3D8A}" dt="2023-06-09T14:59:24.706" v="22797" actId="1076"/>
          <ac:spMkLst>
            <pc:docMk/>
            <pc:sldMk cId="1443789472" sldId="230717696"/>
            <ac:spMk id="297" creationId="{F032DFB4-EA8B-4689-A870-B43A03CF1AC8}"/>
          </ac:spMkLst>
        </pc:spChg>
        <pc:spChg chg="add mod">
          <ac:chgData name="Manal El Bakkouri" userId="8b130982-2e3f-4164-b881-fd3a2e4b2453" providerId="ADAL" clId="{4457FA57-250B-44AC-8655-05D46C5A3D8A}" dt="2023-06-09T14:59:24.706" v="22797" actId="1076"/>
          <ac:spMkLst>
            <pc:docMk/>
            <pc:sldMk cId="1443789472" sldId="230717696"/>
            <ac:spMk id="298" creationId="{AFC7EE59-BFB3-4D8D-A95C-A430C3C1681D}"/>
          </ac:spMkLst>
        </pc:spChg>
        <pc:spChg chg="add mod">
          <ac:chgData name="Manal El Bakkouri" userId="8b130982-2e3f-4164-b881-fd3a2e4b2453" providerId="ADAL" clId="{4457FA57-250B-44AC-8655-05D46C5A3D8A}" dt="2023-06-09T14:59:24.706" v="22797" actId="1076"/>
          <ac:spMkLst>
            <pc:docMk/>
            <pc:sldMk cId="1443789472" sldId="230717696"/>
            <ac:spMk id="299" creationId="{81EE8DA5-12B3-40F7-8EEC-8A340957C03D}"/>
          </ac:spMkLst>
        </pc:spChg>
        <pc:spChg chg="add mod">
          <ac:chgData name="Manal El Bakkouri" userId="8b130982-2e3f-4164-b881-fd3a2e4b2453" providerId="ADAL" clId="{4457FA57-250B-44AC-8655-05D46C5A3D8A}" dt="2023-06-09T14:59:24.706" v="22797" actId="1076"/>
          <ac:spMkLst>
            <pc:docMk/>
            <pc:sldMk cId="1443789472" sldId="230717696"/>
            <ac:spMk id="300" creationId="{E7E942F3-5B0F-4DE6-88D5-AEDEF7A0E4C6}"/>
          </ac:spMkLst>
        </pc:spChg>
        <pc:spChg chg="add mod">
          <ac:chgData name="Manal El Bakkouri" userId="8b130982-2e3f-4164-b881-fd3a2e4b2453" providerId="ADAL" clId="{4457FA57-250B-44AC-8655-05D46C5A3D8A}" dt="2023-06-09T14:59:24.706" v="22797" actId="1076"/>
          <ac:spMkLst>
            <pc:docMk/>
            <pc:sldMk cId="1443789472" sldId="230717696"/>
            <ac:spMk id="301" creationId="{012A61AE-DDA2-40BE-A656-2C090B555890}"/>
          </ac:spMkLst>
        </pc:spChg>
        <pc:spChg chg="add mod">
          <ac:chgData name="Manal El Bakkouri" userId="8b130982-2e3f-4164-b881-fd3a2e4b2453" providerId="ADAL" clId="{4457FA57-250B-44AC-8655-05D46C5A3D8A}" dt="2023-06-09T14:59:24.706" v="22797" actId="1076"/>
          <ac:spMkLst>
            <pc:docMk/>
            <pc:sldMk cId="1443789472" sldId="230717696"/>
            <ac:spMk id="302" creationId="{BEC359E8-9624-4DB6-8818-1D32DE9A879A}"/>
          </ac:spMkLst>
        </pc:spChg>
        <pc:spChg chg="add mod">
          <ac:chgData name="Manal El Bakkouri" userId="8b130982-2e3f-4164-b881-fd3a2e4b2453" providerId="ADAL" clId="{4457FA57-250B-44AC-8655-05D46C5A3D8A}" dt="2023-06-09T14:59:24.706" v="22797" actId="1076"/>
          <ac:spMkLst>
            <pc:docMk/>
            <pc:sldMk cId="1443789472" sldId="230717696"/>
            <ac:spMk id="303" creationId="{0AC4CBD0-28AC-4D1D-9824-75129F9E9185}"/>
          </ac:spMkLst>
        </pc:spChg>
        <pc:spChg chg="add mod">
          <ac:chgData name="Manal El Bakkouri" userId="8b130982-2e3f-4164-b881-fd3a2e4b2453" providerId="ADAL" clId="{4457FA57-250B-44AC-8655-05D46C5A3D8A}" dt="2023-06-09T14:59:24.706" v="22797" actId="1076"/>
          <ac:spMkLst>
            <pc:docMk/>
            <pc:sldMk cId="1443789472" sldId="230717696"/>
            <ac:spMk id="304" creationId="{F6C21AB5-4085-439F-A945-E1A87F7B1E23}"/>
          </ac:spMkLst>
        </pc:spChg>
        <pc:spChg chg="add mod">
          <ac:chgData name="Manal El Bakkouri" userId="8b130982-2e3f-4164-b881-fd3a2e4b2453" providerId="ADAL" clId="{4457FA57-250B-44AC-8655-05D46C5A3D8A}" dt="2023-06-09T14:59:24.706" v="22797" actId="1076"/>
          <ac:spMkLst>
            <pc:docMk/>
            <pc:sldMk cId="1443789472" sldId="230717696"/>
            <ac:spMk id="305" creationId="{4AF72E3C-05AA-4AC2-AA61-F41B1DFEAC9B}"/>
          </ac:spMkLst>
        </pc:spChg>
        <pc:spChg chg="add mod">
          <ac:chgData name="Manal El Bakkouri" userId="8b130982-2e3f-4164-b881-fd3a2e4b2453" providerId="ADAL" clId="{4457FA57-250B-44AC-8655-05D46C5A3D8A}" dt="2023-06-09T14:59:24.706" v="22797" actId="1076"/>
          <ac:spMkLst>
            <pc:docMk/>
            <pc:sldMk cId="1443789472" sldId="230717696"/>
            <ac:spMk id="306" creationId="{7450A029-989F-4EA5-8D5A-CCE1E3384916}"/>
          </ac:spMkLst>
        </pc:spChg>
        <pc:spChg chg="add mod">
          <ac:chgData name="Manal El Bakkouri" userId="8b130982-2e3f-4164-b881-fd3a2e4b2453" providerId="ADAL" clId="{4457FA57-250B-44AC-8655-05D46C5A3D8A}" dt="2023-06-09T14:59:24.706" v="22797" actId="1076"/>
          <ac:spMkLst>
            <pc:docMk/>
            <pc:sldMk cId="1443789472" sldId="230717696"/>
            <ac:spMk id="307" creationId="{174F4275-1D09-46AB-89AB-4E7587ACC9F4}"/>
          </ac:spMkLst>
        </pc:spChg>
        <pc:spChg chg="add mod">
          <ac:chgData name="Manal El Bakkouri" userId="8b130982-2e3f-4164-b881-fd3a2e4b2453" providerId="ADAL" clId="{4457FA57-250B-44AC-8655-05D46C5A3D8A}" dt="2023-06-09T14:59:24.706" v="22797" actId="1076"/>
          <ac:spMkLst>
            <pc:docMk/>
            <pc:sldMk cId="1443789472" sldId="230717696"/>
            <ac:spMk id="308" creationId="{3896AEB5-8050-44FE-8009-87D312CD9C19}"/>
          </ac:spMkLst>
        </pc:spChg>
        <pc:spChg chg="add mod">
          <ac:chgData name="Manal El Bakkouri" userId="8b130982-2e3f-4164-b881-fd3a2e4b2453" providerId="ADAL" clId="{4457FA57-250B-44AC-8655-05D46C5A3D8A}" dt="2023-06-09T14:59:24.706" v="22797" actId="1076"/>
          <ac:spMkLst>
            <pc:docMk/>
            <pc:sldMk cId="1443789472" sldId="230717696"/>
            <ac:spMk id="309" creationId="{44F26814-BA91-444A-BAEB-838DA8CEB97F}"/>
          </ac:spMkLst>
        </pc:spChg>
        <pc:spChg chg="add mod">
          <ac:chgData name="Manal El Bakkouri" userId="8b130982-2e3f-4164-b881-fd3a2e4b2453" providerId="ADAL" clId="{4457FA57-250B-44AC-8655-05D46C5A3D8A}" dt="2023-06-09T14:59:24.706" v="22797" actId="1076"/>
          <ac:spMkLst>
            <pc:docMk/>
            <pc:sldMk cId="1443789472" sldId="230717696"/>
            <ac:spMk id="310" creationId="{82EECDD6-091F-4858-ADC8-C412365823E3}"/>
          </ac:spMkLst>
        </pc:spChg>
        <pc:spChg chg="add mod">
          <ac:chgData name="Manal El Bakkouri" userId="8b130982-2e3f-4164-b881-fd3a2e4b2453" providerId="ADAL" clId="{4457FA57-250B-44AC-8655-05D46C5A3D8A}" dt="2023-06-09T14:59:24.706" v="22797" actId="1076"/>
          <ac:spMkLst>
            <pc:docMk/>
            <pc:sldMk cId="1443789472" sldId="230717696"/>
            <ac:spMk id="311" creationId="{0D4A23ED-C311-4DD9-AE90-5DE4D5D45348}"/>
          </ac:spMkLst>
        </pc:spChg>
        <pc:spChg chg="add mod">
          <ac:chgData name="Manal El Bakkouri" userId="8b130982-2e3f-4164-b881-fd3a2e4b2453" providerId="ADAL" clId="{4457FA57-250B-44AC-8655-05D46C5A3D8A}" dt="2023-06-09T14:59:24.706" v="22797" actId="1076"/>
          <ac:spMkLst>
            <pc:docMk/>
            <pc:sldMk cId="1443789472" sldId="230717696"/>
            <ac:spMk id="312" creationId="{7E2BE635-97E7-42DE-8B87-06B3E49F1C99}"/>
          </ac:spMkLst>
        </pc:spChg>
        <pc:spChg chg="add mod">
          <ac:chgData name="Manal El Bakkouri" userId="8b130982-2e3f-4164-b881-fd3a2e4b2453" providerId="ADAL" clId="{4457FA57-250B-44AC-8655-05D46C5A3D8A}" dt="2023-06-09T14:59:24.706" v="22797" actId="1076"/>
          <ac:spMkLst>
            <pc:docMk/>
            <pc:sldMk cId="1443789472" sldId="230717696"/>
            <ac:spMk id="313" creationId="{6C3CCA62-DA64-447D-8301-CF8EBB5809CF}"/>
          </ac:spMkLst>
        </pc:spChg>
        <pc:spChg chg="add mod">
          <ac:chgData name="Manal El Bakkouri" userId="8b130982-2e3f-4164-b881-fd3a2e4b2453" providerId="ADAL" clId="{4457FA57-250B-44AC-8655-05D46C5A3D8A}" dt="2023-06-09T14:59:24.706" v="22797" actId="1076"/>
          <ac:spMkLst>
            <pc:docMk/>
            <pc:sldMk cId="1443789472" sldId="230717696"/>
            <ac:spMk id="314" creationId="{0EA87FAB-CE57-4919-A81B-FAB8A518755A}"/>
          </ac:spMkLst>
        </pc:spChg>
        <pc:spChg chg="add mod">
          <ac:chgData name="Manal El Bakkouri" userId="8b130982-2e3f-4164-b881-fd3a2e4b2453" providerId="ADAL" clId="{4457FA57-250B-44AC-8655-05D46C5A3D8A}" dt="2023-06-09T14:59:24.706" v="22797" actId="1076"/>
          <ac:spMkLst>
            <pc:docMk/>
            <pc:sldMk cId="1443789472" sldId="230717696"/>
            <ac:spMk id="315" creationId="{B0508953-4ECF-40D6-B359-A69B58F168B6}"/>
          </ac:spMkLst>
        </pc:spChg>
        <pc:spChg chg="add mod">
          <ac:chgData name="Manal El Bakkouri" userId="8b130982-2e3f-4164-b881-fd3a2e4b2453" providerId="ADAL" clId="{4457FA57-250B-44AC-8655-05D46C5A3D8A}" dt="2023-06-09T14:59:24.706" v="22797" actId="1076"/>
          <ac:spMkLst>
            <pc:docMk/>
            <pc:sldMk cId="1443789472" sldId="230717696"/>
            <ac:spMk id="316" creationId="{B66F61BE-4092-4788-8461-4B204BA72A37}"/>
          </ac:spMkLst>
        </pc:spChg>
        <pc:spChg chg="add mod">
          <ac:chgData name="Manal El Bakkouri" userId="8b130982-2e3f-4164-b881-fd3a2e4b2453" providerId="ADAL" clId="{4457FA57-250B-44AC-8655-05D46C5A3D8A}" dt="2023-06-09T14:59:24.706" v="22797" actId="1076"/>
          <ac:spMkLst>
            <pc:docMk/>
            <pc:sldMk cId="1443789472" sldId="230717696"/>
            <ac:spMk id="317" creationId="{5DFFF34C-3A3B-41DD-A529-AC6CFC2B7289}"/>
          </ac:spMkLst>
        </pc:spChg>
        <pc:spChg chg="add mod">
          <ac:chgData name="Manal El Bakkouri" userId="8b130982-2e3f-4164-b881-fd3a2e4b2453" providerId="ADAL" clId="{4457FA57-250B-44AC-8655-05D46C5A3D8A}" dt="2023-06-09T14:59:24.706" v="22797" actId="1076"/>
          <ac:spMkLst>
            <pc:docMk/>
            <pc:sldMk cId="1443789472" sldId="230717696"/>
            <ac:spMk id="318" creationId="{627D0F96-D869-4831-BDA8-813800CD8010}"/>
          </ac:spMkLst>
        </pc:spChg>
        <pc:spChg chg="add mod">
          <ac:chgData name="Manal El Bakkouri" userId="8b130982-2e3f-4164-b881-fd3a2e4b2453" providerId="ADAL" clId="{4457FA57-250B-44AC-8655-05D46C5A3D8A}" dt="2023-06-09T14:59:24.706" v="22797" actId="1076"/>
          <ac:spMkLst>
            <pc:docMk/>
            <pc:sldMk cId="1443789472" sldId="230717696"/>
            <ac:spMk id="319" creationId="{C6DF88EE-6C21-4D25-B71A-11FE09C3A714}"/>
          </ac:spMkLst>
        </pc:spChg>
        <pc:spChg chg="add mod">
          <ac:chgData name="Manal El Bakkouri" userId="8b130982-2e3f-4164-b881-fd3a2e4b2453" providerId="ADAL" clId="{4457FA57-250B-44AC-8655-05D46C5A3D8A}" dt="2023-06-09T14:59:24.706" v="22797" actId="1076"/>
          <ac:spMkLst>
            <pc:docMk/>
            <pc:sldMk cId="1443789472" sldId="230717696"/>
            <ac:spMk id="320" creationId="{071A8D36-E2FE-4A6B-A7DD-BF1CC8ECE1FF}"/>
          </ac:spMkLst>
        </pc:spChg>
        <pc:spChg chg="add mod">
          <ac:chgData name="Manal El Bakkouri" userId="8b130982-2e3f-4164-b881-fd3a2e4b2453" providerId="ADAL" clId="{4457FA57-250B-44AC-8655-05D46C5A3D8A}" dt="2023-06-09T14:59:24.706" v="22797" actId="1076"/>
          <ac:spMkLst>
            <pc:docMk/>
            <pc:sldMk cId="1443789472" sldId="230717696"/>
            <ac:spMk id="321" creationId="{197FEC34-2AE5-4915-83BD-61BBD664B270}"/>
          </ac:spMkLst>
        </pc:spChg>
        <pc:spChg chg="add mod">
          <ac:chgData name="Manal El Bakkouri" userId="8b130982-2e3f-4164-b881-fd3a2e4b2453" providerId="ADAL" clId="{4457FA57-250B-44AC-8655-05D46C5A3D8A}" dt="2023-06-09T14:59:24.706" v="22797" actId="1076"/>
          <ac:spMkLst>
            <pc:docMk/>
            <pc:sldMk cId="1443789472" sldId="230717696"/>
            <ac:spMk id="322" creationId="{E7761E13-724D-4A9B-8A3C-66BB80528572}"/>
          </ac:spMkLst>
        </pc:spChg>
        <pc:spChg chg="add mod">
          <ac:chgData name="Manal El Bakkouri" userId="8b130982-2e3f-4164-b881-fd3a2e4b2453" providerId="ADAL" clId="{4457FA57-250B-44AC-8655-05D46C5A3D8A}" dt="2023-06-09T14:59:24.706" v="22797" actId="1076"/>
          <ac:spMkLst>
            <pc:docMk/>
            <pc:sldMk cId="1443789472" sldId="230717696"/>
            <ac:spMk id="323" creationId="{5A4FF74C-932B-4C1D-A7B6-31E856FF0C98}"/>
          </ac:spMkLst>
        </pc:spChg>
        <pc:spChg chg="add mod">
          <ac:chgData name="Manal El Bakkouri" userId="8b130982-2e3f-4164-b881-fd3a2e4b2453" providerId="ADAL" clId="{4457FA57-250B-44AC-8655-05D46C5A3D8A}" dt="2023-06-09T14:59:24.706" v="22797" actId="1076"/>
          <ac:spMkLst>
            <pc:docMk/>
            <pc:sldMk cId="1443789472" sldId="230717696"/>
            <ac:spMk id="324" creationId="{5B826F7B-E9D7-4F14-B3F5-E3706CA20D35}"/>
          </ac:spMkLst>
        </pc:spChg>
        <pc:spChg chg="add mod">
          <ac:chgData name="Manal El Bakkouri" userId="8b130982-2e3f-4164-b881-fd3a2e4b2453" providerId="ADAL" clId="{4457FA57-250B-44AC-8655-05D46C5A3D8A}" dt="2023-06-09T14:59:24.706" v="22797" actId="1076"/>
          <ac:spMkLst>
            <pc:docMk/>
            <pc:sldMk cId="1443789472" sldId="230717696"/>
            <ac:spMk id="325" creationId="{606FD34E-D1A2-4422-BE04-853B60564B05}"/>
          </ac:spMkLst>
        </pc:spChg>
        <pc:spChg chg="add mod">
          <ac:chgData name="Manal El Bakkouri" userId="8b130982-2e3f-4164-b881-fd3a2e4b2453" providerId="ADAL" clId="{4457FA57-250B-44AC-8655-05D46C5A3D8A}" dt="2023-06-09T14:59:24.706" v="22797" actId="1076"/>
          <ac:spMkLst>
            <pc:docMk/>
            <pc:sldMk cId="1443789472" sldId="230717696"/>
            <ac:spMk id="326" creationId="{57004874-0CFE-4621-BE64-9317744F2279}"/>
          </ac:spMkLst>
        </pc:spChg>
        <pc:spChg chg="add mod">
          <ac:chgData name="Manal El Bakkouri" userId="8b130982-2e3f-4164-b881-fd3a2e4b2453" providerId="ADAL" clId="{4457FA57-250B-44AC-8655-05D46C5A3D8A}" dt="2023-06-09T14:59:24.706" v="22797" actId="1076"/>
          <ac:spMkLst>
            <pc:docMk/>
            <pc:sldMk cId="1443789472" sldId="230717696"/>
            <ac:spMk id="327" creationId="{5856E961-8253-4F55-81C3-783B137279FF}"/>
          </ac:spMkLst>
        </pc:spChg>
        <pc:spChg chg="add mod">
          <ac:chgData name="Manal El Bakkouri" userId="8b130982-2e3f-4164-b881-fd3a2e4b2453" providerId="ADAL" clId="{4457FA57-250B-44AC-8655-05D46C5A3D8A}" dt="2023-06-09T14:59:24.706" v="22797" actId="1076"/>
          <ac:spMkLst>
            <pc:docMk/>
            <pc:sldMk cId="1443789472" sldId="230717696"/>
            <ac:spMk id="328" creationId="{4AE72782-6DC6-49C9-A66E-6BBEE94E1692}"/>
          </ac:spMkLst>
        </pc:spChg>
        <pc:spChg chg="add mod">
          <ac:chgData name="Manal El Bakkouri" userId="8b130982-2e3f-4164-b881-fd3a2e4b2453" providerId="ADAL" clId="{4457FA57-250B-44AC-8655-05D46C5A3D8A}" dt="2023-06-09T14:59:24.706" v="22797" actId="1076"/>
          <ac:spMkLst>
            <pc:docMk/>
            <pc:sldMk cId="1443789472" sldId="230717696"/>
            <ac:spMk id="329" creationId="{2BB6BE00-F905-4FA2-AAEC-5DADE493E274}"/>
          </ac:spMkLst>
        </pc:spChg>
        <pc:spChg chg="add mod">
          <ac:chgData name="Manal El Bakkouri" userId="8b130982-2e3f-4164-b881-fd3a2e4b2453" providerId="ADAL" clId="{4457FA57-250B-44AC-8655-05D46C5A3D8A}" dt="2023-06-09T14:59:24.706" v="22797" actId="1076"/>
          <ac:spMkLst>
            <pc:docMk/>
            <pc:sldMk cId="1443789472" sldId="230717696"/>
            <ac:spMk id="330" creationId="{6C8D3A63-04C4-4B94-8789-0CBAD102E328}"/>
          </ac:spMkLst>
        </pc:spChg>
        <pc:spChg chg="add mod">
          <ac:chgData name="Manal El Bakkouri" userId="8b130982-2e3f-4164-b881-fd3a2e4b2453" providerId="ADAL" clId="{4457FA57-250B-44AC-8655-05D46C5A3D8A}" dt="2023-06-09T14:59:24.706" v="22797" actId="1076"/>
          <ac:spMkLst>
            <pc:docMk/>
            <pc:sldMk cId="1443789472" sldId="230717696"/>
            <ac:spMk id="331" creationId="{43CF47AA-A893-4785-8B01-C2684D3DC3D4}"/>
          </ac:spMkLst>
        </pc:spChg>
        <pc:spChg chg="add mod">
          <ac:chgData name="Manal El Bakkouri" userId="8b130982-2e3f-4164-b881-fd3a2e4b2453" providerId="ADAL" clId="{4457FA57-250B-44AC-8655-05D46C5A3D8A}" dt="2023-06-09T14:59:24.706" v="22797" actId="1076"/>
          <ac:spMkLst>
            <pc:docMk/>
            <pc:sldMk cId="1443789472" sldId="230717696"/>
            <ac:spMk id="332" creationId="{D93C9746-2CEF-4BB6-BDB7-04E6E4980B9A}"/>
          </ac:spMkLst>
        </pc:spChg>
        <pc:spChg chg="add mod">
          <ac:chgData name="Manal El Bakkouri" userId="8b130982-2e3f-4164-b881-fd3a2e4b2453" providerId="ADAL" clId="{4457FA57-250B-44AC-8655-05D46C5A3D8A}" dt="2023-06-09T14:59:24.706" v="22797" actId="1076"/>
          <ac:spMkLst>
            <pc:docMk/>
            <pc:sldMk cId="1443789472" sldId="230717696"/>
            <ac:spMk id="333" creationId="{7B8427E6-90A5-4078-9E89-B353CE4DD2DB}"/>
          </ac:spMkLst>
        </pc:spChg>
        <pc:spChg chg="add mod">
          <ac:chgData name="Manal El Bakkouri" userId="8b130982-2e3f-4164-b881-fd3a2e4b2453" providerId="ADAL" clId="{4457FA57-250B-44AC-8655-05D46C5A3D8A}" dt="2023-06-09T14:59:24.706" v="22797" actId="1076"/>
          <ac:spMkLst>
            <pc:docMk/>
            <pc:sldMk cId="1443789472" sldId="230717696"/>
            <ac:spMk id="334" creationId="{2BF73F66-872C-4F68-B235-981438A59993}"/>
          </ac:spMkLst>
        </pc:spChg>
        <pc:spChg chg="add mod">
          <ac:chgData name="Manal El Bakkouri" userId="8b130982-2e3f-4164-b881-fd3a2e4b2453" providerId="ADAL" clId="{4457FA57-250B-44AC-8655-05D46C5A3D8A}" dt="2023-06-09T14:59:24.706" v="22797" actId="1076"/>
          <ac:spMkLst>
            <pc:docMk/>
            <pc:sldMk cId="1443789472" sldId="230717696"/>
            <ac:spMk id="335" creationId="{85D912B6-512F-40C5-8C75-C279C4ABFEDC}"/>
          </ac:spMkLst>
        </pc:spChg>
        <pc:spChg chg="add mod">
          <ac:chgData name="Manal El Bakkouri" userId="8b130982-2e3f-4164-b881-fd3a2e4b2453" providerId="ADAL" clId="{4457FA57-250B-44AC-8655-05D46C5A3D8A}" dt="2023-06-09T14:59:24.706" v="22797" actId="1076"/>
          <ac:spMkLst>
            <pc:docMk/>
            <pc:sldMk cId="1443789472" sldId="230717696"/>
            <ac:spMk id="336" creationId="{53361DF5-AD51-4635-8964-928AD35D2550}"/>
          </ac:spMkLst>
        </pc:spChg>
        <pc:spChg chg="add mod">
          <ac:chgData name="Manal El Bakkouri" userId="8b130982-2e3f-4164-b881-fd3a2e4b2453" providerId="ADAL" clId="{4457FA57-250B-44AC-8655-05D46C5A3D8A}" dt="2023-06-09T14:59:24.706" v="22797" actId="1076"/>
          <ac:spMkLst>
            <pc:docMk/>
            <pc:sldMk cId="1443789472" sldId="230717696"/>
            <ac:spMk id="337" creationId="{F07BFD0E-F4DD-4DBE-B184-0F24312BED85}"/>
          </ac:spMkLst>
        </pc:spChg>
        <pc:spChg chg="add mod">
          <ac:chgData name="Manal El Bakkouri" userId="8b130982-2e3f-4164-b881-fd3a2e4b2453" providerId="ADAL" clId="{4457FA57-250B-44AC-8655-05D46C5A3D8A}" dt="2023-06-09T14:59:24.706" v="22797" actId="1076"/>
          <ac:spMkLst>
            <pc:docMk/>
            <pc:sldMk cId="1443789472" sldId="230717696"/>
            <ac:spMk id="338" creationId="{75837A41-1132-44C3-A90C-ACF6EF5CA404}"/>
          </ac:spMkLst>
        </pc:spChg>
        <pc:spChg chg="add mod">
          <ac:chgData name="Manal El Bakkouri" userId="8b130982-2e3f-4164-b881-fd3a2e4b2453" providerId="ADAL" clId="{4457FA57-250B-44AC-8655-05D46C5A3D8A}" dt="2023-06-09T14:59:24.706" v="22797" actId="1076"/>
          <ac:spMkLst>
            <pc:docMk/>
            <pc:sldMk cId="1443789472" sldId="230717696"/>
            <ac:spMk id="339" creationId="{853B64CB-BBFF-4A10-8BA2-74D839864979}"/>
          </ac:spMkLst>
        </pc:spChg>
        <pc:spChg chg="add mod">
          <ac:chgData name="Manal El Bakkouri" userId="8b130982-2e3f-4164-b881-fd3a2e4b2453" providerId="ADAL" clId="{4457FA57-250B-44AC-8655-05D46C5A3D8A}" dt="2023-06-09T14:59:24.706" v="22797" actId="1076"/>
          <ac:spMkLst>
            <pc:docMk/>
            <pc:sldMk cId="1443789472" sldId="230717696"/>
            <ac:spMk id="340" creationId="{295A249E-2931-48D2-B95F-2403F040D80E}"/>
          </ac:spMkLst>
        </pc:spChg>
        <pc:spChg chg="add mod">
          <ac:chgData name="Manal El Bakkouri" userId="8b130982-2e3f-4164-b881-fd3a2e4b2453" providerId="ADAL" clId="{4457FA57-250B-44AC-8655-05D46C5A3D8A}" dt="2023-06-09T14:59:24.706" v="22797" actId="1076"/>
          <ac:spMkLst>
            <pc:docMk/>
            <pc:sldMk cId="1443789472" sldId="230717696"/>
            <ac:spMk id="341" creationId="{39133082-9C26-45A6-918B-A703852B103E}"/>
          </ac:spMkLst>
        </pc:spChg>
        <pc:spChg chg="add mod">
          <ac:chgData name="Manal El Bakkouri" userId="8b130982-2e3f-4164-b881-fd3a2e4b2453" providerId="ADAL" clId="{4457FA57-250B-44AC-8655-05D46C5A3D8A}" dt="2023-06-09T14:59:24.706" v="22797" actId="1076"/>
          <ac:spMkLst>
            <pc:docMk/>
            <pc:sldMk cId="1443789472" sldId="230717696"/>
            <ac:spMk id="342" creationId="{5E7B912E-D6B2-4CCB-BD0F-8D59DE641D7A}"/>
          </ac:spMkLst>
        </pc:spChg>
        <pc:spChg chg="add mod">
          <ac:chgData name="Manal El Bakkouri" userId="8b130982-2e3f-4164-b881-fd3a2e4b2453" providerId="ADAL" clId="{4457FA57-250B-44AC-8655-05D46C5A3D8A}" dt="2023-06-09T14:59:24.706" v="22797" actId="1076"/>
          <ac:spMkLst>
            <pc:docMk/>
            <pc:sldMk cId="1443789472" sldId="230717696"/>
            <ac:spMk id="343" creationId="{C819D9A0-731B-4E8B-A8A9-889DB7BC0FFD}"/>
          </ac:spMkLst>
        </pc:spChg>
        <pc:spChg chg="add mod">
          <ac:chgData name="Manal El Bakkouri" userId="8b130982-2e3f-4164-b881-fd3a2e4b2453" providerId="ADAL" clId="{4457FA57-250B-44AC-8655-05D46C5A3D8A}" dt="2023-06-09T14:59:24.706" v="22797" actId="1076"/>
          <ac:spMkLst>
            <pc:docMk/>
            <pc:sldMk cId="1443789472" sldId="230717696"/>
            <ac:spMk id="344" creationId="{6AA17BE5-C174-4330-8180-62E9D552F5CB}"/>
          </ac:spMkLst>
        </pc:spChg>
        <pc:spChg chg="add mod">
          <ac:chgData name="Manal El Bakkouri" userId="8b130982-2e3f-4164-b881-fd3a2e4b2453" providerId="ADAL" clId="{4457FA57-250B-44AC-8655-05D46C5A3D8A}" dt="2023-06-09T14:59:24.706" v="22797" actId="1076"/>
          <ac:spMkLst>
            <pc:docMk/>
            <pc:sldMk cId="1443789472" sldId="230717696"/>
            <ac:spMk id="345" creationId="{3F8E7B80-FEEA-4861-898D-88913ACD8429}"/>
          </ac:spMkLst>
        </pc:spChg>
        <pc:spChg chg="add mod">
          <ac:chgData name="Manal El Bakkouri" userId="8b130982-2e3f-4164-b881-fd3a2e4b2453" providerId="ADAL" clId="{4457FA57-250B-44AC-8655-05D46C5A3D8A}" dt="2023-06-09T14:59:24.706" v="22797" actId="1076"/>
          <ac:spMkLst>
            <pc:docMk/>
            <pc:sldMk cId="1443789472" sldId="230717696"/>
            <ac:spMk id="346" creationId="{44E2ED23-22B9-4598-A84E-28477004F8B0}"/>
          </ac:spMkLst>
        </pc:spChg>
        <pc:spChg chg="add mod">
          <ac:chgData name="Manal El Bakkouri" userId="8b130982-2e3f-4164-b881-fd3a2e4b2453" providerId="ADAL" clId="{4457FA57-250B-44AC-8655-05D46C5A3D8A}" dt="2023-06-09T14:59:24.706" v="22797" actId="1076"/>
          <ac:spMkLst>
            <pc:docMk/>
            <pc:sldMk cId="1443789472" sldId="230717696"/>
            <ac:spMk id="347" creationId="{C4EABDCD-BDDB-4D05-BB2D-23C1A3C626D1}"/>
          </ac:spMkLst>
        </pc:spChg>
        <pc:spChg chg="add mod">
          <ac:chgData name="Manal El Bakkouri" userId="8b130982-2e3f-4164-b881-fd3a2e4b2453" providerId="ADAL" clId="{4457FA57-250B-44AC-8655-05D46C5A3D8A}" dt="2023-06-09T14:59:24.706" v="22797" actId="1076"/>
          <ac:spMkLst>
            <pc:docMk/>
            <pc:sldMk cId="1443789472" sldId="230717696"/>
            <ac:spMk id="348" creationId="{184B3620-68B3-40DE-A6D1-D9AFF7E911B2}"/>
          </ac:spMkLst>
        </pc:spChg>
        <pc:spChg chg="add mod">
          <ac:chgData name="Manal El Bakkouri" userId="8b130982-2e3f-4164-b881-fd3a2e4b2453" providerId="ADAL" clId="{4457FA57-250B-44AC-8655-05D46C5A3D8A}" dt="2023-06-09T14:59:24.706" v="22797" actId="1076"/>
          <ac:spMkLst>
            <pc:docMk/>
            <pc:sldMk cId="1443789472" sldId="230717696"/>
            <ac:spMk id="349" creationId="{20B64129-9D08-4609-A8B7-A12B1AC21432}"/>
          </ac:spMkLst>
        </pc:spChg>
        <pc:spChg chg="add mod">
          <ac:chgData name="Manal El Bakkouri" userId="8b130982-2e3f-4164-b881-fd3a2e4b2453" providerId="ADAL" clId="{4457FA57-250B-44AC-8655-05D46C5A3D8A}" dt="2023-06-09T14:59:24.706" v="22797" actId="1076"/>
          <ac:spMkLst>
            <pc:docMk/>
            <pc:sldMk cId="1443789472" sldId="230717696"/>
            <ac:spMk id="350" creationId="{F22CC665-2E1B-412E-BEB8-58696120F594}"/>
          </ac:spMkLst>
        </pc:spChg>
        <pc:spChg chg="add mod">
          <ac:chgData name="Manal El Bakkouri" userId="8b130982-2e3f-4164-b881-fd3a2e4b2453" providerId="ADAL" clId="{4457FA57-250B-44AC-8655-05D46C5A3D8A}" dt="2023-06-09T14:59:24.706" v="22797" actId="1076"/>
          <ac:spMkLst>
            <pc:docMk/>
            <pc:sldMk cId="1443789472" sldId="230717696"/>
            <ac:spMk id="351" creationId="{D6559481-85A3-404E-87B4-AD501325650E}"/>
          </ac:spMkLst>
        </pc:spChg>
        <pc:spChg chg="add mod">
          <ac:chgData name="Manal El Bakkouri" userId="8b130982-2e3f-4164-b881-fd3a2e4b2453" providerId="ADAL" clId="{4457FA57-250B-44AC-8655-05D46C5A3D8A}" dt="2023-06-09T14:59:24.706" v="22797" actId="1076"/>
          <ac:spMkLst>
            <pc:docMk/>
            <pc:sldMk cId="1443789472" sldId="230717696"/>
            <ac:spMk id="352" creationId="{6A8F15FB-FC09-4E85-B2D8-5C6F46CFE691}"/>
          </ac:spMkLst>
        </pc:spChg>
        <pc:spChg chg="add mod">
          <ac:chgData name="Manal El Bakkouri" userId="8b130982-2e3f-4164-b881-fd3a2e4b2453" providerId="ADAL" clId="{4457FA57-250B-44AC-8655-05D46C5A3D8A}" dt="2023-06-09T14:59:24.706" v="22797" actId="1076"/>
          <ac:spMkLst>
            <pc:docMk/>
            <pc:sldMk cId="1443789472" sldId="230717696"/>
            <ac:spMk id="353" creationId="{0C718F76-AE40-4175-95D8-79DF4C956C4F}"/>
          </ac:spMkLst>
        </pc:spChg>
        <pc:spChg chg="add mod">
          <ac:chgData name="Manal El Bakkouri" userId="8b130982-2e3f-4164-b881-fd3a2e4b2453" providerId="ADAL" clId="{4457FA57-250B-44AC-8655-05D46C5A3D8A}" dt="2023-06-09T14:59:24.706" v="22797" actId="1076"/>
          <ac:spMkLst>
            <pc:docMk/>
            <pc:sldMk cId="1443789472" sldId="230717696"/>
            <ac:spMk id="354" creationId="{D5CA228C-41E7-4EB9-A478-B5041DE7FDE0}"/>
          </ac:spMkLst>
        </pc:spChg>
        <pc:spChg chg="add mod">
          <ac:chgData name="Manal El Bakkouri" userId="8b130982-2e3f-4164-b881-fd3a2e4b2453" providerId="ADAL" clId="{4457FA57-250B-44AC-8655-05D46C5A3D8A}" dt="2023-06-09T14:59:24.706" v="22797" actId="1076"/>
          <ac:spMkLst>
            <pc:docMk/>
            <pc:sldMk cId="1443789472" sldId="230717696"/>
            <ac:spMk id="355" creationId="{2EB5739C-937F-413B-B97D-369C2E871EBA}"/>
          </ac:spMkLst>
        </pc:spChg>
        <pc:spChg chg="add mod">
          <ac:chgData name="Manal El Bakkouri" userId="8b130982-2e3f-4164-b881-fd3a2e4b2453" providerId="ADAL" clId="{4457FA57-250B-44AC-8655-05D46C5A3D8A}" dt="2023-06-09T14:59:24.706" v="22797" actId="1076"/>
          <ac:spMkLst>
            <pc:docMk/>
            <pc:sldMk cId="1443789472" sldId="230717696"/>
            <ac:spMk id="356" creationId="{23F5F69C-80CF-4612-BF86-A6FA7B5EAA99}"/>
          </ac:spMkLst>
        </pc:spChg>
        <pc:spChg chg="add mod">
          <ac:chgData name="Manal El Bakkouri" userId="8b130982-2e3f-4164-b881-fd3a2e4b2453" providerId="ADAL" clId="{4457FA57-250B-44AC-8655-05D46C5A3D8A}" dt="2023-06-09T14:59:24.706" v="22797" actId="1076"/>
          <ac:spMkLst>
            <pc:docMk/>
            <pc:sldMk cId="1443789472" sldId="230717696"/>
            <ac:spMk id="357" creationId="{D3CF3D58-5A28-4E89-925F-FC596D09B975}"/>
          </ac:spMkLst>
        </pc:spChg>
        <pc:spChg chg="add mod">
          <ac:chgData name="Manal El Bakkouri" userId="8b130982-2e3f-4164-b881-fd3a2e4b2453" providerId="ADAL" clId="{4457FA57-250B-44AC-8655-05D46C5A3D8A}" dt="2023-06-09T14:59:24.706" v="22797" actId="1076"/>
          <ac:spMkLst>
            <pc:docMk/>
            <pc:sldMk cId="1443789472" sldId="230717696"/>
            <ac:spMk id="358" creationId="{C658B717-1595-400C-8A9A-61C32ACEAAF2}"/>
          </ac:spMkLst>
        </pc:spChg>
        <pc:spChg chg="add mod">
          <ac:chgData name="Manal El Bakkouri" userId="8b130982-2e3f-4164-b881-fd3a2e4b2453" providerId="ADAL" clId="{4457FA57-250B-44AC-8655-05D46C5A3D8A}" dt="2023-06-09T14:59:24.706" v="22797" actId="1076"/>
          <ac:spMkLst>
            <pc:docMk/>
            <pc:sldMk cId="1443789472" sldId="230717696"/>
            <ac:spMk id="359" creationId="{6E7A97F8-F4EA-4752-8E36-92FF0FD84A86}"/>
          </ac:spMkLst>
        </pc:spChg>
        <pc:spChg chg="add mod">
          <ac:chgData name="Manal El Bakkouri" userId="8b130982-2e3f-4164-b881-fd3a2e4b2453" providerId="ADAL" clId="{4457FA57-250B-44AC-8655-05D46C5A3D8A}" dt="2023-06-09T14:59:24.706" v="22797" actId="1076"/>
          <ac:spMkLst>
            <pc:docMk/>
            <pc:sldMk cId="1443789472" sldId="230717696"/>
            <ac:spMk id="360" creationId="{D4982CA7-3FF7-4E9E-A434-0B4CDA4EF68A}"/>
          </ac:spMkLst>
        </pc:spChg>
        <pc:spChg chg="add mod">
          <ac:chgData name="Manal El Bakkouri" userId="8b130982-2e3f-4164-b881-fd3a2e4b2453" providerId="ADAL" clId="{4457FA57-250B-44AC-8655-05D46C5A3D8A}" dt="2023-06-09T14:59:24.706" v="22797" actId="1076"/>
          <ac:spMkLst>
            <pc:docMk/>
            <pc:sldMk cId="1443789472" sldId="230717696"/>
            <ac:spMk id="361" creationId="{A15D3335-A035-44B1-9E76-597EFA52935D}"/>
          </ac:spMkLst>
        </pc:spChg>
        <pc:spChg chg="add mod">
          <ac:chgData name="Manal El Bakkouri" userId="8b130982-2e3f-4164-b881-fd3a2e4b2453" providerId="ADAL" clId="{4457FA57-250B-44AC-8655-05D46C5A3D8A}" dt="2023-06-09T14:59:24.706" v="22797" actId="1076"/>
          <ac:spMkLst>
            <pc:docMk/>
            <pc:sldMk cId="1443789472" sldId="230717696"/>
            <ac:spMk id="362" creationId="{3407BB76-F7B9-4080-82A9-E22058CF1A56}"/>
          </ac:spMkLst>
        </pc:spChg>
        <pc:spChg chg="add mod">
          <ac:chgData name="Manal El Bakkouri" userId="8b130982-2e3f-4164-b881-fd3a2e4b2453" providerId="ADAL" clId="{4457FA57-250B-44AC-8655-05D46C5A3D8A}" dt="2023-06-09T14:59:24.706" v="22797" actId="1076"/>
          <ac:spMkLst>
            <pc:docMk/>
            <pc:sldMk cId="1443789472" sldId="230717696"/>
            <ac:spMk id="363" creationId="{D4EE5DF4-4046-49B1-92F5-B1FBC791B5A0}"/>
          </ac:spMkLst>
        </pc:spChg>
        <pc:spChg chg="add mod">
          <ac:chgData name="Manal El Bakkouri" userId="8b130982-2e3f-4164-b881-fd3a2e4b2453" providerId="ADAL" clId="{4457FA57-250B-44AC-8655-05D46C5A3D8A}" dt="2023-06-09T14:59:24.706" v="22797" actId="1076"/>
          <ac:spMkLst>
            <pc:docMk/>
            <pc:sldMk cId="1443789472" sldId="230717696"/>
            <ac:spMk id="364" creationId="{B1B89141-CC60-4A41-B22F-E6095861CEBF}"/>
          </ac:spMkLst>
        </pc:spChg>
        <pc:spChg chg="add mod">
          <ac:chgData name="Manal El Bakkouri" userId="8b130982-2e3f-4164-b881-fd3a2e4b2453" providerId="ADAL" clId="{4457FA57-250B-44AC-8655-05D46C5A3D8A}" dt="2023-06-09T14:59:24.706" v="22797" actId="1076"/>
          <ac:spMkLst>
            <pc:docMk/>
            <pc:sldMk cId="1443789472" sldId="230717696"/>
            <ac:spMk id="365" creationId="{2372CB66-26C8-4FCC-B7EF-F0AC72FAE510}"/>
          </ac:spMkLst>
        </pc:spChg>
        <pc:spChg chg="add mod">
          <ac:chgData name="Manal El Bakkouri" userId="8b130982-2e3f-4164-b881-fd3a2e4b2453" providerId="ADAL" clId="{4457FA57-250B-44AC-8655-05D46C5A3D8A}" dt="2023-06-09T14:59:24.706" v="22797" actId="1076"/>
          <ac:spMkLst>
            <pc:docMk/>
            <pc:sldMk cId="1443789472" sldId="230717696"/>
            <ac:spMk id="366" creationId="{661BFB2E-EA5B-4A63-95F5-22689ABA0A8D}"/>
          </ac:spMkLst>
        </pc:spChg>
        <pc:spChg chg="add mod">
          <ac:chgData name="Manal El Bakkouri" userId="8b130982-2e3f-4164-b881-fd3a2e4b2453" providerId="ADAL" clId="{4457FA57-250B-44AC-8655-05D46C5A3D8A}" dt="2023-06-09T14:59:24.706" v="22797" actId="1076"/>
          <ac:spMkLst>
            <pc:docMk/>
            <pc:sldMk cId="1443789472" sldId="230717696"/>
            <ac:spMk id="367" creationId="{899FD921-981A-475D-B58C-A8DFA5C17E12}"/>
          </ac:spMkLst>
        </pc:spChg>
        <pc:spChg chg="add mod">
          <ac:chgData name="Manal El Bakkouri" userId="8b130982-2e3f-4164-b881-fd3a2e4b2453" providerId="ADAL" clId="{4457FA57-250B-44AC-8655-05D46C5A3D8A}" dt="2023-06-09T14:59:24.706" v="22797" actId="1076"/>
          <ac:spMkLst>
            <pc:docMk/>
            <pc:sldMk cId="1443789472" sldId="230717696"/>
            <ac:spMk id="368" creationId="{60A87CF7-559B-4667-94AA-9E36A12A607E}"/>
          </ac:spMkLst>
        </pc:spChg>
        <pc:spChg chg="add mod">
          <ac:chgData name="Manal El Bakkouri" userId="8b130982-2e3f-4164-b881-fd3a2e4b2453" providerId="ADAL" clId="{4457FA57-250B-44AC-8655-05D46C5A3D8A}" dt="2023-06-09T14:59:24.706" v="22797" actId="1076"/>
          <ac:spMkLst>
            <pc:docMk/>
            <pc:sldMk cId="1443789472" sldId="230717696"/>
            <ac:spMk id="369" creationId="{A1CAA884-5CEA-454E-8B36-E93ABC6F6B32}"/>
          </ac:spMkLst>
        </pc:spChg>
        <pc:spChg chg="add mod">
          <ac:chgData name="Manal El Bakkouri" userId="8b130982-2e3f-4164-b881-fd3a2e4b2453" providerId="ADAL" clId="{4457FA57-250B-44AC-8655-05D46C5A3D8A}" dt="2023-06-09T14:59:24.706" v="22797" actId="1076"/>
          <ac:spMkLst>
            <pc:docMk/>
            <pc:sldMk cId="1443789472" sldId="230717696"/>
            <ac:spMk id="370" creationId="{BDD263F1-7AE7-465B-991B-E1223022EA87}"/>
          </ac:spMkLst>
        </pc:spChg>
        <pc:spChg chg="add mod">
          <ac:chgData name="Manal El Bakkouri" userId="8b130982-2e3f-4164-b881-fd3a2e4b2453" providerId="ADAL" clId="{4457FA57-250B-44AC-8655-05D46C5A3D8A}" dt="2023-06-09T14:59:24.706" v="22797" actId="1076"/>
          <ac:spMkLst>
            <pc:docMk/>
            <pc:sldMk cId="1443789472" sldId="230717696"/>
            <ac:spMk id="371" creationId="{86172BC8-80D6-4D7F-9D4A-7BA3BDA756B1}"/>
          </ac:spMkLst>
        </pc:spChg>
        <pc:spChg chg="add mod">
          <ac:chgData name="Manal El Bakkouri" userId="8b130982-2e3f-4164-b881-fd3a2e4b2453" providerId="ADAL" clId="{4457FA57-250B-44AC-8655-05D46C5A3D8A}" dt="2023-06-09T14:59:24.706" v="22797" actId="1076"/>
          <ac:spMkLst>
            <pc:docMk/>
            <pc:sldMk cId="1443789472" sldId="230717696"/>
            <ac:spMk id="372" creationId="{C1A1A927-771C-4EFB-8F53-643B29F1F7BD}"/>
          </ac:spMkLst>
        </pc:spChg>
        <pc:spChg chg="add mod">
          <ac:chgData name="Manal El Bakkouri" userId="8b130982-2e3f-4164-b881-fd3a2e4b2453" providerId="ADAL" clId="{4457FA57-250B-44AC-8655-05D46C5A3D8A}" dt="2023-06-09T14:59:24.706" v="22797" actId="1076"/>
          <ac:spMkLst>
            <pc:docMk/>
            <pc:sldMk cId="1443789472" sldId="230717696"/>
            <ac:spMk id="373" creationId="{BE63AE17-8C65-455A-8610-C31ABCE1893D}"/>
          </ac:spMkLst>
        </pc:spChg>
        <pc:spChg chg="add mod">
          <ac:chgData name="Manal El Bakkouri" userId="8b130982-2e3f-4164-b881-fd3a2e4b2453" providerId="ADAL" clId="{4457FA57-250B-44AC-8655-05D46C5A3D8A}" dt="2023-06-09T14:59:24.706" v="22797" actId="1076"/>
          <ac:spMkLst>
            <pc:docMk/>
            <pc:sldMk cId="1443789472" sldId="230717696"/>
            <ac:spMk id="374" creationId="{FE2F14E4-22BA-411C-99F3-A775E545C823}"/>
          </ac:spMkLst>
        </pc:spChg>
        <pc:spChg chg="add mod">
          <ac:chgData name="Manal El Bakkouri" userId="8b130982-2e3f-4164-b881-fd3a2e4b2453" providerId="ADAL" clId="{4457FA57-250B-44AC-8655-05D46C5A3D8A}" dt="2023-06-09T14:59:24.706" v="22797" actId="1076"/>
          <ac:spMkLst>
            <pc:docMk/>
            <pc:sldMk cId="1443789472" sldId="230717696"/>
            <ac:spMk id="375" creationId="{D998DA40-5CED-4CAC-933B-4C6FA4897153}"/>
          </ac:spMkLst>
        </pc:spChg>
        <pc:spChg chg="add mod">
          <ac:chgData name="Manal El Bakkouri" userId="8b130982-2e3f-4164-b881-fd3a2e4b2453" providerId="ADAL" clId="{4457FA57-250B-44AC-8655-05D46C5A3D8A}" dt="2023-06-09T14:59:24.706" v="22797" actId="1076"/>
          <ac:spMkLst>
            <pc:docMk/>
            <pc:sldMk cId="1443789472" sldId="230717696"/>
            <ac:spMk id="376" creationId="{10FC6344-DB92-4DEE-A3F4-A9184B12930A}"/>
          </ac:spMkLst>
        </pc:spChg>
        <pc:spChg chg="add mod">
          <ac:chgData name="Manal El Bakkouri" userId="8b130982-2e3f-4164-b881-fd3a2e4b2453" providerId="ADAL" clId="{4457FA57-250B-44AC-8655-05D46C5A3D8A}" dt="2023-06-09T14:59:24.706" v="22797" actId="1076"/>
          <ac:spMkLst>
            <pc:docMk/>
            <pc:sldMk cId="1443789472" sldId="230717696"/>
            <ac:spMk id="377" creationId="{EF9B0837-B3C3-48D0-BA59-1A8E657D0786}"/>
          </ac:spMkLst>
        </pc:spChg>
        <pc:spChg chg="add mod">
          <ac:chgData name="Manal El Bakkouri" userId="8b130982-2e3f-4164-b881-fd3a2e4b2453" providerId="ADAL" clId="{4457FA57-250B-44AC-8655-05D46C5A3D8A}" dt="2023-06-09T14:59:24.706" v="22797" actId="1076"/>
          <ac:spMkLst>
            <pc:docMk/>
            <pc:sldMk cId="1443789472" sldId="230717696"/>
            <ac:spMk id="378" creationId="{0576F6FD-CBDF-427D-B073-8BCD0D999DC3}"/>
          </ac:spMkLst>
        </pc:spChg>
        <pc:spChg chg="add mod">
          <ac:chgData name="Manal El Bakkouri" userId="8b130982-2e3f-4164-b881-fd3a2e4b2453" providerId="ADAL" clId="{4457FA57-250B-44AC-8655-05D46C5A3D8A}" dt="2023-06-09T14:59:24.706" v="22797" actId="1076"/>
          <ac:spMkLst>
            <pc:docMk/>
            <pc:sldMk cId="1443789472" sldId="230717696"/>
            <ac:spMk id="379" creationId="{15EB7F2F-E157-4F4D-B751-728BD535790C}"/>
          </ac:spMkLst>
        </pc:spChg>
        <pc:spChg chg="add mod">
          <ac:chgData name="Manal El Bakkouri" userId="8b130982-2e3f-4164-b881-fd3a2e4b2453" providerId="ADAL" clId="{4457FA57-250B-44AC-8655-05D46C5A3D8A}" dt="2023-06-09T14:59:24.706" v="22797" actId="1076"/>
          <ac:spMkLst>
            <pc:docMk/>
            <pc:sldMk cId="1443789472" sldId="230717696"/>
            <ac:spMk id="380" creationId="{3875D9E8-E842-4838-924B-EF22363B051F}"/>
          </ac:spMkLst>
        </pc:spChg>
        <pc:spChg chg="add mod">
          <ac:chgData name="Manal El Bakkouri" userId="8b130982-2e3f-4164-b881-fd3a2e4b2453" providerId="ADAL" clId="{4457FA57-250B-44AC-8655-05D46C5A3D8A}" dt="2023-06-09T14:59:24.706" v="22797" actId="1076"/>
          <ac:spMkLst>
            <pc:docMk/>
            <pc:sldMk cId="1443789472" sldId="230717696"/>
            <ac:spMk id="381" creationId="{AA2C41F8-3537-46D6-8061-950BAA231E75}"/>
          </ac:spMkLst>
        </pc:spChg>
        <pc:spChg chg="add mod">
          <ac:chgData name="Manal El Bakkouri" userId="8b130982-2e3f-4164-b881-fd3a2e4b2453" providerId="ADAL" clId="{4457FA57-250B-44AC-8655-05D46C5A3D8A}" dt="2023-06-09T14:59:24.706" v="22797" actId="1076"/>
          <ac:spMkLst>
            <pc:docMk/>
            <pc:sldMk cId="1443789472" sldId="230717696"/>
            <ac:spMk id="382" creationId="{59770520-154A-4AD6-BBDC-EB26B078DDFE}"/>
          </ac:spMkLst>
        </pc:spChg>
        <pc:spChg chg="add mod">
          <ac:chgData name="Manal El Bakkouri" userId="8b130982-2e3f-4164-b881-fd3a2e4b2453" providerId="ADAL" clId="{4457FA57-250B-44AC-8655-05D46C5A3D8A}" dt="2023-06-09T14:59:24.706" v="22797" actId="1076"/>
          <ac:spMkLst>
            <pc:docMk/>
            <pc:sldMk cId="1443789472" sldId="230717696"/>
            <ac:spMk id="383" creationId="{3E78727D-C6B5-466D-8FC4-F6CE513FDAC7}"/>
          </ac:spMkLst>
        </pc:spChg>
        <pc:spChg chg="add mod">
          <ac:chgData name="Manal El Bakkouri" userId="8b130982-2e3f-4164-b881-fd3a2e4b2453" providerId="ADAL" clId="{4457FA57-250B-44AC-8655-05D46C5A3D8A}" dt="2023-06-09T14:59:24.706" v="22797" actId="1076"/>
          <ac:spMkLst>
            <pc:docMk/>
            <pc:sldMk cId="1443789472" sldId="230717696"/>
            <ac:spMk id="384" creationId="{2C1B6A66-06B9-4AFE-95F9-5E7FF3A2A43A}"/>
          </ac:spMkLst>
        </pc:spChg>
        <pc:spChg chg="add mod">
          <ac:chgData name="Manal El Bakkouri" userId="8b130982-2e3f-4164-b881-fd3a2e4b2453" providerId="ADAL" clId="{4457FA57-250B-44AC-8655-05D46C5A3D8A}" dt="2023-06-09T14:59:24.706" v="22797" actId="1076"/>
          <ac:spMkLst>
            <pc:docMk/>
            <pc:sldMk cId="1443789472" sldId="230717696"/>
            <ac:spMk id="385" creationId="{DBCB878B-E40B-44BE-920A-9D28BC7B2386}"/>
          </ac:spMkLst>
        </pc:spChg>
        <pc:spChg chg="add mod">
          <ac:chgData name="Manal El Bakkouri" userId="8b130982-2e3f-4164-b881-fd3a2e4b2453" providerId="ADAL" clId="{4457FA57-250B-44AC-8655-05D46C5A3D8A}" dt="2023-06-09T14:59:24.706" v="22797" actId="1076"/>
          <ac:spMkLst>
            <pc:docMk/>
            <pc:sldMk cId="1443789472" sldId="230717696"/>
            <ac:spMk id="386" creationId="{C29BE2FF-F9F0-419F-83BB-F938D81AF770}"/>
          </ac:spMkLst>
        </pc:spChg>
        <pc:spChg chg="add mod">
          <ac:chgData name="Manal El Bakkouri" userId="8b130982-2e3f-4164-b881-fd3a2e4b2453" providerId="ADAL" clId="{4457FA57-250B-44AC-8655-05D46C5A3D8A}" dt="2023-06-09T14:59:24.706" v="22797" actId="1076"/>
          <ac:spMkLst>
            <pc:docMk/>
            <pc:sldMk cId="1443789472" sldId="230717696"/>
            <ac:spMk id="387" creationId="{53DD86B9-7A73-4E93-BA93-7265360409EC}"/>
          </ac:spMkLst>
        </pc:spChg>
        <pc:spChg chg="add mod">
          <ac:chgData name="Manal El Bakkouri" userId="8b130982-2e3f-4164-b881-fd3a2e4b2453" providerId="ADAL" clId="{4457FA57-250B-44AC-8655-05D46C5A3D8A}" dt="2023-06-09T14:59:24.706" v="22797" actId="1076"/>
          <ac:spMkLst>
            <pc:docMk/>
            <pc:sldMk cId="1443789472" sldId="230717696"/>
            <ac:spMk id="388" creationId="{FF3F1C90-A21C-469F-9787-D2EDB42B909D}"/>
          </ac:spMkLst>
        </pc:spChg>
        <pc:spChg chg="add mod">
          <ac:chgData name="Manal El Bakkouri" userId="8b130982-2e3f-4164-b881-fd3a2e4b2453" providerId="ADAL" clId="{4457FA57-250B-44AC-8655-05D46C5A3D8A}" dt="2023-06-09T14:59:24.706" v="22797" actId="1076"/>
          <ac:spMkLst>
            <pc:docMk/>
            <pc:sldMk cId="1443789472" sldId="230717696"/>
            <ac:spMk id="389" creationId="{E2DF4A92-6600-4C0E-BAC2-4CC6ACED0BC2}"/>
          </ac:spMkLst>
        </pc:spChg>
        <pc:spChg chg="add mod">
          <ac:chgData name="Manal El Bakkouri" userId="8b130982-2e3f-4164-b881-fd3a2e4b2453" providerId="ADAL" clId="{4457FA57-250B-44AC-8655-05D46C5A3D8A}" dt="2023-06-09T14:59:24.706" v="22797" actId="1076"/>
          <ac:spMkLst>
            <pc:docMk/>
            <pc:sldMk cId="1443789472" sldId="230717696"/>
            <ac:spMk id="390" creationId="{7B08774D-69A4-405C-9D82-627059146E32}"/>
          </ac:spMkLst>
        </pc:spChg>
        <pc:spChg chg="add mod">
          <ac:chgData name="Manal El Bakkouri" userId="8b130982-2e3f-4164-b881-fd3a2e4b2453" providerId="ADAL" clId="{4457FA57-250B-44AC-8655-05D46C5A3D8A}" dt="2023-06-09T14:59:24.706" v="22797" actId="1076"/>
          <ac:spMkLst>
            <pc:docMk/>
            <pc:sldMk cId="1443789472" sldId="230717696"/>
            <ac:spMk id="391" creationId="{19BE234C-4769-4C6F-9117-A735F890AFC5}"/>
          </ac:spMkLst>
        </pc:spChg>
        <pc:spChg chg="add mod">
          <ac:chgData name="Manal El Bakkouri" userId="8b130982-2e3f-4164-b881-fd3a2e4b2453" providerId="ADAL" clId="{4457FA57-250B-44AC-8655-05D46C5A3D8A}" dt="2023-06-09T14:59:24.706" v="22797" actId="1076"/>
          <ac:spMkLst>
            <pc:docMk/>
            <pc:sldMk cId="1443789472" sldId="230717696"/>
            <ac:spMk id="392" creationId="{93259C06-3072-4DF2-AAFE-AD5B2D8CA041}"/>
          </ac:spMkLst>
        </pc:spChg>
        <pc:spChg chg="add mod">
          <ac:chgData name="Manal El Bakkouri" userId="8b130982-2e3f-4164-b881-fd3a2e4b2453" providerId="ADAL" clId="{4457FA57-250B-44AC-8655-05D46C5A3D8A}" dt="2023-06-09T14:59:24.706" v="22797" actId="1076"/>
          <ac:spMkLst>
            <pc:docMk/>
            <pc:sldMk cId="1443789472" sldId="230717696"/>
            <ac:spMk id="393" creationId="{DCA6E54E-D993-4896-B1F5-D07FE7C50E95}"/>
          </ac:spMkLst>
        </pc:spChg>
        <pc:spChg chg="add mod">
          <ac:chgData name="Manal El Bakkouri" userId="8b130982-2e3f-4164-b881-fd3a2e4b2453" providerId="ADAL" clId="{4457FA57-250B-44AC-8655-05D46C5A3D8A}" dt="2023-06-09T14:59:24.706" v="22797" actId="1076"/>
          <ac:spMkLst>
            <pc:docMk/>
            <pc:sldMk cId="1443789472" sldId="230717696"/>
            <ac:spMk id="394" creationId="{E91BF348-2343-4BF9-83F3-3EAA3755D148}"/>
          </ac:spMkLst>
        </pc:spChg>
        <pc:spChg chg="add mod">
          <ac:chgData name="Manal El Bakkouri" userId="8b130982-2e3f-4164-b881-fd3a2e4b2453" providerId="ADAL" clId="{4457FA57-250B-44AC-8655-05D46C5A3D8A}" dt="2023-06-09T14:59:24.706" v="22797" actId="1076"/>
          <ac:spMkLst>
            <pc:docMk/>
            <pc:sldMk cId="1443789472" sldId="230717696"/>
            <ac:spMk id="395" creationId="{90A2EE58-CAC0-429C-A1C0-663DAED4DB8B}"/>
          </ac:spMkLst>
        </pc:spChg>
        <pc:spChg chg="add mod">
          <ac:chgData name="Manal El Bakkouri" userId="8b130982-2e3f-4164-b881-fd3a2e4b2453" providerId="ADAL" clId="{4457FA57-250B-44AC-8655-05D46C5A3D8A}" dt="2023-06-09T14:59:24.706" v="22797" actId="1076"/>
          <ac:spMkLst>
            <pc:docMk/>
            <pc:sldMk cId="1443789472" sldId="230717696"/>
            <ac:spMk id="396" creationId="{7875DC0E-DBF6-4ED3-9265-826BCBEDA515}"/>
          </ac:spMkLst>
        </pc:spChg>
        <pc:spChg chg="add mod">
          <ac:chgData name="Manal El Bakkouri" userId="8b130982-2e3f-4164-b881-fd3a2e4b2453" providerId="ADAL" clId="{4457FA57-250B-44AC-8655-05D46C5A3D8A}" dt="2023-06-09T14:59:24.706" v="22797" actId="1076"/>
          <ac:spMkLst>
            <pc:docMk/>
            <pc:sldMk cId="1443789472" sldId="230717696"/>
            <ac:spMk id="397" creationId="{0F8B7C3C-BD0C-4499-9364-AC9ABD466E7B}"/>
          </ac:spMkLst>
        </pc:spChg>
        <pc:spChg chg="add mod">
          <ac:chgData name="Manal El Bakkouri" userId="8b130982-2e3f-4164-b881-fd3a2e4b2453" providerId="ADAL" clId="{4457FA57-250B-44AC-8655-05D46C5A3D8A}" dt="2023-06-09T14:59:24.706" v="22797" actId="1076"/>
          <ac:spMkLst>
            <pc:docMk/>
            <pc:sldMk cId="1443789472" sldId="230717696"/>
            <ac:spMk id="398" creationId="{5240E277-C980-4CAA-96FF-CF646471FAB5}"/>
          </ac:spMkLst>
        </pc:spChg>
        <pc:spChg chg="add mod">
          <ac:chgData name="Manal El Bakkouri" userId="8b130982-2e3f-4164-b881-fd3a2e4b2453" providerId="ADAL" clId="{4457FA57-250B-44AC-8655-05D46C5A3D8A}" dt="2023-06-09T14:59:24.706" v="22797" actId="1076"/>
          <ac:spMkLst>
            <pc:docMk/>
            <pc:sldMk cId="1443789472" sldId="230717696"/>
            <ac:spMk id="399" creationId="{C67D028D-CB61-4FFB-B144-6C01C8CBAD19}"/>
          </ac:spMkLst>
        </pc:spChg>
        <pc:spChg chg="add mod">
          <ac:chgData name="Manal El Bakkouri" userId="8b130982-2e3f-4164-b881-fd3a2e4b2453" providerId="ADAL" clId="{4457FA57-250B-44AC-8655-05D46C5A3D8A}" dt="2023-06-09T14:59:24.706" v="22797" actId="1076"/>
          <ac:spMkLst>
            <pc:docMk/>
            <pc:sldMk cId="1443789472" sldId="230717696"/>
            <ac:spMk id="400" creationId="{E1E77503-4ECC-4BE7-8C0B-BBF44F6E6D95}"/>
          </ac:spMkLst>
        </pc:spChg>
        <pc:spChg chg="add mod">
          <ac:chgData name="Manal El Bakkouri" userId="8b130982-2e3f-4164-b881-fd3a2e4b2453" providerId="ADAL" clId="{4457FA57-250B-44AC-8655-05D46C5A3D8A}" dt="2023-06-09T14:59:24.706" v="22797" actId="1076"/>
          <ac:spMkLst>
            <pc:docMk/>
            <pc:sldMk cId="1443789472" sldId="230717696"/>
            <ac:spMk id="401" creationId="{95F30C70-4EA7-4E92-B054-D599F054C596}"/>
          </ac:spMkLst>
        </pc:spChg>
        <pc:spChg chg="add mod">
          <ac:chgData name="Manal El Bakkouri" userId="8b130982-2e3f-4164-b881-fd3a2e4b2453" providerId="ADAL" clId="{4457FA57-250B-44AC-8655-05D46C5A3D8A}" dt="2023-06-09T14:59:24.706" v="22797" actId="1076"/>
          <ac:spMkLst>
            <pc:docMk/>
            <pc:sldMk cId="1443789472" sldId="230717696"/>
            <ac:spMk id="402" creationId="{CACAE725-6931-486B-85EB-623B3A18A7AC}"/>
          </ac:spMkLst>
        </pc:spChg>
        <pc:spChg chg="add mod">
          <ac:chgData name="Manal El Bakkouri" userId="8b130982-2e3f-4164-b881-fd3a2e4b2453" providerId="ADAL" clId="{4457FA57-250B-44AC-8655-05D46C5A3D8A}" dt="2023-06-09T14:59:24.706" v="22797" actId="1076"/>
          <ac:spMkLst>
            <pc:docMk/>
            <pc:sldMk cId="1443789472" sldId="230717696"/>
            <ac:spMk id="403" creationId="{5245EE4A-5F5B-4DCB-9CBF-0CC9739280D4}"/>
          </ac:spMkLst>
        </pc:spChg>
        <pc:spChg chg="add mod">
          <ac:chgData name="Manal El Bakkouri" userId="8b130982-2e3f-4164-b881-fd3a2e4b2453" providerId="ADAL" clId="{4457FA57-250B-44AC-8655-05D46C5A3D8A}" dt="2023-06-09T14:59:24.706" v="22797" actId="1076"/>
          <ac:spMkLst>
            <pc:docMk/>
            <pc:sldMk cId="1443789472" sldId="230717696"/>
            <ac:spMk id="404" creationId="{E618A534-AAF5-4460-AC6D-B57FBECD704B}"/>
          </ac:spMkLst>
        </pc:spChg>
        <pc:spChg chg="add mod">
          <ac:chgData name="Manal El Bakkouri" userId="8b130982-2e3f-4164-b881-fd3a2e4b2453" providerId="ADAL" clId="{4457FA57-250B-44AC-8655-05D46C5A3D8A}" dt="2023-06-09T14:59:24.706" v="22797" actId="1076"/>
          <ac:spMkLst>
            <pc:docMk/>
            <pc:sldMk cId="1443789472" sldId="230717696"/>
            <ac:spMk id="405" creationId="{DEAE0A6A-AC51-4DCA-BF48-F939F79A7096}"/>
          </ac:spMkLst>
        </pc:spChg>
        <pc:spChg chg="add mod">
          <ac:chgData name="Manal El Bakkouri" userId="8b130982-2e3f-4164-b881-fd3a2e4b2453" providerId="ADAL" clId="{4457FA57-250B-44AC-8655-05D46C5A3D8A}" dt="2023-06-09T14:59:24.706" v="22797" actId="1076"/>
          <ac:spMkLst>
            <pc:docMk/>
            <pc:sldMk cId="1443789472" sldId="230717696"/>
            <ac:spMk id="406" creationId="{83A3F05C-7D16-414E-A8A9-8F68142A1778}"/>
          </ac:spMkLst>
        </pc:spChg>
        <pc:spChg chg="add mod">
          <ac:chgData name="Manal El Bakkouri" userId="8b130982-2e3f-4164-b881-fd3a2e4b2453" providerId="ADAL" clId="{4457FA57-250B-44AC-8655-05D46C5A3D8A}" dt="2023-06-09T14:59:24.706" v="22797" actId="1076"/>
          <ac:spMkLst>
            <pc:docMk/>
            <pc:sldMk cId="1443789472" sldId="230717696"/>
            <ac:spMk id="407" creationId="{568C2984-BAC9-4C6A-A6D8-3F3D3A6613B8}"/>
          </ac:spMkLst>
        </pc:spChg>
        <pc:spChg chg="add mod">
          <ac:chgData name="Manal El Bakkouri" userId="8b130982-2e3f-4164-b881-fd3a2e4b2453" providerId="ADAL" clId="{4457FA57-250B-44AC-8655-05D46C5A3D8A}" dt="2023-06-09T14:59:24.706" v="22797" actId="1076"/>
          <ac:spMkLst>
            <pc:docMk/>
            <pc:sldMk cId="1443789472" sldId="230717696"/>
            <ac:spMk id="408" creationId="{46123D36-66F9-42CB-AD0D-51A02ACD3B1C}"/>
          </ac:spMkLst>
        </pc:spChg>
        <pc:spChg chg="add mod">
          <ac:chgData name="Manal El Bakkouri" userId="8b130982-2e3f-4164-b881-fd3a2e4b2453" providerId="ADAL" clId="{4457FA57-250B-44AC-8655-05D46C5A3D8A}" dt="2023-06-09T14:59:24.706" v="22797" actId="1076"/>
          <ac:spMkLst>
            <pc:docMk/>
            <pc:sldMk cId="1443789472" sldId="230717696"/>
            <ac:spMk id="409" creationId="{BBCAD470-FDD9-4170-999C-F1BED79436D6}"/>
          </ac:spMkLst>
        </pc:spChg>
        <pc:spChg chg="add mod">
          <ac:chgData name="Manal El Bakkouri" userId="8b130982-2e3f-4164-b881-fd3a2e4b2453" providerId="ADAL" clId="{4457FA57-250B-44AC-8655-05D46C5A3D8A}" dt="2023-06-09T14:59:24.706" v="22797" actId="1076"/>
          <ac:spMkLst>
            <pc:docMk/>
            <pc:sldMk cId="1443789472" sldId="230717696"/>
            <ac:spMk id="410" creationId="{5B193D23-39BD-4A3B-9979-865EC2923A85}"/>
          </ac:spMkLst>
        </pc:spChg>
        <pc:spChg chg="add mod">
          <ac:chgData name="Manal El Bakkouri" userId="8b130982-2e3f-4164-b881-fd3a2e4b2453" providerId="ADAL" clId="{4457FA57-250B-44AC-8655-05D46C5A3D8A}" dt="2023-06-09T14:59:24.706" v="22797" actId="1076"/>
          <ac:spMkLst>
            <pc:docMk/>
            <pc:sldMk cId="1443789472" sldId="230717696"/>
            <ac:spMk id="411" creationId="{7B36EA9D-1726-4C2F-9D19-93E07288B6C5}"/>
          </ac:spMkLst>
        </pc:spChg>
        <pc:spChg chg="add mod">
          <ac:chgData name="Manal El Bakkouri" userId="8b130982-2e3f-4164-b881-fd3a2e4b2453" providerId="ADAL" clId="{4457FA57-250B-44AC-8655-05D46C5A3D8A}" dt="2023-06-09T14:59:24.706" v="22797" actId="1076"/>
          <ac:spMkLst>
            <pc:docMk/>
            <pc:sldMk cId="1443789472" sldId="230717696"/>
            <ac:spMk id="412" creationId="{59F55511-2F9B-4B59-A334-63E7DD70DBE7}"/>
          </ac:spMkLst>
        </pc:spChg>
        <pc:spChg chg="add mod">
          <ac:chgData name="Manal El Bakkouri" userId="8b130982-2e3f-4164-b881-fd3a2e4b2453" providerId="ADAL" clId="{4457FA57-250B-44AC-8655-05D46C5A3D8A}" dt="2023-06-09T14:59:24.706" v="22797" actId="1076"/>
          <ac:spMkLst>
            <pc:docMk/>
            <pc:sldMk cId="1443789472" sldId="230717696"/>
            <ac:spMk id="413" creationId="{B2927490-7CAA-4A3A-94D0-BD60430D8E5B}"/>
          </ac:spMkLst>
        </pc:spChg>
        <pc:spChg chg="add mod">
          <ac:chgData name="Manal El Bakkouri" userId="8b130982-2e3f-4164-b881-fd3a2e4b2453" providerId="ADAL" clId="{4457FA57-250B-44AC-8655-05D46C5A3D8A}" dt="2023-06-09T14:59:24.706" v="22797" actId="1076"/>
          <ac:spMkLst>
            <pc:docMk/>
            <pc:sldMk cId="1443789472" sldId="230717696"/>
            <ac:spMk id="414" creationId="{0BE36E0F-8CEF-422F-903B-EA1D0C274713}"/>
          </ac:spMkLst>
        </pc:spChg>
        <pc:spChg chg="add mod">
          <ac:chgData name="Manal El Bakkouri" userId="8b130982-2e3f-4164-b881-fd3a2e4b2453" providerId="ADAL" clId="{4457FA57-250B-44AC-8655-05D46C5A3D8A}" dt="2023-06-09T14:59:24.706" v="22797" actId="1076"/>
          <ac:spMkLst>
            <pc:docMk/>
            <pc:sldMk cId="1443789472" sldId="230717696"/>
            <ac:spMk id="415" creationId="{28B152E6-9897-4690-8368-3645A2BCDFF1}"/>
          </ac:spMkLst>
        </pc:spChg>
        <pc:spChg chg="add mod">
          <ac:chgData name="Manal El Bakkouri" userId="8b130982-2e3f-4164-b881-fd3a2e4b2453" providerId="ADAL" clId="{4457FA57-250B-44AC-8655-05D46C5A3D8A}" dt="2023-06-09T14:59:24.706" v="22797" actId="1076"/>
          <ac:spMkLst>
            <pc:docMk/>
            <pc:sldMk cId="1443789472" sldId="230717696"/>
            <ac:spMk id="416" creationId="{42A2C678-686B-4A49-8E1E-B6B5972A9FC3}"/>
          </ac:spMkLst>
        </pc:spChg>
        <pc:spChg chg="add mod">
          <ac:chgData name="Manal El Bakkouri" userId="8b130982-2e3f-4164-b881-fd3a2e4b2453" providerId="ADAL" clId="{4457FA57-250B-44AC-8655-05D46C5A3D8A}" dt="2023-06-09T14:59:24.706" v="22797" actId="1076"/>
          <ac:spMkLst>
            <pc:docMk/>
            <pc:sldMk cId="1443789472" sldId="230717696"/>
            <ac:spMk id="417" creationId="{2EF37FF6-0CF4-4353-A213-951C6EDF0EE0}"/>
          </ac:spMkLst>
        </pc:spChg>
        <pc:spChg chg="add mod">
          <ac:chgData name="Manal El Bakkouri" userId="8b130982-2e3f-4164-b881-fd3a2e4b2453" providerId="ADAL" clId="{4457FA57-250B-44AC-8655-05D46C5A3D8A}" dt="2023-06-09T14:59:24.706" v="22797" actId="1076"/>
          <ac:spMkLst>
            <pc:docMk/>
            <pc:sldMk cId="1443789472" sldId="230717696"/>
            <ac:spMk id="418" creationId="{CDAFB306-FA29-4D18-91D9-4DF9375D8C51}"/>
          </ac:spMkLst>
        </pc:spChg>
        <pc:spChg chg="add mod">
          <ac:chgData name="Manal El Bakkouri" userId="8b130982-2e3f-4164-b881-fd3a2e4b2453" providerId="ADAL" clId="{4457FA57-250B-44AC-8655-05D46C5A3D8A}" dt="2023-06-09T14:59:24.706" v="22797" actId="1076"/>
          <ac:spMkLst>
            <pc:docMk/>
            <pc:sldMk cId="1443789472" sldId="230717696"/>
            <ac:spMk id="419" creationId="{B97F0BE0-AAFB-457D-81B2-2E2ED8AE5BFF}"/>
          </ac:spMkLst>
        </pc:spChg>
        <pc:spChg chg="add mod">
          <ac:chgData name="Manal El Bakkouri" userId="8b130982-2e3f-4164-b881-fd3a2e4b2453" providerId="ADAL" clId="{4457FA57-250B-44AC-8655-05D46C5A3D8A}" dt="2023-06-09T14:59:24.706" v="22797" actId="1076"/>
          <ac:spMkLst>
            <pc:docMk/>
            <pc:sldMk cId="1443789472" sldId="230717696"/>
            <ac:spMk id="420" creationId="{6C445E5D-3607-4739-8423-A11EB8994A43}"/>
          </ac:spMkLst>
        </pc:spChg>
        <pc:spChg chg="add mod">
          <ac:chgData name="Manal El Bakkouri" userId="8b130982-2e3f-4164-b881-fd3a2e4b2453" providerId="ADAL" clId="{4457FA57-250B-44AC-8655-05D46C5A3D8A}" dt="2023-06-09T14:59:24.706" v="22797" actId="1076"/>
          <ac:spMkLst>
            <pc:docMk/>
            <pc:sldMk cId="1443789472" sldId="230717696"/>
            <ac:spMk id="421" creationId="{057795A1-333A-42BC-A29F-F0DF113DA4EF}"/>
          </ac:spMkLst>
        </pc:spChg>
        <pc:spChg chg="add mod">
          <ac:chgData name="Manal El Bakkouri" userId="8b130982-2e3f-4164-b881-fd3a2e4b2453" providerId="ADAL" clId="{4457FA57-250B-44AC-8655-05D46C5A3D8A}" dt="2023-06-09T14:59:24.706" v="22797" actId="1076"/>
          <ac:spMkLst>
            <pc:docMk/>
            <pc:sldMk cId="1443789472" sldId="230717696"/>
            <ac:spMk id="422" creationId="{3567EB7B-153B-45BE-B6C4-7C81A78F7FCE}"/>
          </ac:spMkLst>
        </pc:spChg>
        <pc:spChg chg="add mod">
          <ac:chgData name="Manal El Bakkouri" userId="8b130982-2e3f-4164-b881-fd3a2e4b2453" providerId="ADAL" clId="{4457FA57-250B-44AC-8655-05D46C5A3D8A}" dt="2023-06-09T14:59:24.706" v="22797" actId="1076"/>
          <ac:spMkLst>
            <pc:docMk/>
            <pc:sldMk cId="1443789472" sldId="230717696"/>
            <ac:spMk id="423" creationId="{95011663-DB01-484A-AFCF-852176D5FB5D}"/>
          </ac:spMkLst>
        </pc:spChg>
        <pc:spChg chg="add mod">
          <ac:chgData name="Manal El Bakkouri" userId="8b130982-2e3f-4164-b881-fd3a2e4b2453" providerId="ADAL" clId="{4457FA57-250B-44AC-8655-05D46C5A3D8A}" dt="2023-06-09T14:59:24.706" v="22797" actId="1076"/>
          <ac:spMkLst>
            <pc:docMk/>
            <pc:sldMk cId="1443789472" sldId="230717696"/>
            <ac:spMk id="424" creationId="{21713DC2-6136-46B5-95A0-CE75CFC1973B}"/>
          </ac:spMkLst>
        </pc:spChg>
        <pc:spChg chg="add mod">
          <ac:chgData name="Manal El Bakkouri" userId="8b130982-2e3f-4164-b881-fd3a2e4b2453" providerId="ADAL" clId="{4457FA57-250B-44AC-8655-05D46C5A3D8A}" dt="2023-06-09T14:59:24.706" v="22797" actId="1076"/>
          <ac:spMkLst>
            <pc:docMk/>
            <pc:sldMk cId="1443789472" sldId="230717696"/>
            <ac:spMk id="425" creationId="{73C89E93-5CE2-4E92-83CF-F9BAEE46B2A9}"/>
          </ac:spMkLst>
        </pc:spChg>
        <pc:spChg chg="add mod">
          <ac:chgData name="Manal El Bakkouri" userId="8b130982-2e3f-4164-b881-fd3a2e4b2453" providerId="ADAL" clId="{4457FA57-250B-44AC-8655-05D46C5A3D8A}" dt="2023-06-09T14:59:24.706" v="22797" actId="1076"/>
          <ac:spMkLst>
            <pc:docMk/>
            <pc:sldMk cId="1443789472" sldId="230717696"/>
            <ac:spMk id="426" creationId="{912360FE-403B-47BD-98F7-225C4AEBC065}"/>
          </ac:spMkLst>
        </pc:spChg>
        <pc:spChg chg="add mod">
          <ac:chgData name="Manal El Bakkouri" userId="8b130982-2e3f-4164-b881-fd3a2e4b2453" providerId="ADAL" clId="{4457FA57-250B-44AC-8655-05D46C5A3D8A}" dt="2023-06-09T14:59:24.706" v="22797" actId="1076"/>
          <ac:spMkLst>
            <pc:docMk/>
            <pc:sldMk cId="1443789472" sldId="230717696"/>
            <ac:spMk id="427" creationId="{C528822D-6A4D-48C5-92AE-9BB6637E1512}"/>
          </ac:spMkLst>
        </pc:spChg>
        <pc:spChg chg="add mod">
          <ac:chgData name="Manal El Bakkouri" userId="8b130982-2e3f-4164-b881-fd3a2e4b2453" providerId="ADAL" clId="{4457FA57-250B-44AC-8655-05D46C5A3D8A}" dt="2023-06-09T14:59:24.706" v="22797" actId="1076"/>
          <ac:spMkLst>
            <pc:docMk/>
            <pc:sldMk cId="1443789472" sldId="230717696"/>
            <ac:spMk id="428" creationId="{F5515754-CE1D-45E3-8A84-D3667C34E7E8}"/>
          </ac:spMkLst>
        </pc:spChg>
        <pc:spChg chg="add mod">
          <ac:chgData name="Manal El Bakkouri" userId="8b130982-2e3f-4164-b881-fd3a2e4b2453" providerId="ADAL" clId="{4457FA57-250B-44AC-8655-05D46C5A3D8A}" dt="2023-06-09T14:59:24.706" v="22797" actId="1076"/>
          <ac:spMkLst>
            <pc:docMk/>
            <pc:sldMk cId="1443789472" sldId="230717696"/>
            <ac:spMk id="429" creationId="{DFD528C2-DE4A-46E7-86C2-ACFA7D5B2505}"/>
          </ac:spMkLst>
        </pc:spChg>
        <pc:spChg chg="add mod">
          <ac:chgData name="Manal El Bakkouri" userId="8b130982-2e3f-4164-b881-fd3a2e4b2453" providerId="ADAL" clId="{4457FA57-250B-44AC-8655-05D46C5A3D8A}" dt="2023-06-09T14:59:24.706" v="22797" actId="1076"/>
          <ac:spMkLst>
            <pc:docMk/>
            <pc:sldMk cId="1443789472" sldId="230717696"/>
            <ac:spMk id="430" creationId="{4F3DE914-B1C9-4656-A1A5-5DCC0B3E365F}"/>
          </ac:spMkLst>
        </pc:spChg>
        <pc:spChg chg="add mod">
          <ac:chgData name="Manal El Bakkouri" userId="8b130982-2e3f-4164-b881-fd3a2e4b2453" providerId="ADAL" clId="{4457FA57-250B-44AC-8655-05D46C5A3D8A}" dt="2023-06-09T14:59:24.706" v="22797" actId="1076"/>
          <ac:spMkLst>
            <pc:docMk/>
            <pc:sldMk cId="1443789472" sldId="230717696"/>
            <ac:spMk id="431" creationId="{5D7877FC-FC8F-40AB-BB54-89F961D78076}"/>
          </ac:spMkLst>
        </pc:spChg>
        <pc:spChg chg="add mod">
          <ac:chgData name="Manal El Bakkouri" userId="8b130982-2e3f-4164-b881-fd3a2e4b2453" providerId="ADAL" clId="{4457FA57-250B-44AC-8655-05D46C5A3D8A}" dt="2023-06-09T14:59:24.706" v="22797" actId="1076"/>
          <ac:spMkLst>
            <pc:docMk/>
            <pc:sldMk cId="1443789472" sldId="230717696"/>
            <ac:spMk id="432" creationId="{73D81AEE-BAA4-474C-9B9C-4A72ADE53584}"/>
          </ac:spMkLst>
        </pc:spChg>
        <pc:spChg chg="add mod">
          <ac:chgData name="Manal El Bakkouri" userId="8b130982-2e3f-4164-b881-fd3a2e4b2453" providerId="ADAL" clId="{4457FA57-250B-44AC-8655-05D46C5A3D8A}" dt="2023-06-09T14:59:24.706" v="22797" actId="1076"/>
          <ac:spMkLst>
            <pc:docMk/>
            <pc:sldMk cId="1443789472" sldId="230717696"/>
            <ac:spMk id="433" creationId="{B58A4BEF-60F8-4692-BAE8-769AC98A0161}"/>
          </ac:spMkLst>
        </pc:spChg>
        <pc:spChg chg="add mod">
          <ac:chgData name="Manal El Bakkouri" userId="8b130982-2e3f-4164-b881-fd3a2e4b2453" providerId="ADAL" clId="{4457FA57-250B-44AC-8655-05D46C5A3D8A}" dt="2023-06-09T14:59:24.706" v="22797" actId="1076"/>
          <ac:spMkLst>
            <pc:docMk/>
            <pc:sldMk cId="1443789472" sldId="230717696"/>
            <ac:spMk id="434" creationId="{95853E1D-7A31-4CC1-BEB8-31CAA099B63D}"/>
          </ac:spMkLst>
        </pc:spChg>
        <pc:spChg chg="add mod">
          <ac:chgData name="Manal El Bakkouri" userId="8b130982-2e3f-4164-b881-fd3a2e4b2453" providerId="ADAL" clId="{4457FA57-250B-44AC-8655-05D46C5A3D8A}" dt="2023-06-09T14:59:24.706" v="22797" actId="1076"/>
          <ac:spMkLst>
            <pc:docMk/>
            <pc:sldMk cId="1443789472" sldId="230717696"/>
            <ac:spMk id="435" creationId="{BA4180B3-9D05-4B38-999F-50D183F5C792}"/>
          </ac:spMkLst>
        </pc:spChg>
        <pc:spChg chg="add mod">
          <ac:chgData name="Manal El Bakkouri" userId="8b130982-2e3f-4164-b881-fd3a2e4b2453" providerId="ADAL" clId="{4457FA57-250B-44AC-8655-05D46C5A3D8A}" dt="2023-06-09T14:59:24.706" v="22797" actId="1076"/>
          <ac:spMkLst>
            <pc:docMk/>
            <pc:sldMk cId="1443789472" sldId="230717696"/>
            <ac:spMk id="436" creationId="{CC2051AC-173B-442C-A138-4C570CE85E97}"/>
          </ac:spMkLst>
        </pc:spChg>
        <pc:spChg chg="add mod">
          <ac:chgData name="Manal El Bakkouri" userId="8b130982-2e3f-4164-b881-fd3a2e4b2453" providerId="ADAL" clId="{4457FA57-250B-44AC-8655-05D46C5A3D8A}" dt="2023-06-09T14:59:24.706" v="22797" actId="1076"/>
          <ac:spMkLst>
            <pc:docMk/>
            <pc:sldMk cId="1443789472" sldId="230717696"/>
            <ac:spMk id="437" creationId="{C05F615B-EC2D-46F9-9138-BE525243104B}"/>
          </ac:spMkLst>
        </pc:spChg>
        <pc:spChg chg="add mod">
          <ac:chgData name="Manal El Bakkouri" userId="8b130982-2e3f-4164-b881-fd3a2e4b2453" providerId="ADAL" clId="{4457FA57-250B-44AC-8655-05D46C5A3D8A}" dt="2023-06-09T14:59:24.706" v="22797" actId="1076"/>
          <ac:spMkLst>
            <pc:docMk/>
            <pc:sldMk cId="1443789472" sldId="230717696"/>
            <ac:spMk id="438" creationId="{86DA54ED-D9F4-4A71-A087-B8D041C1623B}"/>
          </ac:spMkLst>
        </pc:spChg>
        <pc:spChg chg="add mod">
          <ac:chgData name="Manal El Bakkouri" userId="8b130982-2e3f-4164-b881-fd3a2e4b2453" providerId="ADAL" clId="{4457FA57-250B-44AC-8655-05D46C5A3D8A}" dt="2023-06-09T14:59:24.706" v="22797" actId="1076"/>
          <ac:spMkLst>
            <pc:docMk/>
            <pc:sldMk cId="1443789472" sldId="230717696"/>
            <ac:spMk id="439" creationId="{E97032FF-C442-46D7-AF6B-4A000A5EFD1F}"/>
          </ac:spMkLst>
        </pc:spChg>
        <pc:spChg chg="add mod">
          <ac:chgData name="Manal El Bakkouri" userId="8b130982-2e3f-4164-b881-fd3a2e4b2453" providerId="ADAL" clId="{4457FA57-250B-44AC-8655-05D46C5A3D8A}" dt="2023-06-09T14:59:24.706" v="22797" actId="1076"/>
          <ac:spMkLst>
            <pc:docMk/>
            <pc:sldMk cId="1443789472" sldId="230717696"/>
            <ac:spMk id="440" creationId="{0BAC1548-119D-4652-BABB-0F035048D9B7}"/>
          </ac:spMkLst>
        </pc:spChg>
        <pc:spChg chg="add mod">
          <ac:chgData name="Manal El Bakkouri" userId="8b130982-2e3f-4164-b881-fd3a2e4b2453" providerId="ADAL" clId="{4457FA57-250B-44AC-8655-05D46C5A3D8A}" dt="2023-06-09T14:59:24.706" v="22797" actId="1076"/>
          <ac:spMkLst>
            <pc:docMk/>
            <pc:sldMk cId="1443789472" sldId="230717696"/>
            <ac:spMk id="441" creationId="{6EE192F2-C5F5-4C9E-BF5B-00C1C7EA3499}"/>
          </ac:spMkLst>
        </pc:spChg>
        <pc:spChg chg="add mod">
          <ac:chgData name="Manal El Bakkouri" userId="8b130982-2e3f-4164-b881-fd3a2e4b2453" providerId="ADAL" clId="{4457FA57-250B-44AC-8655-05D46C5A3D8A}" dt="2023-06-09T14:59:24.706" v="22797" actId="1076"/>
          <ac:spMkLst>
            <pc:docMk/>
            <pc:sldMk cId="1443789472" sldId="230717696"/>
            <ac:spMk id="442" creationId="{4F7B191A-574A-4BB5-AC83-5D4095F19294}"/>
          </ac:spMkLst>
        </pc:spChg>
        <pc:spChg chg="add mod">
          <ac:chgData name="Manal El Bakkouri" userId="8b130982-2e3f-4164-b881-fd3a2e4b2453" providerId="ADAL" clId="{4457FA57-250B-44AC-8655-05D46C5A3D8A}" dt="2023-06-09T14:59:24.706" v="22797" actId="1076"/>
          <ac:spMkLst>
            <pc:docMk/>
            <pc:sldMk cId="1443789472" sldId="230717696"/>
            <ac:spMk id="443" creationId="{690B41E9-BD0D-489C-93FD-297E09F29C1E}"/>
          </ac:spMkLst>
        </pc:spChg>
        <pc:spChg chg="add mod">
          <ac:chgData name="Manal El Bakkouri" userId="8b130982-2e3f-4164-b881-fd3a2e4b2453" providerId="ADAL" clId="{4457FA57-250B-44AC-8655-05D46C5A3D8A}" dt="2023-06-09T14:59:24.706" v="22797" actId="1076"/>
          <ac:spMkLst>
            <pc:docMk/>
            <pc:sldMk cId="1443789472" sldId="230717696"/>
            <ac:spMk id="444" creationId="{C317CE96-D64F-44A8-96B9-1DB84224C6F4}"/>
          </ac:spMkLst>
        </pc:spChg>
        <pc:spChg chg="add mod">
          <ac:chgData name="Manal El Bakkouri" userId="8b130982-2e3f-4164-b881-fd3a2e4b2453" providerId="ADAL" clId="{4457FA57-250B-44AC-8655-05D46C5A3D8A}" dt="2023-06-09T14:59:24.706" v="22797" actId="1076"/>
          <ac:spMkLst>
            <pc:docMk/>
            <pc:sldMk cId="1443789472" sldId="230717696"/>
            <ac:spMk id="445" creationId="{AFC7319D-FCDE-4C84-BC5F-60589ECD1EDD}"/>
          </ac:spMkLst>
        </pc:spChg>
        <pc:spChg chg="add mod">
          <ac:chgData name="Manal El Bakkouri" userId="8b130982-2e3f-4164-b881-fd3a2e4b2453" providerId="ADAL" clId="{4457FA57-250B-44AC-8655-05D46C5A3D8A}" dt="2023-06-09T14:59:24.706" v="22797" actId="1076"/>
          <ac:spMkLst>
            <pc:docMk/>
            <pc:sldMk cId="1443789472" sldId="230717696"/>
            <ac:spMk id="446" creationId="{0A70AC7D-BD4F-4AF9-BE47-A71F20B5542B}"/>
          </ac:spMkLst>
        </pc:spChg>
        <pc:spChg chg="add mod">
          <ac:chgData name="Manal El Bakkouri" userId="8b130982-2e3f-4164-b881-fd3a2e4b2453" providerId="ADAL" clId="{4457FA57-250B-44AC-8655-05D46C5A3D8A}" dt="2023-06-09T14:59:24.706" v="22797" actId="1076"/>
          <ac:spMkLst>
            <pc:docMk/>
            <pc:sldMk cId="1443789472" sldId="230717696"/>
            <ac:spMk id="447" creationId="{7FA92BDA-1CDA-40CE-A0C7-74F32D3A33E5}"/>
          </ac:spMkLst>
        </pc:spChg>
        <pc:spChg chg="add mod">
          <ac:chgData name="Manal El Bakkouri" userId="8b130982-2e3f-4164-b881-fd3a2e4b2453" providerId="ADAL" clId="{4457FA57-250B-44AC-8655-05D46C5A3D8A}" dt="2023-06-09T14:59:24.706" v="22797" actId="1076"/>
          <ac:spMkLst>
            <pc:docMk/>
            <pc:sldMk cId="1443789472" sldId="230717696"/>
            <ac:spMk id="448" creationId="{FFE8F0B3-1EDC-498F-8B7B-CA93977AA931}"/>
          </ac:spMkLst>
        </pc:spChg>
        <pc:spChg chg="add mod">
          <ac:chgData name="Manal El Bakkouri" userId="8b130982-2e3f-4164-b881-fd3a2e4b2453" providerId="ADAL" clId="{4457FA57-250B-44AC-8655-05D46C5A3D8A}" dt="2023-06-09T14:59:24.706" v="22797" actId="1076"/>
          <ac:spMkLst>
            <pc:docMk/>
            <pc:sldMk cId="1443789472" sldId="230717696"/>
            <ac:spMk id="449" creationId="{01369015-CA48-4EA8-B2A1-1701E5DE8822}"/>
          </ac:spMkLst>
        </pc:spChg>
        <pc:spChg chg="add mod">
          <ac:chgData name="Manal El Bakkouri" userId="8b130982-2e3f-4164-b881-fd3a2e4b2453" providerId="ADAL" clId="{4457FA57-250B-44AC-8655-05D46C5A3D8A}" dt="2023-06-09T14:59:24.706" v="22797" actId="1076"/>
          <ac:spMkLst>
            <pc:docMk/>
            <pc:sldMk cId="1443789472" sldId="230717696"/>
            <ac:spMk id="450" creationId="{42775E3B-DD10-416E-BAAD-5F964DB9DFD8}"/>
          </ac:spMkLst>
        </pc:spChg>
        <pc:spChg chg="add mod">
          <ac:chgData name="Manal El Bakkouri" userId="8b130982-2e3f-4164-b881-fd3a2e4b2453" providerId="ADAL" clId="{4457FA57-250B-44AC-8655-05D46C5A3D8A}" dt="2023-06-09T14:59:24.706" v="22797" actId="1076"/>
          <ac:spMkLst>
            <pc:docMk/>
            <pc:sldMk cId="1443789472" sldId="230717696"/>
            <ac:spMk id="451" creationId="{024A14E7-89C3-4BB3-8CC8-19F46A6D65D0}"/>
          </ac:spMkLst>
        </pc:spChg>
        <pc:spChg chg="add mod">
          <ac:chgData name="Manal El Bakkouri" userId="8b130982-2e3f-4164-b881-fd3a2e4b2453" providerId="ADAL" clId="{4457FA57-250B-44AC-8655-05D46C5A3D8A}" dt="2023-06-09T14:59:24.706" v="22797" actId="1076"/>
          <ac:spMkLst>
            <pc:docMk/>
            <pc:sldMk cId="1443789472" sldId="230717696"/>
            <ac:spMk id="452" creationId="{7878595E-4113-44D1-A0E6-144CDAA2B089}"/>
          </ac:spMkLst>
        </pc:spChg>
        <pc:spChg chg="add mod">
          <ac:chgData name="Manal El Bakkouri" userId="8b130982-2e3f-4164-b881-fd3a2e4b2453" providerId="ADAL" clId="{4457FA57-250B-44AC-8655-05D46C5A3D8A}" dt="2023-06-09T14:59:24.706" v="22797" actId="1076"/>
          <ac:spMkLst>
            <pc:docMk/>
            <pc:sldMk cId="1443789472" sldId="230717696"/>
            <ac:spMk id="453" creationId="{CDCA77DF-BB09-4E7B-B1C2-5B54F3422FFC}"/>
          </ac:spMkLst>
        </pc:spChg>
        <pc:spChg chg="add mod">
          <ac:chgData name="Manal El Bakkouri" userId="8b130982-2e3f-4164-b881-fd3a2e4b2453" providerId="ADAL" clId="{4457FA57-250B-44AC-8655-05D46C5A3D8A}" dt="2023-06-09T14:59:24.706" v="22797" actId="1076"/>
          <ac:spMkLst>
            <pc:docMk/>
            <pc:sldMk cId="1443789472" sldId="230717696"/>
            <ac:spMk id="454" creationId="{0A930E44-1AD4-4F44-8D02-91954BBB5114}"/>
          </ac:spMkLst>
        </pc:spChg>
        <pc:spChg chg="add mod">
          <ac:chgData name="Manal El Bakkouri" userId="8b130982-2e3f-4164-b881-fd3a2e4b2453" providerId="ADAL" clId="{4457FA57-250B-44AC-8655-05D46C5A3D8A}" dt="2023-06-09T14:59:24.706" v="22797" actId="1076"/>
          <ac:spMkLst>
            <pc:docMk/>
            <pc:sldMk cId="1443789472" sldId="230717696"/>
            <ac:spMk id="455" creationId="{14ADF54B-602A-40F1-BD50-BE5D3BB145F2}"/>
          </ac:spMkLst>
        </pc:spChg>
        <pc:spChg chg="add mod">
          <ac:chgData name="Manal El Bakkouri" userId="8b130982-2e3f-4164-b881-fd3a2e4b2453" providerId="ADAL" clId="{4457FA57-250B-44AC-8655-05D46C5A3D8A}" dt="2023-06-09T14:59:24.706" v="22797" actId="1076"/>
          <ac:spMkLst>
            <pc:docMk/>
            <pc:sldMk cId="1443789472" sldId="230717696"/>
            <ac:spMk id="456" creationId="{E04822A5-372E-4FBB-A5D7-82E89FA5328E}"/>
          </ac:spMkLst>
        </pc:spChg>
        <pc:spChg chg="add mod">
          <ac:chgData name="Manal El Bakkouri" userId="8b130982-2e3f-4164-b881-fd3a2e4b2453" providerId="ADAL" clId="{4457FA57-250B-44AC-8655-05D46C5A3D8A}" dt="2023-06-09T14:59:24.706" v="22797" actId="1076"/>
          <ac:spMkLst>
            <pc:docMk/>
            <pc:sldMk cId="1443789472" sldId="230717696"/>
            <ac:spMk id="457" creationId="{F4E2888B-55CE-4848-A596-ADC04F1E8550}"/>
          </ac:spMkLst>
        </pc:spChg>
        <pc:spChg chg="add mod">
          <ac:chgData name="Manal El Bakkouri" userId="8b130982-2e3f-4164-b881-fd3a2e4b2453" providerId="ADAL" clId="{4457FA57-250B-44AC-8655-05D46C5A3D8A}" dt="2023-06-09T14:59:24.706" v="22797" actId="1076"/>
          <ac:spMkLst>
            <pc:docMk/>
            <pc:sldMk cId="1443789472" sldId="230717696"/>
            <ac:spMk id="458" creationId="{0BA1C8DE-B0AC-4F27-AD9B-D11F80AC5C1F}"/>
          </ac:spMkLst>
        </pc:spChg>
        <pc:spChg chg="add mod">
          <ac:chgData name="Manal El Bakkouri" userId="8b130982-2e3f-4164-b881-fd3a2e4b2453" providerId="ADAL" clId="{4457FA57-250B-44AC-8655-05D46C5A3D8A}" dt="2023-06-09T14:59:24.706" v="22797" actId="1076"/>
          <ac:spMkLst>
            <pc:docMk/>
            <pc:sldMk cId="1443789472" sldId="230717696"/>
            <ac:spMk id="459" creationId="{37BA90AC-A5DA-4806-BEE1-9A4D75F25C3A}"/>
          </ac:spMkLst>
        </pc:spChg>
        <pc:spChg chg="add mod">
          <ac:chgData name="Manal El Bakkouri" userId="8b130982-2e3f-4164-b881-fd3a2e4b2453" providerId="ADAL" clId="{4457FA57-250B-44AC-8655-05D46C5A3D8A}" dt="2023-06-09T14:59:24.706" v="22797" actId="1076"/>
          <ac:spMkLst>
            <pc:docMk/>
            <pc:sldMk cId="1443789472" sldId="230717696"/>
            <ac:spMk id="460" creationId="{7733685B-06A0-4E7E-9009-DA88B2D9722C}"/>
          </ac:spMkLst>
        </pc:spChg>
        <pc:spChg chg="add mod">
          <ac:chgData name="Manal El Bakkouri" userId="8b130982-2e3f-4164-b881-fd3a2e4b2453" providerId="ADAL" clId="{4457FA57-250B-44AC-8655-05D46C5A3D8A}" dt="2023-06-09T14:59:24.706" v="22797" actId="1076"/>
          <ac:spMkLst>
            <pc:docMk/>
            <pc:sldMk cId="1443789472" sldId="230717696"/>
            <ac:spMk id="461" creationId="{EF681531-FA3E-4E07-B184-E80DD5C46F96}"/>
          </ac:spMkLst>
        </pc:spChg>
        <pc:spChg chg="add mod">
          <ac:chgData name="Manal El Bakkouri" userId="8b130982-2e3f-4164-b881-fd3a2e4b2453" providerId="ADAL" clId="{4457FA57-250B-44AC-8655-05D46C5A3D8A}" dt="2023-06-09T14:59:24.706" v="22797" actId="1076"/>
          <ac:spMkLst>
            <pc:docMk/>
            <pc:sldMk cId="1443789472" sldId="230717696"/>
            <ac:spMk id="462" creationId="{E924AE76-48FF-45D6-9121-D724CE09F299}"/>
          </ac:spMkLst>
        </pc:spChg>
        <pc:spChg chg="add mod">
          <ac:chgData name="Manal El Bakkouri" userId="8b130982-2e3f-4164-b881-fd3a2e4b2453" providerId="ADAL" clId="{4457FA57-250B-44AC-8655-05D46C5A3D8A}" dt="2023-06-09T14:59:24.706" v="22797" actId="1076"/>
          <ac:spMkLst>
            <pc:docMk/>
            <pc:sldMk cId="1443789472" sldId="230717696"/>
            <ac:spMk id="463" creationId="{DC0C84FA-EE1C-4D10-938E-30ED16B7AB48}"/>
          </ac:spMkLst>
        </pc:spChg>
        <pc:spChg chg="add mod">
          <ac:chgData name="Manal El Bakkouri" userId="8b130982-2e3f-4164-b881-fd3a2e4b2453" providerId="ADAL" clId="{4457FA57-250B-44AC-8655-05D46C5A3D8A}" dt="2023-06-09T14:59:24.706" v="22797" actId="1076"/>
          <ac:spMkLst>
            <pc:docMk/>
            <pc:sldMk cId="1443789472" sldId="230717696"/>
            <ac:spMk id="464" creationId="{3EDBFA5A-40BF-4664-9D15-9A44F0870CC1}"/>
          </ac:spMkLst>
        </pc:spChg>
        <pc:spChg chg="add mod">
          <ac:chgData name="Manal El Bakkouri" userId="8b130982-2e3f-4164-b881-fd3a2e4b2453" providerId="ADAL" clId="{4457FA57-250B-44AC-8655-05D46C5A3D8A}" dt="2023-06-09T14:59:24.706" v="22797" actId="1076"/>
          <ac:spMkLst>
            <pc:docMk/>
            <pc:sldMk cId="1443789472" sldId="230717696"/>
            <ac:spMk id="465" creationId="{9DA6ECBF-875C-4EA8-81F7-34BA733D416C}"/>
          </ac:spMkLst>
        </pc:spChg>
        <pc:spChg chg="add mod">
          <ac:chgData name="Manal El Bakkouri" userId="8b130982-2e3f-4164-b881-fd3a2e4b2453" providerId="ADAL" clId="{4457FA57-250B-44AC-8655-05D46C5A3D8A}" dt="2023-06-09T14:59:24.706" v="22797" actId="1076"/>
          <ac:spMkLst>
            <pc:docMk/>
            <pc:sldMk cId="1443789472" sldId="230717696"/>
            <ac:spMk id="466" creationId="{8C6A3BFC-EA75-448C-AA8C-044BAA5B3A9A}"/>
          </ac:spMkLst>
        </pc:spChg>
        <pc:spChg chg="add mod">
          <ac:chgData name="Manal El Bakkouri" userId="8b130982-2e3f-4164-b881-fd3a2e4b2453" providerId="ADAL" clId="{4457FA57-250B-44AC-8655-05D46C5A3D8A}" dt="2023-06-09T14:59:24.706" v="22797" actId="1076"/>
          <ac:spMkLst>
            <pc:docMk/>
            <pc:sldMk cId="1443789472" sldId="230717696"/>
            <ac:spMk id="467" creationId="{4FABB7A8-B399-4A00-84C5-713088199FE7}"/>
          </ac:spMkLst>
        </pc:spChg>
        <pc:spChg chg="add mod">
          <ac:chgData name="Manal El Bakkouri" userId="8b130982-2e3f-4164-b881-fd3a2e4b2453" providerId="ADAL" clId="{4457FA57-250B-44AC-8655-05D46C5A3D8A}" dt="2023-06-09T14:59:24.706" v="22797" actId="1076"/>
          <ac:spMkLst>
            <pc:docMk/>
            <pc:sldMk cId="1443789472" sldId="230717696"/>
            <ac:spMk id="468" creationId="{4031DA2B-3F40-4169-8528-395D98C26B6A}"/>
          </ac:spMkLst>
        </pc:spChg>
        <pc:spChg chg="add mod">
          <ac:chgData name="Manal El Bakkouri" userId="8b130982-2e3f-4164-b881-fd3a2e4b2453" providerId="ADAL" clId="{4457FA57-250B-44AC-8655-05D46C5A3D8A}" dt="2023-06-09T14:59:24.706" v="22797" actId="1076"/>
          <ac:spMkLst>
            <pc:docMk/>
            <pc:sldMk cId="1443789472" sldId="230717696"/>
            <ac:spMk id="469" creationId="{C0A4D3EE-3350-492E-9C88-C9A254818784}"/>
          </ac:spMkLst>
        </pc:spChg>
        <pc:spChg chg="add mod">
          <ac:chgData name="Manal El Bakkouri" userId="8b130982-2e3f-4164-b881-fd3a2e4b2453" providerId="ADAL" clId="{4457FA57-250B-44AC-8655-05D46C5A3D8A}" dt="2023-06-09T14:59:24.706" v="22797" actId="1076"/>
          <ac:spMkLst>
            <pc:docMk/>
            <pc:sldMk cId="1443789472" sldId="230717696"/>
            <ac:spMk id="470" creationId="{548E2BF3-17BF-497C-AAB6-52B8FCC39B49}"/>
          </ac:spMkLst>
        </pc:spChg>
        <pc:spChg chg="add mod">
          <ac:chgData name="Manal El Bakkouri" userId="8b130982-2e3f-4164-b881-fd3a2e4b2453" providerId="ADAL" clId="{4457FA57-250B-44AC-8655-05D46C5A3D8A}" dt="2023-06-09T14:59:24.706" v="22797" actId="1076"/>
          <ac:spMkLst>
            <pc:docMk/>
            <pc:sldMk cId="1443789472" sldId="230717696"/>
            <ac:spMk id="471" creationId="{5111BF12-F6BF-4761-B1DC-D5DA950A8347}"/>
          </ac:spMkLst>
        </pc:spChg>
        <pc:spChg chg="add mod">
          <ac:chgData name="Manal El Bakkouri" userId="8b130982-2e3f-4164-b881-fd3a2e4b2453" providerId="ADAL" clId="{4457FA57-250B-44AC-8655-05D46C5A3D8A}" dt="2023-06-09T14:59:24.706" v="22797" actId="1076"/>
          <ac:spMkLst>
            <pc:docMk/>
            <pc:sldMk cId="1443789472" sldId="230717696"/>
            <ac:spMk id="472" creationId="{FF7F3399-AB83-49C9-BE9C-7DADC6F0405A}"/>
          </ac:spMkLst>
        </pc:spChg>
        <pc:spChg chg="add mod">
          <ac:chgData name="Manal El Bakkouri" userId="8b130982-2e3f-4164-b881-fd3a2e4b2453" providerId="ADAL" clId="{4457FA57-250B-44AC-8655-05D46C5A3D8A}" dt="2023-06-09T14:59:24.706" v="22797" actId="1076"/>
          <ac:spMkLst>
            <pc:docMk/>
            <pc:sldMk cId="1443789472" sldId="230717696"/>
            <ac:spMk id="473" creationId="{E048FF71-A780-42D6-87FC-C9F7FF8E9C40}"/>
          </ac:spMkLst>
        </pc:spChg>
        <pc:spChg chg="add mod">
          <ac:chgData name="Manal El Bakkouri" userId="8b130982-2e3f-4164-b881-fd3a2e4b2453" providerId="ADAL" clId="{4457FA57-250B-44AC-8655-05D46C5A3D8A}" dt="2023-06-09T14:59:24.706" v="22797" actId="1076"/>
          <ac:spMkLst>
            <pc:docMk/>
            <pc:sldMk cId="1443789472" sldId="230717696"/>
            <ac:spMk id="474" creationId="{2D79FC61-C773-4352-826C-7015D4C24590}"/>
          </ac:spMkLst>
        </pc:spChg>
        <pc:spChg chg="add mod">
          <ac:chgData name="Manal El Bakkouri" userId="8b130982-2e3f-4164-b881-fd3a2e4b2453" providerId="ADAL" clId="{4457FA57-250B-44AC-8655-05D46C5A3D8A}" dt="2023-06-09T14:59:24.706" v="22797" actId="1076"/>
          <ac:spMkLst>
            <pc:docMk/>
            <pc:sldMk cId="1443789472" sldId="230717696"/>
            <ac:spMk id="475" creationId="{1A89BE85-90F2-40D0-9F3A-3D17CC3E2907}"/>
          </ac:spMkLst>
        </pc:spChg>
        <pc:spChg chg="add mod">
          <ac:chgData name="Manal El Bakkouri" userId="8b130982-2e3f-4164-b881-fd3a2e4b2453" providerId="ADAL" clId="{4457FA57-250B-44AC-8655-05D46C5A3D8A}" dt="2023-06-09T14:59:24.706" v="22797" actId="1076"/>
          <ac:spMkLst>
            <pc:docMk/>
            <pc:sldMk cId="1443789472" sldId="230717696"/>
            <ac:spMk id="476" creationId="{8C5FE726-95CE-4959-A3F2-A106379E0285}"/>
          </ac:spMkLst>
        </pc:spChg>
        <pc:spChg chg="add mod">
          <ac:chgData name="Manal El Bakkouri" userId="8b130982-2e3f-4164-b881-fd3a2e4b2453" providerId="ADAL" clId="{4457FA57-250B-44AC-8655-05D46C5A3D8A}" dt="2023-06-09T14:59:24.706" v="22797" actId="1076"/>
          <ac:spMkLst>
            <pc:docMk/>
            <pc:sldMk cId="1443789472" sldId="230717696"/>
            <ac:spMk id="477" creationId="{C93489D8-2A74-4B89-9C41-03EE302E4F1C}"/>
          </ac:spMkLst>
        </pc:spChg>
        <pc:spChg chg="add mod">
          <ac:chgData name="Manal El Bakkouri" userId="8b130982-2e3f-4164-b881-fd3a2e4b2453" providerId="ADAL" clId="{4457FA57-250B-44AC-8655-05D46C5A3D8A}" dt="2023-06-09T14:59:24.706" v="22797" actId="1076"/>
          <ac:spMkLst>
            <pc:docMk/>
            <pc:sldMk cId="1443789472" sldId="230717696"/>
            <ac:spMk id="478" creationId="{AA8DA935-E373-49BB-9275-36C093B0CD3D}"/>
          </ac:spMkLst>
        </pc:spChg>
        <pc:spChg chg="add mod">
          <ac:chgData name="Manal El Bakkouri" userId="8b130982-2e3f-4164-b881-fd3a2e4b2453" providerId="ADAL" clId="{4457FA57-250B-44AC-8655-05D46C5A3D8A}" dt="2023-06-09T14:59:24.706" v="22797" actId="1076"/>
          <ac:spMkLst>
            <pc:docMk/>
            <pc:sldMk cId="1443789472" sldId="230717696"/>
            <ac:spMk id="479" creationId="{2C0B2CCA-2E47-45F8-A6FF-8A2EEB72BADA}"/>
          </ac:spMkLst>
        </pc:spChg>
        <pc:spChg chg="add mod">
          <ac:chgData name="Manal El Bakkouri" userId="8b130982-2e3f-4164-b881-fd3a2e4b2453" providerId="ADAL" clId="{4457FA57-250B-44AC-8655-05D46C5A3D8A}" dt="2023-06-09T14:59:24.706" v="22797" actId="1076"/>
          <ac:spMkLst>
            <pc:docMk/>
            <pc:sldMk cId="1443789472" sldId="230717696"/>
            <ac:spMk id="480" creationId="{137B4C0C-A226-4F56-A11B-0CE51AAF085B}"/>
          </ac:spMkLst>
        </pc:spChg>
        <pc:spChg chg="add mod">
          <ac:chgData name="Manal El Bakkouri" userId="8b130982-2e3f-4164-b881-fd3a2e4b2453" providerId="ADAL" clId="{4457FA57-250B-44AC-8655-05D46C5A3D8A}" dt="2023-06-09T14:59:24.706" v="22797" actId="1076"/>
          <ac:spMkLst>
            <pc:docMk/>
            <pc:sldMk cId="1443789472" sldId="230717696"/>
            <ac:spMk id="481" creationId="{7F401C5D-5CF3-47BD-9CEB-24D518F57915}"/>
          </ac:spMkLst>
        </pc:spChg>
        <pc:spChg chg="add mod">
          <ac:chgData name="Manal El Bakkouri" userId="8b130982-2e3f-4164-b881-fd3a2e4b2453" providerId="ADAL" clId="{4457FA57-250B-44AC-8655-05D46C5A3D8A}" dt="2023-06-09T14:59:24.706" v="22797" actId="1076"/>
          <ac:spMkLst>
            <pc:docMk/>
            <pc:sldMk cId="1443789472" sldId="230717696"/>
            <ac:spMk id="482" creationId="{F5DBB40F-C499-46C4-87EE-49D2C8F1DE1A}"/>
          </ac:spMkLst>
        </pc:spChg>
        <pc:spChg chg="add mod">
          <ac:chgData name="Manal El Bakkouri" userId="8b130982-2e3f-4164-b881-fd3a2e4b2453" providerId="ADAL" clId="{4457FA57-250B-44AC-8655-05D46C5A3D8A}" dt="2023-06-09T14:59:24.706" v="22797" actId="1076"/>
          <ac:spMkLst>
            <pc:docMk/>
            <pc:sldMk cId="1443789472" sldId="230717696"/>
            <ac:spMk id="483" creationId="{AED65008-9692-4104-A1B2-BA789969823D}"/>
          </ac:spMkLst>
        </pc:spChg>
        <pc:spChg chg="add mod">
          <ac:chgData name="Manal El Bakkouri" userId="8b130982-2e3f-4164-b881-fd3a2e4b2453" providerId="ADAL" clId="{4457FA57-250B-44AC-8655-05D46C5A3D8A}" dt="2023-06-09T14:59:24.706" v="22797" actId="1076"/>
          <ac:spMkLst>
            <pc:docMk/>
            <pc:sldMk cId="1443789472" sldId="230717696"/>
            <ac:spMk id="484" creationId="{44B8CD9D-5418-41A8-8637-4015867ACCDC}"/>
          </ac:spMkLst>
        </pc:spChg>
        <pc:spChg chg="add mod">
          <ac:chgData name="Manal El Bakkouri" userId="8b130982-2e3f-4164-b881-fd3a2e4b2453" providerId="ADAL" clId="{4457FA57-250B-44AC-8655-05D46C5A3D8A}" dt="2023-06-09T14:59:24.706" v="22797" actId="1076"/>
          <ac:spMkLst>
            <pc:docMk/>
            <pc:sldMk cId="1443789472" sldId="230717696"/>
            <ac:spMk id="485" creationId="{F64EABD3-1D7D-435C-94F3-D44EB33DDC5A}"/>
          </ac:spMkLst>
        </pc:spChg>
        <pc:spChg chg="add mod">
          <ac:chgData name="Manal El Bakkouri" userId="8b130982-2e3f-4164-b881-fd3a2e4b2453" providerId="ADAL" clId="{4457FA57-250B-44AC-8655-05D46C5A3D8A}" dt="2023-06-09T14:59:24.706" v="22797" actId="1076"/>
          <ac:spMkLst>
            <pc:docMk/>
            <pc:sldMk cId="1443789472" sldId="230717696"/>
            <ac:spMk id="486" creationId="{5EF3562F-7DD3-42FA-8F94-887C2578AC16}"/>
          </ac:spMkLst>
        </pc:spChg>
        <pc:spChg chg="add mod">
          <ac:chgData name="Manal El Bakkouri" userId="8b130982-2e3f-4164-b881-fd3a2e4b2453" providerId="ADAL" clId="{4457FA57-250B-44AC-8655-05D46C5A3D8A}" dt="2023-06-09T14:59:24.706" v="22797" actId="1076"/>
          <ac:spMkLst>
            <pc:docMk/>
            <pc:sldMk cId="1443789472" sldId="230717696"/>
            <ac:spMk id="487" creationId="{942FE1DD-3084-4FA9-837B-9BCDF7897047}"/>
          </ac:spMkLst>
        </pc:spChg>
        <pc:spChg chg="add mod">
          <ac:chgData name="Manal El Bakkouri" userId="8b130982-2e3f-4164-b881-fd3a2e4b2453" providerId="ADAL" clId="{4457FA57-250B-44AC-8655-05D46C5A3D8A}" dt="2023-06-09T14:59:24.706" v="22797" actId="1076"/>
          <ac:spMkLst>
            <pc:docMk/>
            <pc:sldMk cId="1443789472" sldId="230717696"/>
            <ac:spMk id="488" creationId="{6C988E4F-6595-4B7B-B919-99F59CBB255E}"/>
          </ac:spMkLst>
        </pc:spChg>
        <pc:spChg chg="add mod">
          <ac:chgData name="Manal El Bakkouri" userId="8b130982-2e3f-4164-b881-fd3a2e4b2453" providerId="ADAL" clId="{4457FA57-250B-44AC-8655-05D46C5A3D8A}" dt="2023-06-09T14:59:24.706" v="22797" actId="1076"/>
          <ac:spMkLst>
            <pc:docMk/>
            <pc:sldMk cId="1443789472" sldId="230717696"/>
            <ac:spMk id="489" creationId="{25C67E81-BC69-4ABE-9248-C530FF4F7666}"/>
          </ac:spMkLst>
        </pc:spChg>
        <pc:spChg chg="add mod">
          <ac:chgData name="Manal El Bakkouri" userId="8b130982-2e3f-4164-b881-fd3a2e4b2453" providerId="ADAL" clId="{4457FA57-250B-44AC-8655-05D46C5A3D8A}" dt="2023-06-09T14:59:24.706" v="22797" actId="1076"/>
          <ac:spMkLst>
            <pc:docMk/>
            <pc:sldMk cId="1443789472" sldId="230717696"/>
            <ac:spMk id="490" creationId="{BA5AF82F-8478-4EEB-AFD8-3947B72497CA}"/>
          </ac:spMkLst>
        </pc:spChg>
        <pc:spChg chg="add mod">
          <ac:chgData name="Manal El Bakkouri" userId="8b130982-2e3f-4164-b881-fd3a2e4b2453" providerId="ADAL" clId="{4457FA57-250B-44AC-8655-05D46C5A3D8A}" dt="2023-06-09T14:59:24.706" v="22797" actId="1076"/>
          <ac:spMkLst>
            <pc:docMk/>
            <pc:sldMk cId="1443789472" sldId="230717696"/>
            <ac:spMk id="491" creationId="{78A73B85-326A-4EEF-882A-11F72DD1C1F3}"/>
          </ac:spMkLst>
        </pc:spChg>
        <pc:spChg chg="add mod">
          <ac:chgData name="Manal El Bakkouri" userId="8b130982-2e3f-4164-b881-fd3a2e4b2453" providerId="ADAL" clId="{4457FA57-250B-44AC-8655-05D46C5A3D8A}" dt="2023-06-09T14:59:24.706" v="22797" actId="1076"/>
          <ac:spMkLst>
            <pc:docMk/>
            <pc:sldMk cId="1443789472" sldId="230717696"/>
            <ac:spMk id="492" creationId="{EB5DB101-3A07-470B-B6B5-A183DF436BD0}"/>
          </ac:spMkLst>
        </pc:spChg>
        <pc:spChg chg="add mod">
          <ac:chgData name="Manal El Bakkouri" userId="8b130982-2e3f-4164-b881-fd3a2e4b2453" providerId="ADAL" clId="{4457FA57-250B-44AC-8655-05D46C5A3D8A}" dt="2023-06-09T14:59:24.706" v="22797" actId="1076"/>
          <ac:spMkLst>
            <pc:docMk/>
            <pc:sldMk cId="1443789472" sldId="230717696"/>
            <ac:spMk id="493" creationId="{2930FEE2-BB07-4483-B893-4497D45E089B}"/>
          </ac:spMkLst>
        </pc:spChg>
        <pc:spChg chg="add mod">
          <ac:chgData name="Manal El Bakkouri" userId="8b130982-2e3f-4164-b881-fd3a2e4b2453" providerId="ADAL" clId="{4457FA57-250B-44AC-8655-05D46C5A3D8A}" dt="2023-06-09T14:59:24.706" v="22797" actId="1076"/>
          <ac:spMkLst>
            <pc:docMk/>
            <pc:sldMk cId="1443789472" sldId="230717696"/>
            <ac:spMk id="494" creationId="{09BC63CA-332B-443C-8FBE-C25204810011}"/>
          </ac:spMkLst>
        </pc:spChg>
        <pc:spChg chg="add mod">
          <ac:chgData name="Manal El Bakkouri" userId="8b130982-2e3f-4164-b881-fd3a2e4b2453" providerId="ADAL" clId="{4457FA57-250B-44AC-8655-05D46C5A3D8A}" dt="2023-06-09T14:59:24.706" v="22797" actId="1076"/>
          <ac:spMkLst>
            <pc:docMk/>
            <pc:sldMk cId="1443789472" sldId="230717696"/>
            <ac:spMk id="495" creationId="{62115C2E-1383-4F7B-B8B0-A64CA02D101D}"/>
          </ac:spMkLst>
        </pc:spChg>
        <pc:spChg chg="add mod">
          <ac:chgData name="Manal El Bakkouri" userId="8b130982-2e3f-4164-b881-fd3a2e4b2453" providerId="ADAL" clId="{4457FA57-250B-44AC-8655-05D46C5A3D8A}" dt="2023-06-09T14:59:24.706" v="22797" actId="1076"/>
          <ac:spMkLst>
            <pc:docMk/>
            <pc:sldMk cId="1443789472" sldId="230717696"/>
            <ac:spMk id="496" creationId="{40CD2320-D063-4730-A511-5E85CA3BA645}"/>
          </ac:spMkLst>
        </pc:spChg>
        <pc:spChg chg="add mod">
          <ac:chgData name="Manal El Bakkouri" userId="8b130982-2e3f-4164-b881-fd3a2e4b2453" providerId="ADAL" clId="{4457FA57-250B-44AC-8655-05D46C5A3D8A}" dt="2023-06-09T14:59:24.706" v="22797" actId="1076"/>
          <ac:spMkLst>
            <pc:docMk/>
            <pc:sldMk cId="1443789472" sldId="230717696"/>
            <ac:spMk id="497" creationId="{8900F758-80C1-442B-B6D2-A0A298F7D5CA}"/>
          </ac:spMkLst>
        </pc:spChg>
        <pc:spChg chg="add mod">
          <ac:chgData name="Manal El Bakkouri" userId="8b130982-2e3f-4164-b881-fd3a2e4b2453" providerId="ADAL" clId="{4457FA57-250B-44AC-8655-05D46C5A3D8A}" dt="2023-06-09T14:59:24.706" v="22797" actId="1076"/>
          <ac:spMkLst>
            <pc:docMk/>
            <pc:sldMk cId="1443789472" sldId="230717696"/>
            <ac:spMk id="498" creationId="{4ABA56E8-E94E-4EDB-8C53-DB00539F661F}"/>
          </ac:spMkLst>
        </pc:spChg>
        <pc:spChg chg="add mod">
          <ac:chgData name="Manal El Bakkouri" userId="8b130982-2e3f-4164-b881-fd3a2e4b2453" providerId="ADAL" clId="{4457FA57-250B-44AC-8655-05D46C5A3D8A}" dt="2023-06-09T14:59:24.706" v="22797" actId="1076"/>
          <ac:spMkLst>
            <pc:docMk/>
            <pc:sldMk cId="1443789472" sldId="230717696"/>
            <ac:spMk id="499" creationId="{F6DC9484-0872-4729-BEDE-BC872FF7D45E}"/>
          </ac:spMkLst>
        </pc:spChg>
        <pc:spChg chg="add mod">
          <ac:chgData name="Manal El Bakkouri" userId="8b130982-2e3f-4164-b881-fd3a2e4b2453" providerId="ADAL" clId="{4457FA57-250B-44AC-8655-05D46C5A3D8A}" dt="2023-06-09T14:59:24.706" v="22797" actId="1076"/>
          <ac:spMkLst>
            <pc:docMk/>
            <pc:sldMk cId="1443789472" sldId="230717696"/>
            <ac:spMk id="500" creationId="{85D84A8A-3574-40C5-9E07-0DE955F0F288}"/>
          </ac:spMkLst>
        </pc:spChg>
        <pc:spChg chg="add mod">
          <ac:chgData name="Manal El Bakkouri" userId="8b130982-2e3f-4164-b881-fd3a2e4b2453" providerId="ADAL" clId="{4457FA57-250B-44AC-8655-05D46C5A3D8A}" dt="2023-06-09T14:59:24.706" v="22797" actId="1076"/>
          <ac:spMkLst>
            <pc:docMk/>
            <pc:sldMk cId="1443789472" sldId="230717696"/>
            <ac:spMk id="501" creationId="{4ABD414B-8BEE-404E-9B04-6FDC913677A6}"/>
          </ac:spMkLst>
        </pc:spChg>
        <pc:spChg chg="add mod">
          <ac:chgData name="Manal El Bakkouri" userId="8b130982-2e3f-4164-b881-fd3a2e4b2453" providerId="ADAL" clId="{4457FA57-250B-44AC-8655-05D46C5A3D8A}" dt="2023-06-09T14:59:24.706" v="22797" actId="1076"/>
          <ac:spMkLst>
            <pc:docMk/>
            <pc:sldMk cId="1443789472" sldId="230717696"/>
            <ac:spMk id="502" creationId="{F3A0E9E1-9F59-43B3-A1A4-4928A9556254}"/>
          </ac:spMkLst>
        </pc:spChg>
        <pc:spChg chg="add mod">
          <ac:chgData name="Manal El Bakkouri" userId="8b130982-2e3f-4164-b881-fd3a2e4b2453" providerId="ADAL" clId="{4457FA57-250B-44AC-8655-05D46C5A3D8A}" dt="2023-06-09T14:59:24.706" v="22797" actId="1076"/>
          <ac:spMkLst>
            <pc:docMk/>
            <pc:sldMk cId="1443789472" sldId="230717696"/>
            <ac:spMk id="503" creationId="{400E467B-0D89-4875-8A43-7607471F35A0}"/>
          </ac:spMkLst>
        </pc:spChg>
        <pc:spChg chg="add mod">
          <ac:chgData name="Manal El Bakkouri" userId="8b130982-2e3f-4164-b881-fd3a2e4b2453" providerId="ADAL" clId="{4457FA57-250B-44AC-8655-05D46C5A3D8A}" dt="2023-06-09T14:59:24.706" v="22797" actId="1076"/>
          <ac:spMkLst>
            <pc:docMk/>
            <pc:sldMk cId="1443789472" sldId="230717696"/>
            <ac:spMk id="504" creationId="{548D6C6F-C5F0-49F2-A6CB-CA8A00F97869}"/>
          </ac:spMkLst>
        </pc:spChg>
        <pc:spChg chg="add mod">
          <ac:chgData name="Manal El Bakkouri" userId="8b130982-2e3f-4164-b881-fd3a2e4b2453" providerId="ADAL" clId="{4457FA57-250B-44AC-8655-05D46C5A3D8A}" dt="2023-06-09T14:59:24.706" v="22797" actId="1076"/>
          <ac:spMkLst>
            <pc:docMk/>
            <pc:sldMk cId="1443789472" sldId="230717696"/>
            <ac:spMk id="505" creationId="{74D3FB0B-26BC-4198-A3EE-55C5FB06D36C}"/>
          </ac:spMkLst>
        </pc:spChg>
        <pc:spChg chg="add mod">
          <ac:chgData name="Manal El Bakkouri" userId="8b130982-2e3f-4164-b881-fd3a2e4b2453" providerId="ADAL" clId="{4457FA57-250B-44AC-8655-05D46C5A3D8A}" dt="2023-06-09T14:59:24.706" v="22797" actId="1076"/>
          <ac:spMkLst>
            <pc:docMk/>
            <pc:sldMk cId="1443789472" sldId="230717696"/>
            <ac:spMk id="506" creationId="{511C84EB-7829-42C2-A941-3670C5C87EE3}"/>
          </ac:spMkLst>
        </pc:spChg>
        <pc:spChg chg="add mod">
          <ac:chgData name="Manal El Bakkouri" userId="8b130982-2e3f-4164-b881-fd3a2e4b2453" providerId="ADAL" clId="{4457FA57-250B-44AC-8655-05D46C5A3D8A}" dt="2023-06-09T14:59:24.706" v="22797" actId="1076"/>
          <ac:spMkLst>
            <pc:docMk/>
            <pc:sldMk cId="1443789472" sldId="230717696"/>
            <ac:spMk id="507" creationId="{42571935-5017-489D-8C68-FD34E8E52F25}"/>
          </ac:spMkLst>
        </pc:spChg>
        <pc:spChg chg="add mod">
          <ac:chgData name="Manal El Bakkouri" userId="8b130982-2e3f-4164-b881-fd3a2e4b2453" providerId="ADAL" clId="{4457FA57-250B-44AC-8655-05D46C5A3D8A}" dt="2023-06-09T14:59:24.706" v="22797" actId="1076"/>
          <ac:spMkLst>
            <pc:docMk/>
            <pc:sldMk cId="1443789472" sldId="230717696"/>
            <ac:spMk id="508" creationId="{E5806A4D-4467-4BC1-AA32-E5AD21590A39}"/>
          </ac:spMkLst>
        </pc:spChg>
        <pc:spChg chg="add mod">
          <ac:chgData name="Manal El Bakkouri" userId="8b130982-2e3f-4164-b881-fd3a2e4b2453" providerId="ADAL" clId="{4457FA57-250B-44AC-8655-05D46C5A3D8A}" dt="2023-06-09T14:59:24.706" v="22797" actId="1076"/>
          <ac:spMkLst>
            <pc:docMk/>
            <pc:sldMk cId="1443789472" sldId="230717696"/>
            <ac:spMk id="509" creationId="{675901AA-C62A-47C0-B34A-3B7F83F7E27C}"/>
          </ac:spMkLst>
        </pc:spChg>
        <pc:spChg chg="add mod">
          <ac:chgData name="Manal El Bakkouri" userId="8b130982-2e3f-4164-b881-fd3a2e4b2453" providerId="ADAL" clId="{4457FA57-250B-44AC-8655-05D46C5A3D8A}" dt="2023-06-09T14:59:24.706" v="22797" actId="1076"/>
          <ac:spMkLst>
            <pc:docMk/>
            <pc:sldMk cId="1443789472" sldId="230717696"/>
            <ac:spMk id="510" creationId="{B99DB9D3-9D1A-4D28-AF99-3820D8FABEF3}"/>
          </ac:spMkLst>
        </pc:spChg>
        <pc:spChg chg="add mod">
          <ac:chgData name="Manal El Bakkouri" userId="8b130982-2e3f-4164-b881-fd3a2e4b2453" providerId="ADAL" clId="{4457FA57-250B-44AC-8655-05D46C5A3D8A}" dt="2023-06-09T14:59:24.706" v="22797" actId="1076"/>
          <ac:spMkLst>
            <pc:docMk/>
            <pc:sldMk cId="1443789472" sldId="230717696"/>
            <ac:spMk id="511" creationId="{530CB8C5-8EB9-455C-AB77-7C6F347641A9}"/>
          </ac:spMkLst>
        </pc:spChg>
        <pc:spChg chg="add mod">
          <ac:chgData name="Manal El Bakkouri" userId="8b130982-2e3f-4164-b881-fd3a2e4b2453" providerId="ADAL" clId="{4457FA57-250B-44AC-8655-05D46C5A3D8A}" dt="2023-06-09T14:59:24.706" v="22797" actId="1076"/>
          <ac:spMkLst>
            <pc:docMk/>
            <pc:sldMk cId="1443789472" sldId="230717696"/>
            <ac:spMk id="512" creationId="{C629AC44-0E15-45DE-9FA0-48A29BC9532C}"/>
          </ac:spMkLst>
        </pc:spChg>
        <pc:spChg chg="add mod">
          <ac:chgData name="Manal El Bakkouri" userId="8b130982-2e3f-4164-b881-fd3a2e4b2453" providerId="ADAL" clId="{4457FA57-250B-44AC-8655-05D46C5A3D8A}" dt="2023-06-09T14:59:24.706" v="22797" actId="1076"/>
          <ac:spMkLst>
            <pc:docMk/>
            <pc:sldMk cId="1443789472" sldId="230717696"/>
            <ac:spMk id="513" creationId="{B2ABFCA2-57F0-4BF1-AE26-A2726ABDE2EC}"/>
          </ac:spMkLst>
        </pc:spChg>
        <pc:spChg chg="add mod">
          <ac:chgData name="Manal El Bakkouri" userId="8b130982-2e3f-4164-b881-fd3a2e4b2453" providerId="ADAL" clId="{4457FA57-250B-44AC-8655-05D46C5A3D8A}" dt="2023-06-09T14:59:24.706" v="22797" actId="1076"/>
          <ac:spMkLst>
            <pc:docMk/>
            <pc:sldMk cId="1443789472" sldId="230717696"/>
            <ac:spMk id="514" creationId="{365F6431-D8BF-49E3-9146-233F70C721E6}"/>
          </ac:spMkLst>
        </pc:spChg>
        <pc:spChg chg="add mod">
          <ac:chgData name="Manal El Bakkouri" userId="8b130982-2e3f-4164-b881-fd3a2e4b2453" providerId="ADAL" clId="{4457FA57-250B-44AC-8655-05D46C5A3D8A}" dt="2023-06-09T14:59:24.706" v="22797" actId="1076"/>
          <ac:spMkLst>
            <pc:docMk/>
            <pc:sldMk cId="1443789472" sldId="230717696"/>
            <ac:spMk id="515" creationId="{AD5C92FB-ADED-4367-9A51-46AB49D04FEA}"/>
          </ac:spMkLst>
        </pc:spChg>
        <pc:spChg chg="add mod">
          <ac:chgData name="Manal El Bakkouri" userId="8b130982-2e3f-4164-b881-fd3a2e4b2453" providerId="ADAL" clId="{4457FA57-250B-44AC-8655-05D46C5A3D8A}" dt="2023-06-09T14:59:24.706" v="22797" actId="1076"/>
          <ac:spMkLst>
            <pc:docMk/>
            <pc:sldMk cId="1443789472" sldId="230717696"/>
            <ac:spMk id="516" creationId="{F2566473-4C3D-4BD8-A6A2-41B6DB332913}"/>
          </ac:spMkLst>
        </pc:spChg>
        <pc:spChg chg="add mod">
          <ac:chgData name="Manal El Bakkouri" userId="8b130982-2e3f-4164-b881-fd3a2e4b2453" providerId="ADAL" clId="{4457FA57-250B-44AC-8655-05D46C5A3D8A}" dt="2023-06-09T14:59:24.706" v="22797" actId="1076"/>
          <ac:spMkLst>
            <pc:docMk/>
            <pc:sldMk cId="1443789472" sldId="230717696"/>
            <ac:spMk id="517" creationId="{9B286969-CAB6-4F1E-90AE-AD5D7D93589D}"/>
          </ac:spMkLst>
        </pc:spChg>
        <pc:spChg chg="add mod">
          <ac:chgData name="Manal El Bakkouri" userId="8b130982-2e3f-4164-b881-fd3a2e4b2453" providerId="ADAL" clId="{4457FA57-250B-44AC-8655-05D46C5A3D8A}" dt="2023-06-09T14:59:24.706" v="22797" actId="1076"/>
          <ac:spMkLst>
            <pc:docMk/>
            <pc:sldMk cId="1443789472" sldId="230717696"/>
            <ac:spMk id="518" creationId="{8166A274-4D0A-49E2-8185-2181680B2798}"/>
          </ac:spMkLst>
        </pc:spChg>
        <pc:spChg chg="add mod">
          <ac:chgData name="Manal El Bakkouri" userId="8b130982-2e3f-4164-b881-fd3a2e4b2453" providerId="ADAL" clId="{4457FA57-250B-44AC-8655-05D46C5A3D8A}" dt="2023-06-09T14:59:24.706" v="22797" actId="1076"/>
          <ac:spMkLst>
            <pc:docMk/>
            <pc:sldMk cId="1443789472" sldId="230717696"/>
            <ac:spMk id="519" creationId="{9547B9EE-61BC-44D4-910E-6FB4B65C05CE}"/>
          </ac:spMkLst>
        </pc:spChg>
        <pc:spChg chg="add mod">
          <ac:chgData name="Manal El Bakkouri" userId="8b130982-2e3f-4164-b881-fd3a2e4b2453" providerId="ADAL" clId="{4457FA57-250B-44AC-8655-05D46C5A3D8A}" dt="2023-06-09T14:59:24.706" v="22797" actId="1076"/>
          <ac:spMkLst>
            <pc:docMk/>
            <pc:sldMk cId="1443789472" sldId="230717696"/>
            <ac:spMk id="520" creationId="{378B0319-CFC5-44BA-ABC1-67E32EC902FD}"/>
          </ac:spMkLst>
        </pc:spChg>
        <pc:spChg chg="add mod">
          <ac:chgData name="Manal El Bakkouri" userId="8b130982-2e3f-4164-b881-fd3a2e4b2453" providerId="ADAL" clId="{4457FA57-250B-44AC-8655-05D46C5A3D8A}" dt="2023-06-09T14:59:24.706" v="22797" actId="1076"/>
          <ac:spMkLst>
            <pc:docMk/>
            <pc:sldMk cId="1443789472" sldId="230717696"/>
            <ac:spMk id="521" creationId="{5D368506-C153-4C50-B5D8-918354C70BC7}"/>
          </ac:spMkLst>
        </pc:spChg>
        <pc:spChg chg="add mod">
          <ac:chgData name="Manal El Bakkouri" userId="8b130982-2e3f-4164-b881-fd3a2e4b2453" providerId="ADAL" clId="{4457FA57-250B-44AC-8655-05D46C5A3D8A}" dt="2023-06-09T14:59:24.706" v="22797" actId="1076"/>
          <ac:spMkLst>
            <pc:docMk/>
            <pc:sldMk cId="1443789472" sldId="230717696"/>
            <ac:spMk id="522" creationId="{6D0DAEB1-8F8B-4BCA-A162-82FD1590FF82}"/>
          </ac:spMkLst>
        </pc:spChg>
        <pc:spChg chg="add mod">
          <ac:chgData name="Manal El Bakkouri" userId="8b130982-2e3f-4164-b881-fd3a2e4b2453" providerId="ADAL" clId="{4457FA57-250B-44AC-8655-05D46C5A3D8A}" dt="2023-06-09T14:59:24.706" v="22797" actId="1076"/>
          <ac:spMkLst>
            <pc:docMk/>
            <pc:sldMk cId="1443789472" sldId="230717696"/>
            <ac:spMk id="523" creationId="{AB1A27E4-FD95-49F5-8B9E-D5E64967891A}"/>
          </ac:spMkLst>
        </pc:spChg>
        <pc:spChg chg="add mod">
          <ac:chgData name="Manal El Bakkouri" userId="8b130982-2e3f-4164-b881-fd3a2e4b2453" providerId="ADAL" clId="{4457FA57-250B-44AC-8655-05D46C5A3D8A}" dt="2023-06-09T14:59:24.706" v="22797" actId="1076"/>
          <ac:spMkLst>
            <pc:docMk/>
            <pc:sldMk cId="1443789472" sldId="230717696"/>
            <ac:spMk id="524" creationId="{1006F012-059C-46EA-8443-D79398AB81C0}"/>
          </ac:spMkLst>
        </pc:spChg>
        <pc:spChg chg="add mod">
          <ac:chgData name="Manal El Bakkouri" userId="8b130982-2e3f-4164-b881-fd3a2e4b2453" providerId="ADAL" clId="{4457FA57-250B-44AC-8655-05D46C5A3D8A}" dt="2023-06-09T14:59:24.706" v="22797" actId="1076"/>
          <ac:spMkLst>
            <pc:docMk/>
            <pc:sldMk cId="1443789472" sldId="230717696"/>
            <ac:spMk id="525" creationId="{6C7AF938-C533-4A4D-9709-CA5D051EAD62}"/>
          </ac:spMkLst>
        </pc:spChg>
        <pc:spChg chg="add mod">
          <ac:chgData name="Manal El Bakkouri" userId="8b130982-2e3f-4164-b881-fd3a2e4b2453" providerId="ADAL" clId="{4457FA57-250B-44AC-8655-05D46C5A3D8A}" dt="2023-06-09T14:59:24.706" v="22797" actId="1076"/>
          <ac:spMkLst>
            <pc:docMk/>
            <pc:sldMk cId="1443789472" sldId="230717696"/>
            <ac:spMk id="526" creationId="{23715F68-14B6-4758-BBAA-B09D9A32BD59}"/>
          </ac:spMkLst>
        </pc:spChg>
        <pc:spChg chg="add mod">
          <ac:chgData name="Manal El Bakkouri" userId="8b130982-2e3f-4164-b881-fd3a2e4b2453" providerId="ADAL" clId="{4457FA57-250B-44AC-8655-05D46C5A3D8A}" dt="2023-06-09T14:59:24.706" v="22797" actId="1076"/>
          <ac:spMkLst>
            <pc:docMk/>
            <pc:sldMk cId="1443789472" sldId="230717696"/>
            <ac:spMk id="527" creationId="{A1EB50D6-E9DC-4A89-9FCA-BD97A32967AC}"/>
          </ac:spMkLst>
        </pc:spChg>
        <pc:spChg chg="add mod">
          <ac:chgData name="Manal El Bakkouri" userId="8b130982-2e3f-4164-b881-fd3a2e4b2453" providerId="ADAL" clId="{4457FA57-250B-44AC-8655-05D46C5A3D8A}" dt="2023-06-09T14:59:24.706" v="22797" actId="1076"/>
          <ac:spMkLst>
            <pc:docMk/>
            <pc:sldMk cId="1443789472" sldId="230717696"/>
            <ac:spMk id="528" creationId="{BD63F1D5-07D3-499D-9527-EA6D5C9102BD}"/>
          </ac:spMkLst>
        </pc:spChg>
        <pc:spChg chg="add mod">
          <ac:chgData name="Manal El Bakkouri" userId="8b130982-2e3f-4164-b881-fd3a2e4b2453" providerId="ADAL" clId="{4457FA57-250B-44AC-8655-05D46C5A3D8A}" dt="2023-06-09T14:59:24.706" v="22797" actId="1076"/>
          <ac:spMkLst>
            <pc:docMk/>
            <pc:sldMk cId="1443789472" sldId="230717696"/>
            <ac:spMk id="529" creationId="{C9DF7B9B-5E1D-4F6F-A900-DE073380DF45}"/>
          </ac:spMkLst>
        </pc:spChg>
        <pc:spChg chg="add mod">
          <ac:chgData name="Manal El Bakkouri" userId="8b130982-2e3f-4164-b881-fd3a2e4b2453" providerId="ADAL" clId="{4457FA57-250B-44AC-8655-05D46C5A3D8A}" dt="2023-06-09T14:59:24.706" v="22797" actId="1076"/>
          <ac:spMkLst>
            <pc:docMk/>
            <pc:sldMk cId="1443789472" sldId="230717696"/>
            <ac:spMk id="530" creationId="{0D957D3E-B15A-4121-B21C-FB03D0E858F0}"/>
          </ac:spMkLst>
        </pc:spChg>
        <pc:spChg chg="add del mod">
          <ac:chgData name="Manal El Bakkouri" userId="8b130982-2e3f-4164-b881-fd3a2e4b2453" providerId="ADAL" clId="{4457FA57-250B-44AC-8655-05D46C5A3D8A}" dt="2023-06-09T14:56:26.524" v="22777" actId="478"/>
          <ac:spMkLst>
            <pc:docMk/>
            <pc:sldMk cId="1443789472" sldId="230717696"/>
            <ac:spMk id="532" creationId="{3C4F8E38-4458-4388-A3E3-FB9E55E79DCA}"/>
          </ac:spMkLst>
        </pc:spChg>
        <pc:spChg chg="add del mod">
          <ac:chgData name="Manal El Bakkouri" userId="8b130982-2e3f-4164-b881-fd3a2e4b2453" providerId="ADAL" clId="{4457FA57-250B-44AC-8655-05D46C5A3D8A}" dt="2023-06-04T12:02:14.662" v="7044" actId="478"/>
          <ac:spMkLst>
            <pc:docMk/>
            <pc:sldMk cId="1443789472" sldId="230717696"/>
            <ac:spMk id="536" creationId="{82771C74-CC6E-48D8-9EF3-B8602272D73C}"/>
          </ac:spMkLst>
        </pc:spChg>
        <pc:spChg chg="add del mod">
          <ac:chgData name="Manal El Bakkouri" userId="8b130982-2e3f-4164-b881-fd3a2e4b2453" providerId="ADAL" clId="{4457FA57-250B-44AC-8655-05D46C5A3D8A}" dt="2023-06-04T12:05:04.686" v="7065" actId="478"/>
          <ac:spMkLst>
            <pc:docMk/>
            <pc:sldMk cId="1443789472" sldId="230717696"/>
            <ac:spMk id="538" creationId="{FEB43285-E821-4D72-BAAD-33A29E00DD13}"/>
          </ac:spMkLst>
        </pc:spChg>
        <pc:spChg chg="add mod">
          <ac:chgData name="Manal El Bakkouri" userId="8b130982-2e3f-4164-b881-fd3a2e4b2453" providerId="ADAL" clId="{4457FA57-250B-44AC-8655-05D46C5A3D8A}" dt="2023-06-09T15:03:01.342" v="22827" actId="2085"/>
          <ac:spMkLst>
            <pc:docMk/>
            <pc:sldMk cId="1443789472" sldId="230717696"/>
            <ac:spMk id="539" creationId="{44B9B90A-FD72-406B-AF2E-6316E8EB8D0D}"/>
          </ac:spMkLst>
        </pc:spChg>
        <pc:spChg chg="add del mod">
          <ac:chgData name="Manal El Bakkouri" userId="8b130982-2e3f-4164-b881-fd3a2e4b2453" providerId="ADAL" clId="{4457FA57-250B-44AC-8655-05D46C5A3D8A}" dt="2023-06-04T12:05:02.916" v="7063" actId="478"/>
          <ac:spMkLst>
            <pc:docMk/>
            <pc:sldMk cId="1443789472" sldId="230717696"/>
            <ac:spMk id="540" creationId="{1546530A-A6A0-457F-BA68-7A631705C4D2}"/>
          </ac:spMkLst>
        </pc:spChg>
        <pc:spChg chg="add mod">
          <ac:chgData name="Manal El Bakkouri" userId="8b130982-2e3f-4164-b881-fd3a2e4b2453" providerId="ADAL" clId="{4457FA57-250B-44AC-8655-05D46C5A3D8A}" dt="2023-06-04T12:08:08.823" v="7145" actId="408"/>
          <ac:spMkLst>
            <pc:docMk/>
            <pc:sldMk cId="1443789472" sldId="230717696"/>
            <ac:spMk id="541" creationId="{AA18DAA0-8C65-4BD6-ACB3-03B4EABA5260}"/>
          </ac:spMkLst>
        </pc:spChg>
        <pc:spChg chg="add mod topLvl">
          <ac:chgData name="Manal El Bakkouri" userId="8b130982-2e3f-4164-b881-fd3a2e4b2453" providerId="ADAL" clId="{4457FA57-250B-44AC-8655-05D46C5A3D8A}" dt="2023-06-09T15:01:13.947" v="22817" actId="115"/>
          <ac:spMkLst>
            <pc:docMk/>
            <pc:sldMk cId="1443789472" sldId="230717696"/>
            <ac:spMk id="542" creationId="{58E6583D-E74D-4619-BEE5-D7726463025D}"/>
          </ac:spMkLst>
        </pc:spChg>
        <pc:grpChg chg="add del mod">
          <ac:chgData name="Manal El Bakkouri" userId="8b130982-2e3f-4164-b881-fd3a2e4b2453" providerId="ADAL" clId="{4457FA57-250B-44AC-8655-05D46C5A3D8A}" dt="2023-06-09T15:00:58.662" v="22815" actId="165"/>
          <ac:grpSpMkLst>
            <pc:docMk/>
            <pc:sldMk cId="1443789472" sldId="230717696"/>
            <ac:grpSpMk id="3" creationId="{16414F2D-DA3C-4573-82C9-E899D13D8BF8}"/>
          </ac:grpSpMkLst>
        </pc:grpChg>
        <pc:grpChg chg="add del mod">
          <ac:chgData name="Manal El Bakkouri" userId="8b130982-2e3f-4164-b881-fd3a2e4b2453" providerId="ADAL" clId="{4457FA57-250B-44AC-8655-05D46C5A3D8A}" dt="2023-06-09T14:59:25.615" v="22798" actId="478"/>
          <ac:grpSpMkLst>
            <pc:docMk/>
            <pc:sldMk cId="1443789472" sldId="230717696"/>
            <ac:grpSpMk id="531" creationId="{B0784A03-D50C-40D6-B3DB-05731436473C}"/>
          </ac:grpSpMkLst>
        </pc:grpChg>
        <pc:picChg chg="add mod modCrop">
          <ac:chgData name="Manal El Bakkouri" userId="8b130982-2e3f-4164-b881-fd3a2e4b2453" providerId="ADAL" clId="{4457FA57-250B-44AC-8655-05D46C5A3D8A}" dt="2023-06-04T12:07:51.734" v="7142" actId="732"/>
          <ac:picMkLst>
            <pc:docMk/>
            <pc:sldMk cId="1443789472" sldId="230717696"/>
            <ac:picMk id="533" creationId="{FEC6066D-A841-4649-8AE8-38984FA2C313}"/>
          </ac:picMkLst>
        </pc:picChg>
        <pc:picChg chg="add mod ord">
          <ac:chgData name="Manal El Bakkouri" userId="8b130982-2e3f-4164-b881-fd3a2e4b2453" providerId="ADAL" clId="{4457FA57-250B-44AC-8655-05D46C5A3D8A}" dt="2023-06-09T15:02:27.973" v="22825" actId="167"/>
          <ac:picMkLst>
            <pc:docMk/>
            <pc:sldMk cId="1443789472" sldId="230717696"/>
            <ac:picMk id="534" creationId="{531A5536-85EC-41A4-B11B-391EBF7A1CDF}"/>
          </ac:picMkLst>
        </pc:picChg>
        <pc:picChg chg="add mod">
          <ac:chgData name="Manal El Bakkouri" userId="8b130982-2e3f-4164-b881-fd3a2e4b2453" providerId="ADAL" clId="{4457FA57-250B-44AC-8655-05D46C5A3D8A}" dt="2023-06-04T12:08:00" v="7143"/>
          <ac:picMkLst>
            <pc:docMk/>
            <pc:sldMk cId="1443789472" sldId="230717696"/>
            <ac:picMk id="535" creationId="{A4CF98CF-D3F2-48AD-9A5E-D873D37730E0}"/>
          </ac:picMkLst>
        </pc:picChg>
      </pc:sldChg>
      <pc:sldChg chg="addSp delSp modSp add mod modTransition modNotesTx">
        <pc:chgData name="Manal El Bakkouri" userId="8b130982-2e3f-4164-b881-fd3a2e4b2453" providerId="ADAL" clId="{4457FA57-250B-44AC-8655-05D46C5A3D8A}" dt="2023-06-09T11:27:10.108" v="21720"/>
        <pc:sldMkLst>
          <pc:docMk/>
          <pc:sldMk cId="382094094" sldId="230717697"/>
        </pc:sldMkLst>
        <pc:spChg chg="mod">
          <ac:chgData name="Manal El Bakkouri" userId="8b130982-2e3f-4164-b881-fd3a2e4b2453" providerId="ADAL" clId="{4457FA57-250B-44AC-8655-05D46C5A3D8A}" dt="2023-06-04T12:19:10.455" v="7230" actId="1076"/>
          <ac:spMkLst>
            <pc:docMk/>
            <pc:sldMk cId="382094094" sldId="230717697"/>
            <ac:spMk id="19" creationId="{B30F652F-B4AB-4663-B9DF-0896119C5242}"/>
          </ac:spMkLst>
        </pc:spChg>
        <pc:spChg chg="mod">
          <ac:chgData name="Manal El Bakkouri" userId="8b130982-2e3f-4164-b881-fd3a2e4b2453" providerId="ADAL" clId="{4457FA57-250B-44AC-8655-05D46C5A3D8A}" dt="2023-06-04T12:18:56.294" v="7225" actId="1076"/>
          <ac:spMkLst>
            <pc:docMk/>
            <pc:sldMk cId="382094094" sldId="230717697"/>
            <ac:spMk id="20" creationId="{4BDC13F8-FF45-4747-82D1-66D3B6F0B152}"/>
          </ac:spMkLst>
        </pc:spChg>
        <pc:spChg chg="mod">
          <ac:chgData name="Manal El Bakkouri" userId="8b130982-2e3f-4164-b881-fd3a2e4b2453" providerId="ADAL" clId="{4457FA57-250B-44AC-8655-05D46C5A3D8A}" dt="2023-06-04T12:21:45.626" v="7284" actId="1038"/>
          <ac:spMkLst>
            <pc:docMk/>
            <pc:sldMk cId="382094094" sldId="230717697"/>
            <ac:spMk id="21" creationId="{22A3CDB1-151E-4AB1-AD86-3A0348E9CF8B}"/>
          </ac:spMkLst>
        </pc:spChg>
        <pc:spChg chg="mod">
          <ac:chgData name="Manal El Bakkouri" userId="8b130982-2e3f-4164-b881-fd3a2e4b2453" providerId="ADAL" clId="{4457FA57-250B-44AC-8655-05D46C5A3D8A}" dt="2023-06-09T11:07:26.351" v="21507"/>
          <ac:spMkLst>
            <pc:docMk/>
            <pc:sldMk cId="382094094" sldId="230717697"/>
            <ac:spMk id="28" creationId="{0E447923-0DAF-443C-8CA5-15C6939296DF}"/>
          </ac:spMkLst>
        </pc:spChg>
        <pc:spChg chg="mod">
          <ac:chgData name="Manal El Bakkouri" userId="8b130982-2e3f-4164-b881-fd3a2e4b2453" providerId="ADAL" clId="{4457FA57-250B-44AC-8655-05D46C5A3D8A}" dt="2023-06-09T11:07:26.351" v="21507"/>
          <ac:spMkLst>
            <pc:docMk/>
            <pc:sldMk cId="382094094" sldId="230717697"/>
            <ac:spMk id="29" creationId="{810C7577-621C-42AF-A3D0-913EEFDFDE0F}"/>
          </ac:spMkLst>
        </pc:spChg>
        <pc:spChg chg="mod">
          <ac:chgData name="Manal El Bakkouri" userId="8b130982-2e3f-4164-b881-fd3a2e4b2453" providerId="ADAL" clId="{4457FA57-250B-44AC-8655-05D46C5A3D8A}" dt="2023-06-09T11:07:26.351" v="21507"/>
          <ac:spMkLst>
            <pc:docMk/>
            <pc:sldMk cId="382094094" sldId="230717697"/>
            <ac:spMk id="31" creationId="{89A61DC4-C536-4B64-8E27-00DF11D30D96}"/>
          </ac:spMkLst>
        </pc:spChg>
        <pc:spChg chg="mod">
          <ac:chgData name="Manal El Bakkouri" userId="8b130982-2e3f-4164-b881-fd3a2e4b2453" providerId="ADAL" clId="{4457FA57-250B-44AC-8655-05D46C5A3D8A}" dt="2023-06-09T11:07:26.351" v="21507"/>
          <ac:spMkLst>
            <pc:docMk/>
            <pc:sldMk cId="382094094" sldId="230717697"/>
            <ac:spMk id="32" creationId="{2FD0DC1B-1ED8-4392-B395-3CABC17ED5AD}"/>
          </ac:spMkLst>
        </pc:spChg>
        <pc:spChg chg="mod">
          <ac:chgData name="Manal El Bakkouri" userId="8b130982-2e3f-4164-b881-fd3a2e4b2453" providerId="ADAL" clId="{4457FA57-250B-44AC-8655-05D46C5A3D8A}" dt="2023-06-09T11:07:55.762" v="21516" actId="207"/>
          <ac:spMkLst>
            <pc:docMk/>
            <pc:sldMk cId="382094094" sldId="230717697"/>
            <ac:spMk id="34" creationId="{F2AF327C-3057-4819-B6AC-8E668963DF6A}"/>
          </ac:spMkLst>
        </pc:spChg>
        <pc:spChg chg="mod">
          <ac:chgData name="Manal El Bakkouri" userId="8b130982-2e3f-4164-b881-fd3a2e4b2453" providerId="ADAL" clId="{4457FA57-250B-44AC-8655-05D46C5A3D8A}" dt="2023-06-09T11:08:00.692" v="21518" actId="113"/>
          <ac:spMkLst>
            <pc:docMk/>
            <pc:sldMk cId="382094094" sldId="230717697"/>
            <ac:spMk id="35" creationId="{1D2F8AA0-1D44-4E48-8300-023DBF0FF789}"/>
          </ac:spMkLst>
        </pc:spChg>
        <pc:spChg chg="del mod">
          <ac:chgData name="Manal El Bakkouri" userId="8b130982-2e3f-4164-b881-fd3a2e4b2453" providerId="ADAL" clId="{4457FA57-250B-44AC-8655-05D46C5A3D8A}" dt="2023-06-04T12:18:27.369" v="7216" actId="478"/>
          <ac:spMkLst>
            <pc:docMk/>
            <pc:sldMk cId="382094094" sldId="230717697"/>
            <ac:spMk id="35" creationId="{D7F05C52-B6CD-4272-B90F-E61A2348F4CC}"/>
          </ac:spMkLst>
        </pc:spChg>
        <pc:spChg chg="mod">
          <ac:chgData name="Manal El Bakkouri" userId="8b130982-2e3f-4164-b881-fd3a2e4b2453" providerId="ADAL" clId="{4457FA57-250B-44AC-8655-05D46C5A3D8A}" dt="2023-06-09T11:07:26.351" v="21507"/>
          <ac:spMkLst>
            <pc:docMk/>
            <pc:sldMk cId="382094094" sldId="230717697"/>
            <ac:spMk id="37" creationId="{D173D27B-F797-4AD7-9EE4-8C2A2A474CEB}"/>
          </ac:spMkLst>
        </pc:spChg>
        <pc:spChg chg="mod">
          <ac:chgData name="Manal El Bakkouri" userId="8b130982-2e3f-4164-b881-fd3a2e4b2453" providerId="ADAL" clId="{4457FA57-250B-44AC-8655-05D46C5A3D8A}" dt="2023-06-09T11:07:26.351" v="21507"/>
          <ac:spMkLst>
            <pc:docMk/>
            <pc:sldMk cId="382094094" sldId="230717697"/>
            <ac:spMk id="38" creationId="{075D034B-FFE3-4793-A8CD-7EC6F97008C0}"/>
          </ac:spMkLst>
        </pc:spChg>
        <pc:spChg chg="mod">
          <ac:chgData name="Manal El Bakkouri" userId="8b130982-2e3f-4164-b881-fd3a2e4b2453" providerId="ADAL" clId="{4457FA57-250B-44AC-8655-05D46C5A3D8A}" dt="2023-06-09T11:07:26.351" v="21507"/>
          <ac:spMkLst>
            <pc:docMk/>
            <pc:sldMk cId="382094094" sldId="230717697"/>
            <ac:spMk id="40" creationId="{9D39B2DD-53B4-4233-8ECF-1D6E88AD7D22}"/>
          </ac:spMkLst>
        </pc:spChg>
        <pc:spChg chg="mod">
          <ac:chgData name="Manal El Bakkouri" userId="8b130982-2e3f-4164-b881-fd3a2e4b2453" providerId="ADAL" clId="{4457FA57-250B-44AC-8655-05D46C5A3D8A}" dt="2023-06-09T11:07:26.351" v="21507"/>
          <ac:spMkLst>
            <pc:docMk/>
            <pc:sldMk cId="382094094" sldId="230717697"/>
            <ac:spMk id="41" creationId="{39BCE31F-9799-4020-B7A9-61C29FED9A00}"/>
          </ac:spMkLst>
        </pc:spChg>
        <pc:spChg chg="mod">
          <ac:chgData name="Manal El Bakkouri" userId="8b130982-2e3f-4164-b881-fd3a2e4b2453" providerId="ADAL" clId="{4457FA57-250B-44AC-8655-05D46C5A3D8A}" dt="2023-06-09T11:07:51.571" v="21515"/>
          <ac:spMkLst>
            <pc:docMk/>
            <pc:sldMk cId="382094094" sldId="230717697"/>
            <ac:spMk id="43" creationId="{17541500-C1A5-4A02-B213-B9E2BA5D9D0C}"/>
          </ac:spMkLst>
        </pc:spChg>
        <pc:spChg chg="mod">
          <ac:chgData name="Manal El Bakkouri" userId="8b130982-2e3f-4164-b881-fd3a2e4b2453" providerId="ADAL" clId="{4457FA57-250B-44AC-8655-05D46C5A3D8A}" dt="2023-06-09T11:07:51.571" v="21515"/>
          <ac:spMkLst>
            <pc:docMk/>
            <pc:sldMk cId="382094094" sldId="230717697"/>
            <ac:spMk id="44" creationId="{C41FE689-31B8-4A5D-9702-EAA8520BFBD3}"/>
          </ac:spMkLst>
        </pc:spChg>
        <pc:spChg chg="add mod">
          <ac:chgData name="Manal El Bakkouri" userId="8b130982-2e3f-4164-b881-fd3a2e4b2453" providerId="ADAL" clId="{4457FA57-250B-44AC-8655-05D46C5A3D8A}" dt="2023-06-09T11:27:10.108" v="21720"/>
          <ac:spMkLst>
            <pc:docMk/>
            <pc:sldMk cId="382094094" sldId="230717697"/>
            <ac:spMk id="45" creationId="{76C10883-D2A3-45C7-A2D3-68CEA48E9C78}"/>
          </ac:spMkLst>
        </pc:spChg>
        <pc:spChg chg="add mod">
          <ac:chgData name="Manal El Bakkouri" userId="8b130982-2e3f-4164-b881-fd3a2e4b2453" providerId="ADAL" clId="{4457FA57-250B-44AC-8655-05D46C5A3D8A}" dt="2023-06-09T11:27:10.108" v="21720"/>
          <ac:spMkLst>
            <pc:docMk/>
            <pc:sldMk cId="382094094" sldId="230717697"/>
            <ac:spMk id="46" creationId="{669B2295-3210-4A18-9585-4375DC65406E}"/>
          </ac:spMkLst>
        </pc:spChg>
        <pc:spChg chg="add mod">
          <ac:chgData name="Manal El Bakkouri" userId="8b130982-2e3f-4164-b881-fd3a2e4b2453" providerId="ADAL" clId="{4457FA57-250B-44AC-8655-05D46C5A3D8A}" dt="2023-06-09T11:27:10.108" v="21720"/>
          <ac:spMkLst>
            <pc:docMk/>
            <pc:sldMk cId="382094094" sldId="230717697"/>
            <ac:spMk id="47" creationId="{CED8A6C6-240C-4B07-B70E-24EB42056522}"/>
          </ac:spMkLst>
        </pc:spChg>
        <pc:spChg chg="add mod">
          <ac:chgData name="Manal El Bakkouri" userId="8b130982-2e3f-4164-b881-fd3a2e4b2453" providerId="ADAL" clId="{4457FA57-250B-44AC-8655-05D46C5A3D8A}" dt="2023-06-09T11:27:10.108" v="21720"/>
          <ac:spMkLst>
            <pc:docMk/>
            <pc:sldMk cId="382094094" sldId="230717697"/>
            <ac:spMk id="48" creationId="{7D897B77-2771-47F2-95B8-98C7D191FCCB}"/>
          </ac:spMkLst>
        </pc:spChg>
        <pc:spChg chg="del">
          <ac:chgData name="Manal El Bakkouri" userId="8b130982-2e3f-4164-b881-fd3a2e4b2453" providerId="ADAL" clId="{4457FA57-250B-44AC-8655-05D46C5A3D8A}" dt="2023-06-09T11:27:09.808" v="21719" actId="478"/>
          <ac:spMkLst>
            <pc:docMk/>
            <pc:sldMk cId="382094094" sldId="230717697"/>
            <ac:spMk id="57" creationId="{DB9A0BAB-A307-4DBB-B42A-12FA0DC159D2}"/>
          </ac:spMkLst>
        </pc:spChg>
        <pc:spChg chg="del">
          <ac:chgData name="Manal El Bakkouri" userId="8b130982-2e3f-4164-b881-fd3a2e4b2453" providerId="ADAL" clId="{4457FA57-250B-44AC-8655-05D46C5A3D8A}" dt="2023-06-04T12:18:47.924" v="7223" actId="478"/>
          <ac:spMkLst>
            <pc:docMk/>
            <pc:sldMk cId="382094094" sldId="230717697"/>
            <ac:spMk id="58" creationId="{E17C9726-2768-4E3A-B34F-9F094D35D113}"/>
          </ac:spMkLst>
        </pc:spChg>
        <pc:spChg chg="del">
          <ac:chgData name="Manal El Bakkouri" userId="8b130982-2e3f-4164-b881-fd3a2e4b2453" providerId="ADAL" clId="{4457FA57-250B-44AC-8655-05D46C5A3D8A}" dt="2023-06-09T11:27:09.808" v="21719" actId="478"/>
          <ac:spMkLst>
            <pc:docMk/>
            <pc:sldMk cId="382094094" sldId="230717697"/>
            <ac:spMk id="59" creationId="{0334DE6B-054B-4036-B646-E84099D34F56}"/>
          </ac:spMkLst>
        </pc:spChg>
        <pc:spChg chg="del">
          <ac:chgData name="Manal El Bakkouri" userId="8b130982-2e3f-4164-b881-fd3a2e4b2453" providerId="ADAL" clId="{4457FA57-250B-44AC-8655-05D46C5A3D8A}" dt="2023-06-09T11:27:09.808" v="21719" actId="478"/>
          <ac:spMkLst>
            <pc:docMk/>
            <pc:sldMk cId="382094094" sldId="230717697"/>
            <ac:spMk id="60" creationId="{50B8799F-3F22-4581-8CF1-ABABDB7D10F0}"/>
          </ac:spMkLst>
        </pc:spChg>
        <pc:spChg chg="add del mod">
          <ac:chgData name="Manal El Bakkouri" userId="8b130982-2e3f-4164-b881-fd3a2e4b2453" providerId="ADAL" clId="{4457FA57-250B-44AC-8655-05D46C5A3D8A}" dt="2023-06-07T09:59:39.974" v="17584" actId="478"/>
          <ac:spMkLst>
            <pc:docMk/>
            <pc:sldMk cId="382094094" sldId="230717697"/>
            <ac:spMk id="72" creationId="{6F1675CF-2933-44A8-9ABF-C813B2D23FD8}"/>
          </ac:spMkLst>
        </pc:spChg>
        <pc:spChg chg="add del mod">
          <ac:chgData name="Manal El Bakkouri" userId="8b130982-2e3f-4164-b881-fd3a2e4b2453" providerId="ADAL" clId="{4457FA57-250B-44AC-8655-05D46C5A3D8A}" dt="2023-06-07T09:59:39.974" v="17584" actId="478"/>
          <ac:spMkLst>
            <pc:docMk/>
            <pc:sldMk cId="382094094" sldId="230717697"/>
            <ac:spMk id="76" creationId="{6DB8B3FD-0282-4CC0-84FE-B2A5DEAECB07}"/>
          </ac:spMkLst>
        </pc:spChg>
        <pc:spChg chg="add del mod">
          <ac:chgData name="Manal El Bakkouri" userId="8b130982-2e3f-4164-b881-fd3a2e4b2453" providerId="ADAL" clId="{4457FA57-250B-44AC-8655-05D46C5A3D8A}" dt="2023-06-07T09:59:39.974" v="17584" actId="478"/>
          <ac:spMkLst>
            <pc:docMk/>
            <pc:sldMk cId="382094094" sldId="230717697"/>
            <ac:spMk id="77" creationId="{F1EA2476-00EB-45A9-9450-B7C80BEADAD1}"/>
          </ac:spMkLst>
        </pc:spChg>
        <pc:spChg chg="add del mod">
          <ac:chgData name="Manal El Bakkouri" userId="8b130982-2e3f-4164-b881-fd3a2e4b2453" providerId="ADAL" clId="{4457FA57-250B-44AC-8655-05D46C5A3D8A}" dt="2023-06-06T10:36:07.289" v="9773" actId="478"/>
          <ac:spMkLst>
            <pc:docMk/>
            <pc:sldMk cId="382094094" sldId="230717697"/>
            <ac:spMk id="84" creationId="{C7747894-96E0-4083-A904-B40DF7176047}"/>
          </ac:spMkLst>
        </pc:spChg>
        <pc:spChg chg="add del mod">
          <ac:chgData name="Manal El Bakkouri" userId="8b130982-2e3f-4164-b881-fd3a2e4b2453" providerId="ADAL" clId="{4457FA57-250B-44AC-8655-05D46C5A3D8A}" dt="2023-06-07T09:59:39.974" v="17584" actId="478"/>
          <ac:spMkLst>
            <pc:docMk/>
            <pc:sldMk cId="382094094" sldId="230717697"/>
            <ac:spMk id="85" creationId="{047670A9-83C3-4376-89EB-DD41E45B488C}"/>
          </ac:spMkLst>
        </pc:spChg>
        <pc:spChg chg="add del mod">
          <ac:chgData name="Manal El Bakkouri" userId="8b130982-2e3f-4164-b881-fd3a2e4b2453" providerId="ADAL" clId="{4457FA57-250B-44AC-8655-05D46C5A3D8A}" dt="2023-06-06T10:36:07.289" v="9773" actId="478"/>
          <ac:spMkLst>
            <pc:docMk/>
            <pc:sldMk cId="382094094" sldId="230717697"/>
            <ac:spMk id="89" creationId="{5EA89FDC-9564-4EFF-8F63-6D8C03D5E342}"/>
          </ac:spMkLst>
        </pc:spChg>
        <pc:spChg chg="del">
          <ac:chgData name="Manal El Bakkouri" userId="8b130982-2e3f-4164-b881-fd3a2e4b2453" providerId="ADAL" clId="{4457FA57-250B-44AC-8655-05D46C5A3D8A}" dt="2023-06-06T10:35:26.929" v="9760" actId="478"/>
          <ac:spMkLst>
            <pc:docMk/>
            <pc:sldMk cId="382094094" sldId="230717697"/>
            <ac:spMk id="92" creationId="{CECFC263-7C38-4534-8474-32BEE3ACCB74}"/>
          </ac:spMkLst>
        </pc:spChg>
        <pc:spChg chg="del">
          <ac:chgData name="Manal El Bakkouri" userId="8b130982-2e3f-4164-b881-fd3a2e4b2453" providerId="ADAL" clId="{4457FA57-250B-44AC-8655-05D46C5A3D8A}" dt="2023-06-06T08:38:05.678" v="8801" actId="478"/>
          <ac:spMkLst>
            <pc:docMk/>
            <pc:sldMk cId="382094094" sldId="230717697"/>
            <ac:spMk id="93" creationId="{F1B911A7-4A29-4995-8029-FE29E90A9D57}"/>
          </ac:spMkLst>
        </pc:spChg>
        <pc:spChg chg="del">
          <ac:chgData name="Manal El Bakkouri" userId="8b130982-2e3f-4164-b881-fd3a2e4b2453" providerId="ADAL" clId="{4457FA57-250B-44AC-8655-05D46C5A3D8A}" dt="2023-06-06T10:35:26.929" v="9760" actId="478"/>
          <ac:spMkLst>
            <pc:docMk/>
            <pc:sldMk cId="382094094" sldId="230717697"/>
            <ac:spMk id="94" creationId="{4A8B57C2-DE2B-4D68-ACD5-44D191F51DF4}"/>
          </ac:spMkLst>
        </pc:spChg>
        <pc:spChg chg="del">
          <ac:chgData name="Manal El Bakkouri" userId="8b130982-2e3f-4164-b881-fd3a2e4b2453" providerId="ADAL" clId="{4457FA57-250B-44AC-8655-05D46C5A3D8A}" dt="2023-06-06T08:38:05.678" v="8801" actId="478"/>
          <ac:spMkLst>
            <pc:docMk/>
            <pc:sldMk cId="382094094" sldId="230717697"/>
            <ac:spMk id="95" creationId="{C6DA25DC-A35C-4358-BF19-9F364133A0E6}"/>
          </ac:spMkLst>
        </pc:spChg>
        <pc:spChg chg="del">
          <ac:chgData name="Manal El Bakkouri" userId="8b130982-2e3f-4164-b881-fd3a2e4b2453" providerId="ADAL" clId="{4457FA57-250B-44AC-8655-05D46C5A3D8A}" dt="2023-06-04T12:19:02.358" v="7228" actId="478"/>
          <ac:spMkLst>
            <pc:docMk/>
            <pc:sldMk cId="382094094" sldId="230717697"/>
            <ac:spMk id="96" creationId="{07D4BAF4-F56E-4561-88D3-A1F7DE5E190E}"/>
          </ac:spMkLst>
        </pc:spChg>
        <pc:spChg chg="del">
          <ac:chgData name="Manal El Bakkouri" userId="8b130982-2e3f-4164-b881-fd3a2e4b2453" providerId="ADAL" clId="{4457FA57-250B-44AC-8655-05D46C5A3D8A}" dt="2023-06-06T10:35:26.929" v="9760" actId="478"/>
          <ac:spMkLst>
            <pc:docMk/>
            <pc:sldMk cId="382094094" sldId="230717697"/>
            <ac:spMk id="97" creationId="{1B302C39-0E8D-473B-9E57-D2821450CF7D}"/>
          </ac:spMkLst>
        </pc:spChg>
        <pc:spChg chg="del">
          <ac:chgData name="Manal El Bakkouri" userId="8b130982-2e3f-4164-b881-fd3a2e4b2453" providerId="ADAL" clId="{4457FA57-250B-44AC-8655-05D46C5A3D8A}" dt="2023-06-07T09:59:39.974" v="17584" actId="478"/>
          <ac:spMkLst>
            <pc:docMk/>
            <pc:sldMk cId="382094094" sldId="230717697"/>
            <ac:spMk id="98" creationId="{FCD7E7E8-B648-484C-82F2-023E913130DF}"/>
          </ac:spMkLst>
        </pc:spChg>
        <pc:spChg chg="del">
          <ac:chgData name="Manal El Bakkouri" userId="8b130982-2e3f-4164-b881-fd3a2e4b2453" providerId="ADAL" clId="{4457FA57-250B-44AC-8655-05D46C5A3D8A}" dt="2023-06-06T10:35:26.929" v="9760" actId="478"/>
          <ac:spMkLst>
            <pc:docMk/>
            <pc:sldMk cId="382094094" sldId="230717697"/>
            <ac:spMk id="99" creationId="{BA0F92E8-C93F-450B-9FAE-D4B0B22B5F4B}"/>
          </ac:spMkLst>
        </pc:spChg>
        <pc:spChg chg="del">
          <ac:chgData name="Manal El Bakkouri" userId="8b130982-2e3f-4164-b881-fd3a2e4b2453" providerId="ADAL" clId="{4457FA57-250B-44AC-8655-05D46C5A3D8A}" dt="2023-06-07T09:59:39.974" v="17584" actId="478"/>
          <ac:spMkLst>
            <pc:docMk/>
            <pc:sldMk cId="382094094" sldId="230717697"/>
            <ac:spMk id="100" creationId="{714C5B84-86C9-4207-B5CF-75E39833223B}"/>
          </ac:spMkLst>
        </pc:spChg>
        <pc:spChg chg="del">
          <ac:chgData name="Manal El Bakkouri" userId="8b130982-2e3f-4164-b881-fd3a2e4b2453" providerId="ADAL" clId="{4457FA57-250B-44AC-8655-05D46C5A3D8A}" dt="2023-06-06T10:35:26.929" v="9760" actId="478"/>
          <ac:spMkLst>
            <pc:docMk/>
            <pc:sldMk cId="382094094" sldId="230717697"/>
            <ac:spMk id="101" creationId="{A589B8D1-EBFE-47A2-91D5-BC3070DBB14E}"/>
          </ac:spMkLst>
        </pc:spChg>
        <pc:spChg chg="del">
          <ac:chgData name="Manal El Bakkouri" userId="8b130982-2e3f-4164-b881-fd3a2e4b2453" providerId="ADAL" clId="{4457FA57-250B-44AC-8655-05D46C5A3D8A}" dt="2023-06-06T10:35:26.929" v="9760" actId="478"/>
          <ac:spMkLst>
            <pc:docMk/>
            <pc:sldMk cId="382094094" sldId="230717697"/>
            <ac:spMk id="102" creationId="{B106ED56-2BFD-438C-9B1B-7377BB42B768}"/>
          </ac:spMkLst>
        </pc:spChg>
        <pc:spChg chg="add del mod">
          <ac:chgData name="Manal El Bakkouri" userId="8b130982-2e3f-4164-b881-fd3a2e4b2453" providerId="ADAL" clId="{4457FA57-250B-44AC-8655-05D46C5A3D8A}" dt="2023-06-07T09:59:39.974" v="17584" actId="478"/>
          <ac:spMkLst>
            <pc:docMk/>
            <pc:sldMk cId="382094094" sldId="230717697"/>
            <ac:spMk id="103" creationId="{0062190C-6548-40CE-B3B3-9B03D1F0752D}"/>
          </ac:spMkLst>
        </pc:spChg>
        <pc:spChg chg="add del mod">
          <ac:chgData name="Manal El Bakkouri" userId="8b130982-2e3f-4164-b881-fd3a2e4b2453" providerId="ADAL" clId="{4457FA57-250B-44AC-8655-05D46C5A3D8A}" dt="2023-06-07T09:59:39.974" v="17584" actId="478"/>
          <ac:spMkLst>
            <pc:docMk/>
            <pc:sldMk cId="382094094" sldId="230717697"/>
            <ac:spMk id="104" creationId="{247ED921-9E6A-44F8-B11E-186031F14520}"/>
          </ac:spMkLst>
        </pc:spChg>
        <pc:spChg chg="add del mod">
          <ac:chgData name="Manal El Bakkouri" userId="8b130982-2e3f-4164-b881-fd3a2e4b2453" providerId="ADAL" clId="{4457FA57-250B-44AC-8655-05D46C5A3D8A}" dt="2023-06-07T09:59:39.974" v="17584" actId="478"/>
          <ac:spMkLst>
            <pc:docMk/>
            <pc:sldMk cId="382094094" sldId="230717697"/>
            <ac:spMk id="105" creationId="{93E28A15-84D6-474B-AA9D-16955A475F95}"/>
          </ac:spMkLst>
        </pc:spChg>
        <pc:spChg chg="add del mod">
          <ac:chgData name="Manal El Bakkouri" userId="8b130982-2e3f-4164-b881-fd3a2e4b2453" providerId="ADAL" clId="{4457FA57-250B-44AC-8655-05D46C5A3D8A}" dt="2023-06-07T09:59:39.974" v="17584" actId="478"/>
          <ac:spMkLst>
            <pc:docMk/>
            <pc:sldMk cId="382094094" sldId="230717697"/>
            <ac:spMk id="106" creationId="{3FFFEAC3-3543-434A-8F58-677CDC7BF66F}"/>
          </ac:spMkLst>
        </pc:spChg>
        <pc:spChg chg="mod">
          <ac:chgData name="Manal El Bakkouri" userId="8b130982-2e3f-4164-b881-fd3a2e4b2453" providerId="ADAL" clId="{4457FA57-250B-44AC-8655-05D46C5A3D8A}" dt="2023-06-07T10:02:14.010" v="17603" actId="207"/>
          <ac:spMkLst>
            <pc:docMk/>
            <pc:sldMk cId="382094094" sldId="230717697"/>
            <ac:spMk id="108" creationId="{BEB71314-D640-4F8F-8D2D-DA92E24CE508}"/>
          </ac:spMkLst>
        </pc:spChg>
        <pc:spChg chg="mod">
          <ac:chgData name="Manal El Bakkouri" userId="8b130982-2e3f-4164-b881-fd3a2e4b2453" providerId="ADAL" clId="{4457FA57-250B-44AC-8655-05D46C5A3D8A}" dt="2023-06-07T10:02:21.693" v="17605" actId="207"/>
          <ac:spMkLst>
            <pc:docMk/>
            <pc:sldMk cId="382094094" sldId="230717697"/>
            <ac:spMk id="109" creationId="{EED5F4EE-377A-467B-833A-84C232AAF155}"/>
          </ac:spMkLst>
        </pc:spChg>
        <pc:spChg chg="mod">
          <ac:chgData name="Manal El Bakkouri" userId="8b130982-2e3f-4164-b881-fd3a2e4b2453" providerId="ADAL" clId="{4457FA57-250B-44AC-8655-05D46C5A3D8A}" dt="2023-06-07T09:59:40.314" v="17585"/>
          <ac:spMkLst>
            <pc:docMk/>
            <pc:sldMk cId="382094094" sldId="230717697"/>
            <ac:spMk id="111" creationId="{E08AB1A0-4524-405B-8947-9C5B54AB914D}"/>
          </ac:spMkLst>
        </pc:spChg>
        <pc:spChg chg="mod">
          <ac:chgData name="Manal El Bakkouri" userId="8b130982-2e3f-4164-b881-fd3a2e4b2453" providerId="ADAL" clId="{4457FA57-250B-44AC-8655-05D46C5A3D8A}" dt="2023-06-07T09:59:40.314" v="17585"/>
          <ac:spMkLst>
            <pc:docMk/>
            <pc:sldMk cId="382094094" sldId="230717697"/>
            <ac:spMk id="112" creationId="{14143B3F-7171-48F2-9E9A-B9DBAAA6B408}"/>
          </ac:spMkLst>
        </pc:spChg>
        <pc:spChg chg="mod">
          <ac:chgData name="Manal El Bakkouri" userId="8b130982-2e3f-4164-b881-fd3a2e4b2453" providerId="ADAL" clId="{4457FA57-250B-44AC-8655-05D46C5A3D8A}" dt="2023-06-07T09:59:40.314" v="17585"/>
          <ac:spMkLst>
            <pc:docMk/>
            <pc:sldMk cId="382094094" sldId="230717697"/>
            <ac:spMk id="114" creationId="{709CAA0B-3410-4516-B8C5-12D91F27FCD9}"/>
          </ac:spMkLst>
        </pc:spChg>
        <pc:spChg chg="mod">
          <ac:chgData name="Manal El Bakkouri" userId="8b130982-2e3f-4164-b881-fd3a2e4b2453" providerId="ADAL" clId="{4457FA57-250B-44AC-8655-05D46C5A3D8A}" dt="2023-06-07T09:59:40.314" v="17585"/>
          <ac:spMkLst>
            <pc:docMk/>
            <pc:sldMk cId="382094094" sldId="230717697"/>
            <ac:spMk id="115" creationId="{8825C7F2-1009-4A85-90AA-71018C7E9E00}"/>
          </ac:spMkLst>
        </pc:spChg>
        <pc:spChg chg="mod">
          <ac:chgData name="Manal El Bakkouri" userId="8b130982-2e3f-4164-b881-fd3a2e4b2453" providerId="ADAL" clId="{4457FA57-250B-44AC-8655-05D46C5A3D8A}" dt="2023-06-07T10:02:32.441" v="17609" actId="207"/>
          <ac:spMkLst>
            <pc:docMk/>
            <pc:sldMk cId="382094094" sldId="230717697"/>
            <ac:spMk id="117" creationId="{4556E4A4-CCA9-4982-AA5A-1F11D2A206FA}"/>
          </ac:spMkLst>
        </pc:spChg>
        <pc:spChg chg="mod">
          <ac:chgData name="Manal El Bakkouri" userId="8b130982-2e3f-4164-b881-fd3a2e4b2453" providerId="ADAL" clId="{4457FA57-250B-44AC-8655-05D46C5A3D8A}" dt="2023-06-07T10:02:28.725" v="17608" actId="113"/>
          <ac:spMkLst>
            <pc:docMk/>
            <pc:sldMk cId="382094094" sldId="230717697"/>
            <ac:spMk id="118" creationId="{5D8E0EC6-2208-48FD-BFED-29F74B72D954}"/>
          </ac:spMkLst>
        </pc:spChg>
        <pc:spChg chg="mod">
          <ac:chgData name="Manal El Bakkouri" userId="8b130982-2e3f-4164-b881-fd3a2e4b2453" providerId="ADAL" clId="{4457FA57-250B-44AC-8655-05D46C5A3D8A}" dt="2023-06-07T09:59:40.314" v="17585"/>
          <ac:spMkLst>
            <pc:docMk/>
            <pc:sldMk cId="382094094" sldId="230717697"/>
            <ac:spMk id="120" creationId="{CF120B5C-FFB0-445F-917A-F80098CB4C22}"/>
          </ac:spMkLst>
        </pc:spChg>
        <pc:spChg chg="mod">
          <ac:chgData name="Manal El Bakkouri" userId="8b130982-2e3f-4164-b881-fd3a2e4b2453" providerId="ADAL" clId="{4457FA57-250B-44AC-8655-05D46C5A3D8A}" dt="2023-06-07T09:59:40.314" v="17585"/>
          <ac:spMkLst>
            <pc:docMk/>
            <pc:sldMk cId="382094094" sldId="230717697"/>
            <ac:spMk id="121" creationId="{852F0FA8-CA84-4D31-AED2-ED69C5882A82}"/>
          </ac:spMkLst>
        </pc:spChg>
        <pc:grpChg chg="add mod">
          <ac:chgData name="Manal El Bakkouri" userId="8b130982-2e3f-4164-b881-fd3a2e4b2453" providerId="ADAL" clId="{4457FA57-250B-44AC-8655-05D46C5A3D8A}" dt="2023-06-09T11:07:26.351" v="21507"/>
          <ac:grpSpMkLst>
            <pc:docMk/>
            <pc:sldMk cId="382094094" sldId="230717697"/>
            <ac:grpSpMk id="27" creationId="{41854F46-0634-4184-80B8-951E34F9BFCC}"/>
          </ac:grpSpMkLst>
        </pc:grpChg>
        <pc:grpChg chg="add del mod">
          <ac:chgData name="Manal El Bakkouri" userId="8b130982-2e3f-4164-b881-fd3a2e4b2453" providerId="ADAL" clId="{4457FA57-250B-44AC-8655-05D46C5A3D8A}" dt="2023-06-09T11:07:51.158" v="21514" actId="478"/>
          <ac:grpSpMkLst>
            <pc:docMk/>
            <pc:sldMk cId="382094094" sldId="230717697"/>
            <ac:grpSpMk id="30" creationId="{D0EB9662-20D5-4505-994E-AC82D2601156}"/>
          </ac:grpSpMkLst>
        </pc:grpChg>
        <pc:grpChg chg="add mod">
          <ac:chgData name="Manal El Bakkouri" userId="8b130982-2e3f-4164-b881-fd3a2e4b2453" providerId="ADAL" clId="{4457FA57-250B-44AC-8655-05D46C5A3D8A}" dt="2023-06-09T11:07:26.351" v="21507"/>
          <ac:grpSpMkLst>
            <pc:docMk/>
            <pc:sldMk cId="382094094" sldId="230717697"/>
            <ac:grpSpMk id="33" creationId="{02B16C39-B691-4070-9D46-B5111E49A3F7}"/>
          </ac:grpSpMkLst>
        </pc:grpChg>
        <pc:grpChg chg="add mod">
          <ac:chgData name="Manal El Bakkouri" userId="8b130982-2e3f-4164-b881-fd3a2e4b2453" providerId="ADAL" clId="{4457FA57-250B-44AC-8655-05D46C5A3D8A}" dt="2023-06-09T11:07:26.351" v="21507"/>
          <ac:grpSpMkLst>
            <pc:docMk/>
            <pc:sldMk cId="382094094" sldId="230717697"/>
            <ac:grpSpMk id="36" creationId="{FF83321C-BCC8-4D5B-A053-92F05B24DA37}"/>
          </ac:grpSpMkLst>
        </pc:grpChg>
        <pc:grpChg chg="add mod">
          <ac:chgData name="Manal El Bakkouri" userId="8b130982-2e3f-4164-b881-fd3a2e4b2453" providerId="ADAL" clId="{4457FA57-250B-44AC-8655-05D46C5A3D8A}" dt="2023-06-09T11:07:26.351" v="21507"/>
          <ac:grpSpMkLst>
            <pc:docMk/>
            <pc:sldMk cId="382094094" sldId="230717697"/>
            <ac:grpSpMk id="39" creationId="{EDE43C17-0458-453D-A12D-206428EC7619}"/>
          </ac:grpSpMkLst>
        </pc:grpChg>
        <pc:grpChg chg="add mod">
          <ac:chgData name="Manal El Bakkouri" userId="8b130982-2e3f-4164-b881-fd3a2e4b2453" providerId="ADAL" clId="{4457FA57-250B-44AC-8655-05D46C5A3D8A}" dt="2023-06-09T11:07:51.571" v="21515"/>
          <ac:grpSpMkLst>
            <pc:docMk/>
            <pc:sldMk cId="382094094" sldId="230717697"/>
            <ac:grpSpMk id="42" creationId="{AA225D5A-0444-49B4-9A0D-4E6E081D4B67}"/>
          </ac:grpSpMkLst>
        </pc:grpChg>
        <pc:grpChg chg="del">
          <ac:chgData name="Manal El Bakkouri" userId="8b130982-2e3f-4164-b881-fd3a2e4b2453" providerId="ADAL" clId="{4457FA57-250B-44AC-8655-05D46C5A3D8A}" dt="2023-06-04T12:18:31.119" v="7217" actId="478"/>
          <ac:grpSpMkLst>
            <pc:docMk/>
            <pc:sldMk cId="382094094" sldId="230717697"/>
            <ac:grpSpMk id="54" creationId="{C2495E2B-7615-4E05-86AC-C162B4618BD5}"/>
          </ac:grpSpMkLst>
        </pc:grpChg>
        <pc:grpChg chg="del">
          <ac:chgData name="Manal El Bakkouri" userId="8b130982-2e3f-4164-b881-fd3a2e4b2453" providerId="ADAL" clId="{4457FA57-250B-44AC-8655-05D46C5A3D8A}" dt="2023-06-04T12:18:50.796" v="7224" actId="478"/>
          <ac:grpSpMkLst>
            <pc:docMk/>
            <pc:sldMk cId="382094094" sldId="230717697"/>
            <ac:grpSpMk id="91" creationId="{24316474-87E9-4408-B0B3-B925860EDC47}"/>
          </ac:grpSpMkLst>
        </pc:grpChg>
        <pc:grpChg chg="add del mod">
          <ac:chgData name="Manal El Bakkouri" userId="8b130982-2e3f-4164-b881-fd3a2e4b2453" providerId="ADAL" clId="{4457FA57-250B-44AC-8655-05D46C5A3D8A}" dt="2023-06-09T11:07:26.048" v="21506" actId="478"/>
          <ac:grpSpMkLst>
            <pc:docMk/>
            <pc:sldMk cId="382094094" sldId="230717697"/>
            <ac:grpSpMk id="107" creationId="{DDFB49A8-BA28-41EC-8562-24DA044C34C3}"/>
          </ac:grpSpMkLst>
        </pc:grpChg>
        <pc:grpChg chg="add del mod">
          <ac:chgData name="Manal El Bakkouri" userId="8b130982-2e3f-4164-b881-fd3a2e4b2453" providerId="ADAL" clId="{4457FA57-250B-44AC-8655-05D46C5A3D8A}" dt="2023-06-09T11:07:26.048" v="21506" actId="478"/>
          <ac:grpSpMkLst>
            <pc:docMk/>
            <pc:sldMk cId="382094094" sldId="230717697"/>
            <ac:grpSpMk id="110" creationId="{436E2947-EB4D-4D5F-A101-458C1899147B}"/>
          </ac:grpSpMkLst>
        </pc:grpChg>
        <pc:grpChg chg="add del mod">
          <ac:chgData name="Manal El Bakkouri" userId="8b130982-2e3f-4164-b881-fd3a2e4b2453" providerId="ADAL" clId="{4457FA57-250B-44AC-8655-05D46C5A3D8A}" dt="2023-06-09T11:07:26.048" v="21506" actId="478"/>
          <ac:grpSpMkLst>
            <pc:docMk/>
            <pc:sldMk cId="382094094" sldId="230717697"/>
            <ac:grpSpMk id="113" creationId="{37F9713B-A99C-4E7F-813F-567FDF5927C5}"/>
          </ac:grpSpMkLst>
        </pc:grpChg>
        <pc:grpChg chg="add del mod">
          <ac:chgData name="Manal El Bakkouri" userId="8b130982-2e3f-4164-b881-fd3a2e4b2453" providerId="ADAL" clId="{4457FA57-250B-44AC-8655-05D46C5A3D8A}" dt="2023-06-09T11:07:26.048" v="21506" actId="478"/>
          <ac:grpSpMkLst>
            <pc:docMk/>
            <pc:sldMk cId="382094094" sldId="230717697"/>
            <ac:grpSpMk id="116" creationId="{F8BFCF1A-AAE6-4617-A195-4D2686936376}"/>
          </ac:grpSpMkLst>
        </pc:grpChg>
        <pc:grpChg chg="add del mod">
          <ac:chgData name="Manal El Bakkouri" userId="8b130982-2e3f-4164-b881-fd3a2e4b2453" providerId="ADAL" clId="{4457FA57-250B-44AC-8655-05D46C5A3D8A}" dt="2023-06-09T11:07:26.048" v="21506" actId="478"/>
          <ac:grpSpMkLst>
            <pc:docMk/>
            <pc:sldMk cId="382094094" sldId="230717697"/>
            <ac:grpSpMk id="119" creationId="{D69BDB5D-D24C-4862-A8A6-F313801DC719}"/>
          </ac:grpSpMkLst>
        </pc:grpChg>
        <pc:picChg chg="del">
          <ac:chgData name="Manal El Bakkouri" userId="8b130982-2e3f-4164-b881-fd3a2e4b2453" providerId="ADAL" clId="{4457FA57-250B-44AC-8655-05D46C5A3D8A}" dt="2023-06-04T12:18:25.304" v="7214" actId="478"/>
          <ac:picMkLst>
            <pc:docMk/>
            <pc:sldMk cId="382094094" sldId="230717697"/>
            <ac:picMk id="28" creationId="{B4D9BF0D-FA21-46A6-84F3-A7C17F817668}"/>
          </ac:picMkLst>
        </pc:picChg>
        <pc:picChg chg="del">
          <ac:chgData name="Manal El Bakkouri" userId="8b130982-2e3f-4164-b881-fd3a2e4b2453" providerId="ADAL" clId="{4457FA57-250B-44AC-8655-05D46C5A3D8A}" dt="2023-06-04T12:18:42.979" v="7220" actId="478"/>
          <ac:picMkLst>
            <pc:docMk/>
            <pc:sldMk cId="382094094" sldId="230717697"/>
            <ac:picMk id="30" creationId="{E4EE3A98-AFF2-40BD-8BA0-FEFCD4A7176A}"/>
          </ac:picMkLst>
        </pc:picChg>
        <pc:picChg chg="del">
          <ac:chgData name="Manal El Bakkouri" userId="8b130982-2e3f-4164-b881-fd3a2e4b2453" providerId="ADAL" clId="{4457FA57-250B-44AC-8655-05D46C5A3D8A}" dt="2023-06-04T12:19:00.974" v="7227" actId="478"/>
          <ac:picMkLst>
            <pc:docMk/>
            <pc:sldMk cId="382094094" sldId="230717697"/>
            <ac:picMk id="34" creationId="{D564EC6A-F3F4-4B76-8AAB-763C9CFA7863}"/>
          </ac:picMkLst>
        </pc:picChg>
        <pc:picChg chg="add mod">
          <ac:chgData name="Manal El Bakkouri" userId="8b130982-2e3f-4164-b881-fd3a2e4b2453" providerId="ADAL" clId="{4457FA57-250B-44AC-8655-05D46C5A3D8A}" dt="2023-06-04T12:15:22.761" v="7195" actId="12789"/>
          <ac:picMkLst>
            <pc:docMk/>
            <pc:sldMk cId="382094094" sldId="230717697"/>
            <ac:picMk id="61" creationId="{FA605B42-612F-4B31-840C-6681A093DFBC}"/>
          </ac:picMkLst>
        </pc:picChg>
        <pc:picChg chg="add del mod">
          <ac:chgData name="Manal El Bakkouri" userId="8b130982-2e3f-4164-b881-fd3a2e4b2453" providerId="ADAL" clId="{4457FA57-250B-44AC-8655-05D46C5A3D8A}" dt="2023-06-04T12:18:45.553" v="7222" actId="478"/>
          <ac:picMkLst>
            <pc:docMk/>
            <pc:sldMk cId="382094094" sldId="230717697"/>
            <ac:picMk id="70" creationId="{D786A6DE-DDA4-4C1A-8276-9CEC24986212}"/>
          </ac:picMkLst>
        </pc:picChg>
        <pc:picChg chg="add mod">
          <ac:chgData name="Manal El Bakkouri" userId="8b130982-2e3f-4164-b881-fd3a2e4b2453" providerId="ADAL" clId="{4457FA57-250B-44AC-8655-05D46C5A3D8A}" dt="2023-06-04T12:15:12.179" v="7193" actId="12789"/>
          <ac:picMkLst>
            <pc:docMk/>
            <pc:sldMk cId="382094094" sldId="230717697"/>
            <ac:picMk id="71" creationId="{3CDC4641-9AEC-4762-9839-63C4FDD6B2C8}"/>
          </ac:picMkLst>
        </pc:picChg>
        <pc:picChg chg="del">
          <ac:chgData name="Manal El Bakkouri" userId="8b130982-2e3f-4164-b881-fd3a2e4b2453" providerId="ADAL" clId="{4457FA57-250B-44AC-8655-05D46C5A3D8A}" dt="2023-06-04T12:19:03.187" v="7229" actId="478"/>
          <ac:picMkLst>
            <pc:docMk/>
            <pc:sldMk cId="382094094" sldId="230717697"/>
            <ac:picMk id="90" creationId="{E6EABDD6-2E77-487C-BDEE-E07358A7FDB8}"/>
          </ac:picMkLst>
        </pc:picChg>
      </pc:sldChg>
      <pc:sldChg chg="addSp delSp modSp new mod">
        <pc:chgData name="Manal El Bakkouri" userId="8b130982-2e3f-4164-b881-fd3a2e4b2453" providerId="ADAL" clId="{4457FA57-250B-44AC-8655-05D46C5A3D8A}" dt="2023-06-09T14:51:18.555" v="22741" actId="207"/>
        <pc:sldMkLst>
          <pc:docMk/>
          <pc:sldMk cId="2857474207" sldId="230717698"/>
        </pc:sldMkLst>
        <pc:spChg chg="del">
          <ac:chgData name="Manal El Bakkouri" userId="8b130982-2e3f-4164-b881-fd3a2e4b2453" providerId="ADAL" clId="{4457FA57-250B-44AC-8655-05D46C5A3D8A}" dt="2023-06-04T12:30:39.929" v="7384" actId="478"/>
          <ac:spMkLst>
            <pc:docMk/>
            <pc:sldMk cId="2857474207" sldId="230717698"/>
            <ac:spMk id="2" creationId="{2731033F-92BB-42B5-A1DF-1B99CFB3BC66}"/>
          </ac:spMkLst>
        </pc:spChg>
        <pc:spChg chg="add mod ord">
          <ac:chgData name="Manal El Bakkouri" userId="8b130982-2e3f-4164-b881-fd3a2e4b2453" providerId="ADAL" clId="{4457FA57-250B-44AC-8655-05D46C5A3D8A}" dt="2023-06-09T14:51:18.555" v="22741" actId="207"/>
          <ac:spMkLst>
            <pc:docMk/>
            <pc:sldMk cId="2857474207" sldId="230717698"/>
            <ac:spMk id="2" creationId="{CCB7B66E-1184-4615-BEAD-9AFB40C4BDBB}"/>
          </ac:spMkLst>
        </pc:spChg>
        <pc:spChg chg="del">
          <ac:chgData name="Manal El Bakkouri" userId="8b130982-2e3f-4164-b881-fd3a2e4b2453" providerId="ADAL" clId="{4457FA57-250B-44AC-8655-05D46C5A3D8A}" dt="2023-06-04T12:30:39.929" v="7384" actId="478"/>
          <ac:spMkLst>
            <pc:docMk/>
            <pc:sldMk cId="2857474207" sldId="230717698"/>
            <ac:spMk id="3" creationId="{D29DEA05-4AD7-4BEC-9BD3-294E93CDA84C}"/>
          </ac:spMkLst>
        </pc:spChg>
        <pc:spChg chg="del">
          <ac:chgData name="Manal El Bakkouri" userId="8b130982-2e3f-4164-b881-fd3a2e4b2453" providerId="ADAL" clId="{4457FA57-250B-44AC-8655-05D46C5A3D8A}" dt="2023-06-04T12:30:39.929" v="7384" actId="478"/>
          <ac:spMkLst>
            <pc:docMk/>
            <pc:sldMk cId="2857474207" sldId="230717698"/>
            <ac:spMk id="4" creationId="{FA5BD547-3E8E-46F2-93AE-FD952C18CE9E}"/>
          </ac:spMkLst>
        </pc:spChg>
        <pc:spChg chg="add del mod topLvl">
          <ac:chgData name="Manal El Bakkouri" userId="8b130982-2e3f-4164-b881-fd3a2e4b2453" providerId="ADAL" clId="{4457FA57-250B-44AC-8655-05D46C5A3D8A}" dt="2023-06-04T12:42:44.365" v="7436" actId="478"/>
          <ac:spMkLst>
            <pc:docMk/>
            <pc:sldMk cId="2857474207" sldId="230717698"/>
            <ac:spMk id="15" creationId="{AE4D7638-136B-41E3-871F-5712F67F3FB6}"/>
          </ac:spMkLst>
        </pc:spChg>
        <pc:spChg chg="mod">
          <ac:chgData name="Manal El Bakkouri" userId="8b130982-2e3f-4164-b881-fd3a2e4b2453" providerId="ADAL" clId="{4457FA57-250B-44AC-8655-05D46C5A3D8A}" dt="2023-06-04T12:41:04.805" v="7426" actId="27803"/>
          <ac:spMkLst>
            <pc:docMk/>
            <pc:sldMk cId="2857474207" sldId="230717698"/>
            <ac:spMk id="20" creationId="{E9019F42-53AD-48DA-A8F0-C7555B75D61D}"/>
          </ac:spMkLst>
        </pc:spChg>
        <pc:spChg chg="mod">
          <ac:chgData name="Manal El Bakkouri" userId="8b130982-2e3f-4164-b881-fd3a2e4b2453" providerId="ADAL" clId="{4457FA57-250B-44AC-8655-05D46C5A3D8A}" dt="2023-06-04T12:41:04.805" v="7426" actId="27803"/>
          <ac:spMkLst>
            <pc:docMk/>
            <pc:sldMk cId="2857474207" sldId="230717698"/>
            <ac:spMk id="21" creationId="{4C4FB566-A15C-4DFF-AF13-F5DB5A257ACC}"/>
          </ac:spMkLst>
        </pc:spChg>
        <pc:spChg chg="mod">
          <ac:chgData name="Manal El Bakkouri" userId="8b130982-2e3f-4164-b881-fd3a2e4b2453" providerId="ADAL" clId="{4457FA57-250B-44AC-8655-05D46C5A3D8A}" dt="2023-06-04T12:41:04.805" v="7426" actId="27803"/>
          <ac:spMkLst>
            <pc:docMk/>
            <pc:sldMk cId="2857474207" sldId="230717698"/>
            <ac:spMk id="22" creationId="{89F3B303-C6AB-4B42-8DCD-C40341050FD5}"/>
          </ac:spMkLst>
        </pc:spChg>
        <pc:spChg chg="mod">
          <ac:chgData name="Manal El Bakkouri" userId="8b130982-2e3f-4164-b881-fd3a2e4b2453" providerId="ADAL" clId="{4457FA57-250B-44AC-8655-05D46C5A3D8A}" dt="2023-06-04T12:41:04.805" v="7426" actId="27803"/>
          <ac:spMkLst>
            <pc:docMk/>
            <pc:sldMk cId="2857474207" sldId="230717698"/>
            <ac:spMk id="23" creationId="{FDDA5620-A354-4771-AE7C-1F41219E0B64}"/>
          </ac:spMkLst>
        </pc:spChg>
        <pc:spChg chg="mod">
          <ac:chgData name="Manal El Bakkouri" userId="8b130982-2e3f-4164-b881-fd3a2e4b2453" providerId="ADAL" clId="{4457FA57-250B-44AC-8655-05D46C5A3D8A}" dt="2023-06-04T12:41:04.805" v="7426" actId="27803"/>
          <ac:spMkLst>
            <pc:docMk/>
            <pc:sldMk cId="2857474207" sldId="230717698"/>
            <ac:spMk id="24" creationId="{CA485278-156D-4CB6-B25D-0436BA2B13B2}"/>
          </ac:spMkLst>
        </pc:spChg>
        <pc:spChg chg="mod">
          <ac:chgData name="Manal El Bakkouri" userId="8b130982-2e3f-4164-b881-fd3a2e4b2453" providerId="ADAL" clId="{4457FA57-250B-44AC-8655-05D46C5A3D8A}" dt="2023-06-04T12:41:04.805" v="7426" actId="27803"/>
          <ac:spMkLst>
            <pc:docMk/>
            <pc:sldMk cId="2857474207" sldId="230717698"/>
            <ac:spMk id="26" creationId="{EF64154E-4ACD-47F2-BAA5-ADB24FE3606D}"/>
          </ac:spMkLst>
        </pc:spChg>
        <pc:spChg chg="mod">
          <ac:chgData name="Manal El Bakkouri" userId="8b130982-2e3f-4164-b881-fd3a2e4b2453" providerId="ADAL" clId="{4457FA57-250B-44AC-8655-05D46C5A3D8A}" dt="2023-06-04T12:41:04.805" v="7426" actId="27803"/>
          <ac:spMkLst>
            <pc:docMk/>
            <pc:sldMk cId="2857474207" sldId="230717698"/>
            <ac:spMk id="28" creationId="{3AB63FE5-A5CF-48A7-8C5F-3FBC33642B2D}"/>
          </ac:spMkLst>
        </pc:spChg>
        <pc:spChg chg="mod">
          <ac:chgData name="Manal El Bakkouri" userId="8b130982-2e3f-4164-b881-fd3a2e4b2453" providerId="ADAL" clId="{4457FA57-250B-44AC-8655-05D46C5A3D8A}" dt="2023-06-04T12:41:04.805" v="7426" actId="27803"/>
          <ac:spMkLst>
            <pc:docMk/>
            <pc:sldMk cId="2857474207" sldId="230717698"/>
            <ac:spMk id="29" creationId="{A82A43CF-E0F7-4274-BF48-2F7613DB0E04}"/>
          </ac:spMkLst>
        </pc:spChg>
        <pc:spChg chg="mod">
          <ac:chgData name="Manal El Bakkouri" userId="8b130982-2e3f-4164-b881-fd3a2e4b2453" providerId="ADAL" clId="{4457FA57-250B-44AC-8655-05D46C5A3D8A}" dt="2023-06-04T12:41:14.436" v="7430" actId="27803"/>
          <ac:spMkLst>
            <pc:docMk/>
            <pc:sldMk cId="2857474207" sldId="230717698"/>
            <ac:spMk id="31" creationId="{F031B390-5ECF-4016-B8C4-CBA0FF3F44C5}"/>
          </ac:spMkLst>
        </pc:spChg>
        <pc:spChg chg="mod">
          <ac:chgData name="Manal El Bakkouri" userId="8b130982-2e3f-4164-b881-fd3a2e4b2453" providerId="ADAL" clId="{4457FA57-250B-44AC-8655-05D46C5A3D8A}" dt="2023-06-04T12:41:14.436" v="7430" actId="27803"/>
          <ac:spMkLst>
            <pc:docMk/>
            <pc:sldMk cId="2857474207" sldId="230717698"/>
            <ac:spMk id="32" creationId="{ECF6CDEB-837B-47F6-AF42-5989CBFF3DE4}"/>
          </ac:spMkLst>
        </pc:spChg>
        <pc:spChg chg="mod">
          <ac:chgData name="Manal El Bakkouri" userId="8b130982-2e3f-4164-b881-fd3a2e4b2453" providerId="ADAL" clId="{4457FA57-250B-44AC-8655-05D46C5A3D8A}" dt="2023-06-04T12:41:14.436" v="7430" actId="27803"/>
          <ac:spMkLst>
            <pc:docMk/>
            <pc:sldMk cId="2857474207" sldId="230717698"/>
            <ac:spMk id="33" creationId="{6EFF7CD4-2591-41C1-ACAC-EB1DE3EF6EDD}"/>
          </ac:spMkLst>
        </pc:spChg>
        <pc:spChg chg="mod">
          <ac:chgData name="Manal El Bakkouri" userId="8b130982-2e3f-4164-b881-fd3a2e4b2453" providerId="ADAL" clId="{4457FA57-250B-44AC-8655-05D46C5A3D8A}" dt="2023-06-04T12:41:14.436" v="7430" actId="27803"/>
          <ac:spMkLst>
            <pc:docMk/>
            <pc:sldMk cId="2857474207" sldId="230717698"/>
            <ac:spMk id="34" creationId="{3D552A49-9223-414D-B38C-E746A61B530E}"/>
          </ac:spMkLst>
        </pc:spChg>
        <pc:spChg chg="mod">
          <ac:chgData name="Manal El Bakkouri" userId="8b130982-2e3f-4164-b881-fd3a2e4b2453" providerId="ADAL" clId="{4457FA57-250B-44AC-8655-05D46C5A3D8A}" dt="2023-06-04T12:41:25.547" v="7434" actId="14100"/>
          <ac:spMkLst>
            <pc:docMk/>
            <pc:sldMk cId="2857474207" sldId="230717698"/>
            <ac:spMk id="35" creationId="{976E3DC8-E3BA-48F1-BC7B-DCAE8C8EBF11}"/>
          </ac:spMkLst>
        </pc:spChg>
        <pc:spChg chg="mod">
          <ac:chgData name="Manal El Bakkouri" userId="8b130982-2e3f-4164-b881-fd3a2e4b2453" providerId="ADAL" clId="{4457FA57-250B-44AC-8655-05D46C5A3D8A}" dt="2023-06-04T12:41:25.028" v="7433" actId="1076"/>
          <ac:spMkLst>
            <pc:docMk/>
            <pc:sldMk cId="2857474207" sldId="230717698"/>
            <ac:spMk id="37" creationId="{45F631BF-7211-4758-8B50-D52EDCFFC1EE}"/>
          </ac:spMkLst>
        </pc:spChg>
        <pc:spChg chg="mod">
          <ac:chgData name="Manal El Bakkouri" userId="8b130982-2e3f-4164-b881-fd3a2e4b2453" providerId="ADAL" clId="{4457FA57-250B-44AC-8655-05D46C5A3D8A}" dt="2023-06-04T12:41:14.436" v="7430" actId="27803"/>
          <ac:spMkLst>
            <pc:docMk/>
            <pc:sldMk cId="2857474207" sldId="230717698"/>
            <ac:spMk id="39" creationId="{2313B3CC-D613-4DF1-830C-EB601F02EE37}"/>
          </ac:spMkLst>
        </pc:spChg>
        <pc:spChg chg="mod">
          <ac:chgData name="Manal El Bakkouri" userId="8b130982-2e3f-4164-b881-fd3a2e4b2453" providerId="ADAL" clId="{4457FA57-250B-44AC-8655-05D46C5A3D8A}" dt="2023-06-04T12:41:14.436" v="7430" actId="27803"/>
          <ac:spMkLst>
            <pc:docMk/>
            <pc:sldMk cId="2857474207" sldId="230717698"/>
            <ac:spMk id="40" creationId="{8DED321C-77F3-493C-B096-2E989C7B48C0}"/>
          </ac:spMkLst>
        </pc:spChg>
        <pc:spChg chg="add del mod">
          <ac:chgData name="Manal El Bakkouri" userId="8b130982-2e3f-4164-b881-fd3a2e4b2453" providerId="ADAL" clId="{4457FA57-250B-44AC-8655-05D46C5A3D8A}" dt="2023-06-04T12:48:17.613" v="7521" actId="478"/>
          <ac:spMkLst>
            <pc:docMk/>
            <pc:sldMk cId="2857474207" sldId="230717698"/>
            <ac:spMk id="42" creationId="{38E2BB33-841A-4693-BEC7-0F2E674251E9}"/>
          </ac:spMkLst>
        </pc:spChg>
        <pc:spChg chg="add mod">
          <ac:chgData name="Manal El Bakkouri" userId="8b130982-2e3f-4164-b881-fd3a2e4b2453" providerId="ADAL" clId="{4457FA57-250B-44AC-8655-05D46C5A3D8A}" dt="2023-06-09T14:49:03.665" v="22739" actId="207"/>
          <ac:spMkLst>
            <pc:docMk/>
            <pc:sldMk cId="2857474207" sldId="230717698"/>
            <ac:spMk id="43" creationId="{71056D2B-828B-41EF-A767-7A1931DC3A13}"/>
          </ac:spMkLst>
        </pc:spChg>
        <pc:grpChg chg="add del mod">
          <ac:chgData name="Manal El Bakkouri" userId="8b130982-2e3f-4164-b881-fd3a2e4b2453" providerId="ADAL" clId="{4457FA57-250B-44AC-8655-05D46C5A3D8A}" dt="2023-06-04T12:38:50.209" v="7411" actId="165"/>
          <ac:grpSpMkLst>
            <pc:docMk/>
            <pc:sldMk cId="2857474207" sldId="230717698"/>
            <ac:grpSpMk id="17" creationId="{1DE25F46-AAF6-4503-9984-1D17CFCED404}"/>
          </ac:grpSpMkLst>
        </pc:grpChg>
        <pc:grpChg chg="add del mod">
          <ac:chgData name="Manal El Bakkouri" userId="8b130982-2e3f-4164-b881-fd3a2e4b2453" providerId="ADAL" clId="{4457FA57-250B-44AC-8655-05D46C5A3D8A}" dt="2023-06-04T12:40:51.959" v="7421" actId="165"/>
          <ac:grpSpMkLst>
            <pc:docMk/>
            <pc:sldMk cId="2857474207" sldId="230717698"/>
            <ac:grpSpMk id="18" creationId="{D2E83CD8-AB0C-4B67-8074-B7B7CE04A6D0}"/>
          </ac:grpSpMkLst>
        </pc:grpChg>
        <pc:grpChg chg="mod">
          <ac:chgData name="Manal El Bakkouri" userId="8b130982-2e3f-4164-b881-fd3a2e4b2453" providerId="ADAL" clId="{4457FA57-250B-44AC-8655-05D46C5A3D8A}" dt="2023-06-04T12:41:04.805" v="7426" actId="27803"/>
          <ac:grpSpMkLst>
            <pc:docMk/>
            <pc:sldMk cId="2857474207" sldId="230717698"/>
            <ac:grpSpMk id="19" creationId="{3EA6DB13-B523-4A6E-B2D3-CDF662424A0B}"/>
          </ac:grpSpMkLst>
        </pc:grpChg>
        <pc:grpChg chg="mod">
          <ac:chgData name="Manal El Bakkouri" userId="8b130982-2e3f-4164-b881-fd3a2e4b2453" providerId="ADAL" clId="{4457FA57-250B-44AC-8655-05D46C5A3D8A}" dt="2023-06-04T12:41:04.805" v="7426" actId="27803"/>
          <ac:grpSpMkLst>
            <pc:docMk/>
            <pc:sldMk cId="2857474207" sldId="230717698"/>
            <ac:grpSpMk id="25" creationId="{873D843F-3146-4832-B9BE-17ACD5BA997E}"/>
          </ac:grpSpMkLst>
        </pc:grpChg>
        <pc:grpChg chg="mod">
          <ac:chgData name="Manal El Bakkouri" userId="8b130982-2e3f-4164-b881-fd3a2e4b2453" providerId="ADAL" clId="{4457FA57-250B-44AC-8655-05D46C5A3D8A}" dt="2023-06-04T12:41:04.805" v="7426" actId="27803"/>
          <ac:grpSpMkLst>
            <pc:docMk/>
            <pc:sldMk cId="2857474207" sldId="230717698"/>
            <ac:grpSpMk id="27" creationId="{C2AAEB00-7631-41A9-8B24-21C24A2FE29D}"/>
          </ac:grpSpMkLst>
        </pc:grpChg>
        <pc:grpChg chg="mod">
          <ac:chgData name="Manal El Bakkouri" userId="8b130982-2e3f-4164-b881-fd3a2e4b2453" providerId="ADAL" clId="{4457FA57-250B-44AC-8655-05D46C5A3D8A}" dt="2023-06-04T12:41:14.436" v="7430" actId="27803"/>
          <ac:grpSpMkLst>
            <pc:docMk/>
            <pc:sldMk cId="2857474207" sldId="230717698"/>
            <ac:grpSpMk id="30" creationId="{1C34803F-BD62-4140-A9B7-820CA3D2BF12}"/>
          </ac:grpSpMkLst>
        </pc:grpChg>
        <pc:grpChg chg="mod">
          <ac:chgData name="Manal El Bakkouri" userId="8b130982-2e3f-4164-b881-fd3a2e4b2453" providerId="ADAL" clId="{4457FA57-250B-44AC-8655-05D46C5A3D8A}" dt="2023-06-04T12:41:14.436" v="7430" actId="27803"/>
          <ac:grpSpMkLst>
            <pc:docMk/>
            <pc:sldMk cId="2857474207" sldId="230717698"/>
            <ac:grpSpMk id="36" creationId="{9D8C2619-7898-46AD-88AA-217A9DC09570}"/>
          </ac:grpSpMkLst>
        </pc:grpChg>
        <pc:grpChg chg="mod">
          <ac:chgData name="Manal El Bakkouri" userId="8b130982-2e3f-4164-b881-fd3a2e4b2453" providerId="ADAL" clId="{4457FA57-250B-44AC-8655-05D46C5A3D8A}" dt="2023-06-04T12:41:14.436" v="7430" actId="27803"/>
          <ac:grpSpMkLst>
            <pc:docMk/>
            <pc:sldMk cId="2857474207" sldId="230717698"/>
            <ac:grpSpMk id="38" creationId="{7A94A466-CD83-4764-920E-A161567CEE7B}"/>
          </ac:grpSpMkLst>
        </pc:grpChg>
        <pc:grpChg chg="add mod">
          <ac:chgData name="Manal El Bakkouri" userId="8b130982-2e3f-4164-b881-fd3a2e4b2453" providerId="ADAL" clId="{4457FA57-250B-44AC-8655-05D46C5A3D8A}" dt="2023-06-09T14:49:03.665" v="22739" actId="207"/>
          <ac:grpSpMkLst>
            <pc:docMk/>
            <pc:sldMk cId="2857474207" sldId="230717698"/>
            <ac:grpSpMk id="59" creationId="{1D925E33-F387-489E-84AA-AA3AE21DC9D8}"/>
          </ac:grpSpMkLst>
        </pc:grpChg>
        <pc:picChg chg="add mod ord topLvl">
          <ac:chgData name="Manal El Bakkouri" userId="8b130982-2e3f-4164-b881-fd3a2e4b2453" providerId="ADAL" clId="{4457FA57-250B-44AC-8655-05D46C5A3D8A}" dt="2023-06-05T08:20:12.301" v="7799" actId="1076"/>
          <ac:picMkLst>
            <pc:docMk/>
            <pc:sldMk cId="2857474207" sldId="230717698"/>
            <ac:picMk id="6" creationId="{73BB4AEF-7B30-4242-9C68-325F8570222D}"/>
          </ac:picMkLst>
        </pc:picChg>
        <pc:picChg chg="add del mod">
          <ac:chgData name="Manal El Bakkouri" userId="8b130982-2e3f-4164-b881-fd3a2e4b2453" providerId="ADAL" clId="{4457FA57-250B-44AC-8655-05D46C5A3D8A}" dt="2023-06-04T12:38:35.879" v="7408" actId="478"/>
          <ac:picMkLst>
            <pc:docMk/>
            <pc:sldMk cId="2857474207" sldId="230717698"/>
            <ac:picMk id="8" creationId="{9C2A96CB-B761-4FD6-A2A5-14A7025B956A}"/>
          </ac:picMkLst>
        </pc:picChg>
        <pc:picChg chg="add del mod topLvl">
          <ac:chgData name="Manal El Bakkouri" userId="8b130982-2e3f-4164-b881-fd3a2e4b2453" providerId="ADAL" clId="{4457FA57-250B-44AC-8655-05D46C5A3D8A}" dt="2023-06-04T12:42:44.365" v="7436" actId="478"/>
          <ac:picMkLst>
            <pc:docMk/>
            <pc:sldMk cId="2857474207" sldId="230717698"/>
            <ac:picMk id="10" creationId="{6E9F594A-16BA-4B28-B398-12637B6DABFF}"/>
          </ac:picMkLst>
        </pc:picChg>
        <pc:picChg chg="add del mod">
          <ac:chgData name="Manal El Bakkouri" userId="8b130982-2e3f-4164-b881-fd3a2e4b2453" providerId="ADAL" clId="{4457FA57-250B-44AC-8655-05D46C5A3D8A}" dt="2023-06-04T12:36:56.964" v="7389" actId="478"/>
          <ac:picMkLst>
            <pc:docMk/>
            <pc:sldMk cId="2857474207" sldId="230717698"/>
            <ac:picMk id="12" creationId="{2CA5470D-C21F-43E6-82FC-928E2E7EFB0D}"/>
          </ac:picMkLst>
        </pc:picChg>
        <pc:picChg chg="add del mod">
          <ac:chgData name="Manal El Bakkouri" userId="8b130982-2e3f-4164-b881-fd3a2e4b2453" providerId="ADAL" clId="{4457FA57-250B-44AC-8655-05D46C5A3D8A}" dt="2023-06-04T12:38:36.447" v="7409" actId="478"/>
          <ac:picMkLst>
            <pc:docMk/>
            <pc:sldMk cId="2857474207" sldId="230717698"/>
            <ac:picMk id="14" creationId="{A9D0B8F1-040C-4A9E-AD11-449A212D5E21}"/>
          </ac:picMkLst>
        </pc:picChg>
        <pc:picChg chg="add del mod topLvl">
          <ac:chgData name="Manal El Bakkouri" userId="8b130982-2e3f-4164-b881-fd3a2e4b2453" providerId="ADAL" clId="{4457FA57-250B-44AC-8655-05D46C5A3D8A}" dt="2023-06-04T12:42:44.365" v="7436" actId="478"/>
          <ac:picMkLst>
            <pc:docMk/>
            <pc:sldMk cId="2857474207" sldId="230717698"/>
            <ac:picMk id="16" creationId="{50DC4F93-94A8-46C5-B1E8-0F92D5E9E7DA}"/>
          </ac:picMkLst>
        </pc:picChg>
        <pc:picChg chg="add del mod ord">
          <ac:chgData name="Manal El Bakkouri" userId="8b130982-2e3f-4164-b881-fd3a2e4b2453" providerId="ADAL" clId="{4457FA57-250B-44AC-8655-05D46C5A3D8A}" dt="2023-06-04T12:56:30.473" v="7552" actId="478"/>
          <ac:picMkLst>
            <pc:docMk/>
            <pc:sldMk cId="2857474207" sldId="230717698"/>
            <ac:picMk id="41" creationId="{52C0F716-1225-424C-BECA-64E07B2D382A}"/>
          </ac:picMkLst>
        </pc:picChg>
        <pc:picChg chg="add del mod ord">
          <ac:chgData name="Manal El Bakkouri" userId="8b130982-2e3f-4164-b881-fd3a2e4b2453" providerId="ADAL" clId="{4457FA57-250B-44AC-8655-05D46C5A3D8A}" dt="2023-06-09T14:48:51.541" v="22738" actId="478"/>
          <ac:picMkLst>
            <pc:docMk/>
            <pc:sldMk cId="2857474207" sldId="230717698"/>
            <ac:picMk id="60" creationId="{0E3F9FAB-7165-4F7A-9812-766850BB883E}"/>
          </ac:picMkLst>
        </pc:picChg>
        <pc:picChg chg="del mod">
          <ac:chgData name="Manal El Bakkouri" userId="8b130982-2e3f-4164-b881-fd3a2e4b2453" providerId="ADAL" clId="{4457FA57-250B-44AC-8655-05D46C5A3D8A}" dt="2023-06-04T13:21:27.995" v="7795"/>
          <ac:picMkLst>
            <pc:docMk/>
            <pc:sldMk cId="2857474207" sldId="230717698"/>
            <ac:picMk id="61" creationId="{C7356D9E-DB3B-489E-A319-52719F23503E}"/>
          </ac:picMkLst>
        </pc:picChg>
        <pc:cxnChg chg="add del mod">
          <ac:chgData name="Manal El Bakkouri" userId="8b130982-2e3f-4164-b881-fd3a2e4b2453" providerId="ADAL" clId="{4457FA57-250B-44AC-8655-05D46C5A3D8A}" dt="2023-06-04T12:51:27.886" v="7548" actId="478"/>
          <ac:cxnSpMkLst>
            <pc:docMk/>
            <pc:sldMk cId="2857474207" sldId="230717698"/>
            <ac:cxnSpMk id="45" creationId="{A939E46D-67C9-46EE-AC12-8D4AB1DAD794}"/>
          </ac:cxnSpMkLst>
        </pc:cxnChg>
        <pc:cxnChg chg="add del mod">
          <ac:chgData name="Manal El Bakkouri" userId="8b130982-2e3f-4164-b881-fd3a2e4b2453" providerId="ADAL" clId="{4457FA57-250B-44AC-8655-05D46C5A3D8A}" dt="2023-06-04T12:51:26.950" v="7547" actId="478"/>
          <ac:cxnSpMkLst>
            <pc:docMk/>
            <pc:sldMk cId="2857474207" sldId="230717698"/>
            <ac:cxnSpMk id="47" creationId="{8E0A46F0-140B-4B1A-9F84-6891E1C33DF4}"/>
          </ac:cxnSpMkLst>
        </pc:cxnChg>
        <pc:cxnChg chg="add mod">
          <ac:chgData name="Manal El Bakkouri" userId="8b130982-2e3f-4164-b881-fd3a2e4b2453" providerId="ADAL" clId="{4457FA57-250B-44AC-8655-05D46C5A3D8A}" dt="2023-06-09T14:49:03.665" v="22739" actId="207"/>
          <ac:cxnSpMkLst>
            <pc:docMk/>
            <pc:sldMk cId="2857474207" sldId="230717698"/>
            <ac:cxnSpMk id="49" creationId="{612D022E-4E97-4E5F-9FF1-2A64217C09AB}"/>
          </ac:cxnSpMkLst>
        </pc:cxnChg>
        <pc:cxnChg chg="add mod">
          <ac:chgData name="Manal El Bakkouri" userId="8b130982-2e3f-4164-b881-fd3a2e4b2453" providerId="ADAL" clId="{4457FA57-250B-44AC-8655-05D46C5A3D8A}" dt="2023-06-09T14:49:03.665" v="22739" actId="207"/>
          <ac:cxnSpMkLst>
            <pc:docMk/>
            <pc:sldMk cId="2857474207" sldId="230717698"/>
            <ac:cxnSpMk id="51" creationId="{0ABD1039-6654-45BD-9EE4-3C42E5B522BC}"/>
          </ac:cxnSpMkLst>
        </pc:cxnChg>
      </pc:sldChg>
      <pc:sldChg chg="delSp modSp add del mod delAnim">
        <pc:chgData name="Manal El Bakkouri" userId="8b130982-2e3f-4164-b881-fd3a2e4b2453" providerId="ADAL" clId="{4457FA57-250B-44AC-8655-05D46C5A3D8A}" dt="2023-06-06T08:59:09.581" v="8877" actId="2696"/>
        <pc:sldMkLst>
          <pc:docMk/>
          <pc:sldMk cId="2568275721" sldId="230717699"/>
        </pc:sldMkLst>
        <pc:grpChg chg="del">
          <ac:chgData name="Manal El Bakkouri" userId="8b130982-2e3f-4164-b881-fd3a2e4b2453" providerId="ADAL" clId="{4457FA57-250B-44AC-8655-05D46C5A3D8A}" dt="2023-06-06T08:58:32.456" v="8869" actId="478"/>
          <ac:grpSpMkLst>
            <pc:docMk/>
            <pc:sldMk cId="2568275721" sldId="230717699"/>
            <ac:grpSpMk id="41" creationId="{A7D241EB-CE54-45BA-93FD-28E9554D2F55}"/>
          </ac:grpSpMkLst>
        </pc:grpChg>
        <pc:grpChg chg="del">
          <ac:chgData name="Manal El Bakkouri" userId="8b130982-2e3f-4164-b881-fd3a2e4b2453" providerId="ADAL" clId="{4457FA57-250B-44AC-8655-05D46C5A3D8A}" dt="2023-06-06T08:58:32.456" v="8869" actId="478"/>
          <ac:grpSpMkLst>
            <pc:docMk/>
            <pc:sldMk cId="2568275721" sldId="230717699"/>
            <ac:grpSpMk id="43" creationId="{26BDA0EE-8E60-4A60-862F-D0C64FEF1E83}"/>
          </ac:grpSpMkLst>
        </pc:grpChg>
        <pc:grpChg chg="del">
          <ac:chgData name="Manal El Bakkouri" userId="8b130982-2e3f-4164-b881-fd3a2e4b2453" providerId="ADAL" clId="{4457FA57-250B-44AC-8655-05D46C5A3D8A}" dt="2023-06-06T08:58:32.456" v="8869" actId="478"/>
          <ac:grpSpMkLst>
            <pc:docMk/>
            <pc:sldMk cId="2568275721" sldId="230717699"/>
            <ac:grpSpMk id="44" creationId="{72B7858C-5E0D-455B-AE2F-5BD2C5DE4FB2}"/>
          </ac:grpSpMkLst>
        </pc:grpChg>
        <pc:grpChg chg="del">
          <ac:chgData name="Manal El Bakkouri" userId="8b130982-2e3f-4164-b881-fd3a2e4b2453" providerId="ADAL" clId="{4457FA57-250B-44AC-8655-05D46C5A3D8A}" dt="2023-06-06T08:58:32.456" v="8869" actId="478"/>
          <ac:grpSpMkLst>
            <pc:docMk/>
            <pc:sldMk cId="2568275721" sldId="230717699"/>
            <ac:grpSpMk id="50" creationId="{9ECB89D8-783D-4467-A7B7-0E8D866A04B2}"/>
          </ac:grpSpMkLst>
        </pc:grpChg>
        <pc:grpChg chg="del">
          <ac:chgData name="Manal El Bakkouri" userId="8b130982-2e3f-4164-b881-fd3a2e4b2453" providerId="ADAL" clId="{4457FA57-250B-44AC-8655-05D46C5A3D8A}" dt="2023-06-06T08:58:32.456" v="8869" actId="478"/>
          <ac:grpSpMkLst>
            <pc:docMk/>
            <pc:sldMk cId="2568275721" sldId="230717699"/>
            <ac:grpSpMk id="53" creationId="{0FBF40BA-C416-4AA7-8CED-C03EB3060042}"/>
          </ac:grpSpMkLst>
        </pc:grpChg>
        <pc:grpChg chg="del">
          <ac:chgData name="Manal El Bakkouri" userId="8b130982-2e3f-4164-b881-fd3a2e4b2453" providerId="ADAL" clId="{4457FA57-250B-44AC-8655-05D46C5A3D8A}" dt="2023-06-06T08:58:32.456" v="8869" actId="478"/>
          <ac:grpSpMkLst>
            <pc:docMk/>
            <pc:sldMk cId="2568275721" sldId="230717699"/>
            <ac:grpSpMk id="56" creationId="{65ED4EF8-02AE-4D67-8D49-F222E4B7F926}"/>
          </ac:grpSpMkLst>
        </pc:grpChg>
        <pc:picChg chg="mod">
          <ac:chgData name="Manal El Bakkouri" userId="8b130982-2e3f-4164-b881-fd3a2e4b2453" providerId="ADAL" clId="{4457FA57-250B-44AC-8655-05D46C5A3D8A}" dt="2023-06-06T08:58:51.814" v="8870" actId="14100"/>
          <ac:picMkLst>
            <pc:docMk/>
            <pc:sldMk cId="2568275721" sldId="230717699"/>
            <ac:picMk id="9" creationId="{A8E930A2-4CB1-4781-A9C8-29077092C6A2}"/>
          </ac:picMkLst>
        </pc:picChg>
        <pc:cxnChg chg="del">
          <ac:chgData name="Manal El Bakkouri" userId="8b130982-2e3f-4164-b881-fd3a2e4b2453" providerId="ADAL" clId="{4457FA57-250B-44AC-8655-05D46C5A3D8A}" dt="2023-06-06T08:58:32.456" v="8869" actId="478"/>
          <ac:cxnSpMkLst>
            <pc:docMk/>
            <pc:sldMk cId="2568275721" sldId="230717699"/>
            <ac:cxnSpMk id="46" creationId="{CB2E0283-43BA-4E72-8A11-6196DB3EA9EB}"/>
          </ac:cxnSpMkLst>
        </pc:cxnChg>
        <pc:cxnChg chg="del">
          <ac:chgData name="Manal El Bakkouri" userId="8b130982-2e3f-4164-b881-fd3a2e4b2453" providerId="ADAL" clId="{4457FA57-250B-44AC-8655-05D46C5A3D8A}" dt="2023-06-06T08:58:32.456" v="8869" actId="478"/>
          <ac:cxnSpMkLst>
            <pc:docMk/>
            <pc:sldMk cId="2568275721" sldId="230717699"/>
            <ac:cxnSpMk id="48" creationId="{DE99B8DC-304B-49E2-954F-A2D316D45AE9}"/>
          </ac:cxnSpMkLst>
        </pc:cxnChg>
        <pc:cxnChg chg="del">
          <ac:chgData name="Manal El Bakkouri" userId="8b130982-2e3f-4164-b881-fd3a2e4b2453" providerId="ADAL" clId="{4457FA57-250B-44AC-8655-05D46C5A3D8A}" dt="2023-06-06T08:58:32.456" v="8869" actId="478"/>
          <ac:cxnSpMkLst>
            <pc:docMk/>
            <pc:sldMk cId="2568275721" sldId="230717699"/>
            <ac:cxnSpMk id="49" creationId="{BBE609DF-674E-4BC5-A39F-84D91B13D005}"/>
          </ac:cxnSpMkLst>
        </pc:cxnChg>
      </pc:sldChg>
      <pc:sldChg chg="addSp delSp modSp new del mod">
        <pc:chgData name="Manal El Bakkouri" userId="8b130982-2e3f-4164-b881-fd3a2e4b2453" providerId="ADAL" clId="{4457FA57-250B-44AC-8655-05D46C5A3D8A}" dt="2023-06-04T13:20:54.826" v="7791" actId="2696"/>
        <pc:sldMkLst>
          <pc:docMk/>
          <pc:sldMk cId="3671419018" sldId="230717699"/>
        </pc:sldMkLst>
        <pc:spChg chg="del">
          <ac:chgData name="Manal El Bakkouri" userId="8b130982-2e3f-4164-b881-fd3a2e4b2453" providerId="ADAL" clId="{4457FA57-250B-44AC-8655-05D46C5A3D8A}" dt="2023-06-04T13:19:01.877" v="7774" actId="478"/>
          <ac:spMkLst>
            <pc:docMk/>
            <pc:sldMk cId="3671419018" sldId="230717699"/>
            <ac:spMk id="2" creationId="{BE88D044-97EA-4144-9AE8-DFF6891B35DB}"/>
          </ac:spMkLst>
        </pc:spChg>
        <pc:spChg chg="del">
          <ac:chgData name="Manal El Bakkouri" userId="8b130982-2e3f-4164-b881-fd3a2e4b2453" providerId="ADAL" clId="{4457FA57-250B-44AC-8655-05D46C5A3D8A}" dt="2023-06-04T13:19:01.877" v="7774" actId="478"/>
          <ac:spMkLst>
            <pc:docMk/>
            <pc:sldMk cId="3671419018" sldId="230717699"/>
            <ac:spMk id="3" creationId="{7919648C-C1B8-41E2-9A20-E154BB2492A5}"/>
          </ac:spMkLst>
        </pc:spChg>
        <pc:spChg chg="del">
          <ac:chgData name="Manal El Bakkouri" userId="8b130982-2e3f-4164-b881-fd3a2e4b2453" providerId="ADAL" clId="{4457FA57-250B-44AC-8655-05D46C5A3D8A}" dt="2023-06-04T13:19:01.877" v="7774" actId="478"/>
          <ac:spMkLst>
            <pc:docMk/>
            <pc:sldMk cId="3671419018" sldId="230717699"/>
            <ac:spMk id="4" creationId="{D260AD62-FB97-4882-8DB9-A5005A751442}"/>
          </ac:spMkLst>
        </pc:spChg>
        <pc:spChg chg="add mod">
          <ac:chgData name="Manal El Bakkouri" userId="8b130982-2e3f-4164-b881-fd3a2e4b2453" providerId="ADAL" clId="{4457FA57-250B-44AC-8655-05D46C5A3D8A}" dt="2023-06-04T13:19:19.257" v="7779" actId="164"/>
          <ac:spMkLst>
            <pc:docMk/>
            <pc:sldMk cId="3671419018" sldId="230717699"/>
            <ac:spMk id="5" creationId="{3368BFE9-497D-437D-B048-CD7775495F73}"/>
          </ac:spMkLst>
        </pc:spChg>
        <pc:spChg chg="add mod">
          <ac:chgData name="Manal El Bakkouri" userId="8b130982-2e3f-4164-b881-fd3a2e4b2453" providerId="ADAL" clId="{4457FA57-250B-44AC-8655-05D46C5A3D8A}" dt="2023-06-04T13:19:19.257" v="7779" actId="164"/>
          <ac:spMkLst>
            <pc:docMk/>
            <pc:sldMk cId="3671419018" sldId="230717699"/>
            <ac:spMk id="6" creationId="{3AE4AE4A-9E1B-406F-8147-03C6C2E64559}"/>
          </ac:spMkLst>
        </pc:spChg>
        <pc:spChg chg="add mod">
          <ac:chgData name="Manal El Bakkouri" userId="8b130982-2e3f-4164-b881-fd3a2e4b2453" providerId="ADAL" clId="{4457FA57-250B-44AC-8655-05D46C5A3D8A}" dt="2023-06-04T13:19:19.257" v="7779" actId="164"/>
          <ac:spMkLst>
            <pc:docMk/>
            <pc:sldMk cId="3671419018" sldId="230717699"/>
            <ac:spMk id="68" creationId="{D0871137-59A8-49FB-9F27-6EF951B9B448}"/>
          </ac:spMkLst>
        </pc:spChg>
        <pc:spChg chg="add mod">
          <ac:chgData name="Manal El Bakkouri" userId="8b130982-2e3f-4164-b881-fd3a2e4b2453" providerId="ADAL" clId="{4457FA57-250B-44AC-8655-05D46C5A3D8A}" dt="2023-06-04T13:20:13.473" v="7789" actId="403"/>
          <ac:spMkLst>
            <pc:docMk/>
            <pc:sldMk cId="3671419018" sldId="230717699"/>
            <ac:spMk id="69" creationId="{443F4F24-BF27-41A7-BD98-83052B441695}"/>
          </ac:spMkLst>
        </pc:spChg>
        <pc:spChg chg="add mod">
          <ac:chgData name="Manal El Bakkouri" userId="8b130982-2e3f-4164-b881-fd3a2e4b2453" providerId="ADAL" clId="{4457FA57-250B-44AC-8655-05D46C5A3D8A}" dt="2023-06-04T13:19:19.257" v="7779" actId="164"/>
          <ac:spMkLst>
            <pc:docMk/>
            <pc:sldMk cId="3671419018" sldId="230717699"/>
            <ac:spMk id="70" creationId="{1A0008BA-75FD-4927-9F4A-F094E7C9C9F6}"/>
          </ac:spMkLst>
        </pc:spChg>
        <pc:spChg chg="add mod">
          <ac:chgData name="Manal El Bakkouri" userId="8b130982-2e3f-4164-b881-fd3a2e4b2453" providerId="ADAL" clId="{4457FA57-250B-44AC-8655-05D46C5A3D8A}" dt="2023-06-04T13:19:19.257" v="7779" actId="164"/>
          <ac:spMkLst>
            <pc:docMk/>
            <pc:sldMk cId="3671419018" sldId="230717699"/>
            <ac:spMk id="71" creationId="{64E4528F-86E6-4BC5-8055-99A1DC038C64}"/>
          </ac:spMkLst>
        </pc:spChg>
        <pc:spChg chg="add mod">
          <ac:chgData name="Manal El Bakkouri" userId="8b130982-2e3f-4164-b881-fd3a2e4b2453" providerId="ADAL" clId="{4457FA57-250B-44AC-8655-05D46C5A3D8A}" dt="2023-06-04T13:19:19.257" v="7779" actId="164"/>
          <ac:spMkLst>
            <pc:docMk/>
            <pc:sldMk cId="3671419018" sldId="230717699"/>
            <ac:spMk id="72" creationId="{F1A18489-9BB9-48F7-B86A-41D2E20E4490}"/>
          </ac:spMkLst>
        </pc:spChg>
        <pc:spChg chg="add mod">
          <ac:chgData name="Manal El Bakkouri" userId="8b130982-2e3f-4164-b881-fd3a2e4b2453" providerId="ADAL" clId="{4457FA57-250B-44AC-8655-05D46C5A3D8A}" dt="2023-06-04T13:19:19.257" v="7779" actId="164"/>
          <ac:spMkLst>
            <pc:docMk/>
            <pc:sldMk cId="3671419018" sldId="230717699"/>
            <ac:spMk id="73" creationId="{3DFB4113-24C8-4AE1-B0B2-0AE2FFC71E24}"/>
          </ac:spMkLst>
        </pc:spChg>
        <pc:spChg chg="add mod">
          <ac:chgData name="Manal El Bakkouri" userId="8b130982-2e3f-4164-b881-fd3a2e4b2453" providerId="ADAL" clId="{4457FA57-250B-44AC-8655-05D46C5A3D8A}" dt="2023-06-04T13:19:19.257" v="7779" actId="164"/>
          <ac:spMkLst>
            <pc:docMk/>
            <pc:sldMk cId="3671419018" sldId="230717699"/>
            <ac:spMk id="74" creationId="{A3539317-80E8-4B63-A67A-58A1DFD37FEB}"/>
          </ac:spMkLst>
        </pc:spChg>
        <pc:spChg chg="add mod">
          <ac:chgData name="Manal El Bakkouri" userId="8b130982-2e3f-4164-b881-fd3a2e4b2453" providerId="ADAL" clId="{4457FA57-250B-44AC-8655-05D46C5A3D8A}" dt="2023-06-04T13:19:19.257" v="7779" actId="164"/>
          <ac:spMkLst>
            <pc:docMk/>
            <pc:sldMk cId="3671419018" sldId="230717699"/>
            <ac:spMk id="75" creationId="{DFA5C3F2-E831-4525-BFDD-5A10555C9A91}"/>
          </ac:spMkLst>
        </pc:spChg>
        <pc:spChg chg="add mod">
          <ac:chgData name="Manal El Bakkouri" userId="8b130982-2e3f-4164-b881-fd3a2e4b2453" providerId="ADAL" clId="{4457FA57-250B-44AC-8655-05D46C5A3D8A}" dt="2023-06-04T13:19:19.257" v="7779" actId="164"/>
          <ac:spMkLst>
            <pc:docMk/>
            <pc:sldMk cId="3671419018" sldId="230717699"/>
            <ac:spMk id="76" creationId="{DB2B5156-256E-406F-ABDE-AD95A9BBCC13}"/>
          </ac:spMkLst>
        </pc:spChg>
        <pc:spChg chg="add mod">
          <ac:chgData name="Manal El Bakkouri" userId="8b130982-2e3f-4164-b881-fd3a2e4b2453" providerId="ADAL" clId="{4457FA57-250B-44AC-8655-05D46C5A3D8A}" dt="2023-06-04T13:19:19.257" v="7779" actId="164"/>
          <ac:spMkLst>
            <pc:docMk/>
            <pc:sldMk cId="3671419018" sldId="230717699"/>
            <ac:spMk id="77" creationId="{A95CCCE6-58CC-43EA-9952-C7CDF96235BF}"/>
          </ac:spMkLst>
        </pc:spChg>
        <pc:spChg chg="add mod">
          <ac:chgData name="Manal El Bakkouri" userId="8b130982-2e3f-4164-b881-fd3a2e4b2453" providerId="ADAL" clId="{4457FA57-250B-44AC-8655-05D46C5A3D8A}" dt="2023-06-04T13:19:19.257" v="7779" actId="164"/>
          <ac:spMkLst>
            <pc:docMk/>
            <pc:sldMk cId="3671419018" sldId="230717699"/>
            <ac:spMk id="78" creationId="{BBE6F850-364D-4CD7-B331-5375D0271F9F}"/>
          </ac:spMkLst>
        </pc:spChg>
        <pc:spChg chg="add mod">
          <ac:chgData name="Manal El Bakkouri" userId="8b130982-2e3f-4164-b881-fd3a2e4b2453" providerId="ADAL" clId="{4457FA57-250B-44AC-8655-05D46C5A3D8A}" dt="2023-06-04T13:19:19.257" v="7779" actId="164"/>
          <ac:spMkLst>
            <pc:docMk/>
            <pc:sldMk cId="3671419018" sldId="230717699"/>
            <ac:spMk id="79" creationId="{6C081954-AD5D-42F0-A244-AA8A9F3F860F}"/>
          </ac:spMkLst>
        </pc:spChg>
        <pc:spChg chg="add mod">
          <ac:chgData name="Manal El Bakkouri" userId="8b130982-2e3f-4164-b881-fd3a2e4b2453" providerId="ADAL" clId="{4457FA57-250B-44AC-8655-05D46C5A3D8A}" dt="2023-06-04T13:19:19.257" v="7779" actId="164"/>
          <ac:spMkLst>
            <pc:docMk/>
            <pc:sldMk cId="3671419018" sldId="230717699"/>
            <ac:spMk id="80" creationId="{5CDB6339-5B17-4718-AE5F-D587B84571FC}"/>
          </ac:spMkLst>
        </pc:spChg>
        <pc:spChg chg="add mod">
          <ac:chgData name="Manal El Bakkouri" userId="8b130982-2e3f-4164-b881-fd3a2e4b2453" providerId="ADAL" clId="{4457FA57-250B-44AC-8655-05D46C5A3D8A}" dt="2023-06-04T13:19:19.257" v="7779" actId="164"/>
          <ac:spMkLst>
            <pc:docMk/>
            <pc:sldMk cId="3671419018" sldId="230717699"/>
            <ac:spMk id="81" creationId="{3B1B8084-8FAA-4BD1-9D6D-6A95AD47E4CF}"/>
          </ac:spMkLst>
        </pc:spChg>
        <pc:spChg chg="add mod">
          <ac:chgData name="Manal El Bakkouri" userId="8b130982-2e3f-4164-b881-fd3a2e4b2453" providerId="ADAL" clId="{4457FA57-250B-44AC-8655-05D46C5A3D8A}" dt="2023-06-04T13:19:19.257" v="7779" actId="164"/>
          <ac:spMkLst>
            <pc:docMk/>
            <pc:sldMk cId="3671419018" sldId="230717699"/>
            <ac:spMk id="82" creationId="{68433966-0462-4DBF-AA36-886D123BD380}"/>
          </ac:spMkLst>
        </pc:spChg>
        <pc:spChg chg="add mod">
          <ac:chgData name="Manal El Bakkouri" userId="8b130982-2e3f-4164-b881-fd3a2e4b2453" providerId="ADAL" clId="{4457FA57-250B-44AC-8655-05D46C5A3D8A}" dt="2023-06-04T13:19:19.257" v="7779" actId="164"/>
          <ac:spMkLst>
            <pc:docMk/>
            <pc:sldMk cId="3671419018" sldId="230717699"/>
            <ac:spMk id="83" creationId="{F69D1407-0931-4CED-BFFB-7630EF303698}"/>
          </ac:spMkLst>
        </pc:spChg>
        <pc:spChg chg="mod">
          <ac:chgData name="Manal El Bakkouri" userId="8b130982-2e3f-4164-b881-fd3a2e4b2453" providerId="ADAL" clId="{4457FA57-250B-44AC-8655-05D46C5A3D8A}" dt="2023-06-04T13:19:03.216" v="7775"/>
          <ac:spMkLst>
            <pc:docMk/>
            <pc:sldMk cId="3671419018" sldId="230717699"/>
            <ac:spMk id="85" creationId="{0CB6B4A1-0E44-494B-AC11-F3813B63BB99}"/>
          </ac:spMkLst>
        </pc:spChg>
        <pc:spChg chg="mod">
          <ac:chgData name="Manal El Bakkouri" userId="8b130982-2e3f-4164-b881-fd3a2e4b2453" providerId="ADAL" clId="{4457FA57-250B-44AC-8655-05D46C5A3D8A}" dt="2023-06-04T13:19:03.216" v="7775"/>
          <ac:spMkLst>
            <pc:docMk/>
            <pc:sldMk cId="3671419018" sldId="230717699"/>
            <ac:spMk id="86" creationId="{E118514E-6BB3-4206-8F1C-0F9FEAA368C7}"/>
          </ac:spMkLst>
        </pc:spChg>
        <pc:spChg chg="mod">
          <ac:chgData name="Manal El Bakkouri" userId="8b130982-2e3f-4164-b881-fd3a2e4b2453" providerId="ADAL" clId="{4457FA57-250B-44AC-8655-05D46C5A3D8A}" dt="2023-06-04T13:19:03.216" v="7775"/>
          <ac:spMkLst>
            <pc:docMk/>
            <pc:sldMk cId="3671419018" sldId="230717699"/>
            <ac:spMk id="87" creationId="{0C683E03-CA3A-41E8-8581-FF266FEFE1B3}"/>
          </ac:spMkLst>
        </pc:spChg>
        <pc:spChg chg="mod">
          <ac:chgData name="Manal El Bakkouri" userId="8b130982-2e3f-4164-b881-fd3a2e4b2453" providerId="ADAL" clId="{4457FA57-250B-44AC-8655-05D46C5A3D8A}" dt="2023-06-04T13:19:03.216" v="7775"/>
          <ac:spMkLst>
            <pc:docMk/>
            <pc:sldMk cId="3671419018" sldId="230717699"/>
            <ac:spMk id="88" creationId="{F3FE2D44-999F-48C6-BA8A-52E659983CC1}"/>
          </ac:spMkLst>
        </pc:spChg>
        <pc:spChg chg="mod">
          <ac:chgData name="Manal El Bakkouri" userId="8b130982-2e3f-4164-b881-fd3a2e4b2453" providerId="ADAL" clId="{4457FA57-250B-44AC-8655-05D46C5A3D8A}" dt="2023-06-04T13:19:03.216" v="7775"/>
          <ac:spMkLst>
            <pc:docMk/>
            <pc:sldMk cId="3671419018" sldId="230717699"/>
            <ac:spMk id="89" creationId="{D88E89D3-892D-4D9B-9B84-0FD2CF77BA09}"/>
          </ac:spMkLst>
        </pc:spChg>
        <pc:spChg chg="mod">
          <ac:chgData name="Manal El Bakkouri" userId="8b130982-2e3f-4164-b881-fd3a2e4b2453" providerId="ADAL" clId="{4457FA57-250B-44AC-8655-05D46C5A3D8A}" dt="2023-06-04T13:19:03.216" v="7775"/>
          <ac:spMkLst>
            <pc:docMk/>
            <pc:sldMk cId="3671419018" sldId="230717699"/>
            <ac:spMk id="90" creationId="{E99C51FE-B2AE-4149-83BB-805C5E209CD2}"/>
          </ac:spMkLst>
        </pc:spChg>
        <pc:spChg chg="add mod">
          <ac:chgData name="Manal El Bakkouri" userId="8b130982-2e3f-4164-b881-fd3a2e4b2453" providerId="ADAL" clId="{4457FA57-250B-44AC-8655-05D46C5A3D8A}" dt="2023-06-04T13:19:19.257" v="7779" actId="164"/>
          <ac:spMkLst>
            <pc:docMk/>
            <pc:sldMk cId="3671419018" sldId="230717699"/>
            <ac:spMk id="91" creationId="{3D1F9994-BBE8-418C-97BB-13F16D26DF23}"/>
          </ac:spMkLst>
        </pc:spChg>
        <pc:spChg chg="add mod">
          <ac:chgData name="Manal El Bakkouri" userId="8b130982-2e3f-4164-b881-fd3a2e4b2453" providerId="ADAL" clId="{4457FA57-250B-44AC-8655-05D46C5A3D8A}" dt="2023-06-04T13:19:19.257" v="7779" actId="164"/>
          <ac:spMkLst>
            <pc:docMk/>
            <pc:sldMk cId="3671419018" sldId="230717699"/>
            <ac:spMk id="92" creationId="{F27A8264-6863-4313-A7DC-7672FDE533FF}"/>
          </ac:spMkLst>
        </pc:spChg>
        <pc:spChg chg="add mod">
          <ac:chgData name="Manal El Bakkouri" userId="8b130982-2e3f-4164-b881-fd3a2e4b2453" providerId="ADAL" clId="{4457FA57-250B-44AC-8655-05D46C5A3D8A}" dt="2023-06-04T13:19:19.257" v="7779" actId="164"/>
          <ac:spMkLst>
            <pc:docMk/>
            <pc:sldMk cId="3671419018" sldId="230717699"/>
            <ac:spMk id="93" creationId="{3FB2995D-7965-46A3-8108-6186C6965007}"/>
          </ac:spMkLst>
        </pc:spChg>
        <pc:grpChg chg="add mod">
          <ac:chgData name="Manal El Bakkouri" userId="8b130982-2e3f-4164-b881-fd3a2e4b2453" providerId="ADAL" clId="{4457FA57-250B-44AC-8655-05D46C5A3D8A}" dt="2023-06-04T13:19:19.257" v="7779" actId="164"/>
          <ac:grpSpMkLst>
            <pc:docMk/>
            <pc:sldMk cId="3671419018" sldId="230717699"/>
            <ac:grpSpMk id="7" creationId="{28784D95-8282-4018-A9B2-A9031173B928}"/>
          </ac:grpSpMkLst>
        </pc:grpChg>
        <pc:grpChg chg="mod">
          <ac:chgData name="Manal El Bakkouri" userId="8b130982-2e3f-4164-b881-fd3a2e4b2453" providerId="ADAL" clId="{4457FA57-250B-44AC-8655-05D46C5A3D8A}" dt="2023-06-04T13:19:03.216" v="7775"/>
          <ac:grpSpMkLst>
            <pc:docMk/>
            <pc:sldMk cId="3671419018" sldId="230717699"/>
            <ac:grpSpMk id="8" creationId="{68AD5AFD-6005-4E4D-A58E-417A6221F523}"/>
          </ac:grpSpMkLst>
        </pc:grpChg>
        <pc:grpChg chg="mod">
          <ac:chgData name="Manal El Bakkouri" userId="8b130982-2e3f-4164-b881-fd3a2e4b2453" providerId="ADAL" clId="{4457FA57-250B-44AC-8655-05D46C5A3D8A}" dt="2023-06-04T13:19:03.216" v="7775"/>
          <ac:grpSpMkLst>
            <pc:docMk/>
            <pc:sldMk cId="3671419018" sldId="230717699"/>
            <ac:grpSpMk id="9" creationId="{BBB450D7-8AF3-457F-8812-97B51B1D23F7}"/>
          </ac:grpSpMkLst>
        </pc:grpChg>
        <pc:grpChg chg="mod">
          <ac:chgData name="Manal El Bakkouri" userId="8b130982-2e3f-4164-b881-fd3a2e4b2453" providerId="ADAL" clId="{4457FA57-250B-44AC-8655-05D46C5A3D8A}" dt="2023-06-04T13:19:03.216" v="7775"/>
          <ac:grpSpMkLst>
            <pc:docMk/>
            <pc:sldMk cId="3671419018" sldId="230717699"/>
            <ac:grpSpMk id="10" creationId="{79A47C4E-D0F2-4637-AA16-5D3C88D5A3B6}"/>
          </ac:grpSpMkLst>
        </pc:grpChg>
        <pc:grpChg chg="mod">
          <ac:chgData name="Manal El Bakkouri" userId="8b130982-2e3f-4164-b881-fd3a2e4b2453" providerId="ADAL" clId="{4457FA57-250B-44AC-8655-05D46C5A3D8A}" dt="2023-06-04T13:19:03.216" v="7775"/>
          <ac:grpSpMkLst>
            <pc:docMk/>
            <pc:sldMk cId="3671419018" sldId="230717699"/>
            <ac:grpSpMk id="11" creationId="{769776F4-3101-4043-9719-EEE83DD22FBB}"/>
          </ac:grpSpMkLst>
        </pc:grpChg>
        <pc:grpChg chg="mod">
          <ac:chgData name="Manal El Bakkouri" userId="8b130982-2e3f-4164-b881-fd3a2e4b2453" providerId="ADAL" clId="{4457FA57-250B-44AC-8655-05D46C5A3D8A}" dt="2023-06-04T13:19:03.216" v="7775"/>
          <ac:grpSpMkLst>
            <pc:docMk/>
            <pc:sldMk cId="3671419018" sldId="230717699"/>
            <ac:grpSpMk id="12" creationId="{8297D0C6-DC63-4684-91B1-D0D18CFCC7CE}"/>
          </ac:grpSpMkLst>
        </pc:grpChg>
        <pc:grpChg chg="mod">
          <ac:chgData name="Manal El Bakkouri" userId="8b130982-2e3f-4164-b881-fd3a2e4b2453" providerId="ADAL" clId="{4457FA57-250B-44AC-8655-05D46C5A3D8A}" dt="2023-06-04T13:19:03.216" v="7775"/>
          <ac:grpSpMkLst>
            <pc:docMk/>
            <pc:sldMk cId="3671419018" sldId="230717699"/>
            <ac:grpSpMk id="13" creationId="{5ABEFE14-EA05-4921-B9FD-0DE6367763B3}"/>
          </ac:grpSpMkLst>
        </pc:grpChg>
        <pc:grpChg chg="mod">
          <ac:chgData name="Manal El Bakkouri" userId="8b130982-2e3f-4164-b881-fd3a2e4b2453" providerId="ADAL" clId="{4457FA57-250B-44AC-8655-05D46C5A3D8A}" dt="2023-06-04T13:19:03.216" v="7775"/>
          <ac:grpSpMkLst>
            <pc:docMk/>
            <pc:sldMk cId="3671419018" sldId="230717699"/>
            <ac:grpSpMk id="14" creationId="{DEB3C889-5820-4A21-959A-7581CB885D1B}"/>
          </ac:grpSpMkLst>
        </pc:grpChg>
        <pc:grpChg chg="mod">
          <ac:chgData name="Manal El Bakkouri" userId="8b130982-2e3f-4164-b881-fd3a2e4b2453" providerId="ADAL" clId="{4457FA57-250B-44AC-8655-05D46C5A3D8A}" dt="2023-06-04T13:19:03.216" v="7775"/>
          <ac:grpSpMkLst>
            <pc:docMk/>
            <pc:sldMk cId="3671419018" sldId="230717699"/>
            <ac:grpSpMk id="15" creationId="{AEBC104D-9174-4361-9FD2-B32738C14E8C}"/>
          </ac:grpSpMkLst>
        </pc:grpChg>
        <pc:grpChg chg="mod">
          <ac:chgData name="Manal El Bakkouri" userId="8b130982-2e3f-4164-b881-fd3a2e4b2453" providerId="ADAL" clId="{4457FA57-250B-44AC-8655-05D46C5A3D8A}" dt="2023-06-04T13:19:03.216" v="7775"/>
          <ac:grpSpMkLst>
            <pc:docMk/>
            <pc:sldMk cId="3671419018" sldId="230717699"/>
            <ac:grpSpMk id="32" creationId="{5126F6F4-7120-472E-8B24-E3B4257FE037}"/>
          </ac:grpSpMkLst>
        </pc:grpChg>
        <pc:grpChg chg="mod">
          <ac:chgData name="Manal El Bakkouri" userId="8b130982-2e3f-4164-b881-fd3a2e4b2453" providerId="ADAL" clId="{4457FA57-250B-44AC-8655-05D46C5A3D8A}" dt="2023-06-04T13:19:03.216" v="7775"/>
          <ac:grpSpMkLst>
            <pc:docMk/>
            <pc:sldMk cId="3671419018" sldId="230717699"/>
            <ac:grpSpMk id="34" creationId="{DA6B8666-FC61-445F-A82A-1D4E490A97EF}"/>
          </ac:grpSpMkLst>
        </pc:grpChg>
        <pc:grpChg chg="mod">
          <ac:chgData name="Manal El Bakkouri" userId="8b130982-2e3f-4164-b881-fd3a2e4b2453" providerId="ADAL" clId="{4457FA57-250B-44AC-8655-05D46C5A3D8A}" dt="2023-06-04T13:19:03.216" v="7775"/>
          <ac:grpSpMkLst>
            <pc:docMk/>
            <pc:sldMk cId="3671419018" sldId="230717699"/>
            <ac:grpSpMk id="35" creationId="{397B382D-F02C-485C-A83B-A3E0902D516D}"/>
          </ac:grpSpMkLst>
        </pc:grpChg>
        <pc:grpChg chg="mod">
          <ac:chgData name="Manal El Bakkouri" userId="8b130982-2e3f-4164-b881-fd3a2e4b2453" providerId="ADAL" clId="{4457FA57-250B-44AC-8655-05D46C5A3D8A}" dt="2023-06-04T13:19:03.216" v="7775"/>
          <ac:grpSpMkLst>
            <pc:docMk/>
            <pc:sldMk cId="3671419018" sldId="230717699"/>
            <ac:grpSpMk id="36" creationId="{9556FC9A-98E6-4181-A4B9-12C3E8AE8626}"/>
          </ac:grpSpMkLst>
        </pc:grpChg>
        <pc:grpChg chg="mod">
          <ac:chgData name="Manal El Bakkouri" userId="8b130982-2e3f-4164-b881-fd3a2e4b2453" providerId="ADAL" clId="{4457FA57-250B-44AC-8655-05D46C5A3D8A}" dt="2023-06-04T13:19:03.216" v="7775"/>
          <ac:grpSpMkLst>
            <pc:docMk/>
            <pc:sldMk cId="3671419018" sldId="230717699"/>
            <ac:grpSpMk id="48" creationId="{5BC01F1C-77E9-447F-A7BC-BAAB9B61EFFD}"/>
          </ac:grpSpMkLst>
        </pc:grpChg>
        <pc:grpChg chg="mod">
          <ac:chgData name="Manal El Bakkouri" userId="8b130982-2e3f-4164-b881-fd3a2e4b2453" providerId="ADAL" clId="{4457FA57-250B-44AC-8655-05D46C5A3D8A}" dt="2023-06-04T13:19:03.216" v="7775"/>
          <ac:grpSpMkLst>
            <pc:docMk/>
            <pc:sldMk cId="3671419018" sldId="230717699"/>
            <ac:grpSpMk id="49" creationId="{4DBB0E12-6465-41D6-AF25-7D8625EADA06}"/>
          </ac:grpSpMkLst>
        </pc:grpChg>
        <pc:grpChg chg="mod">
          <ac:chgData name="Manal El Bakkouri" userId="8b130982-2e3f-4164-b881-fd3a2e4b2453" providerId="ADAL" clId="{4457FA57-250B-44AC-8655-05D46C5A3D8A}" dt="2023-06-04T13:19:03.216" v="7775"/>
          <ac:grpSpMkLst>
            <pc:docMk/>
            <pc:sldMk cId="3671419018" sldId="230717699"/>
            <ac:grpSpMk id="50" creationId="{917F1B4E-A934-4385-B776-D4C218374D64}"/>
          </ac:grpSpMkLst>
        </pc:grpChg>
        <pc:grpChg chg="mod">
          <ac:chgData name="Manal El Bakkouri" userId="8b130982-2e3f-4164-b881-fd3a2e4b2453" providerId="ADAL" clId="{4457FA57-250B-44AC-8655-05D46C5A3D8A}" dt="2023-06-04T13:19:03.216" v="7775"/>
          <ac:grpSpMkLst>
            <pc:docMk/>
            <pc:sldMk cId="3671419018" sldId="230717699"/>
            <ac:grpSpMk id="51" creationId="{56D7B351-5BBD-4E26-A7AE-F109FAE0A598}"/>
          </ac:grpSpMkLst>
        </pc:grpChg>
        <pc:grpChg chg="mod">
          <ac:chgData name="Manal El Bakkouri" userId="8b130982-2e3f-4164-b881-fd3a2e4b2453" providerId="ADAL" clId="{4457FA57-250B-44AC-8655-05D46C5A3D8A}" dt="2023-06-04T13:19:03.216" v="7775"/>
          <ac:grpSpMkLst>
            <pc:docMk/>
            <pc:sldMk cId="3671419018" sldId="230717699"/>
            <ac:grpSpMk id="52" creationId="{5CF033F0-07C4-41CA-9B2B-E73C9A61AA17}"/>
          </ac:grpSpMkLst>
        </pc:grpChg>
        <pc:grpChg chg="add mod">
          <ac:chgData name="Manal El Bakkouri" userId="8b130982-2e3f-4164-b881-fd3a2e4b2453" providerId="ADAL" clId="{4457FA57-250B-44AC-8655-05D46C5A3D8A}" dt="2023-06-04T13:19:19.257" v="7779" actId="164"/>
          <ac:grpSpMkLst>
            <pc:docMk/>
            <pc:sldMk cId="3671419018" sldId="230717699"/>
            <ac:grpSpMk id="84" creationId="{0B5138B2-CA64-41E0-9BDA-1B892C17AD80}"/>
          </ac:grpSpMkLst>
        </pc:grpChg>
        <pc:grpChg chg="add mod">
          <ac:chgData name="Manal El Bakkouri" userId="8b130982-2e3f-4164-b881-fd3a2e4b2453" providerId="ADAL" clId="{4457FA57-250B-44AC-8655-05D46C5A3D8A}" dt="2023-06-04T13:20:31.094" v="7790" actId="14100"/>
          <ac:grpSpMkLst>
            <pc:docMk/>
            <pc:sldMk cId="3671419018" sldId="230717699"/>
            <ac:grpSpMk id="94" creationId="{D1A5FB22-7844-4225-947A-3F6A4242C7EB}"/>
          </ac:grpSpMkLst>
        </pc:grpChg>
        <pc:cxnChg chg="mod">
          <ac:chgData name="Manal El Bakkouri" userId="8b130982-2e3f-4164-b881-fd3a2e4b2453" providerId="ADAL" clId="{4457FA57-250B-44AC-8655-05D46C5A3D8A}" dt="2023-06-04T13:19:03.216" v="7775"/>
          <ac:cxnSpMkLst>
            <pc:docMk/>
            <pc:sldMk cId="3671419018" sldId="230717699"/>
            <ac:cxnSpMk id="16" creationId="{7DCEF695-E6EC-4F1D-BB52-65B96213D1C2}"/>
          </ac:cxnSpMkLst>
        </pc:cxnChg>
        <pc:cxnChg chg="mod">
          <ac:chgData name="Manal El Bakkouri" userId="8b130982-2e3f-4164-b881-fd3a2e4b2453" providerId="ADAL" clId="{4457FA57-250B-44AC-8655-05D46C5A3D8A}" dt="2023-06-04T13:19:03.216" v="7775"/>
          <ac:cxnSpMkLst>
            <pc:docMk/>
            <pc:sldMk cId="3671419018" sldId="230717699"/>
            <ac:cxnSpMk id="17" creationId="{236B113F-C7D9-49A7-AEC3-EAC71148C0FD}"/>
          </ac:cxnSpMkLst>
        </pc:cxnChg>
        <pc:cxnChg chg="mod">
          <ac:chgData name="Manal El Bakkouri" userId="8b130982-2e3f-4164-b881-fd3a2e4b2453" providerId="ADAL" clId="{4457FA57-250B-44AC-8655-05D46C5A3D8A}" dt="2023-06-04T13:19:03.216" v="7775"/>
          <ac:cxnSpMkLst>
            <pc:docMk/>
            <pc:sldMk cId="3671419018" sldId="230717699"/>
            <ac:cxnSpMk id="18" creationId="{21DF7BF0-4E91-40EB-9203-712E55B9D3E7}"/>
          </ac:cxnSpMkLst>
        </pc:cxnChg>
        <pc:cxnChg chg="mod">
          <ac:chgData name="Manal El Bakkouri" userId="8b130982-2e3f-4164-b881-fd3a2e4b2453" providerId="ADAL" clId="{4457FA57-250B-44AC-8655-05D46C5A3D8A}" dt="2023-06-04T13:19:03.216" v="7775"/>
          <ac:cxnSpMkLst>
            <pc:docMk/>
            <pc:sldMk cId="3671419018" sldId="230717699"/>
            <ac:cxnSpMk id="19" creationId="{440557C3-F050-4A89-BCA3-2229B6C80C86}"/>
          </ac:cxnSpMkLst>
        </pc:cxnChg>
        <pc:cxnChg chg="mod">
          <ac:chgData name="Manal El Bakkouri" userId="8b130982-2e3f-4164-b881-fd3a2e4b2453" providerId="ADAL" clId="{4457FA57-250B-44AC-8655-05D46C5A3D8A}" dt="2023-06-04T13:19:03.216" v="7775"/>
          <ac:cxnSpMkLst>
            <pc:docMk/>
            <pc:sldMk cId="3671419018" sldId="230717699"/>
            <ac:cxnSpMk id="20" creationId="{ABEA30A7-97AF-465A-BEF1-CB0117A3F240}"/>
          </ac:cxnSpMkLst>
        </pc:cxnChg>
        <pc:cxnChg chg="mod">
          <ac:chgData name="Manal El Bakkouri" userId="8b130982-2e3f-4164-b881-fd3a2e4b2453" providerId="ADAL" clId="{4457FA57-250B-44AC-8655-05D46C5A3D8A}" dt="2023-06-04T13:19:03.216" v="7775"/>
          <ac:cxnSpMkLst>
            <pc:docMk/>
            <pc:sldMk cId="3671419018" sldId="230717699"/>
            <ac:cxnSpMk id="21" creationId="{FD652EED-9991-42E8-A371-8005234789BF}"/>
          </ac:cxnSpMkLst>
        </pc:cxnChg>
        <pc:cxnChg chg="mod">
          <ac:chgData name="Manal El Bakkouri" userId="8b130982-2e3f-4164-b881-fd3a2e4b2453" providerId="ADAL" clId="{4457FA57-250B-44AC-8655-05D46C5A3D8A}" dt="2023-06-04T13:19:03.216" v="7775"/>
          <ac:cxnSpMkLst>
            <pc:docMk/>
            <pc:sldMk cId="3671419018" sldId="230717699"/>
            <ac:cxnSpMk id="22" creationId="{244C4F53-DA2B-4CD2-86A9-B9CE03623C7C}"/>
          </ac:cxnSpMkLst>
        </pc:cxnChg>
        <pc:cxnChg chg="mod">
          <ac:chgData name="Manal El Bakkouri" userId="8b130982-2e3f-4164-b881-fd3a2e4b2453" providerId="ADAL" clId="{4457FA57-250B-44AC-8655-05D46C5A3D8A}" dt="2023-06-04T13:19:03.216" v="7775"/>
          <ac:cxnSpMkLst>
            <pc:docMk/>
            <pc:sldMk cId="3671419018" sldId="230717699"/>
            <ac:cxnSpMk id="23" creationId="{1DBB1C16-867B-48E7-BC17-1051BCB2BBF9}"/>
          </ac:cxnSpMkLst>
        </pc:cxnChg>
        <pc:cxnChg chg="mod">
          <ac:chgData name="Manal El Bakkouri" userId="8b130982-2e3f-4164-b881-fd3a2e4b2453" providerId="ADAL" clId="{4457FA57-250B-44AC-8655-05D46C5A3D8A}" dt="2023-06-04T13:19:03.216" v="7775"/>
          <ac:cxnSpMkLst>
            <pc:docMk/>
            <pc:sldMk cId="3671419018" sldId="230717699"/>
            <ac:cxnSpMk id="24" creationId="{DC0F9C82-7768-4AE2-9E51-EA59EDFFC9FD}"/>
          </ac:cxnSpMkLst>
        </pc:cxnChg>
        <pc:cxnChg chg="mod">
          <ac:chgData name="Manal El Bakkouri" userId="8b130982-2e3f-4164-b881-fd3a2e4b2453" providerId="ADAL" clId="{4457FA57-250B-44AC-8655-05D46C5A3D8A}" dt="2023-06-04T13:19:03.216" v="7775"/>
          <ac:cxnSpMkLst>
            <pc:docMk/>
            <pc:sldMk cId="3671419018" sldId="230717699"/>
            <ac:cxnSpMk id="25" creationId="{5D506D37-C4C1-43E1-98EA-28691286E660}"/>
          </ac:cxnSpMkLst>
        </pc:cxnChg>
        <pc:cxnChg chg="mod">
          <ac:chgData name="Manal El Bakkouri" userId="8b130982-2e3f-4164-b881-fd3a2e4b2453" providerId="ADAL" clId="{4457FA57-250B-44AC-8655-05D46C5A3D8A}" dt="2023-06-04T13:19:03.216" v="7775"/>
          <ac:cxnSpMkLst>
            <pc:docMk/>
            <pc:sldMk cId="3671419018" sldId="230717699"/>
            <ac:cxnSpMk id="26" creationId="{BA5F1A70-FE80-487B-9239-D860C00E7B2B}"/>
          </ac:cxnSpMkLst>
        </pc:cxnChg>
        <pc:cxnChg chg="mod">
          <ac:chgData name="Manal El Bakkouri" userId="8b130982-2e3f-4164-b881-fd3a2e4b2453" providerId="ADAL" clId="{4457FA57-250B-44AC-8655-05D46C5A3D8A}" dt="2023-06-04T13:19:03.216" v="7775"/>
          <ac:cxnSpMkLst>
            <pc:docMk/>
            <pc:sldMk cId="3671419018" sldId="230717699"/>
            <ac:cxnSpMk id="27" creationId="{C2C61050-DABF-4001-BA45-9427FD3BFA6D}"/>
          </ac:cxnSpMkLst>
        </pc:cxnChg>
        <pc:cxnChg chg="mod">
          <ac:chgData name="Manal El Bakkouri" userId="8b130982-2e3f-4164-b881-fd3a2e4b2453" providerId="ADAL" clId="{4457FA57-250B-44AC-8655-05D46C5A3D8A}" dt="2023-06-04T13:19:03.216" v="7775"/>
          <ac:cxnSpMkLst>
            <pc:docMk/>
            <pc:sldMk cId="3671419018" sldId="230717699"/>
            <ac:cxnSpMk id="28" creationId="{38FE466D-9509-46E6-A2ED-27884A804D92}"/>
          </ac:cxnSpMkLst>
        </pc:cxnChg>
        <pc:cxnChg chg="mod">
          <ac:chgData name="Manal El Bakkouri" userId="8b130982-2e3f-4164-b881-fd3a2e4b2453" providerId="ADAL" clId="{4457FA57-250B-44AC-8655-05D46C5A3D8A}" dt="2023-06-04T13:19:03.216" v="7775"/>
          <ac:cxnSpMkLst>
            <pc:docMk/>
            <pc:sldMk cId="3671419018" sldId="230717699"/>
            <ac:cxnSpMk id="29" creationId="{CF5DFD1F-4046-4919-A15E-7278B7B8644A}"/>
          </ac:cxnSpMkLst>
        </pc:cxnChg>
        <pc:cxnChg chg="mod">
          <ac:chgData name="Manal El Bakkouri" userId="8b130982-2e3f-4164-b881-fd3a2e4b2453" providerId="ADAL" clId="{4457FA57-250B-44AC-8655-05D46C5A3D8A}" dt="2023-06-04T13:19:03.216" v="7775"/>
          <ac:cxnSpMkLst>
            <pc:docMk/>
            <pc:sldMk cId="3671419018" sldId="230717699"/>
            <ac:cxnSpMk id="30" creationId="{95291DE2-C81B-43EF-8217-4A44A735AF73}"/>
          </ac:cxnSpMkLst>
        </pc:cxnChg>
        <pc:cxnChg chg="mod">
          <ac:chgData name="Manal El Bakkouri" userId="8b130982-2e3f-4164-b881-fd3a2e4b2453" providerId="ADAL" clId="{4457FA57-250B-44AC-8655-05D46C5A3D8A}" dt="2023-06-04T13:19:03.216" v="7775"/>
          <ac:cxnSpMkLst>
            <pc:docMk/>
            <pc:sldMk cId="3671419018" sldId="230717699"/>
            <ac:cxnSpMk id="31" creationId="{121EEF84-0DAF-484C-8742-47C30F0A7C6B}"/>
          </ac:cxnSpMkLst>
        </pc:cxnChg>
        <pc:cxnChg chg="mod">
          <ac:chgData name="Manal El Bakkouri" userId="8b130982-2e3f-4164-b881-fd3a2e4b2453" providerId="ADAL" clId="{4457FA57-250B-44AC-8655-05D46C5A3D8A}" dt="2023-06-04T13:19:03.216" v="7775"/>
          <ac:cxnSpMkLst>
            <pc:docMk/>
            <pc:sldMk cId="3671419018" sldId="230717699"/>
            <ac:cxnSpMk id="33" creationId="{182BF482-F2DA-44B3-86F1-050BBC716135}"/>
          </ac:cxnSpMkLst>
        </pc:cxnChg>
        <pc:cxnChg chg="mod">
          <ac:chgData name="Manal El Bakkouri" userId="8b130982-2e3f-4164-b881-fd3a2e4b2453" providerId="ADAL" clId="{4457FA57-250B-44AC-8655-05D46C5A3D8A}" dt="2023-06-04T13:19:03.216" v="7775"/>
          <ac:cxnSpMkLst>
            <pc:docMk/>
            <pc:sldMk cId="3671419018" sldId="230717699"/>
            <ac:cxnSpMk id="37" creationId="{5DEBFD4B-7250-4437-A44D-89583274AA28}"/>
          </ac:cxnSpMkLst>
        </pc:cxnChg>
        <pc:cxnChg chg="mod">
          <ac:chgData name="Manal El Bakkouri" userId="8b130982-2e3f-4164-b881-fd3a2e4b2453" providerId="ADAL" clId="{4457FA57-250B-44AC-8655-05D46C5A3D8A}" dt="2023-06-04T13:19:03.216" v="7775"/>
          <ac:cxnSpMkLst>
            <pc:docMk/>
            <pc:sldMk cId="3671419018" sldId="230717699"/>
            <ac:cxnSpMk id="38" creationId="{670015E3-8ADB-4E0F-8351-C735E6E5BC33}"/>
          </ac:cxnSpMkLst>
        </pc:cxnChg>
        <pc:cxnChg chg="mod">
          <ac:chgData name="Manal El Bakkouri" userId="8b130982-2e3f-4164-b881-fd3a2e4b2453" providerId="ADAL" clId="{4457FA57-250B-44AC-8655-05D46C5A3D8A}" dt="2023-06-04T13:19:03.216" v="7775"/>
          <ac:cxnSpMkLst>
            <pc:docMk/>
            <pc:sldMk cId="3671419018" sldId="230717699"/>
            <ac:cxnSpMk id="39" creationId="{EC608E8F-EAC8-4828-8B0D-22F2DEC21D39}"/>
          </ac:cxnSpMkLst>
        </pc:cxnChg>
        <pc:cxnChg chg="mod">
          <ac:chgData name="Manal El Bakkouri" userId="8b130982-2e3f-4164-b881-fd3a2e4b2453" providerId="ADAL" clId="{4457FA57-250B-44AC-8655-05D46C5A3D8A}" dt="2023-06-04T13:19:03.216" v="7775"/>
          <ac:cxnSpMkLst>
            <pc:docMk/>
            <pc:sldMk cId="3671419018" sldId="230717699"/>
            <ac:cxnSpMk id="40" creationId="{0CEE94CE-71B0-4787-99AD-D3E28B13A2AA}"/>
          </ac:cxnSpMkLst>
        </pc:cxnChg>
        <pc:cxnChg chg="mod">
          <ac:chgData name="Manal El Bakkouri" userId="8b130982-2e3f-4164-b881-fd3a2e4b2453" providerId="ADAL" clId="{4457FA57-250B-44AC-8655-05D46C5A3D8A}" dt="2023-06-04T13:19:03.216" v="7775"/>
          <ac:cxnSpMkLst>
            <pc:docMk/>
            <pc:sldMk cId="3671419018" sldId="230717699"/>
            <ac:cxnSpMk id="41" creationId="{E91FCBDB-DDFE-4445-BA64-5C917C66231A}"/>
          </ac:cxnSpMkLst>
        </pc:cxnChg>
        <pc:cxnChg chg="mod">
          <ac:chgData name="Manal El Bakkouri" userId="8b130982-2e3f-4164-b881-fd3a2e4b2453" providerId="ADAL" clId="{4457FA57-250B-44AC-8655-05D46C5A3D8A}" dt="2023-06-04T13:19:03.216" v="7775"/>
          <ac:cxnSpMkLst>
            <pc:docMk/>
            <pc:sldMk cId="3671419018" sldId="230717699"/>
            <ac:cxnSpMk id="42" creationId="{4E10C6E8-DC7E-45C5-9F0C-4597B38C6649}"/>
          </ac:cxnSpMkLst>
        </pc:cxnChg>
        <pc:cxnChg chg="mod">
          <ac:chgData name="Manal El Bakkouri" userId="8b130982-2e3f-4164-b881-fd3a2e4b2453" providerId="ADAL" clId="{4457FA57-250B-44AC-8655-05D46C5A3D8A}" dt="2023-06-04T13:19:03.216" v="7775"/>
          <ac:cxnSpMkLst>
            <pc:docMk/>
            <pc:sldMk cId="3671419018" sldId="230717699"/>
            <ac:cxnSpMk id="43" creationId="{6A6564E3-CCE2-48A6-9FC6-E0C3FE51292D}"/>
          </ac:cxnSpMkLst>
        </pc:cxnChg>
        <pc:cxnChg chg="mod">
          <ac:chgData name="Manal El Bakkouri" userId="8b130982-2e3f-4164-b881-fd3a2e4b2453" providerId="ADAL" clId="{4457FA57-250B-44AC-8655-05D46C5A3D8A}" dt="2023-06-04T13:19:03.216" v="7775"/>
          <ac:cxnSpMkLst>
            <pc:docMk/>
            <pc:sldMk cId="3671419018" sldId="230717699"/>
            <ac:cxnSpMk id="44" creationId="{21EDDECD-09FA-4F57-8E7E-3E8848865829}"/>
          </ac:cxnSpMkLst>
        </pc:cxnChg>
        <pc:cxnChg chg="mod">
          <ac:chgData name="Manal El Bakkouri" userId="8b130982-2e3f-4164-b881-fd3a2e4b2453" providerId="ADAL" clId="{4457FA57-250B-44AC-8655-05D46C5A3D8A}" dt="2023-06-04T13:19:03.216" v="7775"/>
          <ac:cxnSpMkLst>
            <pc:docMk/>
            <pc:sldMk cId="3671419018" sldId="230717699"/>
            <ac:cxnSpMk id="45" creationId="{3BC9D3AD-F204-4C77-98B7-26C63E41922A}"/>
          </ac:cxnSpMkLst>
        </pc:cxnChg>
        <pc:cxnChg chg="mod">
          <ac:chgData name="Manal El Bakkouri" userId="8b130982-2e3f-4164-b881-fd3a2e4b2453" providerId="ADAL" clId="{4457FA57-250B-44AC-8655-05D46C5A3D8A}" dt="2023-06-04T13:19:03.216" v="7775"/>
          <ac:cxnSpMkLst>
            <pc:docMk/>
            <pc:sldMk cId="3671419018" sldId="230717699"/>
            <ac:cxnSpMk id="46" creationId="{D5E02F41-3720-4972-AD8D-8A06CC77D6EA}"/>
          </ac:cxnSpMkLst>
        </pc:cxnChg>
        <pc:cxnChg chg="mod">
          <ac:chgData name="Manal El Bakkouri" userId="8b130982-2e3f-4164-b881-fd3a2e4b2453" providerId="ADAL" clId="{4457FA57-250B-44AC-8655-05D46C5A3D8A}" dt="2023-06-04T13:19:03.216" v="7775"/>
          <ac:cxnSpMkLst>
            <pc:docMk/>
            <pc:sldMk cId="3671419018" sldId="230717699"/>
            <ac:cxnSpMk id="47" creationId="{70072F2B-BD2F-4AAF-80A7-A191D0B589CB}"/>
          </ac:cxnSpMkLst>
        </pc:cxnChg>
        <pc:cxnChg chg="mod">
          <ac:chgData name="Manal El Bakkouri" userId="8b130982-2e3f-4164-b881-fd3a2e4b2453" providerId="ADAL" clId="{4457FA57-250B-44AC-8655-05D46C5A3D8A}" dt="2023-06-04T13:19:03.216" v="7775"/>
          <ac:cxnSpMkLst>
            <pc:docMk/>
            <pc:sldMk cId="3671419018" sldId="230717699"/>
            <ac:cxnSpMk id="53" creationId="{9F10DE7A-461C-419C-A5FE-8954268D78FD}"/>
          </ac:cxnSpMkLst>
        </pc:cxnChg>
        <pc:cxnChg chg="mod">
          <ac:chgData name="Manal El Bakkouri" userId="8b130982-2e3f-4164-b881-fd3a2e4b2453" providerId="ADAL" clId="{4457FA57-250B-44AC-8655-05D46C5A3D8A}" dt="2023-06-04T13:19:03.216" v="7775"/>
          <ac:cxnSpMkLst>
            <pc:docMk/>
            <pc:sldMk cId="3671419018" sldId="230717699"/>
            <ac:cxnSpMk id="54" creationId="{2835F05A-E9DC-4FE6-82CB-983976FF6381}"/>
          </ac:cxnSpMkLst>
        </pc:cxnChg>
        <pc:cxnChg chg="mod">
          <ac:chgData name="Manal El Bakkouri" userId="8b130982-2e3f-4164-b881-fd3a2e4b2453" providerId="ADAL" clId="{4457FA57-250B-44AC-8655-05D46C5A3D8A}" dt="2023-06-04T13:19:03.216" v="7775"/>
          <ac:cxnSpMkLst>
            <pc:docMk/>
            <pc:sldMk cId="3671419018" sldId="230717699"/>
            <ac:cxnSpMk id="55" creationId="{552DE978-B50A-4D33-9242-08488DD13B05}"/>
          </ac:cxnSpMkLst>
        </pc:cxnChg>
        <pc:cxnChg chg="mod">
          <ac:chgData name="Manal El Bakkouri" userId="8b130982-2e3f-4164-b881-fd3a2e4b2453" providerId="ADAL" clId="{4457FA57-250B-44AC-8655-05D46C5A3D8A}" dt="2023-06-04T13:19:03.216" v="7775"/>
          <ac:cxnSpMkLst>
            <pc:docMk/>
            <pc:sldMk cId="3671419018" sldId="230717699"/>
            <ac:cxnSpMk id="56" creationId="{37D64645-9E1B-42D2-BA57-69EC36434BF2}"/>
          </ac:cxnSpMkLst>
        </pc:cxnChg>
        <pc:cxnChg chg="mod">
          <ac:chgData name="Manal El Bakkouri" userId="8b130982-2e3f-4164-b881-fd3a2e4b2453" providerId="ADAL" clId="{4457FA57-250B-44AC-8655-05D46C5A3D8A}" dt="2023-06-04T13:19:03.216" v="7775"/>
          <ac:cxnSpMkLst>
            <pc:docMk/>
            <pc:sldMk cId="3671419018" sldId="230717699"/>
            <ac:cxnSpMk id="57" creationId="{CCB6DE26-F7E8-4210-A4C7-8E6A26A086D3}"/>
          </ac:cxnSpMkLst>
        </pc:cxnChg>
        <pc:cxnChg chg="mod">
          <ac:chgData name="Manal El Bakkouri" userId="8b130982-2e3f-4164-b881-fd3a2e4b2453" providerId="ADAL" clId="{4457FA57-250B-44AC-8655-05D46C5A3D8A}" dt="2023-06-04T13:19:03.216" v="7775"/>
          <ac:cxnSpMkLst>
            <pc:docMk/>
            <pc:sldMk cId="3671419018" sldId="230717699"/>
            <ac:cxnSpMk id="58" creationId="{AA17EF63-521E-45C4-B9EA-A4293BEC22A7}"/>
          </ac:cxnSpMkLst>
        </pc:cxnChg>
        <pc:cxnChg chg="mod">
          <ac:chgData name="Manal El Bakkouri" userId="8b130982-2e3f-4164-b881-fd3a2e4b2453" providerId="ADAL" clId="{4457FA57-250B-44AC-8655-05D46C5A3D8A}" dt="2023-06-04T13:19:03.216" v="7775"/>
          <ac:cxnSpMkLst>
            <pc:docMk/>
            <pc:sldMk cId="3671419018" sldId="230717699"/>
            <ac:cxnSpMk id="59" creationId="{48AB685D-459D-44A3-90BD-83DF1BE4D244}"/>
          </ac:cxnSpMkLst>
        </pc:cxnChg>
        <pc:cxnChg chg="mod">
          <ac:chgData name="Manal El Bakkouri" userId="8b130982-2e3f-4164-b881-fd3a2e4b2453" providerId="ADAL" clId="{4457FA57-250B-44AC-8655-05D46C5A3D8A}" dt="2023-06-04T13:19:03.216" v="7775"/>
          <ac:cxnSpMkLst>
            <pc:docMk/>
            <pc:sldMk cId="3671419018" sldId="230717699"/>
            <ac:cxnSpMk id="60" creationId="{B50C2EFC-D1DD-4B77-810B-0BF1FA6E1B96}"/>
          </ac:cxnSpMkLst>
        </pc:cxnChg>
        <pc:cxnChg chg="mod">
          <ac:chgData name="Manal El Bakkouri" userId="8b130982-2e3f-4164-b881-fd3a2e4b2453" providerId="ADAL" clId="{4457FA57-250B-44AC-8655-05D46C5A3D8A}" dt="2023-06-04T13:19:03.216" v="7775"/>
          <ac:cxnSpMkLst>
            <pc:docMk/>
            <pc:sldMk cId="3671419018" sldId="230717699"/>
            <ac:cxnSpMk id="61" creationId="{E05930DD-2972-4261-911B-E854CFA14674}"/>
          </ac:cxnSpMkLst>
        </pc:cxnChg>
        <pc:cxnChg chg="mod">
          <ac:chgData name="Manal El Bakkouri" userId="8b130982-2e3f-4164-b881-fd3a2e4b2453" providerId="ADAL" clId="{4457FA57-250B-44AC-8655-05D46C5A3D8A}" dt="2023-06-04T13:19:03.216" v="7775"/>
          <ac:cxnSpMkLst>
            <pc:docMk/>
            <pc:sldMk cId="3671419018" sldId="230717699"/>
            <ac:cxnSpMk id="62" creationId="{34B3765D-5FE9-41F5-AD9F-E2E0477EE388}"/>
          </ac:cxnSpMkLst>
        </pc:cxnChg>
        <pc:cxnChg chg="mod">
          <ac:chgData name="Manal El Bakkouri" userId="8b130982-2e3f-4164-b881-fd3a2e4b2453" providerId="ADAL" clId="{4457FA57-250B-44AC-8655-05D46C5A3D8A}" dt="2023-06-04T13:19:03.216" v="7775"/>
          <ac:cxnSpMkLst>
            <pc:docMk/>
            <pc:sldMk cId="3671419018" sldId="230717699"/>
            <ac:cxnSpMk id="63" creationId="{AD3182AB-C8AA-4FF1-BBEA-1052CA594826}"/>
          </ac:cxnSpMkLst>
        </pc:cxnChg>
        <pc:cxnChg chg="mod">
          <ac:chgData name="Manal El Bakkouri" userId="8b130982-2e3f-4164-b881-fd3a2e4b2453" providerId="ADAL" clId="{4457FA57-250B-44AC-8655-05D46C5A3D8A}" dt="2023-06-04T13:19:03.216" v="7775"/>
          <ac:cxnSpMkLst>
            <pc:docMk/>
            <pc:sldMk cId="3671419018" sldId="230717699"/>
            <ac:cxnSpMk id="64" creationId="{A7317B49-F2BB-4C05-BD78-F08E570D6A0B}"/>
          </ac:cxnSpMkLst>
        </pc:cxnChg>
        <pc:cxnChg chg="mod">
          <ac:chgData name="Manal El Bakkouri" userId="8b130982-2e3f-4164-b881-fd3a2e4b2453" providerId="ADAL" clId="{4457FA57-250B-44AC-8655-05D46C5A3D8A}" dt="2023-06-04T13:19:03.216" v="7775"/>
          <ac:cxnSpMkLst>
            <pc:docMk/>
            <pc:sldMk cId="3671419018" sldId="230717699"/>
            <ac:cxnSpMk id="65" creationId="{8CB9C107-2BCD-44F8-A0D9-8E45CCD804A7}"/>
          </ac:cxnSpMkLst>
        </pc:cxnChg>
        <pc:cxnChg chg="mod">
          <ac:chgData name="Manal El Bakkouri" userId="8b130982-2e3f-4164-b881-fd3a2e4b2453" providerId="ADAL" clId="{4457FA57-250B-44AC-8655-05D46C5A3D8A}" dt="2023-06-04T13:19:03.216" v="7775"/>
          <ac:cxnSpMkLst>
            <pc:docMk/>
            <pc:sldMk cId="3671419018" sldId="230717699"/>
            <ac:cxnSpMk id="66" creationId="{7C4D0182-EE38-44B5-B4E2-CB9E49623508}"/>
          </ac:cxnSpMkLst>
        </pc:cxnChg>
        <pc:cxnChg chg="mod">
          <ac:chgData name="Manal El Bakkouri" userId="8b130982-2e3f-4164-b881-fd3a2e4b2453" providerId="ADAL" clId="{4457FA57-250B-44AC-8655-05D46C5A3D8A}" dt="2023-06-04T13:19:03.216" v="7775"/>
          <ac:cxnSpMkLst>
            <pc:docMk/>
            <pc:sldMk cId="3671419018" sldId="230717699"/>
            <ac:cxnSpMk id="67" creationId="{F82C7C1E-59DD-4C83-9E3F-C7647657CB11}"/>
          </ac:cxnSpMkLst>
        </pc:cxnChg>
      </pc:sldChg>
      <pc:sldChg chg="delSp modSp add del mod delAnim">
        <pc:chgData name="Manal El Bakkouri" userId="8b130982-2e3f-4164-b881-fd3a2e4b2453" providerId="ADAL" clId="{4457FA57-250B-44AC-8655-05D46C5A3D8A}" dt="2023-06-06T09:00:08.782" v="8886" actId="2696"/>
        <pc:sldMkLst>
          <pc:docMk/>
          <pc:sldMk cId="1822880079" sldId="230717700"/>
        </pc:sldMkLst>
        <pc:grpChg chg="del">
          <ac:chgData name="Manal El Bakkouri" userId="8b130982-2e3f-4164-b881-fd3a2e4b2453" providerId="ADAL" clId="{4457FA57-250B-44AC-8655-05D46C5A3D8A}" dt="2023-06-06T08:59:14.182" v="8878" actId="478"/>
          <ac:grpSpMkLst>
            <pc:docMk/>
            <pc:sldMk cId="1822880079" sldId="230717700"/>
            <ac:grpSpMk id="41" creationId="{A7D241EB-CE54-45BA-93FD-28E9554D2F55}"/>
          </ac:grpSpMkLst>
        </pc:grpChg>
        <pc:grpChg chg="del">
          <ac:chgData name="Manal El Bakkouri" userId="8b130982-2e3f-4164-b881-fd3a2e4b2453" providerId="ADAL" clId="{4457FA57-250B-44AC-8655-05D46C5A3D8A}" dt="2023-06-06T08:59:14.182" v="8878" actId="478"/>
          <ac:grpSpMkLst>
            <pc:docMk/>
            <pc:sldMk cId="1822880079" sldId="230717700"/>
            <ac:grpSpMk id="43" creationId="{26BDA0EE-8E60-4A60-862F-D0C64FEF1E83}"/>
          </ac:grpSpMkLst>
        </pc:grpChg>
        <pc:grpChg chg="del">
          <ac:chgData name="Manal El Bakkouri" userId="8b130982-2e3f-4164-b881-fd3a2e4b2453" providerId="ADAL" clId="{4457FA57-250B-44AC-8655-05D46C5A3D8A}" dt="2023-06-06T08:59:14.182" v="8878" actId="478"/>
          <ac:grpSpMkLst>
            <pc:docMk/>
            <pc:sldMk cId="1822880079" sldId="230717700"/>
            <ac:grpSpMk id="44" creationId="{72B7858C-5E0D-455B-AE2F-5BD2C5DE4FB2}"/>
          </ac:grpSpMkLst>
        </pc:grpChg>
        <pc:grpChg chg="del">
          <ac:chgData name="Manal El Bakkouri" userId="8b130982-2e3f-4164-b881-fd3a2e4b2453" providerId="ADAL" clId="{4457FA57-250B-44AC-8655-05D46C5A3D8A}" dt="2023-06-06T08:59:14.182" v="8878" actId="478"/>
          <ac:grpSpMkLst>
            <pc:docMk/>
            <pc:sldMk cId="1822880079" sldId="230717700"/>
            <ac:grpSpMk id="50" creationId="{9ECB89D8-783D-4467-A7B7-0E8D866A04B2}"/>
          </ac:grpSpMkLst>
        </pc:grpChg>
        <pc:grpChg chg="del">
          <ac:chgData name="Manal El Bakkouri" userId="8b130982-2e3f-4164-b881-fd3a2e4b2453" providerId="ADAL" clId="{4457FA57-250B-44AC-8655-05D46C5A3D8A}" dt="2023-06-06T08:59:14.182" v="8878" actId="478"/>
          <ac:grpSpMkLst>
            <pc:docMk/>
            <pc:sldMk cId="1822880079" sldId="230717700"/>
            <ac:grpSpMk id="53" creationId="{0FBF40BA-C416-4AA7-8CED-C03EB3060042}"/>
          </ac:grpSpMkLst>
        </pc:grpChg>
        <pc:grpChg chg="del">
          <ac:chgData name="Manal El Bakkouri" userId="8b130982-2e3f-4164-b881-fd3a2e4b2453" providerId="ADAL" clId="{4457FA57-250B-44AC-8655-05D46C5A3D8A}" dt="2023-06-06T08:59:14.182" v="8878" actId="478"/>
          <ac:grpSpMkLst>
            <pc:docMk/>
            <pc:sldMk cId="1822880079" sldId="230717700"/>
            <ac:grpSpMk id="56" creationId="{65ED4EF8-02AE-4D67-8D49-F222E4B7F926}"/>
          </ac:grpSpMkLst>
        </pc:grpChg>
        <pc:picChg chg="del mod">
          <ac:chgData name="Manal El Bakkouri" userId="8b130982-2e3f-4164-b881-fd3a2e4b2453" providerId="ADAL" clId="{4457FA57-250B-44AC-8655-05D46C5A3D8A}" dt="2023-06-06T08:59:52.362" v="8880" actId="478"/>
          <ac:picMkLst>
            <pc:docMk/>
            <pc:sldMk cId="1822880079" sldId="230717700"/>
            <ac:picMk id="9" creationId="{A8E930A2-4CB1-4781-A9C8-29077092C6A2}"/>
          </ac:picMkLst>
        </pc:picChg>
        <pc:cxnChg chg="del">
          <ac:chgData name="Manal El Bakkouri" userId="8b130982-2e3f-4164-b881-fd3a2e4b2453" providerId="ADAL" clId="{4457FA57-250B-44AC-8655-05D46C5A3D8A}" dt="2023-06-06T08:59:14.182" v="8878" actId="478"/>
          <ac:cxnSpMkLst>
            <pc:docMk/>
            <pc:sldMk cId="1822880079" sldId="230717700"/>
            <ac:cxnSpMk id="46" creationId="{CB2E0283-43BA-4E72-8A11-6196DB3EA9EB}"/>
          </ac:cxnSpMkLst>
        </pc:cxnChg>
        <pc:cxnChg chg="del">
          <ac:chgData name="Manal El Bakkouri" userId="8b130982-2e3f-4164-b881-fd3a2e4b2453" providerId="ADAL" clId="{4457FA57-250B-44AC-8655-05D46C5A3D8A}" dt="2023-06-06T08:59:14.182" v="8878" actId="478"/>
          <ac:cxnSpMkLst>
            <pc:docMk/>
            <pc:sldMk cId="1822880079" sldId="230717700"/>
            <ac:cxnSpMk id="48" creationId="{DE99B8DC-304B-49E2-954F-A2D316D45AE9}"/>
          </ac:cxnSpMkLst>
        </pc:cxnChg>
        <pc:cxnChg chg="del">
          <ac:chgData name="Manal El Bakkouri" userId="8b130982-2e3f-4164-b881-fd3a2e4b2453" providerId="ADAL" clId="{4457FA57-250B-44AC-8655-05D46C5A3D8A}" dt="2023-06-06T08:59:14.182" v="8878" actId="478"/>
          <ac:cxnSpMkLst>
            <pc:docMk/>
            <pc:sldMk cId="1822880079" sldId="230717700"/>
            <ac:cxnSpMk id="49" creationId="{BBE609DF-674E-4BC5-A39F-84D91B13D005}"/>
          </ac:cxnSpMkLst>
        </pc:cxnChg>
      </pc:sldChg>
      <pc:sldChg chg="addSp delSp modSp add mod modTransition delAnim modNotesTx">
        <pc:chgData name="Manal El Bakkouri" userId="8b130982-2e3f-4164-b881-fd3a2e4b2453" providerId="ADAL" clId="{4457FA57-250B-44AC-8655-05D46C5A3D8A}" dt="2023-06-09T11:27:44.679" v="21730"/>
        <pc:sldMkLst>
          <pc:docMk/>
          <pc:sldMk cId="3393548977" sldId="230717701"/>
        </pc:sldMkLst>
        <pc:spChg chg="mod">
          <ac:chgData name="Manal El Bakkouri" userId="8b130982-2e3f-4164-b881-fd3a2e4b2453" providerId="ADAL" clId="{4457FA57-250B-44AC-8655-05D46C5A3D8A}" dt="2023-06-09T11:09:23.602" v="21535"/>
          <ac:spMkLst>
            <pc:docMk/>
            <pc:sldMk cId="3393548977" sldId="230717701"/>
            <ac:spMk id="30" creationId="{11A871F9-453C-4251-8A87-C5B3D8A1823E}"/>
          </ac:spMkLst>
        </pc:spChg>
        <pc:spChg chg="mod">
          <ac:chgData name="Manal El Bakkouri" userId="8b130982-2e3f-4164-b881-fd3a2e4b2453" providerId="ADAL" clId="{4457FA57-250B-44AC-8655-05D46C5A3D8A}" dt="2023-06-09T11:09:23.602" v="21535"/>
          <ac:spMkLst>
            <pc:docMk/>
            <pc:sldMk cId="3393548977" sldId="230717701"/>
            <ac:spMk id="31" creationId="{DF346075-D1C3-4416-BBC6-7572175E32F0}"/>
          </ac:spMkLst>
        </pc:spChg>
        <pc:spChg chg="mod">
          <ac:chgData name="Manal El Bakkouri" userId="8b130982-2e3f-4164-b881-fd3a2e4b2453" providerId="ADAL" clId="{4457FA57-250B-44AC-8655-05D46C5A3D8A}" dt="2023-06-09T11:09:23.602" v="21535"/>
          <ac:spMkLst>
            <pc:docMk/>
            <pc:sldMk cId="3393548977" sldId="230717701"/>
            <ac:spMk id="33" creationId="{D894BD82-539F-4CBB-B6D0-330936E6EB40}"/>
          </ac:spMkLst>
        </pc:spChg>
        <pc:spChg chg="mod">
          <ac:chgData name="Manal El Bakkouri" userId="8b130982-2e3f-4164-b881-fd3a2e4b2453" providerId="ADAL" clId="{4457FA57-250B-44AC-8655-05D46C5A3D8A}" dt="2023-06-09T11:09:23.602" v="21535"/>
          <ac:spMkLst>
            <pc:docMk/>
            <pc:sldMk cId="3393548977" sldId="230717701"/>
            <ac:spMk id="34" creationId="{F11DFEEA-1207-48A1-AA7A-4BF662F92AF4}"/>
          </ac:spMkLst>
        </pc:spChg>
        <pc:spChg chg="mod">
          <ac:chgData name="Manal El Bakkouri" userId="8b130982-2e3f-4164-b881-fd3a2e4b2453" providerId="ADAL" clId="{4457FA57-250B-44AC-8655-05D46C5A3D8A}" dt="2023-06-09T11:09:23.602" v="21535"/>
          <ac:spMkLst>
            <pc:docMk/>
            <pc:sldMk cId="3393548977" sldId="230717701"/>
            <ac:spMk id="36" creationId="{E98A5EF6-2CFA-4441-BEAD-E99719438467}"/>
          </ac:spMkLst>
        </pc:spChg>
        <pc:spChg chg="mod">
          <ac:chgData name="Manal El Bakkouri" userId="8b130982-2e3f-4164-b881-fd3a2e4b2453" providerId="ADAL" clId="{4457FA57-250B-44AC-8655-05D46C5A3D8A}" dt="2023-06-09T11:09:23.602" v="21535"/>
          <ac:spMkLst>
            <pc:docMk/>
            <pc:sldMk cId="3393548977" sldId="230717701"/>
            <ac:spMk id="37" creationId="{0427F1C2-5C81-4A69-9450-77C1C96827A2}"/>
          </ac:spMkLst>
        </pc:spChg>
        <pc:spChg chg="mod">
          <ac:chgData name="Manal El Bakkouri" userId="8b130982-2e3f-4164-b881-fd3a2e4b2453" providerId="ADAL" clId="{4457FA57-250B-44AC-8655-05D46C5A3D8A}" dt="2023-06-09T11:09:23.602" v="21535"/>
          <ac:spMkLst>
            <pc:docMk/>
            <pc:sldMk cId="3393548977" sldId="230717701"/>
            <ac:spMk id="39" creationId="{811D2387-BC11-4BB9-99CA-9CE37FDEF9C1}"/>
          </ac:spMkLst>
        </pc:spChg>
        <pc:spChg chg="mod">
          <ac:chgData name="Manal El Bakkouri" userId="8b130982-2e3f-4164-b881-fd3a2e4b2453" providerId="ADAL" clId="{4457FA57-250B-44AC-8655-05D46C5A3D8A}" dt="2023-06-09T11:09:23.602" v="21535"/>
          <ac:spMkLst>
            <pc:docMk/>
            <pc:sldMk cId="3393548977" sldId="230717701"/>
            <ac:spMk id="40" creationId="{A570B9F7-3EA7-4E3E-93F1-2CC5B18B59A6}"/>
          </ac:spMkLst>
        </pc:spChg>
        <pc:spChg chg="del">
          <ac:chgData name="Manal El Bakkouri" userId="8b130982-2e3f-4164-b881-fd3a2e4b2453" providerId="ADAL" clId="{4457FA57-250B-44AC-8655-05D46C5A3D8A}" dt="2023-06-09T11:27:44.319" v="21729" actId="478"/>
          <ac:spMkLst>
            <pc:docMk/>
            <pc:sldMk cId="3393548977" sldId="230717701"/>
            <ac:spMk id="42" creationId="{A64C7408-49A6-4C3E-99BB-C931B1351638}"/>
          </ac:spMkLst>
        </pc:spChg>
        <pc:spChg chg="mod">
          <ac:chgData name="Manal El Bakkouri" userId="8b130982-2e3f-4164-b881-fd3a2e4b2453" providerId="ADAL" clId="{4457FA57-250B-44AC-8655-05D46C5A3D8A}" dt="2023-06-09T11:09:23.602" v="21535"/>
          <ac:spMkLst>
            <pc:docMk/>
            <pc:sldMk cId="3393548977" sldId="230717701"/>
            <ac:spMk id="43" creationId="{180C0E1C-128B-4A97-92D5-4D2034CB7FA1}"/>
          </ac:spMkLst>
        </pc:spChg>
        <pc:spChg chg="mod">
          <ac:chgData name="Manal El Bakkouri" userId="8b130982-2e3f-4164-b881-fd3a2e4b2453" providerId="ADAL" clId="{4457FA57-250B-44AC-8655-05D46C5A3D8A}" dt="2023-06-09T11:09:23.602" v="21535"/>
          <ac:spMkLst>
            <pc:docMk/>
            <pc:sldMk cId="3393548977" sldId="230717701"/>
            <ac:spMk id="44" creationId="{FBB4B0B5-AF52-45F3-B6E0-0495C66C2817}"/>
          </ac:spMkLst>
        </pc:spChg>
        <pc:spChg chg="del">
          <ac:chgData name="Manal El Bakkouri" userId="8b130982-2e3f-4164-b881-fd3a2e4b2453" providerId="ADAL" clId="{4457FA57-250B-44AC-8655-05D46C5A3D8A}" dt="2023-06-09T11:27:44.319" v="21729" actId="478"/>
          <ac:spMkLst>
            <pc:docMk/>
            <pc:sldMk cId="3393548977" sldId="230717701"/>
            <ac:spMk id="45" creationId="{408C8D92-08B3-4B61-A0CD-13080857796B}"/>
          </ac:spMkLst>
        </pc:spChg>
        <pc:spChg chg="add mod">
          <ac:chgData name="Manal El Bakkouri" userId="8b130982-2e3f-4164-b881-fd3a2e4b2453" providerId="ADAL" clId="{4457FA57-250B-44AC-8655-05D46C5A3D8A}" dt="2023-06-09T11:27:44.679" v="21730"/>
          <ac:spMkLst>
            <pc:docMk/>
            <pc:sldMk cId="3393548977" sldId="230717701"/>
            <ac:spMk id="46" creationId="{C659F1A7-BC4F-48CF-BA35-FDA4AB46D4C3}"/>
          </ac:spMkLst>
        </pc:spChg>
        <pc:spChg chg="del">
          <ac:chgData name="Manal El Bakkouri" userId="8b130982-2e3f-4164-b881-fd3a2e4b2453" providerId="ADAL" clId="{4457FA57-250B-44AC-8655-05D46C5A3D8A}" dt="2023-06-09T11:27:44.319" v="21729" actId="478"/>
          <ac:spMkLst>
            <pc:docMk/>
            <pc:sldMk cId="3393548977" sldId="230717701"/>
            <ac:spMk id="47" creationId="{50567FD5-B65B-4FC4-B0C8-4197E71F7081}"/>
          </ac:spMkLst>
        </pc:spChg>
        <pc:spChg chg="add mod">
          <ac:chgData name="Manal El Bakkouri" userId="8b130982-2e3f-4164-b881-fd3a2e4b2453" providerId="ADAL" clId="{4457FA57-250B-44AC-8655-05D46C5A3D8A}" dt="2023-06-09T11:27:44.679" v="21730"/>
          <ac:spMkLst>
            <pc:docMk/>
            <pc:sldMk cId="3393548977" sldId="230717701"/>
            <ac:spMk id="48" creationId="{1101059D-4C6D-45BD-80DB-ABD1236707FA}"/>
          </ac:spMkLst>
        </pc:spChg>
        <pc:spChg chg="add mod">
          <ac:chgData name="Manal El Bakkouri" userId="8b130982-2e3f-4164-b881-fd3a2e4b2453" providerId="ADAL" clId="{4457FA57-250B-44AC-8655-05D46C5A3D8A}" dt="2023-06-09T11:27:44.679" v="21730"/>
          <ac:spMkLst>
            <pc:docMk/>
            <pc:sldMk cId="3393548977" sldId="230717701"/>
            <ac:spMk id="49" creationId="{D0ED0DBB-0093-4676-89B3-6DD471987A24}"/>
          </ac:spMkLst>
        </pc:spChg>
        <pc:spChg chg="add mod">
          <ac:chgData name="Manal El Bakkouri" userId="8b130982-2e3f-4164-b881-fd3a2e4b2453" providerId="ADAL" clId="{4457FA57-250B-44AC-8655-05D46C5A3D8A}" dt="2023-06-09T11:27:44.679" v="21730"/>
          <ac:spMkLst>
            <pc:docMk/>
            <pc:sldMk cId="3393548977" sldId="230717701"/>
            <ac:spMk id="50" creationId="{163A11D2-7FF8-4155-B5EE-A01212B3C20F}"/>
          </ac:spMkLst>
        </pc:spChg>
        <pc:spChg chg="del">
          <ac:chgData name="Manal El Bakkouri" userId="8b130982-2e3f-4164-b881-fd3a2e4b2453" providerId="ADAL" clId="{4457FA57-250B-44AC-8655-05D46C5A3D8A}" dt="2023-06-07T10:03:30.609" v="17621" actId="478"/>
          <ac:spMkLst>
            <pc:docMk/>
            <pc:sldMk cId="3393548977" sldId="230717701"/>
            <ac:spMk id="61" creationId="{DC34440A-5105-449E-A8F6-18365D73F0D3}"/>
          </ac:spMkLst>
        </pc:spChg>
        <pc:spChg chg="add mod">
          <ac:chgData name="Manal El Bakkouri" userId="8b130982-2e3f-4164-b881-fd3a2e4b2453" providerId="ADAL" clId="{4457FA57-250B-44AC-8655-05D46C5A3D8A}" dt="2023-06-06T09:11:40.389" v="9016" actId="14100"/>
          <ac:spMkLst>
            <pc:docMk/>
            <pc:sldMk cId="3393548977" sldId="230717701"/>
            <ac:spMk id="62" creationId="{AC6391A0-08AD-4DC8-8991-7C674C528381}"/>
          </ac:spMkLst>
        </pc:spChg>
        <pc:spChg chg="del">
          <ac:chgData name="Manal El Bakkouri" userId="8b130982-2e3f-4164-b881-fd3a2e4b2453" providerId="ADAL" clId="{4457FA57-250B-44AC-8655-05D46C5A3D8A}" dt="2023-06-07T10:03:30.609" v="17621" actId="478"/>
          <ac:spMkLst>
            <pc:docMk/>
            <pc:sldMk cId="3393548977" sldId="230717701"/>
            <ac:spMk id="63" creationId="{CD634BF4-A42B-4E33-B1C2-82DE0979F488}"/>
          </ac:spMkLst>
        </pc:spChg>
        <pc:spChg chg="del">
          <ac:chgData name="Manal El Bakkouri" userId="8b130982-2e3f-4164-b881-fd3a2e4b2453" providerId="ADAL" clId="{4457FA57-250B-44AC-8655-05D46C5A3D8A}" dt="2023-06-07T10:03:30.609" v="17621" actId="478"/>
          <ac:spMkLst>
            <pc:docMk/>
            <pc:sldMk cId="3393548977" sldId="230717701"/>
            <ac:spMk id="64" creationId="{0BC6162E-87CC-4975-8AC3-B1C4E75A1FCD}"/>
          </ac:spMkLst>
        </pc:spChg>
        <pc:spChg chg="del">
          <ac:chgData name="Manal El Bakkouri" userId="8b130982-2e3f-4164-b881-fd3a2e4b2453" providerId="ADAL" clId="{4457FA57-250B-44AC-8655-05D46C5A3D8A}" dt="2023-06-07T10:03:30.609" v="17621" actId="478"/>
          <ac:spMkLst>
            <pc:docMk/>
            <pc:sldMk cId="3393548977" sldId="230717701"/>
            <ac:spMk id="65" creationId="{0DED4506-E850-4EDF-8E57-6CDA06ECCD31}"/>
          </ac:spMkLst>
        </pc:spChg>
        <pc:spChg chg="del">
          <ac:chgData name="Manal El Bakkouri" userId="8b130982-2e3f-4164-b881-fd3a2e4b2453" providerId="ADAL" clId="{4457FA57-250B-44AC-8655-05D46C5A3D8A}" dt="2023-06-07T10:03:30.609" v="17621" actId="478"/>
          <ac:spMkLst>
            <pc:docMk/>
            <pc:sldMk cId="3393548977" sldId="230717701"/>
            <ac:spMk id="67" creationId="{C2E676D3-7044-4416-95A3-0BDD568F460D}"/>
          </ac:spMkLst>
        </pc:spChg>
        <pc:spChg chg="del">
          <ac:chgData name="Manal El Bakkouri" userId="8b130982-2e3f-4164-b881-fd3a2e4b2453" providerId="ADAL" clId="{4457FA57-250B-44AC-8655-05D46C5A3D8A}" dt="2023-06-07T10:03:30.609" v="17621" actId="478"/>
          <ac:spMkLst>
            <pc:docMk/>
            <pc:sldMk cId="3393548977" sldId="230717701"/>
            <ac:spMk id="68" creationId="{E5E343C9-AD16-4EA4-89E2-CE2CE015D6E8}"/>
          </ac:spMkLst>
        </pc:spChg>
        <pc:spChg chg="del">
          <ac:chgData name="Manal El Bakkouri" userId="8b130982-2e3f-4164-b881-fd3a2e4b2453" providerId="ADAL" clId="{4457FA57-250B-44AC-8655-05D46C5A3D8A}" dt="2023-06-07T10:03:30.609" v="17621" actId="478"/>
          <ac:spMkLst>
            <pc:docMk/>
            <pc:sldMk cId="3393548977" sldId="230717701"/>
            <ac:spMk id="69" creationId="{EBD33ADD-FAAA-4E62-973F-7498E56F2256}"/>
          </ac:spMkLst>
        </pc:spChg>
        <pc:spChg chg="del">
          <ac:chgData name="Manal El Bakkouri" userId="8b130982-2e3f-4164-b881-fd3a2e4b2453" providerId="ADAL" clId="{4457FA57-250B-44AC-8655-05D46C5A3D8A}" dt="2023-06-07T10:03:30.609" v="17621" actId="478"/>
          <ac:spMkLst>
            <pc:docMk/>
            <pc:sldMk cId="3393548977" sldId="230717701"/>
            <ac:spMk id="70" creationId="{5D159352-80CA-4E9C-88AB-B5020F0649E1}"/>
          </ac:spMkLst>
        </pc:spChg>
        <pc:spChg chg="del">
          <ac:chgData name="Manal El Bakkouri" userId="8b130982-2e3f-4164-b881-fd3a2e4b2453" providerId="ADAL" clId="{4457FA57-250B-44AC-8655-05D46C5A3D8A}" dt="2023-06-07T10:03:30.609" v="17621" actId="478"/>
          <ac:spMkLst>
            <pc:docMk/>
            <pc:sldMk cId="3393548977" sldId="230717701"/>
            <ac:spMk id="71" creationId="{3776B1AD-70C1-41F9-856E-401FA9523AD6}"/>
          </ac:spMkLst>
        </pc:spChg>
        <pc:spChg chg="del">
          <ac:chgData name="Manal El Bakkouri" userId="8b130982-2e3f-4164-b881-fd3a2e4b2453" providerId="ADAL" clId="{4457FA57-250B-44AC-8655-05D46C5A3D8A}" dt="2023-06-07T10:03:30.609" v="17621" actId="478"/>
          <ac:spMkLst>
            <pc:docMk/>
            <pc:sldMk cId="3393548977" sldId="230717701"/>
            <ac:spMk id="72" creationId="{E9C39060-E719-4A69-856C-B9621AB4CBB0}"/>
          </ac:spMkLst>
        </pc:spChg>
        <pc:spChg chg="mod">
          <ac:chgData name="Manal El Bakkouri" userId="8b130982-2e3f-4164-b881-fd3a2e4b2453" providerId="ADAL" clId="{4457FA57-250B-44AC-8655-05D46C5A3D8A}" dt="2023-06-07T10:03:31.552" v="17622"/>
          <ac:spMkLst>
            <pc:docMk/>
            <pc:sldMk cId="3393548977" sldId="230717701"/>
            <ac:spMk id="73" creationId="{A1C8BFD8-312D-4F07-B2D1-C5956F176248}"/>
          </ac:spMkLst>
        </pc:spChg>
        <pc:spChg chg="mod">
          <ac:chgData name="Manal El Bakkouri" userId="8b130982-2e3f-4164-b881-fd3a2e4b2453" providerId="ADAL" clId="{4457FA57-250B-44AC-8655-05D46C5A3D8A}" dt="2023-06-07T10:03:31.552" v="17622"/>
          <ac:spMkLst>
            <pc:docMk/>
            <pc:sldMk cId="3393548977" sldId="230717701"/>
            <ac:spMk id="74" creationId="{029B05F5-8842-4BAF-97DC-180C7AB4D9CF}"/>
          </ac:spMkLst>
        </pc:spChg>
        <pc:spChg chg="mod">
          <ac:chgData name="Manal El Bakkouri" userId="8b130982-2e3f-4164-b881-fd3a2e4b2453" providerId="ADAL" clId="{4457FA57-250B-44AC-8655-05D46C5A3D8A}" dt="2023-06-07T10:03:31.552" v="17622"/>
          <ac:spMkLst>
            <pc:docMk/>
            <pc:sldMk cId="3393548977" sldId="230717701"/>
            <ac:spMk id="76" creationId="{04CE896B-58A9-4F56-BBF9-3BF08D257D55}"/>
          </ac:spMkLst>
        </pc:spChg>
        <pc:spChg chg="mod">
          <ac:chgData name="Manal El Bakkouri" userId="8b130982-2e3f-4164-b881-fd3a2e4b2453" providerId="ADAL" clId="{4457FA57-250B-44AC-8655-05D46C5A3D8A}" dt="2023-06-07T10:03:31.552" v="17622"/>
          <ac:spMkLst>
            <pc:docMk/>
            <pc:sldMk cId="3393548977" sldId="230717701"/>
            <ac:spMk id="77" creationId="{A2C60891-1F67-4CB6-AA8F-8827E73F29EB}"/>
          </ac:spMkLst>
        </pc:spChg>
        <pc:spChg chg="mod">
          <ac:chgData name="Manal El Bakkouri" userId="8b130982-2e3f-4164-b881-fd3a2e4b2453" providerId="ADAL" clId="{4457FA57-250B-44AC-8655-05D46C5A3D8A}" dt="2023-06-07T10:03:31.552" v="17622"/>
          <ac:spMkLst>
            <pc:docMk/>
            <pc:sldMk cId="3393548977" sldId="230717701"/>
            <ac:spMk id="79" creationId="{CF521445-452A-4C0A-B2C1-9D61C1298E0A}"/>
          </ac:spMkLst>
        </pc:spChg>
        <pc:spChg chg="mod">
          <ac:chgData name="Manal El Bakkouri" userId="8b130982-2e3f-4164-b881-fd3a2e4b2453" providerId="ADAL" clId="{4457FA57-250B-44AC-8655-05D46C5A3D8A}" dt="2023-06-07T10:03:31.552" v="17622"/>
          <ac:spMkLst>
            <pc:docMk/>
            <pc:sldMk cId="3393548977" sldId="230717701"/>
            <ac:spMk id="80" creationId="{76609629-EA2D-4C25-8BD8-1ECA8A8846ED}"/>
          </ac:spMkLst>
        </pc:spChg>
        <pc:spChg chg="mod">
          <ac:chgData name="Manal El Bakkouri" userId="8b130982-2e3f-4164-b881-fd3a2e4b2453" providerId="ADAL" clId="{4457FA57-250B-44AC-8655-05D46C5A3D8A}" dt="2023-06-07T10:03:31.552" v="17622"/>
          <ac:spMkLst>
            <pc:docMk/>
            <pc:sldMk cId="3393548977" sldId="230717701"/>
            <ac:spMk id="82" creationId="{2168DCE7-1914-4CD2-90FE-7D3EA641B760}"/>
          </ac:spMkLst>
        </pc:spChg>
        <pc:spChg chg="mod">
          <ac:chgData name="Manal El Bakkouri" userId="8b130982-2e3f-4164-b881-fd3a2e4b2453" providerId="ADAL" clId="{4457FA57-250B-44AC-8655-05D46C5A3D8A}" dt="2023-06-07T10:03:31.552" v="17622"/>
          <ac:spMkLst>
            <pc:docMk/>
            <pc:sldMk cId="3393548977" sldId="230717701"/>
            <ac:spMk id="83" creationId="{D6C45336-6F63-4019-8B4F-042580B21D3D}"/>
          </ac:spMkLst>
        </pc:spChg>
        <pc:spChg chg="mod">
          <ac:chgData name="Manal El Bakkouri" userId="8b130982-2e3f-4164-b881-fd3a2e4b2453" providerId="ADAL" clId="{4457FA57-250B-44AC-8655-05D46C5A3D8A}" dt="2023-06-07T10:03:31.552" v="17622"/>
          <ac:spMkLst>
            <pc:docMk/>
            <pc:sldMk cId="3393548977" sldId="230717701"/>
            <ac:spMk id="85" creationId="{903D4130-09B8-4123-8663-2EE3B38B528A}"/>
          </ac:spMkLst>
        </pc:spChg>
        <pc:spChg chg="mod">
          <ac:chgData name="Manal El Bakkouri" userId="8b130982-2e3f-4164-b881-fd3a2e4b2453" providerId="ADAL" clId="{4457FA57-250B-44AC-8655-05D46C5A3D8A}" dt="2023-06-07T10:03:31.552" v="17622"/>
          <ac:spMkLst>
            <pc:docMk/>
            <pc:sldMk cId="3393548977" sldId="230717701"/>
            <ac:spMk id="86" creationId="{E130C821-6D54-4218-B1EC-CB7570265335}"/>
          </ac:spMkLst>
        </pc:spChg>
        <pc:grpChg chg="add mod">
          <ac:chgData name="Manal El Bakkouri" userId="8b130982-2e3f-4164-b881-fd3a2e4b2453" providerId="ADAL" clId="{4457FA57-250B-44AC-8655-05D46C5A3D8A}" dt="2023-06-09T11:09:23.602" v="21535"/>
          <ac:grpSpMkLst>
            <pc:docMk/>
            <pc:sldMk cId="3393548977" sldId="230717701"/>
            <ac:grpSpMk id="29" creationId="{2A76E2E9-B99C-4B49-BDFE-C7C70D045DD2}"/>
          </ac:grpSpMkLst>
        </pc:grpChg>
        <pc:grpChg chg="add mod">
          <ac:chgData name="Manal El Bakkouri" userId="8b130982-2e3f-4164-b881-fd3a2e4b2453" providerId="ADAL" clId="{4457FA57-250B-44AC-8655-05D46C5A3D8A}" dt="2023-06-09T11:09:23.602" v="21535"/>
          <ac:grpSpMkLst>
            <pc:docMk/>
            <pc:sldMk cId="3393548977" sldId="230717701"/>
            <ac:grpSpMk id="32" creationId="{DD435ED9-87A8-449B-9694-3DA088CC6E30}"/>
          </ac:grpSpMkLst>
        </pc:grpChg>
        <pc:grpChg chg="add mod">
          <ac:chgData name="Manal El Bakkouri" userId="8b130982-2e3f-4164-b881-fd3a2e4b2453" providerId="ADAL" clId="{4457FA57-250B-44AC-8655-05D46C5A3D8A}" dt="2023-06-09T11:09:23.602" v="21535"/>
          <ac:grpSpMkLst>
            <pc:docMk/>
            <pc:sldMk cId="3393548977" sldId="230717701"/>
            <ac:grpSpMk id="35" creationId="{DFD524FB-28BB-4F04-8603-14330367562E}"/>
          </ac:grpSpMkLst>
        </pc:grpChg>
        <pc:grpChg chg="add mod">
          <ac:chgData name="Manal El Bakkouri" userId="8b130982-2e3f-4164-b881-fd3a2e4b2453" providerId="ADAL" clId="{4457FA57-250B-44AC-8655-05D46C5A3D8A}" dt="2023-06-09T11:09:23.602" v="21535"/>
          <ac:grpSpMkLst>
            <pc:docMk/>
            <pc:sldMk cId="3393548977" sldId="230717701"/>
            <ac:grpSpMk id="38" creationId="{49FEF910-9A22-4DB8-8581-4FAC09DA3844}"/>
          </ac:grpSpMkLst>
        </pc:grpChg>
        <pc:grpChg chg="add mod">
          <ac:chgData name="Manal El Bakkouri" userId="8b130982-2e3f-4164-b881-fd3a2e4b2453" providerId="ADAL" clId="{4457FA57-250B-44AC-8655-05D46C5A3D8A}" dt="2023-06-09T11:09:23.602" v="21535"/>
          <ac:grpSpMkLst>
            <pc:docMk/>
            <pc:sldMk cId="3393548977" sldId="230717701"/>
            <ac:grpSpMk id="41" creationId="{14DF3A53-2C6B-4402-9566-1004360339A1}"/>
          </ac:grpSpMkLst>
        </pc:grpChg>
        <pc:grpChg chg="del">
          <ac:chgData name="Manal El Bakkouri" userId="8b130982-2e3f-4164-b881-fd3a2e4b2453" providerId="ADAL" clId="{4457FA57-250B-44AC-8655-05D46C5A3D8A}" dt="2023-06-06T09:00:12.091" v="8887" actId="478"/>
          <ac:grpSpMkLst>
            <pc:docMk/>
            <pc:sldMk cId="3393548977" sldId="230717701"/>
            <ac:grpSpMk id="41" creationId="{A7D241EB-CE54-45BA-93FD-28E9554D2F55}"/>
          </ac:grpSpMkLst>
        </pc:grpChg>
        <pc:grpChg chg="del">
          <ac:chgData name="Manal El Bakkouri" userId="8b130982-2e3f-4164-b881-fd3a2e4b2453" providerId="ADAL" clId="{4457FA57-250B-44AC-8655-05D46C5A3D8A}" dt="2023-06-06T09:00:12.091" v="8887" actId="478"/>
          <ac:grpSpMkLst>
            <pc:docMk/>
            <pc:sldMk cId="3393548977" sldId="230717701"/>
            <ac:grpSpMk id="43" creationId="{26BDA0EE-8E60-4A60-862F-D0C64FEF1E83}"/>
          </ac:grpSpMkLst>
        </pc:grpChg>
        <pc:grpChg chg="del">
          <ac:chgData name="Manal El Bakkouri" userId="8b130982-2e3f-4164-b881-fd3a2e4b2453" providerId="ADAL" clId="{4457FA57-250B-44AC-8655-05D46C5A3D8A}" dt="2023-06-06T09:00:12.091" v="8887" actId="478"/>
          <ac:grpSpMkLst>
            <pc:docMk/>
            <pc:sldMk cId="3393548977" sldId="230717701"/>
            <ac:grpSpMk id="44" creationId="{72B7858C-5E0D-455B-AE2F-5BD2C5DE4FB2}"/>
          </ac:grpSpMkLst>
        </pc:grpChg>
        <pc:grpChg chg="del">
          <ac:chgData name="Manal El Bakkouri" userId="8b130982-2e3f-4164-b881-fd3a2e4b2453" providerId="ADAL" clId="{4457FA57-250B-44AC-8655-05D46C5A3D8A}" dt="2023-06-06T09:00:12.091" v="8887" actId="478"/>
          <ac:grpSpMkLst>
            <pc:docMk/>
            <pc:sldMk cId="3393548977" sldId="230717701"/>
            <ac:grpSpMk id="50" creationId="{9ECB89D8-783D-4467-A7B7-0E8D866A04B2}"/>
          </ac:grpSpMkLst>
        </pc:grpChg>
        <pc:grpChg chg="del">
          <ac:chgData name="Manal El Bakkouri" userId="8b130982-2e3f-4164-b881-fd3a2e4b2453" providerId="ADAL" clId="{4457FA57-250B-44AC-8655-05D46C5A3D8A}" dt="2023-06-06T09:00:12.091" v="8887" actId="478"/>
          <ac:grpSpMkLst>
            <pc:docMk/>
            <pc:sldMk cId="3393548977" sldId="230717701"/>
            <ac:grpSpMk id="53" creationId="{0FBF40BA-C416-4AA7-8CED-C03EB3060042}"/>
          </ac:grpSpMkLst>
        </pc:grpChg>
        <pc:grpChg chg="del">
          <ac:chgData name="Manal El Bakkouri" userId="8b130982-2e3f-4164-b881-fd3a2e4b2453" providerId="ADAL" clId="{4457FA57-250B-44AC-8655-05D46C5A3D8A}" dt="2023-06-06T09:00:12.091" v="8887" actId="478"/>
          <ac:grpSpMkLst>
            <pc:docMk/>
            <pc:sldMk cId="3393548977" sldId="230717701"/>
            <ac:grpSpMk id="56" creationId="{65ED4EF8-02AE-4D67-8D49-F222E4B7F926}"/>
          </ac:grpSpMkLst>
        </pc:grpChg>
        <pc:grpChg chg="add del mod">
          <ac:chgData name="Manal El Bakkouri" userId="8b130982-2e3f-4164-b881-fd3a2e4b2453" providerId="ADAL" clId="{4457FA57-250B-44AC-8655-05D46C5A3D8A}" dt="2023-06-09T11:09:23.208" v="21534" actId="478"/>
          <ac:grpSpMkLst>
            <pc:docMk/>
            <pc:sldMk cId="3393548977" sldId="230717701"/>
            <ac:grpSpMk id="66" creationId="{74588D37-ECC4-45B0-8723-56EF18052238}"/>
          </ac:grpSpMkLst>
        </pc:grpChg>
        <pc:grpChg chg="add del mod">
          <ac:chgData name="Manal El Bakkouri" userId="8b130982-2e3f-4164-b881-fd3a2e4b2453" providerId="ADAL" clId="{4457FA57-250B-44AC-8655-05D46C5A3D8A}" dt="2023-06-09T11:09:23.208" v="21534" actId="478"/>
          <ac:grpSpMkLst>
            <pc:docMk/>
            <pc:sldMk cId="3393548977" sldId="230717701"/>
            <ac:grpSpMk id="75" creationId="{4FDF664F-233F-4411-B9F4-B5340E67EB35}"/>
          </ac:grpSpMkLst>
        </pc:grpChg>
        <pc:grpChg chg="add del mod">
          <ac:chgData name="Manal El Bakkouri" userId="8b130982-2e3f-4164-b881-fd3a2e4b2453" providerId="ADAL" clId="{4457FA57-250B-44AC-8655-05D46C5A3D8A}" dt="2023-06-09T11:09:23.208" v="21534" actId="478"/>
          <ac:grpSpMkLst>
            <pc:docMk/>
            <pc:sldMk cId="3393548977" sldId="230717701"/>
            <ac:grpSpMk id="78" creationId="{531F49FC-9DF0-493D-83EA-CCF7FACA9116}"/>
          </ac:grpSpMkLst>
        </pc:grpChg>
        <pc:grpChg chg="add del mod">
          <ac:chgData name="Manal El Bakkouri" userId="8b130982-2e3f-4164-b881-fd3a2e4b2453" providerId="ADAL" clId="{4457FA57-250B-44AC-8655-05D46C5A3D8A}" dt="2023-06-09T11:09:23.208" v="21534" actId="478"/>
          <ac:grpSpMkLst>
            <pc:docMk/>
            <pc:sldMk cId="3393548977" sldId="230717701"/>
            <ac:grpSpMk id="81" creationId="{E2FB6191-FF56-41C7-926C-BD3646E08EB5}"/>
          </ac:grpSpMkLst>
        </pc:grpChg>
        <pc:grpChg chg="add del mod">
          <ac:chgData name="Manal El Bakkouri" userId="8b130982-2e3f-4164-b881-fd3a2e4b2453" providerId="ADAL" clId="{4457FA57-250B-44AC-8655-05D46C5A3D8A}" dt="2023-06-09T11:09:23.208" v="21534" actId="478"/>
          <ac:grpSpMkLst>
            <pc:docMk/>
            <pc:sldMk cId="3393548977" sldId="230717701"/>
            <ac:grpSpMk id="84" creationId="{6584E5C1-AD3B-49F9-9F08-F77AEEC4F7E7}"/>
          </ac:grpSpMkLst>
        </pc:grpChg>
        <pc:picChg chg="ord">
          <ac:chgData name="Manal El Bakkouri" userId="8b130982-2e3f-4164-b881-fd3a2e4b2453" providerId="ADAL" clId="{4457FA57-250B-44AC-8655-05D46C5A3D8A}" dt="2023-06-06T09:19:13.901" v="9145" actId="171"/>
          <ac:picMkLst>
            <pc:docMk/>
            <pc:sldMk cId="3393548977" sldId="230717701"/>
            <ac:picMk id="7" creationId="{9B7DBCE6-D483-408E-91F7-6162E26E31DF}"/>
          </ac:picMkLst>
        </pc:picChg>
        <pc:picChg chg="mod ord">
          <ac:chgData name="Manal El Bakkouri" userId="8b130982-2e3f-4164-b881-fd3a2e4b2453" providerId="ADAL" clId="{4457FA57-250B-44AC-8655-05D46C5A3D8A}" dt="2023-06-06T09:18:34.411" v="9142" actId="166"/>
          <ac:picMkLst>
            <pc:docMk/>
            <pc:sldMk cId="3393548977" sldId="230717701"/>
            <ac:picMk id="9" creationId="{A8E930A2-4CB1-4781-A9C8-29077092C6A2}"/>
          </ac:picMkLst>
        </pc:picChg>
        <pc:cxnChg chg="del">
          <ac:chgData name="Manal El Bakkouri" userId="8b130982-2e3f-4164-b881-fd3a2e4b2453" providerId="ADAL" clId="{4457FA57-250B-44AC-8655-05D46C5A3D8A}" dt="2023-06-06T09:00:12.091" v="8887" actId="478"/>
          <ac:cxnSpMkLst>
            <pc:docMk/>
            <pc:sldMk cId="3393548977" sldId="230717701"/>
            <ac:cxnSpMk id="46" creationId="{CB2E0283-43BA-4E72-8A11-6196DB3EA9EB}"/>
          </ac:cxnSpMkLst>
        </pc:cxnChg>
        <pc:cxnChg chg="del">
          <ac:chgData name="Manal El Bakkouri" userId="8b130982-2e3f-4164-b881-fd3a2e4b2453" providerId="ADAL" clId="{4457FA57-250B-44AC-8655-05D46C5A3D8A}" dt="2023-06-06T09:00:12.091" v="8887" actId="478"/>
          <ac:cxnSpMkLst>
            <pc:docMk/>
            <pc:sldMk cId="3393548977" sldId="230717701"/>
            <ac:cxnSpMk id="48" creationId="{DE99B8DC-304B-49E2-954F-A2D316D45AE9}"/>
          </ac:cxnSpMkLst>
        </pc:cxnChg>
        <pc:cxnChg chg="del">
          <ac:chgData name="Manal El Bakkouri" userId="8b130982-2e3f-4164-b881-fd3a2e4b2453" providerId="ADAL" clId="{4457FA57-250B-44AC-8655-05D46C5A3D8A}" dt="2023-06-06T09:00:12.091" v="8887" actId="478"/>
          <ac:cxnSpMkLst>
            <pc:docMk/>
            <pc:sldMk cId="3393548977" sldId="230717701"/>
            <ac:cxnSpMk id="49" creationId="{BBE609DF-674E-4BC5-A39F-84D91B13D005}"/>
          </ac:cxnSpMkLst>
        </pc:cxnChg>
      </pc:sldChg>
      <pc:sldChg chg="addSp delSp modSp add mod ord delAnim modNotesTx">
        <pc:chgData name="Manal El Bakkouri" userId="8b130982-2e3f-4164-b881-fd3a2e4b2453" providerId="ADAL" clId="{4457FA57-250B-44AC-8655-05D46C5A3D8A}" dt="2023-06-09T11:27:48.718" v="21732"/>
        <pc:sldMkLst>
          <pc:docMk/>
          <pc:sldMk cId="3252418624" sldId="230717702"/>
        </pc:sldMkLst>
        <pc:spChg chg="mod">
          <ac:chgData name="Manal El Bakkouri" userId="8b130982-2e3f-4164-b881-fd3a2e4b2453" providerId="ADAL" clId="{4457FA57-250B-44AC-8655-05D46C5A3D8A}" dt="2023-06-09T11:09:35.268" v="21537"/>
          <ac:spMkLst>
            <pc:docMk/>
            <pc:sldMk cId="3252418624" sldId="230717702"/>
            <ac:spMk id="30" creationId="{D0D19DAC-68DC-4169-B0E7-345F34383AE6}"/>
          </ac:spMkLst>
        </pc:spChg>
        <pc:spChg chg="mod">
          <ac:chgData name="Manal El Bakkouri" userId="8b130982-2e3f-4164-b881-fd3a2e4b2453" providerId="ADAL" clId="{4457FA57-250B-44AC-8655-05D46C5A3D8A}" dt="2023-06-09T11:09:35.268" v="21537"/>
          <ac:spMkLst>
            <pc:docMk/>
            <pc:sldMk cId="3252418624" sldId="230717702"/>
            <ac:spMk id="31" creationId="{3DC7B45C-80E0-4AC9-AC6E-1891CE74967B}"/>
          </ac:spMkLst>
        </pc:spChg>
        <pc:spChg chg="mod">
          <ac:chgData name="Manal El Bakkouri" userId="8b130982-2e3f-4164-b881-fd3a2e4b2453" providerId="ADAL" clId="{4457FA57-250B-44AC-8655-05D46C5A3D8A}" dt="2023-06-09T11:09:35.268" v="21537"/>
          <ac:spMkLst>
            <pc:docMk/>
            <pc:sldMk cId="3252418624" sldId="230717702"/>
            <ac:spMk id="33" creationId="{978FD4F6-CC9F-4B41-B7BB-A3BE05D63B11}"/>
          </ac:spMkLst>
        </pc:spChg>
        <pc:spChg chg="mod">
          <ac:chgData name="Manal El Bakkouri" userId="8b130982-2e3f-4164-b881-fd3a2e4b2453" providerId="ADAL" clId="{4457FA57-250B-44AC-8655-05D46C5A3D8A}" dt="2023-06-09T11:09:35.268" v="21537"/>
          <ac:spMkLst>
            <pc:docMk/>
            <pc:sldMk cId="3252418624" sldId="230717702"/>
            <ac:spMk id="34" creationId="{BCD07534-C675-4F66-A644-28C30C02634E}"/>
          </ac:spMkLst>
        </pc:spChg>
        <pc:spChg chg="mod">
          <ac:chgData name="Manal El Bakkouri" userId="8b130982-2e3f-4164-b881-fd3a2e4b2453" providerId="ADAL" clId="{4457FA57-250B-44AC-8655-05D46C5A3D8A}" dt="2023-06-09T11:09:35.268" v="21537"/>
          <ac:spMkLst>
            <pc:docMk/>
            <pc:sldMk cId="3252418624" sldId="230717702"/>
            <ac:spMk id="36" creationId="{53CC5DF2-5E83-462E-B067-BB0AA7DBB554}"/>
          </ac:spMkLst>
        </pc:spChg>
        <pc:spChg chg="mod">
          <ac:chgData name="Manal El Bakkouri" userId="8b130982-2e3f-4164-b881-fd3a2e4b2453" providerId="ADAL" clId="{4457FA57-250B-44AC-8655-05D46C5A3D8A}" dt="2023-06-09T11:09:35.268" v="21537"/>
          <ac:spMkLst>
            <pc:docMk/>
            <pc:sldMk cId="3252418624" sldId="230717702"/>
            <ac:spMk id="37" creationId="{65015381-39D5-4A47-97F6-687D7A5CC79A}"/>
          </ac:spMkLst>
        </pc:spChg>
        <pc:spChg chg="mod">
          <ac:chgData name="Manal El Bakkouri" userId="8b130982-2e3f-4164-b881-fd3a2e4b2453" providerId="ADAL" clId="{4457FA57-250B-44AC-8655-05D46C5A3D8A}" dt="2023-06-09T11:09:35.268" v="21537"/>
          <ac:spMkLst>
            <pc:docMk/>
            <pc:sldMk cId="3252418624" sldId="230717702"/>
            <ac:spMk id="39" creationId="{1F696E99-2DC4-4463-ADA1-B412B57A9F14}"/>
          </ac:spMkLst>
        </pc:spChg>
        <pc:spChg chg="mod">
          <ac:chgData name="Manal El Bakkouri" userId="8b130982-2e3f-4164-b881-fd3a2e4b2453" providerId="ADAL" clId="{4457FA57-250B-44AC-8655-05D46C5A3D8A}" dt="2023-06-09T11:09:35.268" v="21537"/>
          <ac:spMkLst>
            <pc:docMk/>
            <pc:sldMk cId="3252418624" sldId="230717702"/>
            <ac:spMk id="40" creationId="{21B68E4A-4206-4787-B7DF-DDC4DD884143}"/>
          </ac:spMkLst>
        </pc:spChg>
        <pc:spChg chg="del">
          <ac:chgData name="Manal El Bakkouri" userId="8b130982-2e3f-4164-b881-fd3a2e4b2453" providerId="ADAL" clId="{4457FA57-250B-44AC-8655-05D46C5A3D8A}" dt="2023-06-09T11:27:48.386" v="21731" actId="478"/>
          <ac:spMkLst>
            <pc:docMk/>
            <pc:sldMk cId="3252418624" sldId="230717702"/>
            <ac:spMk id="42" creationId="{A64C7408-49A6-4C3E-99BB-C931B1351638}"/>
          </ac:spMkLst>
        </pc:spChg>
        <pc:spChg chg="mod">
          <ac:chgData name="Manal El Bakkouri" userId="8b130982-2e3f-4164-b881-fd3a2e4b2453" providerId="ADAL" clId="{4457FA57-250B-44AC-8655-05D46C5A3D8A}" dt="2023-06-09T11:09:35.268" v="21537"/>
          <ac:spMkLst>
            <pc:docMk/>
            <pc:sldMk cId="3252418624" sldId="230717702"/>
            <ac:spMk id="43" creationId="{A73C7911-E8CF-40F9-8CD8-F1ED3B252FF2}"/>
          </ac:spMkLst>
        </pc:spChg>
        <pc:spChg chg="mod">
          <ac:chgData name="Manal El Bakkouri" userId="8b130982-2e3f-4164-b881-fd3a2e4b2453" providerId="ADAL" clId="{4457FA57-250B-44AC-8655-05D46C5A3D8A}" dt="2023-06-09T11:09:35.268" v="21537"/>
          <ac:spMkLst>
            <pc:docMk/>
            <pc:sldMk cId="3252418624" sldId="230717702"/>
            <ac:spMk id="44" creationId="{F996BA6F-92DF-43BC-BE75-E9A034336734}"/>
          </ac:spMkLst>
        </pc:spChg>
        <pc:spChg chg="del">
          <ac:chgData name="Manal El Bakkouri" userId="8b130982-2e3f-4164-b881-fd3a2e4b2453" providerId="ADAL" clId="{4457FA57-250B-44AC-8655-05D46C5A3D8A}" dt="2023-06-09T11:27:48.386" v="21731" actId="478"/>
          <ac:spMkLst>
            <pc:docMk/>
            <pc:sldMk cId="3252418624" sldId="230717702"/>
            <ac:spMk id="45" creationId="{408C8D92-08B3-4B61-A0CD-13080857796B}"/>
          </ac:spMkLst>
        </pc:spChg>
        <pc:spChg chg="add mod">
          <ac:chgData name="Manal El Bakkouri" userId="8b130982-2e3f-4164-b881-fd3a2e4b2453" providerId="ADAL" clId="{4457FA57-250B-44AC-8655-05D46C5A3D8A}" dt="2023-06-09T11:27:48.718" v="21732"/>
          <ac:spMkLst>
            <pc:docMk/>
            <pc:sldMk cId="3252418624" sldId="230717702"/>
            <ac:spMk id="46" creationId="{BCDBC7E5-69C5-4538-B000-554B1C034C6E}"/>
          </ac:spMkLst>
        </pc:spChg>
        <pc:spChg chg="del">
          <ac:chgData name="Manal El Bakkouri" userId="8b130982-2e3f-4164-b881-fd3a2e4b2453" providerId="ADAL" clId="{4457FA57-250B-44AC-8655-05D46C5A3D8A}" dt="2023-06-09T11:27:48.386" v="21731" actId="478"/>
          <ac:spMkLst>
            <pc:docMk/>
            <pc:sldMk cId="3252418624" sldId="230717702"/>
            <ac:spMk id="47" creationId="{50567FD5-B65B-4FC4-B0C8-4197E71F7081}"/>
          </ac:spMkLst>
        </pc:spChg>
        <pc:spChg chg="add mod">
          <ac:chgData name="Manal El Bakkouri" userId="8b130982-2e3f-4164-b881-fd3a2e4b2453" providerId="ADAL" clId="{4457FA57-250B-44AC-8655-05D46C5A3D8A}" dt="2023-06-09T11:27:48.718" v="21732"/>
          <ac:spMkLst>
            <pc:docMk/>
            <pc:sldMk cId="3252418624" sldId="230717702"/>
            <ac:spMk id="48" creationId="{7D26F1DF-C3CB-42D8-A382-98088AB3836B}"/>
          </ac:spMkLst>
        </pc:spChg>
        <pc:spChg chg="add mod">
          <ac:chgData name="Manal El Bakkouri" userId="8b130982-2e3f-4164-b881-fd3a2e4b2453" providerId="ADAL" clId="{4457FA57-250B-44AC-8655-05D46C5A3D8A}" dt="2023-06-09T11:27:48.718" v="21732"/>
          <ac:spMkLst>
            <pc:docMk/>
            <pc:sldMk cId="3252418624" sldId="230717702"/>
            <ac:spMk id="49" creationId="{0A53A307-1C94-44F1-AAEC-A2F0880D84C3}"/>
          </ac:spMkLst>
        </pc:spChg>
        <pc:spChg chg="add mod">
          <ac:chgData name="Manal El Bakkouri" userId="8b130982-2e3f-4164-b881-fd3a2e4b2453" providerId="ADAL" clId="{4457FA57-250B-44AC-8655-05D46C5A3D8A}" dt="2023-06-09T11:27:48.718" v="21732"/>
          <ac:spMkLst>
            <pc:docMk/>
            <pc:sldMk cId="3252418624" sldId="230717702"/>
            <ac:spMk id="50" creationId="{82CF1FCA-0999-45AA-A25B-0477D6B64E64}"/>
          </ac:spMkLst>
        </pc:spChg>
        <pc:spChg chg="del">
          <ac:chgData name="Manal El Bakkouri" userId="8b130982-2e3f-4164-b881-fd3a2e4b2453" providerId="ADAL" clId="{4457FA57-250B-44AC-8655-05D46C5A3D8A}" dt="2023-06-07T10:03:36.369" v="17623" actId="478"/>
          <ac:spMkLst>
            <pc:docMk/>
            <pc:sldMk cId="3252418624" sldId="230717702"/>
            <ac:spMk id="61" creationId="{DC34440A-5105-449E-A8F6-18365D73F0D3}"/>
          </ac:spMkLst>
        </pc:spChg>
        <pc:spChg chg="add mod">
          <ac:chgData name="Manal El Bakkouri" userId="8b130982-2e3f-4164-b881-fd3a2e4b2453" providerId="ADAL" clId="{4457FA57-250B-44AC-8655-05D46C5A3D8A}" dt="2023-06-06T09:11:37.013" v="9015" actId="14100"/>
          <ac:spMkLst>
            <pc:docMk/>
            <pc:sldMk cId="3252418624" sldId="230717702"/>
            <ac:spMk id="62" creationId="{495309CA-AF39-44A7-930A-E0AD872571D6}"/>
          </ac:spMkLst>
        </pc:spChg>
        <pc:spChg chg="del">
          <ac:chgData name="Manal El Bakkouri" userId="8b130982-2e3f-4164-b881-fd3a2e4b2453" providerId="ADAL" clId="{4457FA57-250B-44AC-8655-05D46C5A3D8A}" dt="2023-06-07T10:03:36.369" v="17623" actId="478"/>
          <ac:spMkLst>
            <pc:docMk/>
            <pc:sldMk cId="3252418624" sldId="230717702"/>
            <ac:spMk id="63" creationId="{CD634BF4-A42B-4E33-B1C2-82DE0979F488}"/>
          </ac:spMkLst>
        </pc:spChg>
        <pc:spChg chg="del">
          <ac:chgData name="Manal El Bakkouri" userId="8b130982-2e3f-4164-b881-fd3a2e4b2453" providerId="ADAL" clId="{4457FA57-250B-44AC-8655-05D46C5A3D8A}" dt="2023-06-07T10:03:36.369" v="17623" actId="478"/>
          <ac:spMkLst>
            <pc:docMk/>
            <pc:sldMk cId="3252418624" sldId="230717702"/>
            <ac:spMk id="64" creationId="{0BC6162E-87CC-4975-8AC3-B1C4E75A1FCD}"/>
          </ac:spMkLst>
        </pc:spChg>
        <pc:spChg chg="del">
          <ac:chgData name="Manal El Bakkouri" userId="8b130982-2e3f-4164-b881-fd3a2e4b2453" providerId="ADAL" clId="{4457FA57-250B-44AC-8655-05D46C5A3D8A}" dt="2023-06-07T10:03:36.369" v="17623" actId="478"/>
          <ac:spMkLst>
            <pc:docMk/>
            <pc:sldMk cId="3252418624" sldId="230717702"/>
            <ac:spMk id="65" creationId="{0DED4506-E850-4EDF-8E57-6CDA06ECCD31}"/>
          </ac:spMkLst>
        </pc:spChg>
        <pc:spChg chg="del">
          <ac:chgData name="Manal El Bakkouri" userId="8b130982-2e3f-4164-b881-fd3a2e4b2453" providerId="ADAL" clId="{4457FA57-250B-44AC-8655-05D46C5A3D8A}" dt="2023-06-07T10:03:36.369" v="17623" actId="478"/>
          <ac:spMkLst>
            <pc:docMk/>
            <pc:sldMk cId="3252418624" sldId="230717702"/>
            <ac:spMk id="67" creationId="{C2E676D3-7044-4416-95A3-0BDD568F460D}"/>
          </ac:spMkLst>
        </pc:spChg>
        <pc:spChg chg="del">
          <ac:chgData name="Manal El Bakkouri" userId="8b130982-2e3f-4164-b881-fd3a2e4b2453" providerId="ADAL" clId="{4457FA57-250B-44AC-8655-05D46C5A3D8A}" dt="2023-06-07T10:03:36.369" v="17623" actId="478"/>
          <ac:spMkLst>
            <pc:docMk/>
            <pc:sldMk cId="3252418624" sldId="230717702"/>
            <ac:spMk id="68" creationId="{E5E343C9-AD16-4EA4-89E2-CE2CE015D6E8}"/>
          </ac:spMkLst>
        </pc:spChg>
        <pc:spChg chg="del">
          <ac:chgData name="Manal El Bakkouri" userId="8b130982-2e3f-4164-b881-fd3a2e4b2453" providerId="ADAL" clId="{4457FA57-250B-44AC-8655-05D46C5A3D8A}" dt="2023-06-07T10:03:36.369" v="17623" actId="478"/>
          <ac:spMkLst>
            <pc:docMk/>
            <pc:sldMk cId="3252418624" sldId="230717702"/>
            <ac:spMk id="69" creationId="{EBD33ADD-FAAA-4E62-973F-7498E56F2256}"/>
          </ac:spMkLst>
        </pc:spChg>
        <pc:spChg chg="del">
          <ac:chgData name="Manal El Bakkouri" userId="8b130982-2e3f-4164-b881-fd3a2e4b2453" providerId="ADAL" clId="{4457FA57-250B-44AC-8655-05D46C5A3D8A}" dt="2023-06-07T10:03:36.369" v="17623" actId="478"/>
          <ac:spMkLst>
            <pc:docMk/>
            <pc:sldMk cId="3252418624" sldId="230717702"/>
            <ac:spMk id="70" creationId="{5D159352-80CA-4E9C-88AB-B5020F0649E1}"/>
          </ac:spMkLst>
        </pc:spChg>
        <pc:spChg chg="del">
          <ac:chgData name="Manal El Bakkouri" userId="8b130982-2e3f-4164-b881-fd3a2e4b2453" providerId="ADAL" clId="{4457FA57-250B-44AC-8655-05D46C5A3D8A}" dt="2023-06-07T10:03:36.369" v="17623" actId="478"/>
          <ac:spMkLst>
            <pc:docMk/>
            <pc:sldMk cId="3252418624" sldId="230717702"/>
            <ac:spMk id="71" creationId="{3776B1AD-70C1-41F9-856E-401FA9523AD6}"/>
          </ac:spMkLst>
        </pc:spChg>
        <pc:spChg chg="del">
          <ac:chgData name="Manal El Bakkouri" userId="8b130982-2e3f-4164-b881-fd3a2e4b2453" providerId="ADAL" clId="{4457FA57-250B-44AC-8655-05D46C5A3D8A}" dt="2023-06-07T10:03:36.369" v="17623" actId="478"/>
          <ac:spMkLst>
            <pc:docMk/>
            <pc:sldMk cId="3252418624" sldId="230717702"/>
            <ac:spMk id="72" creationId="{E9C39060-E719-4A69-856C-B9621AB4CBB0}"/>
          </ac:spMkLst>
        </pc:spChg>
        <pc:spChg chg="mod">
          <ac:chgData name="Manal El Bakkouri" userId="8b130982-2e3f-4164-b881-fd3a2e4b2453" providerId="ADAL" clId="{4457FA57-250B-44AC-8655-05D46C5A3D8A}" dt="2023-06-07T10:03:36.709" v="17624"/>
          <ac:spMkLst>
            <pc:docMk/>
            <pc:sldMk cId="3252418624" sldId="230717702"/>
            <ac:spMk id="73" creationId="{1191A9D5-F00B-47CD-8A63-6C8ABE31492A}"/>
          </ac:spMkLst>
        </pc:spChg>
        <pc:spChg chg="mod">
          <ac:chgData name="Manal El Bakkouri" userId="8b130982-2e3f-4164-b881-fd3a2e4b2453" providerId="ADAL" clId="{4457FA57-250B-44AC-8655-05D46C5A3D8A}" dt="2023-06-07T10:03:36.709" v="17624"/>
          <ac:spMkLst>
            <pc:docMk/>
            <pc:sldMk cId="3252418624" sldId="230717702"/>
            <ac:spMk id="74" creationId="{88BEACF9-ED9E-4AA3-99F7-42BC8C115001}"/>
          </ac:spMkLst>
        </pc:spChg>
        <pc:spChg chg="mod">
          <ac:chgData name="Manal El Bakkouri" userId="8b130982-2e3f-4164-b881-fd3a2e4b2453" providerId="ADAL" clId="{4457FA57-250B-44AC-8655-05D46C5A3D8A}" dt="2023-06-07T10:03:36.709" v="17624"/>
          <ac:spMkLst>
            <pc:docMk/>
            <pc:sldMk cId="3252418624" sldId="230717702"/>
            <ac:spMk id="76" creationId="{1064669C-B162-448D-8237-056C808C795F}"/>
          </ac:spMkLst>
        </pc:spChg>
        <pc:spChg chg="mod">
          <ac:chgData name="Manal El Bakkouri" userId="8b130982-2e3f-4164-b881-fd3a2e4b2453" providerId="ADAL" clId="{4457FA57-250B-44AC-8655-05D46C5A3D8A}" dt="2023-06-07T10:03:36.709" v="17624"/>
          <ac:spMkLst>
            <pc:docMk/>
            <pc:sldMk cId="3252418624" sldId="230717702"/>
            <ac:spMk id="77" creationId="{FB073D48-1474-488E-B124-CFFD64E2276A}"/>
          </ac:spMkLst>
        </pc:spChg>
        <pc:spChg chg="mod">
          <ac:chgData name="Manal El Bakkouri" userId="8b130982-2e3f-4164-b881-fd3a2e4b2453" providerId="ADAL" clId="{4457FA57-250B-44AC-8655-05D46C5A3D8A}" dt="2023-06-07T10:03:36.709" v="17624"/>
          <ac:spMkLst>
            <pc:docMk/>
            <pc:sldMk cId="3252418624" sldId="230717702"/>
            <ac:spMk id="79" creationId="{B9FD9C2F-C454-4CD4-ADD6-1AC93F131D1F}"/>
          </ac:spMkLst>
        </pc:spChg>
        <pc:spChg chg="mod">
          <ac:chgData name="Manal El Bakkouri" userId="8b130982-2e3f-4164-b881-fd3a2e4b2453" providerId="ADAL" clId="{4457FA57-250B-44AC-8655-05D46C5A3D8A}" dt="2023-06-07T10:03:36.709" v="17624"/>
          <ac:spMkLst>
            <pc:docMk/>
            <pc:sldMk cId="3252418624" sldId="230717702"/>
            <ac:spMk id="80" creationId="{2287E887-9F81-4FCD-821E-5E85A46CEF36}"/>
          </ac:spMkLst>
        </pc:spChg>
        <pc:spChg chg="mod">
          <ac:chgData name="Manal El Bakkouri" userId="8b130982-2e3f-4164-b881-fd3a2e4b2453" providerId="ADAL" clId="{4457FA57-250B-44AC-8655-05D46C5A3D8A}" dt="2023-06-07T10:03:36.709" v="17624"/>
          <ac:spMkLst>
            <pc:docMk/>
            <pc:sldMk cId="3252418624" sldId="230717702"/>
            <ac:spMk id="82" creationId="{7BA4205E-1B51-4660-90BF-94A33B5F95AD}"/>
          </ac:spMkLst>
        </pc:spChg>
        <pc:spChg chg="mod">
          <ac:chgData name="Manal El Bakkouri" userId="8b130982-2e3f-4164-b881-fd3a2e4b2453" providerId="ADAL" clId="{4457FA57-250B-44AC-8655-05D46C5A3D8A}" dt="2023-06-07T10:03:36.709" v="17624"/>
          <ac:spMkLst>
            <pc:docMk/>
            <pc:sldMk cId="3252418624" sldId="230717702"/>
            <ac:spMk id="83" creationId="{04444E77-F0EA-49E7-AB0B-BA9CB3CB352B}"/>
          </ac:spMkLst>
        </pc:spChg>
        <pc:spChg chg="mod">
          <ac:chgData name="Manal El Bakkouri" userId="8b130982-2e3f-4164-b881-fd3a2e4b2453" providerId="ADAL" clId="{4457FA57-250B-44AC-8655-05D46C5A3D8A}" dt="2023-06-07T10:03:36.709" v="17624"/>
          <ac:spMkLst>
            <pc:docMk/>
            <pc:sldMk cId="3252418624" sldId="230717702"/>
            <ac:spMk id="85" creationId="{C0E6AB94-F231-4290-811B-4F17414DD2FC}"/>
          </ac:spMkLst>
        </pc:spChg>
        <pc:spChg chg="mod">
          <ac:chgData name="Manal El Bakkouri" userId="8b130982-2e3f-4164-b881-fd3a2e4b2453" providerId="ADAL" clId="{4457FA57-250B-44AC-8655-05D46C5A3D8A}" dt="2023-06-07T10:03:36.709" v="17624"/>
          <ac:spMkLst>
            <pc:docMk/>
            <pc:sldMk cId="3252418624" sldId="230717702"/>
            <ac:spMk id="86" creationId="{D0CA367D-6A46-4A79-AA30-D466D93B520F}"/>
          </ac:spMkLst>
        </pc:spChg>
        <pc:grpChg chg="add mod">
          <ac:chgData name="Manal El Bakkouri" userId="8b130982-2e3f-4164-b881-fd3a2e4b2453" providerId="ADAL" clId="{4457FA57-250B-44AC-8655-05D46C5A3D8A}" dt="2023-06-09T11:09:35.268" v="21537"/>
          <ac:grpSpMkLst>
            <pc:docMk/>
            <pc:sldMk cId="3252418624" sldId="230717702"/>
            <ac:grpSpMk id="29" creationId="{041AAF41-643E-4BFA-A486-AC77F91FF254}"/>
          </ac:grpSpMkLst>
        </pc:grpChg>
        <pc:grpChg chg="add mod">
          <ac:chgData name="Manal El Bakkouri" userId="8b130982-2e3f-4164-b881-fd3a2e4b2453" providerId="ADAL" clId="{4457FA57-250B-44AC-8655-05D46C5A3D8A}" dt="2023-06-09T11:09:35.268" v="21537"/>
          <ac:grpSpMkLst>
            <pc:docMk/>
            <pc:sldMk cId="3252418624" sldId="230717702"/>
            <ac:grpSpMk id="32" creationId="{5892407A-64FD-40DF-B406-F94CA75331E1}"/>
          </ac:grpSpMkLst>
        </pc:grpChg>
        <pc:grpChg chg="add mod">
          <ac:chgData name="Manal El Bakkouri" userId="8b130982-2e3f-4164-b881-fd3a2e4b2453" providerId="ADAL" clId="{4457FA57-250B-44AC-8655-05D46C5A3D8A}" dt="2023-06-09T11:09:35.268" v="21537"/>
          <ac:grpSpMkLst>
            <pc:docMk/>
            <pc:sldMk cId="3252418624" sldId="230717702"/>
            <ac:grpSpMk id="35" creationId="{6F3A0614-6886-4754-ACC2-D3B928A5B3BC}"/>
          </ac:grpSpMkLst>
        </pc:grpChg>
        <pc:grpChg chg="add mod">
          <ac:chgData name="Manal El Bakkouri" userId="8b130982-2e3f-4164-b881-fd3a2e4b2453" providerId="ADAL" clId="{4457FA57-250B-44AC-8655-05D46C5A3D8A}" dt="2023-06-09T11:09:35.268" v="21537"/>
          <ac:grpSpMkLst>
            <pc:docMk/>
            <pc:sldMk cId="3252418624" sldId="230717702"/>
            <ac:grpSpMk id="38" creationId="{993E9699-EBDD-46CA-8D79-039C1B841AAB}"/>
          </ac:grpSpMkLst>
        </pc:grpChg>
        <pc:grpChg chg="add mod">
          <ac:chgData name="Manal El Bakkouri" userId="8b130982-2e3f-4164-b881-fd3a2e4b2453" providerId="ADAL" clId="{4457FA57-250B-44AC-8655-05D46C5A3D8A}" dt="2023-06-09T11:09:35.268" v="21537"/>
          <ac:grpSpMkLst>
            <pc:docMk/>
            <pc:sldMk cId="3252418624" sldId="230717702"/>
            <ac:grpSpMk id="41" creationId="{2BB9B0FD-72AC-44C5-B4CA-327B3BF33FE0}"/>
          </ac:grpSpMkLst>
        </pc:grpChg>
        <pc:grpChg chg="del">
          <ac:chgData name="Manal El Bakkouri" userId="8b130982-2e3f-4164-b881-fd3a2e4b2453" providerId="ADAL" clId="{4457FA57-250B-44AC-8655-05D46C5A3D8A}" dt="2023-06-06T09:02:40.897" v="8906" actId="478"/>
          <ac:grpSpMkLst>
            <pc:docMk/>
            <pc:sldMk cId="3252418624" sldId="230717702"/>
            <ac:grpSpMk id="41" creationId="{A7D241EB-CE54-45BA-93FD-28E9554D2F55}"/>
          </ac:grpSpMkLst>
        </pc:grpChg>
        <pc:grpChg chg="del">
          <ac:chgData name="Manal El Bakkouri" userId="8b130982-2e3f-4164-b881-fd3a2e4b2453" providerId="ADAL" clId="{4457FA57-250B-44AC-8655-05D46C5A3D8A}" dt="2023-06-06T09:02:40.897" v="8906" actId="478"/>
          <ac:grpSpMkLst>
            <pc:docMk/>
            <pc:sldMk cId="3252418624" sldId="230717702"/>
            <ac:grpSpMk id="43" creationId="{26BDA0EE-8E60-4A60-862F-D0C64FEF1E83}"/>
          </ac:grpSpMkLst>
        </pc:grpChg>
        <pc:grpChg chg="del">
          <ac:chgData name="Manal El Bakkouri" userId="8b130982-2e3f-4164-b881-fd3a2e4b2453" providerId="ADAL" clId="{4457FA57-250B-44AC-8655-05D46C5A3D8A}" dt="2023-06-06T09:02:40.897" v="8906" actId="478"/>
          <ac:grpSpMkLst>
            <pc:docMk/>
            <pc:sldMk cId="3252418624" sldId="230717702"/>
            <ac:grpSpMk id="44" creationId="{72B7858C-5E0D-455B-AE2F-5BD2C5DE4FB2}"/>
          </ac:grpSpMkLst>
        </pc:grpChg>
        <pc:grpChg chg="del">
          <ac:chgData name="Manal El Bakkouri" userId="8b130982-2e3f-4164-b881-fd3a2e4b2453" providerId="ADAL" clId="{4457FA57-250B-44AC-8655-05D46C5A3D8A}" dt="2023-06-06T09:02:40.897" v="8906" actId="478"/>
          <ac:grpSpMkLst>
            <pc:docMk/>
            <pc:sldMk cId="3252418624" sldId="230717702"/>
            <ac:grpSpMk id="50" creationId="{9ECB89D8-783D-4467-A7B7-0E8D866A04B2}"/>
          </ac:grpSpMkLst>
        </pc:grpChg>
        <pc:grpChg chg="del">
          <ac:chgData name="Manal El Bakkouri" userId="8b130982-2e3f-4164-b881-fd3a2e4b2453" providerId="ADAL" clId="{4457FA57-250B-44AC-8655-05D46C5A3D8A}" dt="2023-06-06T09:02:40.897" v="8906" actId="478"/>
          <ac:grpSpMkLst>
            <pc:docMk/>
            <pc:sldMk cId="3252418624" sldId="230717702"/>
            <ac:grpSpMk id="53" creationId="{0FBF40BA-C416-4AA7-8CED-C03EB3060042}"/>
          </ac:grpSpMkLst>
        </pc:grpChg>
        <pc:grpChg chg="del">
          <ac:chgData name="Manal El Bakkouri" userId="8b130982-2e3f-4164-b881-fd3a2e4b2453" providerId="ADAL" clId="{4457FA57-250B-44AC-8655-05D46C5A3D8A}" dt="2023-06-06T09:02:40.897" v="8906" actId="478"/>
          <ac:grpSpMkLst>
            <pc:docMk/>
            <pc:sldMk cId="3252418624" sldId="230717702"/>
            <ac:grpSpMk id="56" creationId="{65ED4EF8-02AE-4D67-8D49-F222E4B7F926}"/>
          </ac:grpSpMkLst>
        </pc:grpChg>
        <pc:grpChg chg="add del mod">
          <ac:chgData name="Manal El Bakkouri" userId="8b130982-2e3f-4164-b881-fd3a2e4b2453" providerId="ADAL" clId="{4457FA57-250B-44AC-8655-05D46C5A3D8A}" dt="2023-06-09T11:09:28.349" v="21536" actId="478"/>
          <ac:grpSpMkLst>
            <pc:docMk/>
            <pc:sldMk cId="3252418624" sldId="230717702"/>
            <ac:grpSpMk id="66" creationId="{578C366A-972E-499C-BE8B-4EF122F409D5}"/>
          </ac:grpSpMkLst>
        </pc:grpChg>
        <pc:grpChg chg="add del mod">
          <ac:chgData name="Manal El Bakkouri" userId="8b130982-2e3f-4164-b881-fd3a2e4b2453" providerId="ADAL" clId="{4457FA57-250B-44AC-8655-05D46C5A3D8A}" dt="2023-06-09T11:09:28.349" v="21536" actId="478"/>
          <ac:grpSpMkLst>
            <pc:docMk/>
            <pc:sldMk cId="3252418624" sldId="230717702"/>
            <ac:grpSpMk id="75" creationId="{6D8CAC60-E00A-46C7-AA16-711CB62A7849}"/>
          </ac:grpSpMkLst>
        </pc:grpChg>
        <pc:grpChg chg="add del mod">
          <ac:chgData name="Manal El Bakkouri" userId="8b130982-2e3f-4164-b881-fd3a2e4b2453" providerId="ADAL" clId="{4457FA57-250B-44AC-8655-05D46C5A3D8A}" dt="2023-06-09T11:09:28.349" v="21536" actId="478"/>
          <ac:grpSpMkLst>
            <pc:docMk/>
            <pc:sldMk cId="3252418624" sldId="230717702"/>
            <ac:grpSpMk id="78" creationId="{062D11C0-16FD-422A-A553-12F5DBF45462}"/>
          </ac:grpSpMkLst>
        </pc:grpChg>
        <pc:grpChg chg="add del mod">
          <ac:chgData name="Manal El Bakkouri" userId="8b130982-2e3f-4164-b881-fd3a2e4b2453" providerId="ADAL" clId="{4457FA57-250B-44AC-8655-05D46C5A3D8A}" dt="2023-06-09T11:09:28.349" v="21536" actId="478"/>
          <ac:grpSpMkLst>
            <pc:docMk/>
            <pc:sldMk cId="3252418624" sldId="230717702"/>
            <ac:grpSpMk id="81" creationId="{8F92A2AA-C1B4-468A-8481-C1957F52F579}"/>
          </ac:grpSpMkLst>
        </pc:grpChg>
        <pc:grpChg chg="add del mod">
          <ac:chgData name="Manal El Bakkouri" userId="8b130982-2e3f-4164-b881-fd3a2e4b2453" providerId="ADAL" clId="{4457FA57-250B-44AC-8655-05D46C5A3D8A}" dt="2023-06-09T11:09:28.349" v="21536" actId="478"/>
          <ac:grpSpMkLst>
            <pc:docMk/>
            <pc:sldMk cId="3252418624" sldId="230717702"/>
            <ac:grpSpMk id="84" creationId="{CD078E02-B085-4EE9-B155-20D1217980E7}"/>
          </ac:grpSpMkLst>
        </pc:grpChg>
        <pc:picChg chg="mod ord">
          <ac:chgData name="Manal El Bakkouri" userId="8b130982-2e3f-4164-b881-fd3a2e4b2453" providerId="ADAL" clId="{4457FA57-250B-44AC-8655-05D46C5A3D8A}" dt="2023-06-06T10:37:49.020" v="9785" actId="171"/>
          <ac:picMkLst>
            <pc:docMk/>
            <pc:sldMk cId="3252418624" sldId="230717702"/>
            <ac:picMk id="7" creationId="{9B7DBCE6-D483-408E-91F7-6162E26E31DF}"/>
          </ac:picMkLst>
        </pc:picChg>
        <pc:picChg chg="mod ord">
          <ac:chgData name="Manal El Bakkouri" userId="8b130982-2e3f-4164-b881-fd3a2e4b2453" providerId="ADAL" clId="{4457FA57-250B-44AC-8655-05D46C5A3D8A}" dt="2023-06-06T09:03:55.746" v="8921" actId="166"/>
          <ac:picMkLst>
            <pc:docMk/>
            <pc:sldMk cId="3252418624" sldId="230717702"/>
            <ac:picMk id="9" creationId="{A8E930A2-4CB1-4781-A9C8-29077092C6A2}"/>
          </ac:picMkLst>
        </pc:picChg>
        <pc:picChg chg="mod">
          <ac:chgData name="Manal El Bakkouri" userId="8b130982-2e3f-4164-b881-fd3a2e4b2453" providerId="ADAL" clId="{4457FA57-250B-44AC-8655-05D46C5A3D8A}" dt="2023-06-06T09:03:53.356" v="8920" actId="1076"/>
          <ac:picMkLst>
            <pc:docMk/>
            <pc:sldMk cId="3252418624" sldId="230717702"/>
            <ac:picMk id="11" creationId="{0DD446C0-D902-451F-97DE-304869F6F4BB}"/>
          </ac:picMkLst>
        </pc:picChg>
        <pc:picChg chg="mod">
          <ac:chgData name="Manal El Bakkouri" userId="8b130982-2e3f-4164-b881-fd3a2e4b2453" providerId="ADAL" clId="{4457FA57-250B-44AC-8655-05D46C5A3D8A}" dt="2023-06-06T09:03:37.596" v="8919" actId="1076"/>
          <ac:picMkLst>
            <pc:docMk/>
            <pc:sldMk cId="3252418624" sldId="230717702"/>
            <ac:picMk id="13" creationId="{47F62D46-D751-4F10-B5AF-25A44D54E798}"/>
          </ac:picMkLst>
        </pc:picChg>
        <pc:picChg chg="mod ord">
          <ac:chgData name="Manal El Bakkouri" userId="8b130982-2e3f-4164-b881-fd3a2e4b2453" providerId="ADAL" clId="{4457FA57-250B-44AC-8655-05D46C5A3D8A}" dt="2023-06-06T09:18:30.571" v="9141" actId="166"/>
          <ac:picMkLst>
            <pc:docMk/>
            <pc:sldMk cId="3252418624" sldId="230717702"/>
            <ac:picMk id="18" creationId="{DD627184-D4DB-4368-95C2-5485143F4BAF}"/>
          </ac:picMkLst>
        </pc:picChg>
        <pc:picChg chg="mod ord">
          <ac:chgData name="Manal El Bakkouri" userId="8b130982-2e3f-4164-b881-fd3a2e4b2453" providerId="ADAL" clId="{4457FA57-250B-44AC-8655-05D46C5A3D8A}" dt="2023-06-06T09:04:44.916" v="8926" actId="167"/>
          <ac:picMkLst>
            <pc:docMk/>
            <pc:sldMk cId="3252418624" sldId="230717702"/>
            <ac:picMk id="20" creationId="{706F4A6E-E8A8-407E-8B06-150C8070B821}"/>
          </ac:picMkLst>
        </pc:picChg>
        <pc:cxnChg chg="del">
          <ac:chgData name="Manal El Bakkouri" userId="8b130982-2e3f-4164-b881-fd3a2e4b2453" providerId="ADAL" clId="{4457FA57-250B-44AC-8655-05D46C5A3D8A}" dt="2023-06-06T09:02:40.897" v="8906" actId="478"/>
          <ac:cxnSpMkLst>
            <pc:docMk/>
            <pc:sldMk cId="3252418624" sldId="230717702"/>
            <ac:cxnSpMk id="46" creationId="{CB2E0283-43BA-4E72-8A11-6196DB3EA9EB}"/>
          </ac:cxnSpMkLst>
        </pc:cxnChg>
        <pc:cxnChg chg="del">
          <ac:chgData name="Manal El Bakkouri" userId="8b130982-2e3f-4164-b881-fd3a2e4b2453" providerId="ADAL" clId="{4457FA57-250B-44AC-8655-05D46C5A3D8A}" dt="2023-06-06T09:02:40.897" v="8906" actId="478"/>
          <ac:cxnSpMkLst>
            <pc:docMk/>
            <pc:sldMk cId="3252418624" sldId="230717702"/>
            <ac:cxnSpMk id="48" creationId="{DE99B8DC-304B-49E2-954F-A2D316D45AE9}"/>
          </ac:cxnSpMkLst>
        </pc:cxnChg>
        <pc:cxnChg chg="del">
          <ac:chgData name="Manal El Bakkouri" userId="8b130982-2e3f-4164-b881-fd3a2e4b2453" providerId="ADAL" clId="{4457FA57-250B-44AC-8655-05D46C5A3D8A}" dt="2023-06-06T09:02:40.897" v="8906" actId="478"/>
          <ac:cxnSpMkLst>
            <pc:docMk/>
            <pc:sldMk cId="3252418624" sldId="230717702"/>
            <ac:cxnSpMk id="49" creationId="{BBE609DF-674E-4BC5-A39F-84D91B13D005}"/>
          </ac:cxnSpMkLst>
        </pc:cxnChg>
      </pc:sldChg>
      <pc:sldChg chg="modSp add del mod">
        <pc:chgData name="Manal El Bakkouri" userId="8b130982-2e3f-4164-b881-fd3a2e4b2453" providerId="ADAL" clId="{4457FA57-250B-44AC-8655-05D46C5A3D8A}" dt="2023-06-06T09:06:13.998" v="8960" actId="2696"/>
        <pc:sldMkLst>
          <pc:docMk/>
          <pc:sldMk cId="15694313" sldId="230717703"/>
        </pc:sldMkLst>
        <pc:picChg chg="mod">
          <ac:chgData name="Manal El Bakkouri" userId="8b130982-2e3f-4164-b881-fd3a2e4b2453" providerId="ADAL" clId="{4457FA57-250B-44AC-8655-05D46C5A3D8A}" dt="2023-06-06T09:06:09.045" v="8959" actId="1076"/>
          <ac:picMkLst>
            <pc:docMk/>
            <pc:sldMk cId="15694313" sldId="230717703"/>
            <ac:picMk id="18" creationId="{DD627184-D4DB-4368-95C2-5485143F4BAF}"/>
          </ac:picMkLst>
        </pc:picChg>
      </pc:sldChg>
      <pc:sldChg chg="add del">
        <pc:chgData name="Manal El Bakkouri" userId="8b130982-2e3f-4164-b881-fd3a2e4b2453" providerId="ADAL" clId="{4457FA57-250B-44AC-8655-05D46C5A3D8A}" dt="2023-06-06T09:11:47.551" v="9017" actId="2696"/>
        <pc:sldMkLst>
          <pc:docMk/>
          <pc:sldMk cId="3756152383" sldId="230717704"/>
        </pc:sldMkLst>
      </pc:sldChg>
      <pc:sldChg chg="addSp delSp modSp add mod modNotesTx">
        <pc:chgData name="Manal El Bakkouri" userId="8b130982-2e3f-4164-b881-fd3a2e4b2453" providerId="ADAL" clId="{4457FA57-250B-44AC-8655-05D46C5A3D8A}" dt="2023-06-09T11:27:53.485" v="21734"/>
        <pc:sldMkLst>
          <pc:docMk/>
          <pc:sldMk cId="1776306123" sldId="230717705"/>
        </pc:sldMkLst>
        <pc:spChg chg="mod">
          <ac:chgData name="Manal El Bakkouri" userId="8b130982-2e3f-4164-b881-fd3a2e4b2453" providerId="ADAL" clId="{4457FA57-250B-44AC-8655-05D46C5A3D8A}" dt="2023-06-07T10:03:42.934" v="17626"/>
          <ac:spMkLst>
            <pc:docMk/>
            <pc:sldMk cId="1776306123" sldId="230717705"/>
            <ac:spMk id="27" creationId="{5F706A6E-61AA-4BFB-B393-57C137B9F4BA}"/>
          </ac:spMkLst>
        </pc:spChg>
        <pc:spChg chg="mod">
          <ac:chgData name="Manal El Bakkouri" userId="8b130982-2e3f-4164-b881-fd3a2e4b2453" providerId="ADAL" clId="{4457FA57-250B-44AC-8655-05D46C5A3D8A}" dt="2023-06-07T10:03:42.934" v="17626"/>
          <ac:spMkLst>
            <pc:docMk/>
            <pc:sldMk cId="1776306123" sldId="230717705"/>
            <ac:spMk id="28" creationId="{7EB80030-D383-4BA4-A2E3-8ACAE5A4468F}"/>
          </ac:spMkLst>
        </pc:spChg>
        <pc:spChg chg="mod">
          <ac:chgData name="Manal El Bakkouri" userId="8b130982-2e3f-4164-b881-fd3a2e4b2453" providerId="ADAL" clId="{4457FA57-250B-44AC-8655-05D46C5A3D8A}" dt="2023-06-07T10:03:42.934" v="17626"/>
          <ac:spMkLst>
            <pc:docMk/>
            <pc:sldMk cId="1776306123" sldId="230717705"/>
            <ac:spMk id="30" creationId="{224F51AC-5135-46DB-BB2D-029787AEEEAA}"/>
          </ac:spMkLst>
        </pc:spChg>
        <pc:spChg chg="mod">
          <ac:chgData name="Manal El Bakkouri" userId="8b130982-2e3f-4164-b881-fd3a2e4b2453" providerId="ADAL" clId="{4457FA57-250B-44AC-8655-05D46C5A3D8A}" dt="2023-06-07T10:03:42.934" v="17626"/>
          <ac:spMkLst>
            <pc:docMk/>
            <pc:sldMk cId="1776306123" sldId="230717705"/>
            <ac:spMk id="31" creationId="{E2EA1E63-C8BB-4226-899E-8A0C7BA141AC}"/>
          </ac:spMkLst>
        </pc:spChg>
        <pc:spChg chg="mod">
          <ac:chgData name="Manal El Bakkouri" userId="8b130982-2e3f-4164-b881-fd3a2e4b2453" providerId="ADAL" clId="{4457FA57-250B-44AC-8655-05D46C5A3D8A}" dt="2023-06-07T10:03:42.934" v="17626"/>
          <ac:spMkLst>
            <pc:docMk/>
            <pc:sldMk cId="1776306123" sldId="230717705"/>
            <ac:spMk id="33" creationId="{CEAEE8B6-6716-49F7-BE68-8802DB941401}"/>
          </ac:spMkLst>
        </pc:spChg>
        <pc:spChg chg="mod">
          <ac:chgData name="Manal El Bakkouri" userId="8b130982-2e3f-4164-b881-fd3a2e4b2453" providerId="ADAL" clId="{4457FA57-250B-44AC-8655-05D46C5A3D8A}" dt="2023-06-07T10:03:42.934" v="17626"/>
          <ac:spMkLst>
            <pc:docMk/>
            <pc:sldMk cId="1776306123" sldId="230717705"/>
            <ac:spMk id="34" creationId="{7D049F4B-87FB-4918-99C9-EB5C0CFF9A3C}"/>
          </ac:spMkLst>
        </pc:spChg>
        <pc:spChg chg="mod">
          <ac:chgData name="Manal El Bakkouri" userId="8b130982-2e3f-4164-b881-fd3a2e4b2453" providerId="ADAL" clId="{4457FA57-250B-44AC-8655-05D46C5A3D8A}" dt="2023-06-07T10:03:42.934" v="17626"/>
          <ac:spMkLst>
            <pc:docMk/>
            <pc:sldMk cId="1776306123" sldId="230717705"/>
            <ac:spMk id="36" creationId="{020F02BD-994F-4B84-8AAD-A90893CB8549}"/>
          </ac:spMkLst>
        </pc:spChg>
        <pc:spChg chg="mod">
          <ac:chgData name="Manal El Bakkouri" userId="8b130982-2e3f-4164-b881-fd3a2e4b2453" providerId="ADAL" clId="{4457FA57-250B-44AC-8655-05D46C5A3D8A}" dt="2023-06-07T10:03:42.934" v="17626"/>
          <ac:spMkLst>
            <pc:docMk/>
            <pc:sldMk cId="1776306123" sldId="230717705"/>
            <ac:spMk id="37" creationId="{0EC6AFA8-D77D-4076-9027-F84CF3585E94}"/>
          </ac:spMkLst>
        </pc:spChg>
        <pc:spChg chg="mod">
          <ac:chgData name="Manal El Bakkouri" userId="8b130982-2e3f-4164-b881-fd3a2e4b2453" providerId="ADAL" clId="{4457FA57-250B-44AC-8655-05D46C5A3D8A}" dt="2023-06-07T10:03:42.934" v="17626"/>
          <ac:spMkLst>
            <pc:docMk/>
            <pc:sldMk cId="1776306123" sldId="230717705"/>
            <ac:spMk id="39" creationId="{FFF8BB14-E0C9-46A4-A99A-8723BE55A1FA}"/>
          </ac:spMkLst>
        </pc:spChg>
        <pc:spChg chg="mod">
          <ac:chgData name="Manal El Bakkouri" userId="8b130982-2e3f-4164-b881-fd3a2e4b2453" providerId="ADAL" clId="{4457FA57-250B-44AC-8655-05D46C5A3D8A}" dt="2023-06-07T10:03:42.934" v="17626"/>
          <ac:spMkLst>
            <pc:docMk/>
            <pc:sldMk cId="1776306123" sldId="230717705"/>
            <ac:spMk id="40" creationId="{292562A0-0758-4222-AAA9-32F83B9EC792}"/>
          </ac:spMkLst>
        </pc:spChg>
        <pc:spChg chg="del">
          <ac:chgData name="Manal El Bakkouri" userId="8b130982-2e3f-4164-b881-fd3a2e4b2453" providerId="ADAL" clId="{4457FA57-250B-44AC-8655-05D46C5A3D8A}" dt="2023-06-09T11:27:53.085" v="21733" actId="478"/>
          <ac:spMkLst>
            <pc:docMk/>
            <pc:sldMk cId="1776306123" sldId="230717705"/>
            <ac:spMk id="42" creationId="{A64C7408-49A6-4C3E-99BB-C931B1351638}"/>
          </ac:spMkLst>
        </pc:spChg>
        <pc:spChg chg="mod">
          <ac:chgData name="Manal El Bakkouri" userId="8b130982-2e3f-4164-b881-fd3a2e4b2453" providerId="ADAL" clId="{4457FA57-250B-44AC-8655-05D46C5A3D8A}" dt="2023-06-09T11:09:40.119" v="21539"/>
          <ac:spMkLst>
            <pc:docMk/>
            <pc:sldMk cId="1776306123" sldId="230717705"/>
            <ac:spMk id="43" creationId="{450EFF49-5251-432D-8C11-19666A0533A7}"/>
          </ac:spMkLst>
        </pc:spChg>
        <pc:spChg chg="mod">
          <ac:chgData name="Manal El Bakkouri" userId="8b130982-2e3f-4164-b881-fd3a2e4b2453" providerId="ADAL" clId="{4457FA57-250B-44AC-8655-05D46C5A3D8A}" dt="2023-06-09T11:09:40.119" v="21539"/>
          <ac:spMkLst>
            <pc:docMk/>
            <pc:sldMk cId="1776306123" sldId="230717705"/>
            <ac:spMk id="44" creationId="{461F8361-B915-4C43-9050-9D457D8C88B4}"/>
          </ac:spMkLst>
        </pc:spChg>
        <pc:spChg chg="del">
          <ac:chgData name="Manal El Bakkouri" userId="8b130982-2e3f-4164-b881-fd3a2e4b2453" providerId="ADAL" clId="{4457FA57-250B-44AC-8655-05D46C5A3D8A}" dt="2023-06-09T11:27:53.085" v="21733" actId="478"/>
          <ac:spMkLst>
            <pc:docMk/>
            <pc:sldMk cId="1776306123" sldId="230717705"/>
            <ac:spMk id="45" creationId="{408C8D92-08B3-4B61-A0CD-13080857796B}"/>
          </ac:spMkLst>
        </pc:spChg>
        <pc:spChg chg="del">
          <ac:chgData name="Manal El Bakkouri" userId="8b130982-2e3f-4164-b881-fd3a2e4b2453" providerId="ADAL" clId="{4457FA57-250B-44AC-8655-05D46C5A3D8A}" dt="2023-06-09T11:27:53.085" v="21733" actId="478"/>
          <ac:spMkLst>
            <pc:docMk/>
            <pc:sldMk cId="1776306123" sldId="230717705"/>
            <ac:spMk id="47" creationId="{50567FD5-B65B-4FC4-B0C8-4197E71F7081}"/>
          </ac:spMkLst>
        </pc:spChg>
        <pc:spChg chg="mod">
          <ac:chgData name="Manal El Bakkouri" userId="8b130982-2e3f-4164-b881-fd3a2e4b2453" providerId="ADAL" clId="{4457FA57-250B-44AC-8655-05D46C5A3D8A}" dt="2023-06-09T11:09:40.119" v="21539"/>
          <ac:spMkLst>
            <pc:docMk/>
            <pc:sldMk cId="1776306123" sldId="230717705"/>
            <ac:spMk id="48" creationId="{A7FEDF13-41E8-451D-A5CC-00EDA88FA83B}"/>
          </ac:spMkLst>
        </pc:spChg>
        <pc:spChg chg="mod">
          <ac:chgData name="Manal El Bakkouri" userId="8b130982-2e3f-4164-b881-fd3a2e4b2453" providerId="ADAL" clId="{4457FA57-250B-44AC-8655-05D46C5A3D8A}" dt="2023-06-09T11:09:40.119" v="21539"/>
          <ac:spMkLst>
            <pc:docMk/>
            <pc:sldMk cId="1776306123" sldId="230717705"/>
            <ac:spMk id="49" creationId="{DA7E9159-48E3-4FBC-B4F5-E7F6F1D192E2}"/>
          </ac:spMkLst>
        </pc:spChg>
        <pc:spChg chg="mod">
          <ac:chgData name="Manal El Bakkouri" userId="8b130982-2e3f-4164-b881-fd3a2e4b2453" providerId="ADAL" clId="{4457FA57-250B-44AC-8655-05D46C5A3D8A}" dt="2023-06-09T11:09:40.119" v="21539"/>
          <ac:spMkLst>
            <pc:docMk/>
            <pc:sldMk cId="1776306123" sldId="230717705"/>
            <ac:spMk id="51" creationId="{CE15F672-92A1-4029-B02F-A2A0F2758572}"/>
          </ac:spMkLst>
        </pc:spChg>
        <pc:spChg chg="mod">
          <ac:chgData name="Manal El Bakkouri" userId="8b130982-2e3f-4164-b881-fd3a2e4b2453" providerId="ADAL" clId="{4457FA57-250B-44AC-8655-05D46C5A3D8A}" dt="2023-06-09T11:09:40.119" v="21539"/>
          <ac:spMkLst>
            <pc:docMk/>
            <pc:sldMk cId="1776306123" sldId="230717705"/>
            <ac:spMk id="52" creationId="{33E69E52-EBB6-4787-A208-F37E7C5B6905}"/>
          </ac:spMkLst>
        </pc:spChg>
        <pc:spChg chg="mod">
          <ac:chgData name="Manal El Bakkouri" userId="8b130982-2e3f-4164-b881-fd3a2e4b2453" providerId="ADAL" clId="{4457FA57-250B-44AC-8655-05D46C5A3D8A}" dt="2023-06-09T11:09:40.119" v="21539"/>
          <ac:spMkLst>
            <pc:docMk/>
            <pc:sldMk cId="1776306123" sldId="230717705"/>
            <ac:spMk id="54" creationId="{E564C3E3-BF62-4D7C-93B0-6096D08D03F5}"/>
          </ac:spMkLst>
        </pc:spChg>
        <pc:spChg chg="mod">
          <ac:chgData name="Manal El Bakkouri" userId="8b130982-2e3f-4164-b881-fd3a2e4b2453" providerId="ADAL" clId="{4457FA57-250B-44AC-8655-05D46C5A3D8A}" dt="2023-06-09T11:09:40.119" v="21539"/>
          <ac:spMkLst>
            <pc:docMk/>
            <pc:sldMk cId="1776306123" sldId="230717705"/>
            <ac:spMk id="55" creationId="{D807B757-8696-4A0F-9953-3F46E099F81F}"/>
          </ac:spMkLst>
        </pc:spChg>
        <pc:spChg chg="mod">
          <ac:chgData name="Manal El Bakkouri" userId="8b130982-2e3f-4164-b881-fd3a2e4b2453" providerId="ADAL" clId="{4457FA57-250B-44AC-8655-05D46C5A3D8A}" dt="2023-06-09T11:09:40.119" v="21539"/>
          <ac:spMkLst>
            <pc:docMk/>
            <pc:sldMk cId="1776306123" sldId="230717705"/>
            <ac:spMk id="57" creationId="{AFE5919C-99C5-4876-A3C2-10F673F15D05}"/>
          </ac:spMkLst>
        </pc:spChg>
        <pc:spChg chg="mod">
          <ac:chgData name="Manal El Bakkouri" userId="8b130982-2e3f-4164-b881-fd3a2e4b2453" providerId="ADAL" clId="{4457FA57-250B-44AC-8655-05D46C5A3D8A}" dt="2023-06-09T11:09:40.119" v="21539"/>
          <ac:spMkLst>
            <pc:docMk/>
            <pc:sldMk cId="1776306123" sldId="230717705"/>
            <ac:spMk id="58" creationId="{ABE147A9-F4E7-4ACE-A2B3-551E34F99297}"/>
          </ac:spMkLst>
        </pc:spChg>
        <pc:spChg chg="del">
          <ac:chgData name="Manal El Bakkouri" userId="8b130982-2e3f-4164-b881-fd3a2e4b2453" providerId="ADAL" clId="{4457FA57-250B-44AC-8655-05D46C5A3D8A}" dt="2023-06-07T10:03:42.536" v="17625" actId="478"/>
          <ac:spMkLst>
            <pc:docMk/>
            <pc:sldMk cId="1776306123" sldId="230717705"/>
            <ac:spMk id="61" creationId="{DC34440A-5105-449E-A8F6-18365D73F0D3}"/>
          </ac:spMkLst>
        </pc:spChg>
        <pc:spChg chg="add mod">
          <ac:chgData name="Manal El Bakkouri" userId="8b130982-2e3f-4164-b881-fd3a2e4b2453" providerId="ADAL" clId="{4457FA57-250B-44AC-8655-05D46C5A3D8A}" dt="2023-06-09T11:27:53.485" v="21734"/>
          <ac:spMkLst>
            <pc:docMk/>
            <pc:sldMk cId="1776306123" sldId="230717705"/>
            <ac:spMk id="61" creationId="{FFA2317B-6459-411C-9055-52D6BC45A9A0}"/>
          </ac:spMkLst>
        </pc:spChg>
        <pc:spChg chg="mod">
          <ac:chgData name="Manal El Bakkouri" userId="8b130982-2e3f-4164-b881-fd3a2e4b2453" providerId="ADAL" clId="{4457FA57-250B-44AC-8655-05D46C5A3D8A}" dt="2023-06-06T09:11:32.237" v="9014" actId="14100"/>
          <ac:spMkLst>
            <pc:docMk/>
            <pc:sldMk cId="1776306123" sldId="230717705"/>
            <ac:spMk id="62" creationId="{495309CA-AF39-44A7-930A-E0AD872571D6}"/>
          </ac:spMkLst>
        </pc:spChg>
        <pc:spChg chg="add mod">
          <ac:chgData name="Manal El Bakkouri" userId="8b130982-2e3f-4164-b881-fd3a2e4b2453" providerId="ADAL" clId="{4457FA57-250B-44AC-8655-05D46C5A3D8A}" dt="2023-06-09T11:27:53.485" v="21734"/>
          <ac:spMkLst>
            <pc:docMk/>
            <pc:sldMk cId="1776306123" sldId="230717705"/>
            <ac:spMk id="63" creationId="{1B441B28-C798-4531-87AD-F93A45FBF97C}"/>
          </ac:spMkLst>
        </pc:spChg>
        <pc:spChg chg="del">
          <ac:chgData name="Manal El Bakkouri" userId="8b130982-2e3f-4164-b881-fd3a2e4b2453" providerId="ADAL" clId="{4457FA57-250B-44AC-8655-05D46C5A3D8A}" dt="2023-06-07T10:03:42.536" v="17625" actId="478"/>
          <ac:spMkLst>
            <pc:docMk/>
            <pc:sldMk cId="1776306123" sldId="230717705"/>
            <ac:spMk id="63" creationId="{CD634BF4-A42B-4E33-B1C2-82DE0979F488}"/>
          </ac:spMkLst>
        </pc:spChg>
        <pc:spChg chg="del">
          <ac:chgData name="Manal El Bakkouri" userId="8b130982-2e3f-4164-b881-fd3a2e4b2453" providerId="ADAL" clId="{4457FA57-250B-44AC-8655-05D46C5A3D8A}" dt="2023-06-07T10:03:42.536" v="17625" actId="478"/>
          <ac:spMkLst>
            <pc:docMk/>
            <pc:sldMk cId="1776306123" sldId="230717705"/>
            <ac:spMk id="64" creationId="{0BC6162E-87CC-4975-8AC3-B1C4E75A1FCD}"/>
          </ac:spMkLst>
        </pc:spChg>
        <pc:spChg chg="add mod">
          <ac:chgData name="Manal El Bakkouri" userId="8b130982-2e3f-4164-b881-fd3a2e4b2453" providerId="ADAL" clId="{4457FA57-250B-44AC-8655-05D46C5A3D8A}" dt="2023-06-09T11:27:53.485" v="21734"/>
          <ac:spMkLst>
            <pc:docMk/>
            <pc:sldMk cId="1776306123" sldId="230717705"/>
            <ac:spMk id="64" creationId="{91DA6FA0-84FF-47B7-8DE7-3A7517C1A597}"/>
          </ac:spMkLst>
        </pc:spChg>
        <pc:spChg chg="del">
          <ac:chgData name="Manal El Bakkouri" userId="8b130982-2e3f-4164-b881-fd3a2e4b2453" providerId="ADAL" clId="{4457FA57-250B-44AC-8655-05D46C5A3D8A}" dt="2023-06-07T10:03:42.536" v="17625" actId="478"/>
          <ac:spMkLst>
            <pc:docMk/>
            <pc:sldMk cId="1776306123" sldId="230717705"/>
            <ac:spMk id="65" creationId="{0DED4506-E850-4EDF-8E57-6CDA06ECCD31}"/>
          </ac:spMkLst>
        </pc:spChg>
        <pc:spChg chg="add mod">
          <ac:chgData name="Manal El Bakkouri" userId="8b130982-2e3f-4164-b881-fd3a2e4b2453" providerId="ADAL" clId="{4457FA57-250B-44AC-8655-05D46C5A3D8A}" dt="2023-06-09T11:27:53.485" v="21734"/>
          <ac:spMkLst>
            <pc:docMk/>
            <pc:sldMk cId="1776306123" sldId="230717705"/>
            <ac:spMk id="65" creationId="{9703C1B5-528C-4ED9-A7B2-6AE956D2190A}"/>
          </ac:spMkLst>
        </pc:spChg>
        <pc:spChg chg="del">
          <ac:chgData name="Manal El Bakkouri" userId="8b130982-2e3f-4164-b881-fd3a2e4b2453" providerId="ADAL" clId="{4457FA57-250B-44AC-8655-05D46C5A3D8A}" dt="2023-06-07T10:03:42.536" v="17625" actId="478"/>
          <ac:spMkLst>
            <pc:docMk/>
            <pc:sldMk cId="1776306123" sldId="230717705"/>
            <ac:spMk id="67" creationId="{C2E676D3-7044-4416-95A3-0BDD568F460D}"/>
          </ac:spMkLst>
        </pc:spChg>
        <pc:spChg chg="del">
          <ac:chgData name="Manal El Bakkouri" userId="8b130982-2e3f-4164-b881-fd3a2e4b2453" providerId="ADAL" clId="{4457FA57-250B-44AC-8655-05D46C5A3D8A}" dt="2023-06-07T10:03:42.536" v="17625" actId="478"/>
          <ac:spMkLst>
            <pc:docMk/>
            <pc:sldMk cId="1776306123" sldId="230717705"/>
            <ac:spMk id="68" creationId="{E5E343C9-AD16-4EA4-89E2-CE2CE015D6E8}"/>
          </ac:spMkLst>
        </pc:spChg>
        <pc:spChg chg="del">
          <ac:chgData name="Manal El Bakkouri" userId="8b130982-2e3f-4164-b881-fd3a2e4b2453" providerId="ADAL" clId="{4457FA57-250B-44AC-8655-05D46C5A3D8A}" dt="2023-06-07T10:03:42.536" v="17625" actId="478"/>
          <ac:spMkLst>
            <pc:docMk/>
            <pc:sldMk cId="1776306123" sldId="230717705"/>
            <ac:spMk id="69" creationId="{EBD33ADD-FAAA-4E62-973F-7498E56F2256}"/>
          </ac:spMkLst>
        </pc:spChg>
        <pc:spChg chg="del">
          <ac:chgData name="Manal El Bakkouri" userId="8b130982-2e3f-4164-b881-fd3a2e4b2453" providerId="ADAL" clId="{4457FA57-250B-44AC-8655-05D46C5A3D8A}" dt="2023-06-07T10:03:42.536" v="17625" actId="478"/>
          <ac:spMkLst>
            <pc:docMk/>
            <pc:sldMk cId="1776306123" sldId="230717705"/>
            <ac:spMk id="70" creationId="{5D159352-80CA-4E9C-88AB-B5020F0649E1}"/>
          </ac:spMkLst>
        </pc:spChg>
        <pc:spChg chg="del">
          <ac:chgData name="Manal El Bakkouri" userId="8b130982-2e3f-4164-b881-fd3a2e4b2453" providerId="ADAL" clId="{4457FA57-250B-44AC-8655-05D46C5A3D8A}" dt="2023-06-07T10:03:42.536" v="17625" actId="478"/>
          <ac:spMkLst>
            <pc:docMk/>
            <pc:sldMk cId="1776306123" sldId="230717705"/>
            <ac:spMk id="71" creationId="{3776B1AD-70C1-41F9-856E-401FA9523AD6}"/>
          </ac:spMkLst>
        </pc:spChg>
        <pc:spChg chg="del">
          <ac:chgData name="Manal El Bakkouri" userId="8b130982-2e3f-4164-b881-fd3a2e4b2453" providerId="ADAL" clId="{4457FA57-250B-44AC-8655-05D46C5A3D8A}" dt="2023-06-07T10:03:42.536" v="17625" actId="478"/>
          <ac:spMkLst>
            <pc:docMk/>
            <pc:sldMk cId="1776306123" sldId="230717705"/>
            <ac:spMk id="72" creationId="{E9C39060-E719-4A69-856C-B9621AB4CBB0}"/>
          </ac:spMkLst>
        </pc:spChg>
        <pc:grpChg chg="add del mod">
          <ac:chgData name="Manal El Bakkouri" userId="8b130982-2e3f-4164-b881-fd3a2e4b2453" providerId="ADAL" clId="{4457FA57-250B-44AC-8655-05D46C5A3D8A}" dt="2023-06-09T11:09:39.337" v="21538" actId="478"/>
          <ac:grpSpMkLst>
            <pc:docMk/>
            <pc:sldMk cId="1776306123" sldId="230717705"/>
            <ac:grpSpMk id="26" creationId="{C0F0C9F7-327C-47A8-A95C-B62FCC81B172}"/>
          </ac:grpSpMkLst>
        </pc:grpChg>
        <pc:grpChg chg="add del mod">
          <ac:chgData name="Manal El Bakkouri" userId="8b130982-2e3f-4164-b881-fd3a2e4b2453" providerId="ADAL" clId="{4457FA57-250B-44AC-8655-05D46C5A3D8A}" dt="2023-06-09T11:09:39.337" v="21538" actId="478"/>
          <ac:grpSpMkLst>
            <pc:docMk/>
            <pc:sldMk cId="1776306123" sldId="230717705"/>
            <ac:grpSpMk id="29" creationId="{05E4A2E9-CD54-4CC9-8A7C-8ED64A428B3C}"/>
          </ac:grpSpMkLst>
        </pc:grpChg>
        <pc:grpChg chg="add del mod">
          <ac:chgData name="Manal El Bakkouri" userId="8b130982-2e3f-4164-b881-fd3a2e4b2453" providerId="ADAL" clId="{4457FA57-250B-44AC-8655-05D46C5A3D8A}" dt="2023-06-09T11:09:39.337" v="21538" actId="478"/>
          <ac:grpSpMkLst>
            <pc:docMk/>
            <pc:sldMk cId="1776306123" sldId="230717705"/>
            <ac:grpSpMk id="32" creationId="{2D652B45-26F3-4689-B1FA-266E146C2854}"/>
          </ac:grpSpMkLst>
        </pc:grpChg>
        <pc:grpChg chg="add del mod">
          <ac:chgData name="Manal El Bakkouri" userId="8b130982-2e3f-4164-b881-fd3a2e4b2453" providerId="ADAL" clId="{4457FA57-250B-44AC-8655-05D46C5A3D8A}" dt="2023-06-09T11:09:39.337" v="21538" actId="478"/>
          <ac:grpSpMkLst>
            <pc:docMk/>
            <pc:sldMk cId="1776306123" sldId="230717705"/>
            <ac:grpSpMk id="35" creationId="{63BAC4F5-A504-4F2D-9064-7AEAFF112ECB}"/>
          </ac:grpSpMkLst>
        </pc:grpChg>
        <pc:grpChg chg="add del mod">
          <ac:chgData name="Manal El Bakkouri" userId="8b130982-2e3f-4164-b881-fd3a2e4b2453" providerId="ADAL" clId="{4457FA57-250B-44AC-8655-05D46C5A3D8A}" dt="2023-06-09T11:09:39.337" v="21538" actId="478"/>
          <ac:grpSpMkLst>
            <pc:docMk/>
            <pc:sldMk cId="1776306123" sldId="230717705"/>
            <ac:grpSpMk id="38" creationId="{C4A64423-A56F-425E-BF75-A6DE8EB7811E}"/>
          </ac:grpSpMkLst>
        </pc:grpChg>
        <pc:grpChg chg="add mod">
          <ac:chgData name="Manal El Bakkouri" userId="8b130982-2e3f-4164-b881-fd3a2e4b2453" providerId="ADAL" clId="{4457FA57-250B-44AC-8655-05D46C5A3D8A}" dt="2023-06-09T11:09:40.119" v="21539"/>
          <ac:grpSpMkLst>
            <pc:docMk/>
            <pc:sldMk cId="1776306123" sldId="230717705"/>
            <ac:grpSpMk id="41" creationId="{F02C933F-D56A-4076-A6DC-0BC2C72EE8F3}"/>
          </ac:grpSpMkLst>
        </pc:grpChg>
        <pc:grpChg chg="add mod">
          <ac:chgData name="Manal El Bakkouri" userId="8b130982-2e3f-4164-b881-fd3a2e4b2453" providerId="ADAL" clId="{4457FA57-250B-44AC-8655-05D46C5A3D8A}" dt="2023-06-09T11:09:40.119" v="21539"/>
          <ac:grpSpMkLst>
            <pc:docMk/>
            <pc:sldMk cId="1776306123" sldId="230717705"/>
            <ac:grpSpMk id="46" creationId="{0F90BDC9-EC1A-434F-BABF-D4BAC611D2BF}"/>
          </ac:grpSpMkLst>
        </pc:grpChg>
        <pc:grpChg chg="add mod">
          <ac:chgData name="Manal El Bakkouri" userId="8b130982-2e3f-4164-b881-fd3a2e4b2453" providerId="ADAL" clId="{4457FA57-250B-44AC-8655-05D46C5A3D8A}" dt="2023-06-09T11:09:40.119" v="21539"/>
          <ac:grpSpMkLst>
            <pc:docMk/>
            <pc:sldMk cId="1776306123" sldId="230717705"/>
            <ac:grpSpMk id="50" creationId="{16D57879-1C1F-44CC-8E64-CC9982A9A30C}"/>
          </ac:grpSpMkLst>
        </pc:grpChg>
        <pc:grpChg chg="add mod">
          <ac:chgData name="Manal El Bakkouri" userId="8b130982-2e3f-4164-b881-fd3a2e4b2453" providerId="ADAL" clId="{4457FA57-250B-44AC-8655-05D46C5A3D8A}" dt="2023-06-09T11:09:40.119" v="21539"/>
          <ac:grpSpMkLst>
            <pc:docMk/>
            <pc:sldMk cId="1776306123" sldId="230717705"/>
            <ac:grpSpMk id="53" creationId="{33A8AB98-2C05-46A8-841B-996C9D990C7B}"/>
          </ac:grpSpMkLst>
        </pc:grpChg>
        <pc:grpChg chg="add mod">
          <ac:chgData name="Manal El Bakkouri" userId="8b130982-2e3f-4164-b881-fd3a2e4b2453" providerId="ADAL" clId="{4457FA57-250B-44AC-8655-05D46C5A3D8A}" dt="2023-06-09T11:09:40.119" v="21539"/>
          <ac:grpSpMkLst>
            <pc:docMk/>
            <pc:sldMk cId="1776306123" sldId="230717705"/>
            <ac:grpSpMk id="56" creationId="{6AF95141-8D82-455F-A306-AC2AAB1739F4}"/>
          </ac:grpSpMkLst>
        </pc:grpChg>
        <pc:picChg chg="add mod ord">
          <ac:chgData name="Manal El Bakkouri" userId="8b130982-2e3f-4164-b881-fd3a2e4b2453" providerId="ADAL" clId="{4457FA57-250B-44AC-8655-05D46C5A3D8A}" dt="2023-06-06T09:18:27.319" v="9140" actId="166"/>
          <ac:picMkLst>
            <pc:docMk/>
            <pc:sldMk cId="1776306123" sldId="230717705"/>
            <ac:picMk id="3" creationId="{63C8F282-454F-44AC-B262-0B6A21DF676C}"/>
          </ac:picMkLst>
        </pc:picChg>
        <pc:picChg chg="add del mod ord">
          <ac:chgData name="Manal El Bakkouri" userId="8b130982-2e3f-4164-b881-fd3a2e4b2453" providerId="ADAL" clId="{4457FA57-250B-44AC-8655-05D46C5A3D8A}" dt="2023-06-06T10:37:37.181" v="9784" actId="478"/>
          <ac:picMkLst>
            <pc:docMk/>
            <pc:sldMk cId="1776306123" sldId="230717705"/>
            <ac:picMk id="7" creationId="{9B7DBCE6-D483-408E-91F7-6162E26E31DF}"/>
          </ac:picMkLst>
        </pc:picChg>
        <pc:picChg chg="mod">
          <ac:chgData name="Manal El Bakkouri" userId="8b130982-2e3f-4164-b881-fd3a2e4b2453" providerId="ADAL" clId="{4457FA57-250B-44AC-8655-05D46C5A3D8A}" dt="2023-06-06T09:07:00.444" v="8972" actId="1076"/>
          <ac:picMkLst>
            <pc:docMk/>
            <pc:sldMk cId="1776306123" sldId="230717705"/>
            <ac:picMk id="9" creationId="{A8E930A2-4CB1-4781-A9C8-29077092C6A2}"/>
          </ac:picMkLst>
        </pc:picChg>
        <pc:picChg chg="mod">
          <ac:chgData name="Manal El Bakkouri" userId="8b130982-2e3f-4164-b881-fd3a2e4b2453" providerId="ADAL" clId="{4457FA57-250B-44AC-8655-05D46C5A3D8A}" dt="2023-06-06T09:06:57.148" v="8971" actId="1076"/>
          <ac:picMkLst>
            <pc:docMk/>
            <pc:sldMk cId="1776306123" sldId="230717705"/>
            <ac:picMk id="11" creationId="{0DD446C0-D902-451F-97DE-304869F6F4BB}"/>
          </ac:picMkLst>
        </pc:picChg>
        <pc:picChg chg="mod">
          <ac:chgData name="Manal El Bakkouri" userId="8b130982-2e3f-4164-b881-fd3a2e4b2453" providerId="ADAL" clId="{4457FA57-250B-44AC-8655-05D46C5A3D8A}" dt="2023-06-06T09:06:54.796" v="8970" actId="1076"/>
          <ac:picMkLst>
            <pc:docMk/>
            <pc:sldMk cId="1776306123" sldId="230717705"/>
            <ac:picMk id="13" creationId="{47F62D46-D751-4F10-B5AF-25A44D54E798}"/>
          </ac:picMkLst>
        </pc:picChg>
        <pc:picChg chg="mod">
          <ac:chgData name="Manal El Bakkouri" userId="8b130982-2e3f-4164-b881-fd3a2e4b2453" providerId="ADAL" clId="{4457FA57-250B-44AC-8655-05D46C5A3D8A}" dt="2023-06-06T09:07:02.189" v="8973" actId="1076"/>
          <ac:picMkLst>
            <pc:docMk/>
            <pc:sldMk cId="1776306123" sldId="230717705"/>
            <ac:picMk id="18" creationId="{DD627184-D4DB-4368-95C2-5485143F4BAF}"/>
          </ac:picMkLst>
        </pc:picChg>
        <pc:picChg chg="del mod ord">
          <ac:chgData name="Manal El Bakkouri" userId="8b130982-2e3f-4164-b881-fd3a2e4b2453" providerId="ADAL" clId="{4457FA57-250B-44AC-8655-05D46C5A3D8A}" dt="2023-06-06T09:10:44.093" v="8976" actId="478"/>
          <ac:picMkLst>
            <pc:docMk/>
            <pc:sldMk cId="1776306123" sldId="230717705"/>
            <ac:picMk id="20" creationId="{706F4A6E-E8A8-407E-8B06-150C8070B821}"/>
          </ac:picMkLst>
        </pc:picChg>
      </pc:sldChg>
      <pc:sldChg chg="addSp delSp modSp add mod ord modNotesTx">
        <pc:chgData name="Manal El Bakkouri" userId="8b130982-2e3f-4164-b881-fd3a2e4b2453" providerId="ADAL" clId="{4457FA57-250B-44AC-8655-05D46C5A3D8A}" dt="2023-06-09T11:27:59.236" v="21736"/>
        <pc:sldMkLst>
          <pc:docMk/>
          <pc:sldMk cId="2536010391" sldId="230717706"/>
        </pc:sldMkLst>
        <pc:spChg chg="mod">
          <ac:chgData name="Manal El Bakkouri" userId="8b130982-2e3f-4164-b881-fd3a2e4b2453" providerId="ADAL" clId="{4457FA57-250B-44AC-8655-05D46C5A3D8A}" dt="2023-06-07T10:03:47.526" v="17628"/>
          <ac:spMkLst>
            <pc:docMk/>
            <pc:sldMk cId="2536010391" sldId="230717706"/>
            <ac:spMk id="25" creationId="{51C737A0-ACBE-4F39-81B5-AE85C328B2E0}"/>
          </ac:spMkLst>
        </pc:spChg>
        <pc:spChg chg="mod">
          <ac:chgData name="Manal El Bakkouri" userId="8b130982-2e3f-4164-b881-fd3a2e4b2453" providerId="ADAL" clId="{4457FA57-250B-44AC-8655-05D46C5A3D8A}" dt="2023-06-07T10:03:47.526" v="17628"/>
          <ac:spMkLst>
            <pc:docMk/>
            <pc:sldMk cId="2536010391" sldId="230717706"/>
            <ac:spMk id="26" creationId="{EC4870C5-71BE-4D2E-8E8E-1A12CEBB05EB}"/>
          </ac:spMkLst>
        </pc:spChg>
        <pc:spChg chg="mod">
          <ac:chgData name="Manal El Bakkouri" userId="8b130982-2e3f-4164-b881-fd3a2e4b2453" providerId="ADAL" clId="{4457FA57-250B-44AC-8655-05D46C5A3D8A}" dt="2023-06-07T10:03:47.526" v="17628"/>
          <ac:spMkLst>
            <pc:docMk/>
            <pc:sldMk cId="2536010391" sldId="230717706"/>
            <ac:spMk id="28" creationId="{28A8C0DD-C12E-4A00-9207-CE989C5C04F6}"/>
          </ac:spMkLst>
        </pc:spChg>
        <pc:spChg chg="mod">
          <ac:chgData name="Manal El Bakkouri" userId="8b130982-2e3f-4164-b881-fd3a2e4b2453" providerId="ADAL" clId="{4457FA57-250B-44AC-8655-05D46C5A3D8A}" dt="2023-06-07T10:03:47.526" v="17628"/>
          <ac:spMkLst>
            <pc:docMk/>
            <pc:sldMk cId="2536010391" sldId="230717706"/>
            <ac:spMk id="29" creationId="{1799932E-A8D6-406D-A21B-88EE79613D1F}"/>
          </ac:spMkLst>
        </pc:spChg>
        <pc:spChg chg="mod">
          <ac:chgData name="Manal El Bakkouri" userId="8b130982-2e3f-4164-b881-fd3a2e4b2453" providerId="ADAL" clId="{4457FA57-250B-44AC-8655-05D46C5A3D8A}" dt="2023-06-07T10:03:47.526" v="17628"/>
          <ac:spMkLst>
            <pc:docMk/>
            <pc:sldMk cId="2536010391" sldId="230717706"/>
            <ac:spMk id="31" creationId="{42714C89-7146-4DC6-80C0-36BE3346F358}"/>
          </ac:spMkLst>
        </pc:spChg>
        <pc:spChg chg="mod">
          <ac:chgData name="Manal El Bakkouri" userId="8b130982-2e3f-4164-b881-fd3a2e4b2453" providerId="ADAL" clId="{4457FA57-250B-44AC-8655-05D46C5A3D8A}" dt="2023-06-07T10:03:47.526" v="17628"/>
          <ac:spMkLst>
            <pc:docMk/>
            <pc:sldMk cId="2536010391" sldId="230717706"/>
            <ac:spMk id="32" creationId="{C3310242-55B6-4492-AAFA-EBE13F945B61}"/>
          </ac:spMkLst>
        </pc:spChg>
        <pc:spChg chg="mod">
          <ac:chgData name="Manal El Bakkouri" userId="8b130982-2e3f-4164-b881-fd3a2e4b2453" providerId="ADAL" clId="{4457FA57-250B-44AC-8655-05D46C5A3D8A}" dt="2023-06-07T10:03:47.526" v="17628"/>
          <ac:spMkLst>
            <pc:docMk/>
            <pc:sldMk cId="2536010391" sldId="230717706"/>
            <ac:spMk id="34" creationId="{332B8096-025A-4BAC-A81E-2C45EC98357A}"/>
          </ac:spMkLst>
        </pc:spChg>
        <pc:spChg chg="mod">
          <ac:chgData name="Manal El Bakkouri" userId="8b130982-2e3f-4164-b881-fd3a2e4b2453" providerId="ADAL" clId="{4457FA57-250B-44AC-8655-05D46C5A3D8A}" dt="2023-06-07T10:03:47.526" v="17628"/>
          <ac:spMkLst>
            <pc:docMk/>
            <pc:sldMk cId="2536010391" sldId="230717706"/>
            <ac:spMk id="35" creationId="{135F6468-B598-47A0-81F9-D53999D48AC9}"/>
          </ac:spMkLst>
        </pc:spChg>
        <pc:spChg chg="mod">
          <ac:chgData name="Manal El Bakkouri" userId="8b130982-2e3f-4164-b881-fd3a2e4b2453" providerId="ADAL" clId="{4457FA57-250B-44AC-8655-05D46C5A3D8A}" dt="2023-06-07T10:03:47.526" v="17628"/>
          <ac:spMkLst>
            <pc:docMk/>
            <pc:sldMk cId="2536010391" sldId="230717706"/>
            <ac:spMk id="37" creationId="{FA4BAD5C-C63B-4103-AFB6-E646FC4E1983}"/>
          </ac:spMkLst>
        </pc:spChg>
        <pc:spChg chg="mod">
          <ac:chgData name="Manal El Bakkouri" userId="8b130982-2e3f-4164-b881-fd3a2e4b2453" providerId="ADAL" clId="{4457FA57-250B-44AC-8655-05D46C5A3D8A}" dt="2023-06-07T10:03:47.526" v="17628"/>
          <ac:spMkLst>
            <pc:docMk/>
            <pc:sldMk cId="2536010391" sldId="230717706"/>
            <ac:spMk id="38" creationId="{A9FB96AF-3746-4F0B-AB85-084D80BB62DC}"/>
          </ac:spMkLst>
        </pc:spChg>
        <pc:spChg chg="mod">
          <ac:chgData name="Manal El Bakkouri" userId="8b130982-2e3f-4164-b881-fd3a2e4b2453" providerId="ADAL" clId="{4457FA57-250B-44AC-8655-05D46C5A3D8A}" dt="2023-06-09T11:09:45.642" v="21540"/>
          <ac:spMkLst>
            <pc:docMk/>
            <pc:sldMk cId="2536010391" sldId="230717706"/>
            <ac:spMk id="40" creationId="{C04CFAC6-1706-4EF1-9DE0-3DEE8D868269}"/>
          </ac:spMkLst>
        </pc:spChg>
        <pc:spChg chg="mod">
          <ac:chgData name="Manal El Bakkouri" userId="8b130982-2e3f-4164-b881-fd3a2e4b2453" providerId="ADAL" clId="{4457FA57-250B-44AC-8655-05D46C5A3D8A}" dt="2023-06-09T11:09:45.642" v="21540"/>
          <ac:spMkLst>
            <pc:docMk/>
            <pc:sldMk cId="2536010391" sldId="230717706"/>
            <ac:spMk id="41" creationId="{9390A5E5-80D5-4AC1-B0C7-C31FE33F5410}"/>
          </ac:spMkLst>
        </pc:spChg>
        <pc:spChg chg="del">
          <ac:chgData name="Manal El Bakkouri" userId="8b130982-2e3f-4164-b881-fd3a2e4b2453" providerId="ADAL" clId="{4457FA57-250B-44AC-8655-05D46C5A3D8A}" dt="2023-06-09T11:27:58.833" v="21735" actId="478"/>
          <ac:spMkLst>
            <pc:docMk/>
            <pc:sldMk cId="2536010391" sldId="230717706"/>
            <ac:spMk id="42" creationId="{A64C7408-49A6-4C3E-99BB-C931B1351638}"/>
          </ac:spMkLst>
        </pc:spChg>
        <pc:spChg chg="mod">
          <ac:chgData name="Manal El Bakkouri" userId="8b130982-2e3f-4164-b881-fd3a2e4b2453" providerId="ADAL" clId="{4457FA57-250B-44AC-8655-05D46C5A3D8A}" dt="2023-06-09T11:09:45.642" v="21540"/>
          <ac:spMkLst>
            <pc:docMk/>
            <pc:sldMk cId="2536010391" sldId="230717706"/>
            <ac:spMk id="44" creationId="{79B4A78D-481B-47E4-8611-18972844786C}"/>
          </ac:spMkLst>
        </pc:spChg>
        <pc:spChg chg="del">
          <ac:chgData name="Manal El Bakkouri" userId="8b130982-2e3f-4164-b881-fd3a2e4b2453" providerId="ADAL" clId="{4457FA57-250B-44AC-8655-05D46C5A3D8A}" dt="2023-06-09T11:27:58.833" v="21735" actId="478"/>
          <ac:spMkLst>
            <pc:docMk/>
            <pc:sldMk cId="2536010391" sldId="230717706"/>
            <ac:spMk id="45" creationId="{408C8D92-08B3-4B61-A0CD-13080857796B}"/>
          </ac:spMkLst>
        </pc:spChg>
        <pc:spChg chg="mod">
          <ac:chgData name="Manal El Bakkouri" userId="8b130982-2e3f-4164-b881-fd3a2e4b2453" providerId="ADAL" clId="{4457FA57-250B-44AC-8655-05D46C5A3D8A}" dt="2023-06-09T11:09:45.642" v="21540"/>
          <ac:spMkLst>
            <pc:docMk/>
            <pc:sldMk cId="2536010391" sldId="230717706"/>
            <ac:spMk id="46" creationId="{0D169AE8-42A4-4D72-BA93-D6EF7785B004}"/>
          </ac:spMkLst>
        </pc:spChg>
        <pc:spChg chg="del">
          <ac:chgData name="Manal El Bakkouri" userId="8b130982-2e3f-4164-b881-fd3a2e4b2453" providerId="ADAL" clId="{4457FA57-250B-44AC-8655-05D46C5A3D8A}" dt="2023-06-09T11:27:58.833" v="21735" actId="478"/>
          <ac:spMkLst>
            <pc:docMk/>
            <pc:sldMk cId="2536010391" sldId="230717706"/>
            <ac:spMk id="47" creationId="{50567FD5-B65B-4FC4-B0C8-4197E71F7081}"/>
          </ac:spMkLst>
        </pc:spChg>
        <pc:spChg chg="mod">
          <ac:chgData name="Manal El Bakkouri" userId="8b130982-2e3f-4164-b881-fd3a2e4b2453" providerId="ADAL" clId="{4457FA57-250B-44AC-8655-05D46C5A3D8A}" dt="2023-06-09T11:09:45.642" v="21540"/>
          <ac:spMkLst>
            <pc:docMk/>
            <pc:sldMk cId="2536010391" sldId="230717706"/>
            <ac:spMk id="49" creationId="{5872F8E3-FFC2-417F-B8F1-02DFCA96950C}"/>
          </ac:spMkLst>
        </pc:spChg>
        <pc:spChg chg="mod">
          <ac:chgData name="Manal El Bakkouri" userId="8b130982-2e3f-4164-b881-fd3a2e4b2453" providerId="ADAL" clId="{4457FA57-250B-44AC-8655-05D46C5A3D8A}" dt="2023-06-09T11:09:45.642" v="21540"/>
          <ac:spMkLst>
            <pc:docMk/>
            <pc:sldMk cId="2536010391" sldId="230717706"/>
            <ac:spMk id="50" creationId="{7D426182-60CC-4C09-80FA-F5B1500513BD}"/>
          </ac:spMkLst>
        </pc:spChg>
        <pc:spChg chg="mod">
          <ac:chgData name="Manal El Bakkouri" userId="8b130982-2e3f-4164-b881-fd3a2e4b2453" providerId="ADAL" clId="{4457FA57-250B-44AC-8655-05D46C5A3D8A}" dt="2023-06-09T11:09:45.642" v="21540"/>
          <ac:spMkLst>
            <pc:docMk/>
            <pc:sldMk cId="2536010391" sldId="230717706"/>
            <ac:spMk id="52" creationId="{8D094873-AA67-4C58-89BB-81564961B18A}"/>
          </ac:spMkLst>
        </pc:spChg>
        <pc:spChg chg="mod">
          <ac:chgData name="Manal El Bakkouri" userId="8b130982-2e3f-4164-b881-fd3a2e4b2453" providerId="ADAL" clId="{4457FA57-250B-44AC-8655-05D46C5A3D8A}" dt="2023-06-09T11:09:45.642" v="21540"/>
          <ac:spMkLst>
            <pc:docMk/>
            <pc:sldMk cId="2536010391" sldId="230717706"/>
            <ac:spMk id="53" creationId="{864769C0-A58D-43EA-A621-E3B6F19E4752}"/>
          </ac:spMkLst>
        </pc:spChg>
        <pc:spChg chg="mod">
          <ac:chgData name="Manal El Bakkouri" userId="8b130982-2e3f-4164-b881-fd3a2e4b2453" providerId="ADAL" clId="{4457FA57-250B-44AC-8655-05D46C5A3D8A}" dt="2023-06-09T11:09:45.642" v="21540"/>
          <ac:spMkLst>
            <pc:docMk/>
            <pc:sldMk cId="2536010391" sldId="230717706"/>
            <ac:spMk id="55" creationId="{E4174A8E-32D6-47FE-B9EA-9DD1DABBF72C}"/>
          </ac:spMkLst>
        </pc:spChg>
        <pc:spChg chg="mod">
          <ac:chgData name="Manal El Bakkouri" userId="8b130982-2e3f-4164-b881-fd3a2e4b2453" providerId="ADAL" clId="{4457FA57-250B-44AC-8655-05D46C5A3D8A}" dt="2023-06-09T11:09:45.642" v="21540"/>
          <ac:spMkLst>
            <pc:docMk/>
            <pc:sldMk cId="2536010391" sldId="230717706"/>
            <ac:spMk id="56" creationId="{AB2A8B83-BC80-4293-B74C-4E73F54F4017}"/>
          </ac:spMkLst>
        </pc:spChg>
        <pc:spChg chg="mod">
          <ac:chgData name="Manal El Bakkouri" userId="8b130982-2e3f-4164-b881-fd3a2e4b2453" providerId="ADAL" clId="{4457FA57-250B-44AC-8655-05D46C5A3D8A}" dt="2023-06-09T11:09:51.580" v="21543"/>
          <ac:spMkLst>
            <pc:docMk/>
            <pc:sldMk cId="2536010391" sldId="230717706"/>
            <ac:spMk id="58" creationId="{18FDFD44-93B7-4172-BB99-279AD6112247}"/>
          </ac:spMkLst>
        </pc:spChg>
        <pc:spChg chg="mod">
          <ac:chgData name="Manal El Bakkouri" userId="8b130982-2e3f-4164-b881-fd3a2e4b2453" providerId="ADAL" clId="{4457FA57-250B-44AC-8655-05D46C5A3D8A}" dt="2023-06-09T11:09:51.580" v="21543"/>
          <ac:spMkLst>
            <pc:docMk/>
            <pc:sldMk cId="2536010391" sldId="230717706"/>
            <ac:spMk id="61" creationId="{CEE97C2D-A237-46C9-BF28-51E453606126}"/>
          </ac:spMkLst>
        </pc:spChg>
        <pc:spChg chg="del">
          <ac:chgData name="Manal El Bakkouri" userId="8b130982-2e3f-4164-b881-fd3a2e4b2453" providerId="ADAL" clId="{4457FA57-250B-44AC-8655-05D46C5A3D8A}" dt="2023-06-07T10:03:47.268" v="17627" actId="478"/>
          <ac:spMkLst>
            <pc:docMk/>
            <pc:sldMk cId="2536010391" sldId="230717706"/>
            <ac:spMk id="61" creationId="{DC34440A-5105-449E-A8F6-18365D73F0D3}"/>
          </ac:spMkLst>
        </pc:spChg>
        <pc:spChg chg="del mod">
          <ac:chgData name="Manal El Bakkouri" userId="8b130982-2e3f-4164-b881-fd3a2e4b2453" providerId="ADAL" clId="{4457FA57-250B-44AC-8655-05D46C5A3D8A}" dt="2023-06-09T11:09:51.177" v="21542" actId="478"/>
          <ac:spMkLst>
            <pc:docMk/>
            <pc:sldMk cId="2536010391" sldId="230717706"/>
            <ac:spMk id="62" creationId="{495309CA-AF39-44A7-930A-E0AD872571D6}"/>
          </ac:spMkLst>
        </pc:spChg>
        <pc:spChg chg="del">
          <ac:chgData name="Manal El Bakkouri" userId="8b130982-2e3f-4164-b881-fd3a2e4b2453" providerId="ADAL" clId="{4457FA57-250B-44AC-8655-05D46C5A3D8A}" dt="2023-06-07T10:03:47.268" v="17627" actId="478"/>
          <ac:spMkLst>
            <pc:docMk/>
            <pc:sldMk cId="2536010391" sldId="230717706"/>
            <ac:spMk id="63" creationId="{CD634BF4-A42B-4E33-B1C2-82DE0979F488}"/>
          </ac:spMkLst>
        </pc:spChg>
        <pc:spChg chg="del">
          <ac:chgData name="Manal El Bakkouri" userId="8b130982-2e3f-4164-b881-fd3a2e4b2453" providerId="ADAL" clId="{4457FA57-250B-44AC-8655-05D46C5A3D8A}" dt="2023-06-07T10:03:47.268" v="17627" actId="478"/>
          <ac:spMkLst>
            <pc:docMk/>
            <pc:sldMk cId="2536010391" sldId="230717706"/>
            <ac:spMk id="64" creationId="{0BC6162E-87CC-4975-8AC3-B1C4E75A1FCD}"/>
          </ac:spMkLst>
        </pc:spChg>
        <pc:spChg chg="mod">
          <ac:chgData name="Manal El Bakkouri" userId="8b130982-2e3f-4164-b881-fd3a2e4b2453" providerId="ADAL" clId="{4457FA57-250B-44AC-8655-05D46C5A3D8A}" dt="2023-06-09T11:09:51.580" v="21543"/>
          <ac:spMkLst>
            <pc:docMk/>
            <pc:sldMk cId="2536010391" sldId="230717706"/>
            <ac:spMk id="64" creationId="{999EA280-7150-4E7F-B6E3-CE2487C6FF06}"/>
          </ac:spMkLst>
        </pc:spChg>
        <pc:spChg chg="del">
          <ac:chgData name="Manal El Bakkouri" userId="8b130982-2e3f-4164-b881-fd3a2e4b2453" providerId="ADAL" clId="{4457FA57-250B-44AC-8655-05D46C5A3D8A}" dt="2023-06-07T10:03:47.268" v="17627" actId="478"/>
          <ac:spMkLst>
            <pc:docMk/>
            <pc:sldMk cId="2536010391" sldId="230717706"/>
            <ac:spMk id="65" creationId="{0DED4506-E850-4EDF-8E57-6CDA06ECCD31}"/>
          </ac:spMkLst>
        </pc:spChg>
        <pc:spChg chg="mod">
          <ac:chgData name="Manal El Bakkouri" userId="8b130982-2e3f-4164-b881-fd3a2e4b2453" providerId="ADAL" clId="{4457FA57-250B-44AC-8655-05D46C5A3D8A}" dt="2023-06-09T11:09:51.580" v="21543"/>
          <ac:spMkLst>
            <pc:docMk/>
            <pc:sldMk cId="2536010391" sldId="230717706"/>
            <ac:spMk id="65" creationId="{B71A8357-1AA1-474C-9B3D-05AE1B242166}"/>
          </ac:spMkLst>
        </pc:spChg>
        <pc:spChg chg="mod">
          <ac:chgData name="Manal El Bakkouri" userId="8b130982-2e3f-4164-b881-fd3a2e4b2453" providerId="ADAL" clId="{4457FA57-250B-44AC-8655-05D46C5A3D8A}" dt="2023-06-09T11:09:51.580" v="21543"/>
          <ac:spMkLst>
            <pc:docMk/>
            <pc:sldMk cId="2536010391" sldId="230717706"/>
            <ac:spMk id="67" creationId="{BB11C7ED-3981-4904-AB3B-D1EE00441774}"/>
          </ac:spMkLst>
        </pc:spChg>
        <pc:spChg chg="del">
          <ac:chgData name="Manal El Bakkouri" userId="8b130982-2e3f-4164-b881-fd3a2e4b2453" providerId="ADAL" clId="{4457FA57-250B-44AC-8655-05D46C5A3D8A}" dt="2023-06-07T10:03:47.268" v="17627" actId="478"/>
          <ac:spMkLst>
            <pc:docMk/>
            <pc:sldMk cId="2536010391" sldId="230717706"/>
            <ac:spMk id="67" creationId="{C2E676D3-7044-4416-95A3-0BDD568F460D}"/>
          </ac:spMkLst>
        </pc:spChg>
        <pc:spChg chg="mod">
          <ac:chgData name="Manal El Bakkouri" userId="8b130982-2e3f-4164-b881-fd3a2e4b2453" providerId="ADAL" clId="{4457FA57-250B-44AC-8655-05D46C5A3D8A}" dt="2023-06-09T11:09:51.580" v="21543"/>
          <ac:spMkLst>
            <pc:docMk/>
            <pc:sldMk cId="2536010391" sldId="230717706"/>
            <ac:spMk id="68" creationId="{56795FA0-CDF7-485C-929A-8FBC41DE9B10}"/>
          </ac:spMkLst>
        </pc:spChg>
        <pc:spChg chg="del">
          <ac:chgData name="Manal El Bakkouri" userId="8b130982-2e3f-4164-b881-fd3a2e4b2453" providerId="ADAL" clId="{4457FA57-250B-44AC-8655-05D46C5A3D8A}" dt="2023-06-07T10:03:47.268" v="17627" actId="478"/>
          <ac:spMkLst>
            <pc:docMk/>
            <pc:sldMk cId="2536010391" sldId="230717706"/>
            <ac:spMk id="68" creationId="{E5E343C9-AD16-4EA4-89E2-CE2CE015D6E8}"/>
          </ac:spMkLst>
        </pc:spChg>
        <pc:spChg chg="del">
          <ac:chgData name="Manal El Bakkouri" userId="8b130982-2e3f-4164-b881-fd3a2e4b2453" providerId="ADAL" clId="{4457FA57-250B-44AC-8655-05D46C5A3D8A}" dt="2023-06-07T10:03:47.268" v="17627" actId="478"/>
          <ac:spMkLst>
            <pc:docMk/>
            <pc:sldMk cId="2536010391" sldId="230717706"/>
            <ac:spMk id="69" creationId="{EBD33ADD-FAAA-4E62-973F-7498E56F2256}"/>
          </ac:spMkLst>
        </pc:spChg>
        <pc:spChg chg="mod">
          <ac:chgData name="Manal El Bakkouri" userId="8b130982-2e3f-4164-b881-fd3a2e4b2453" providerId="ADAL" clId="{4457FA57-250B-44AC-8655-05D46C5A3D8A}" dt="2023-06-09T11:09:51.580" v="21543"/>
          <ac:spMkLst>
            <pc:docMk/>
            <pc:sldMk cId="2536010391" sldId="230717706"/>
            <ac:spMk id="70" creationId="{08807323-1A2A-4F1C-9B28-A0AA40468370}"/>
          </ac:spMkLst>
        </pc:spChg>
        <pc:spChg chg="del">
          <ac:chgData name="Manal El Bakkouri" userId="8b130982-2e3f-4164-b881-fd3a2e4b2453" providerId="ADAL" clId="{4457FA57-250B-44AC-8655-05D46C5A3D8A}" dt="2023-06-07T10:03:47.268" v="17627" actId="478"/>
          <ac:spMkLst>
            <pc:docMk/>
            <pc:sldMk cId="2536010391" sldId="230717706"/>
            <ac:spMk id="70" creationId="{5D159352-80CA-4E9C-88AB-B5020F0649E1}"/>
          </ac:spMkLst>
        </pc:spChg>
        <pc:spChg chg="del">
          <ac:chgData name="Manal El Bakkouri" userId="8b130982-2e3f-4164-b881-fd3a2e4b2453" providerId="ADAL" clId="{4457FA57-250B-44AC-8655-05D46C5A3D8A}" dt="2023-06-07T10:03:47.268" v="17627" actId="478"/>
          <ac:spMkLst>
            <pc:docMk/>
            <pc:sldMk cId="2536010391" sldId="230717706"/>
            <ac:spMk id="71" creationId="{3776B1AD-70C1-41F9-856E-401FA9523AD6}"/>
          </ac:spMkLst>
        </pc:spChg>
        <pc:spChg chg="mod">
          <ac:chgData name="Manal El Bakkouri" userId="8b130982-2e3f-4164-b881-fd3a2e4b2453" providerId="ADAL" clId="{4457FA57-250B-44AC-8655-05D46C5A3D8A}" dt="2023-06-09T11:09:51.580" v="21543"/>
          <ac:spMkLst>
            <pc:docMk/>
            <pc:sldMk cId="2536010391" sldId="230717706"/>
            <ac:spMk id="71" creationId="{976D7846-F0A3-443C-A7BE-7349BD59B910}"/>
          </ac:spMkLst>
        </pc:spChg>
        <pc:spChg chg="del">
          <ac:chgData name="Manal El Bakkouri" userId="8b130982-2e3f-4164-b881-fd3a2e4b2453" providerId="ADAL" clId="{4457FA57-250B-44AC-8655-05D46C5A3D8A}" dt="2023-06-07T10:03:47.268" v="17627" actId="478"/>
          <ac:spMkLst>
            <pc:docMk/>
            <pc:sldMk cId="2536010391" sldId="230717706"/>
            <ac:spMk id="72" creationId="{E9C39060-E719-4A69-856C-B9621AB4CBB0}"/>
          </ac:spMkLst>
        </pc:spChg>
        <pc:spChg chg="mod">
          <ac:chgData name="Manal El Bakkouri" userId="8b130982-2e3f-4164-b881-fd3a2e4b2453" providerId="ADAL" clId="{4457FA57-250B-44AC-8655-05D46C5A3D8A}" dt="2023-06-09T11:09:51.580" v="21543"/>
          <ac:spMkLst>
            <pc:docMk/>
            <pc:sldMk cId="2536010391" sldId="230717706"/>
            <ac:spMk id="73" creationId="{4046AD5A-3543-4F45-831F-9407385C1CDC}"/>
          </ac:spMkLst>
        </pc:spChg>
        <pc:spChg chg="mod">
          <ac:chgData name="Manal El Bakkouri" userId="8b130982-2e3f-4164-b881-fd3a2e4b2453" providerId="ADAL" clId="{4457FA57-250B-44AC-8655-05D46C5A3D8A}" dt="2023-06-09T11:09:51.580" v="21543"/>
          <ac:spMkLst>
            <pc:docMk/>
            <pc:sldMk cId="2536010391" sldId="230717706"/>
            <ac:spMk id="74" creationId="{F8DC6096-BBFC-4C16-9CA0-A0168362A0A3}"/>
          </ac:spMkLst>
        </pc:spChg>
        <pc:spChg chg="add mod">
          <ac:chgData name="Manal El Bakkouri" userId="8b130982-2e3f-4164-b881-fd3a2e4b2453" providerId="ADAL" clId="{4457FA57-250B-44AC-8655-05D46C5A3D8A}" dt="2023-06-09T11:27:59.236" v="21736"/>
          <ac:spMkLst>
            <pc:docMk/>
            <pc:sldMk cId="2536010391" sldId="230717706"/>
            <ac:spMk id="75" creationId="{C78E1F64-0807-4434-9A75-F91B489843CC}"/>
          </ac:spMkLst>
        </pc:spChg>
        <pc:spChg chg="add mod">
          <ac:chgData name="Manal El Bakkouri" userId="8b130982-2e3f-4164-b881-fd3a2e4b2453" providerId="ADAL" clId="{4457FA57-250B-44AC-8655-05D46C5A3D8A}" dt="2023-06-09T11:27:59.236" v="21736"/>
          <ac:spMkLst>
            <pc:docMk/>
            <pc:sldMk cId="2536010391" sldId="230717706"/>
            <ac:spMk id="76" creationId="{7C0F959A-A7DB-47B0-B4D2-D67E2E6F3257}"/>
          </ac:spMkLst>
        </pc:spChg>
        <pc:spChg chg="add mod">
          <ac:chgData name="Manal El Bakkouri" userId="8b130982-2e3f-4164-b881-fd3a2e4b2453" providerId="ADAL" clId="{4457FA57-250B-44AC-8655-05D46C5A3D8A}" dt="2023-06-09T11:27:59.236" v="21736"/>
          <ac:spMkLst>
            <pc:docMk/>
            <pc:sldMk cId="2536010391" sldId="230717706"/>
            <ac:spMk id="77" creationId="{D23F4412-77B2-424F-8B44-1E4DDABF68A9}"/>
          </ac:spMkLst>
        </pc:spChg>
        <pc:spChg chg="add mod">
          <ac:chgData name="Manal El Bakkouri" userId="8b130982-2e3f-4164-b881-fd3a2e4b2453" providerId="ADAL" clId="{4457FA57-250B-44AC-8655-05D46C5A3D8A}" dt="2023-06-09T11:27:59.236" v="21736"/>
          <ac:spMkLst>
            <pc:docMk/>
            <pc:sldMk cId="2536010391" sldId="230717706"/>
            <ac:spMk id="78" creationId="{B4F4ED07-2C64-4B34-943E-5F0DD302034B}"/>
          </ac:spMkLst>
        </pc:spChg>
        <pc:grpChg chg="add del mod">
          <ac:chgData name="Manal El Bakkouri" userId="8b130982-2e3f-4164-b881-fd3a2e4b2453" providerId="ADAL" clId="{4457FA57-250B-44AC-8655-05D46C5A3D8A}" dt="2023-06-09T11:09:51.177" v="21542" actId="478"/>
          <ac:grpSpMkLst>
            <pc:docMk/>
            <pc:sldMk cId="2536010391" sldId="230717706"/>
            <ac:grpSpMk id="24" creationId="{BF298A05-62B2-4C2F-8323-AFBC417A5692}"/>
          </ac:grpSpMkLst>
        </pc:grpChg>
        <pc:grpChg chg="add del mod">
          <ac:chgData name="Manal El Bakkouri" userId="8b130982-2e3f-4164-b881-fd3a2e4b2453" providerId="ADAL" clId="{4457FA57-250B-44AC-8655-05D46C5A3D8A}" dt="2023-06-09T11:09:51.177" v="21542" actId="478"/>
          <ac:grpSpMkLst>
            <pc:docMk/>
            <pc:sldMk cId="2536010391" sldId="230717706"/>
            <ac:grpSpMk id="27" creationId="{1567D111-C079-4335-A14B-7458AC884DA7}"/>
          </ac:grpSpMkLst>
        </pc:grpChg>
        <pc:grpChg chg="add del mod">
          <ac:chgData name="Manal El Bakkouri" userId="8b130982-2e3f-4164-b881-fd3a2e4b2453" providerId="ADAL" clId="{4457FA57-250B-44AC-8655-05D46C5A3D8A}" dt="2023-06-09T11:09:51.177" v="21542" actId="478"/>
          <ac:grpSpMkLst>
            <pc:docMk/>
            <pc:sldMk cId="2536010391" sldId="230717706"/>
            <ac:grpSpMk id="30" creationId="{0EF42EA9-EBEE-4359-9E93-EFB0C8117922}"/>
          </ac:grpSpMkLst>
        </pc:grpChg>
        <pc:grpChg chg="add del mod">
          <ac:chgData name="Manal El Bakkouri" userId="8b130982-2e3f-4164-b881-fd3a2e4b2453" providerId="ADAL" clId="{4457FA57-250B-44AC-8655-05D46C5A3D8A}" dt="2023-06-09T11:09:51.177" v="21542" actId="478"/>
          <ac:grpSpMkLst>
            <pc:docMk/>
            <pc:sldMk cId="2536010391" sldId="230717706"/>
            <ac:grpSpMk id="33" creationId="{273A4A8A-9C9B-489E-93EC-45B0750FEDD6}"/>
          </ac:grpSpMkLst>
        </pc:grpChg>
        <pc:grpChg chg="add del mod">
          <ac:chgData name="Manal El Bakkouri" userId="8b130982-2e3f-4164-b881-fd3a2e4b2453" providerId="ADAL" clId="{4457FA57-250B-44AC-8655-05D46C5A3D8A}" dt="2023-06-09T11:09:51.177" v="21542" actId="478"/>
          <ac:grpSpMkLst>
            <pc:docMk/>
            <pc:sldMk cId="2536010391" sldId="230717706"/>
            <ac:grpSpMk id="36" creationId="{70A2D956-43AD-4831-AD24-CF8820BA9D61}"/>
          </ac:grpSpMkLst>
        </pc:grpChg>
        <pc:grpChg chg="add del mod">
          <ac:chgData name="Manal El Bakkouri" userId="8b130982-2e3f-4164-b881-fd3a2e4b2453" providerId="ADAL" clId="{4457FA57-250B-44AC-8655-05D46C5A3D8A}" dt="2023-06-09T11:09:46.806" v="21541" actId="478"/>
          <ac:grpSpMkLst>
            <pc:docMk/>
            <pc:sldMk cId="2536010391" sldId="230717706"/>
            <ac:grpSpMk id="39" creationId="{FB244FB1-7F03-4EF9-8CE6-098BAF2B06C8}"/>
          </ac:grpSpMkLst>
        </pc:grpChg>
        <pc:grpChg chg="add del mod">
          <ac:chgData name="Manal El Bakkouri" userId="8b130982-2e3f-4164-b881-fd3a2e4b2453" providerId="ADAL" clId="{4457FA57-250B-44AC-8655-05D46C5A3D8A}" dt="2023-06-09T11:09:46.806" v="21541" actId="478"/>
          <ac:grpSpMkLst>
            <pc:docMk/>
            <pc:sldMk cId="2536010391" sldId="230717706"/>
            <ac:grpSpMk id="43" creationId="{A42F3604-1FEB-4BA9-BB6C-38266E164960}"/>
          </ac:grpSpMkLst>
        </pc:grpChg>
        <pc:grpChg chg="add del mod">
          <ac:chgData name="Manal El Bakkouri" userId="8b130982-2e3f-4164-b881-fd3a2e4b2453" providerId="ADAL" clId="{4457FA57-250B-44AC-8655-05D46C5A3D8A}" dt="2023-06-09T11:09:46.806" v="21541" actId="478"/>
          <ac:grpSpMkLst>
            <pc:docMk/>
            <pc:sldMk cId="2536010391" sldId="230717706"/>
            <ac:grpSpMk id="48" creationId="{364CE774-7553-413D-9E6B-FEBC3DB261E2}"/>
          </ac:grpSpMkLst>
        </pc:grpChg>
        <pc:grpChg chg="add del mod">
          <ac:chgData name="Manal El Bakkouri" userId="8b130982-2e3f-4164-b881-fd3a2e4b2453" providerId="ADAL" clId="{4457FA57-250B-44AC-8655-05D46C5A3D8A}" dt="2023-06-09T11:09:46.806" v="21541" actId="478"/>
          <ac:grpSpMkLst>
            <pc:docMk/>
            <pc:sldMk cId="2536010391" sldId="230717706"/>
            <ac:grpSpMk id="51" creationId="{564BE823-2BF4-4C42-B3FF-0882C880B486}"/>
          </ac:grpSpMkLst>
        </pc:grpChg>
        <pc:grpChg chg="add del mod">
          <ac:chgData name="Manal El Bakkouri" userId="8b130982-2e3f-4164-b881-fd3a2e4b2453" providerId="ADAL" clId="{4457FA57-250B-44AC-8655-05D46C5A3D8A}" dt="2023-06-09T11:09:46.806" v="21541" actId="478"/>
          <ac:grpSpMkLst>
            <pc:docMk/>
            <pc:sldMk cId="2536010391" sldId="230717706"/>
            <ac:grpSpMk id="54" creationId="{196FC7EA-2C94-4193-884D-40A6E6B18FA1}"/>
          </ac:grpSpMkLst>
        </pc:grpChg>
        <pc:grpChg chg="add mod">
          <ac:chgData name="Manal El Bakkouri" userId="8b130982-2e3f-4164-b881-fd3a2e4b2453" providerId="ADAL" clId="{4457FA57-250B-44AC-8655-05D46C5A3D8A}" dt="2023-06-09T11:09:51.580" v="21543"/>
          <ac:grpSpMkLst>
            <pc:docMk/>
            <pc:sldMk cId="2536010391" sldId="230717706"/>
            <ac:grpSpMk id="57" creationId="{108CD6A2-FE56-40CA-84DC-319596154E56}"/>
          </ac:grpSpMkLst>
        </pc:grpChg>
        <pc:grpChg chg="add mod">
          <ac:chgData name="Manal El Bakkouri" userId="8b130982-2e3f-4164-b881-fd3a2e4b2453" providerId="ADAL" clId="{4457FA57-250B-44AC-8655-05D46C5A3D8A}" dt="2023-06-09T11:09:51.580" v="21543"/>
          <ac:grpSpMkLst>
            <pc:docMk/>
            <pc:sldMk cId="2536010391" sldId="230717706"/>
            <ac:grpSpMk id="63" creationId="{FD59F691-83E1-46A6-9F7D-64A9F5802526}"/>
          </ac:grpSpMkLst>
        </pc:grpChg>
        <pc:grpChg chg="add mod">
          <ac:chgData name="Manal El Bakkouri" userId="8b130982-2e3f-4164-b881-fd3a2e4b2453" providerId="ADAL" clId="{4457FA57-250B-44AC-8655-05D46C5A3D8A}" dt="2023-06-09T11:09:51.580" v="21543"/>
          <ac:grpSpMkLst>
            <pc:docMk/>
            <pc:sldMk cId="2536010391" sldId="230717706"/>
            <ac:grpSpMk id="66" creationId="{D5E3510A-AB1A-46B7-9F8E-998857EA27C0}"/>
          </ac:grpSpMkLst>
        </pc:grpChg>
        <pc:grpChg chg="add mod">
          <ac:chgData name="Manal El Bakkouri" userId="8b130982-2e3f-4164-b881-fd3a2e4b2453" providerId="ADAL" clId="{4457FA57-250B-44AC-8655-05D46C5A3D8A}" dt="2023-06-09T11:09:51.580" v="21543"/>
          <ac:grpSpMkLst>
            <pc:docMk/>
            <pc:sldMk cId="2536010391" sldId="230717706"/>
            <ac:grpSpMk id="69" creationId="{C772336D-27E9-4AE0-AC08-F8D57FDE209B}"/>
          </ac:grpSpMkLst>
        </pc:grpChg>
        <pc:grpChg chg="add mod">
          <ac:chgData name="Manal El Bakkouri" userId="8b130982-2e3f-4164-b881-fd3a2e4b2453" providerId="ADAL" clId="{4457FA57-250B-44AC-8655-05D46C5A3D8A}" dt="2023-06-09T11:09:51.580" v="21543"/>
          <ac:grpSpMkLst>
            <pc:docMk/>
            <pc:sldMk cId="2536010391" sldId="230717706"/>
            <ac:grpSpMk id="72" creationId="{2877127E-0F54-41D0-AD1E-14145C15CABB}"/>
          </ac:grpSpMkLst>
        </pc:grpChg>
        <pc:picChg chg="mod">
          <ac:chgData name="Manal El Bakkouri" userId="8b130982-2e3f-4164-b881-fd3a2e4b2453" providerId="ADAL" clId="{4457FA57-250B-44AC-8655-05D46C5A3D8A}" dt="2023-06-06T09:12:05.204" v="9022" actId="1076"/>
          <ac:picMkLst>
            <pc:docMk/>
            <pc:sldMk cId="2536010391" sldId="230717706"/>
            <ac:picMk id="3" creationId="{63C8F282-454F-44AC-B262-0B6A21DF676C}"/>
          </ac:picMkLst>
        </pc:picChg>
        <pc:picChg chg="mod ord">
          <ac:chgData name="Manal El Bakkouri" userId="8b130982-2e3f-4164-b881-fd3a2e4b2453" providerId="ADAL" clId="{4457FA57-250B-44AC-8655-05D46C5A3D8A}" dt="2023-06-06T09:18:23.326" v="9139" actId="166"/>
          <ac:picMkLst>
            <pc:docMk/>
            <pc:sldMk cId="2536010391" sldId="230717706"/>
            <ac:picMk id="7" creationId="{9B7DBCE6-D483-408E-91F7-6162E26E31DF}"/>
          </ac:picMkLst>
        </pc:picChg>
        <pc:picChg chg="mod">
          <ac:chgData name="Manal El Bakkouri" userId="8b130982-2e3f-4164-b881-fd3a2e4b2453" providerId="ADAL" clId="{4457FA57-250B-44AC-8655-05D46C5A3D8A}" dt="2023-06-06T09:13:03.196" v="9054" actId="1076"/>
          <ac:picMkLst>
            <pc:docMk/>
            <pc:sldMk cId="2536010391" sldId="230717706"/>
            <ac:picMk id="9" creationId="{A8E930A2-4CB1-4781-A9C8-29077092C6A2}"/>
          </ac:picMkLst>
        </pc:picChg>
        <pc:picChg chg="mod">
          <ac:chgData name="Manal El Bakkouri" userId="8b130982-2e3f-4164-b881-fd3a2e4b2453" providerId="ADAL" clId="{4457FA57-250B-44AC-8655-05D46C5A3D8A}" dt="2023-06-06T09:12:58.804" v="9053" actId="1076"/>
          <ac:picMkLst>
            <pc:docMk/>
            <pc:sldMk cId="2536010391" sldId="230717706"/>
            <ac:picMk id="11" creationId="{0DD446C0-D902-451F-97DE-304869F6F4BB}"/>
          </ac:picMkLst>
        </pc:picChg>
        <pc:picChg chg="mod">
          <ac:chgData name="Manal El Bakkouri" userId="8b130982-2e3f-4164-b881-fd3a2e4b2453" providerId="ADAL" clId="{4457FA57-250B-44AC-8655-05D46C5A3D8A}" dt="2023-06-06T09:12:55.933" v="9052" actId="1076"/>
          <ac:picMkLst>
            <pc:docMk/>
            <pc:sldMk cId="2536010391" sldId="230717706"/>
            <ac:picMk id="13" creationId="{47F62D46-D751-4F10-B5AF-25A44D54E798}"/>
          </ac:picMkLst>
        </pc:picChg>
        <pc:picChg chg="mod">
          <ac:chgData name="Manal El Bakkouri" userId="8b130982-2e3f-4164-b881-fd3a2e4b2453" providerId="ADAL" clId="{4457FA57-250B-44AC-8655-05D46C5A3D8A}" dt="2023-06-06T09:12:03.925" v="9021" actId="1076"/>
          <ac:picMkLst>
            <pc:docMk/>
            <pc:sldMk cId="2536010391" sldId="230717706"/>
            <ac:picMk id="18" creationId="{DD627184-D4DB-4368-95C2-5485143F4BAF}"/>
          </ac:picMkLst>
        </pc:picChg>
      </pc:sldChg>
      <pc:sldChg chg="addSp delSp modSp add mod modNotesTx">
        <pc:chgData name="Manal El Bakkouri" userId="8b130982-2e3f-4164-b881-fd3a2e4b2453" providerId="ADAL" clId="{4457FA57-250B-44AC-8655-05D46C5A3D8A}" dt="2023-06-09T11:28:12.801" v="21740"/>
        <pc:sldMkLst>
          <pc:docMk/>
          <pc:sldMk cId="4005026562" sldId="230717707"/>
        </pc:sldMkLst>
        <pc:spChg chg="mod">
          <ac:chgData name="Manal El Bakkouri" userId="8b130982-2e3f-4164-b881-fd3a2e4b2453" providerId="ADAL" clId="{4457FA57-250B-44AC-8655-05D46C5A3D8A}" dt="2023-06-07T10:03:58.089" v="17632"/>
          <ac:spMkLst>
            <pc:docMk/>
            <pc:sldMk cId="4005026562" sldId="230717707"/>
            <ac:spMk id="25" creationId="{A408964E-F32D-4790-8212-CDAAC1FDF95C}"/>
          </ac:spMkLst>
        </pc:spChg>
        <pc:spChg chg="mod">
          <ac:chgData name="Manal El Bakkouri" userId="8b130982-2e3f-4164-b881-fd3a2e4b2453" providerId="ADAL" clId="{4457FA57-250B-44AC-8655-05D46C5A3D8A}" dt="2023-06-07T10:03:58.089" v="17632"/>
          <ac:spMkLst>
            <pc:docMk/>
            <pc:sldMk cId="4005026562" sldId="230717707"/>
            <ac:spMk id="26" creationId="{95B2847F-D6CC-4C93-A44C-D3D19481C9ED}"/>
          </ac:spMkLst>
        </pc:spChg>
        <pc:spChg chg="mod">
          <ac:chgData name="Manal El Bakkouri" userId="8b130982-2e3f-4164-b881-fd3a2e4b2453" providerId="ADAL" clId="{4457FA57-250B-44AC-8655-05D46C5A3D8A}" dt="2023-06-07T10:03:58.089" v="17632"/>
          <ac:spMkLst>
            <pc:docMk/>
            <pc:sldMk cId="4005026562" sldId="230717707"/>
            <ac:spMk id="28" creationId="{B16DA34C-68BC-4141-A485-AE6AD7CAD5D1}"/>
          </ac:spMkLst>
        </pc:spChg>
        <pc:spChg chg="mod">
          <ac:chgData name="Manal El Bakkouri" userId="8b130982-2e3f-4164-b881-fd3a2e4b2453" providerId="ADAL" clId="{4457FA57-250B-44AC-8655-05D46C5A3D8A}" dt="2023-06-07T10:03:58.089" v="17632"/>
          <ac:spMkLst>
            <pc:docMk/>
            <pc:sldMk cId="4005026562" sldId="230717707"/>
            <ac:spMk id="29" creationId="{65D8DAC1-73C8-4735-AD4C-BB0C70ECBC42}"/>
          </ac:spMkLst>
        </pc:spChg>
        <pc:spChg chg="mod">
          <ac:chgData name="Manal El Bakkouri" userId="8b130982-2e3f-4164-b881-fd3a2e4b2453" providerId="ADAL" clId="{4457FA57-250B-44AC-8655-05D46C5A3D8A}" dt="2023-06-07T10:03:58.089" v="17632"/>
          <ac:spMkLst>
            <pc:docMk/>
            <pc:sldMk cId="4005026562" sldId="230717707"/>
            <ac:spMk id="31" creationId="{EE920E1E-C4A2-44D4-B668-D34FEE84E397}"/>
          </ac:spMkLst>
        </pc:spChg>
        <pc:spChg chg="mod">
          <ac:chgData name="Manal El Bakkouri" userId="8b130982-2e3f-4164-b881-fd3a2e4b2453" providerId="ADAL" clId="{4457FA57-250B-44AC-8655-05D46C5A3D8A}" dt="2023-06-07T10:03:58.089" v="17632"/>
          <ac:spMkLst>
            <pc:docMk/>
            <pc:sldMk cId="4005026562" sldId="230717707"/>
            <ac:spMk id="32" creationId="{3574D633-90A9-4105-9536-9AA2528D7076}"/>
          </ac:spMkLst>
        </pc:spChg>
        <pc:spChg chg="mod">
          <ac:chgData name="Manal El Bakkouri" userId="8b130982-2e3f-4164-b881-fd3a2e4b2453" providerId="ADAL" clId="{4457FA57-250B-44AC-8655-05D46C5A3D8A}" dt="2023-06-07T10:03:58.089" v="17632"/>
          <ac:spMkLst>
            <pc:docMk/>
            <pc:sldMk cId="4005026562" sldId="230717707"/>
            <ac:spMk id="34" creationId="{2F77BEDC-4B5B-43A5-9371-22BE67C4EC09}"/>
          </ac:spMkLst>
        </pc:spChg>
        <pc:spChg chg="mod">
          <ac:chgData name="Manal El Bakkouri" userId="8b130982-2e3f-4164-b881-fd3a2e4b2453" providerId="ADAL" clId="{4457FA57-250B-44AC-8655-05D46C5A3D8A}" dt="2023-06-07T10:03:58.089" v="17632"/>
          <ac:spMkLst>
            <pc:docMk/>
            <pc:sldMk cId="4005026562" sldId="230717707"/>
            <ac:spMk id="35" creationId="{DD566252-FC37-4586-84D2-3574761CD46F}"/>
          </ac:spMkLst>
        </pc:spChg>
        <pc:spChg chg="mod">
          <ac:chgData name="Manal El Bakkouri" userId="8b130982-2e3f-4164-b881-fd3a2e4b2453" providerId="ADAL" clId="{4457FA57-250B-44AC-8655-05D46C5A3D8A}" dt="2023-06-07T10:03:58.089" v="17632"/>
          <ac:spMkLst>
            <pc:docMk/>
            <pc:sldMk cId="4005026562" sldId="230717707"/>
            <ac:spMk id="37" creationId="{3D191246-7352-4F2D-8B28-A6E122F1F602}"/>
          </ac:spMkLst>
        </pc:spChg>
        <pc:spChg chg="mod">
          <ac:chgData name="Manal El Bakkouri" userId="8b130982-2e3f-4164-b881-fd3a2e4b2453" providerId="ADAL" clId="{4457FA57-250B-44AC-8655-05D46C5A3D8A}" dt="2023-06-07T10:03:58.089" v="17632"/>
          <ac:spMkLst>
            <pc:docMk/>
            <pc:sldMk cId="4005026562" sldId="230717707"/>
            <ac:spMk id="38" creationId="{6EBDB327-261D-4E13-B62C-C79AF3EA4150}"/>
          </ac:spMkLst>
        </pc:spChg>
        <pc:spChg chg="mod">
          <ac:chgData name="Manal El Bakkouri" userId="8b130982-2e3f-4164-b881-fd3a2e4b2453" providerId="ADAL" clId="{4457FA57-250B-44AC-8655-05D46C5A3D8A}" dt="2023-06-09T11:10:01.724" v="21547"/>
          <ac:spMkLst>
            <pc:docMk/>
            <pc:sldMk cId="4005026562" sldId="230717707"/>
            <ac:spMk id="40" creationId="{5977FB04-7053-4F9F-BA55-03762CEDB320}"/>
          </ac:spMkLst>
        </pc:spChg>
        <pc:spChg chg="mod">
          <ac:chgData name="Manal El Bakkouri" userId="8b130982-2e3f-4164-b881-fd3a2e4b2453" providerId="ADAL" clId="{4457FA57-250B-44AC-8655-05D46C5A3D8A}" dt="2023-06-09T11:10:01.724" v="21547"/>
          <ac:spMkLst>
            <pc:docMk/>
            <pc:sldMk cId="4005026562" sldId="230717707"/>
            <ac:spMk id="41" creationId="{E7324B7C-3935-4E8A-B3D8-D16C2A967357}"/>
          </ac:spMkLst>
        </pc:spChg>
        <pc:spChg chg="del">
          <ac:chgData name="Manal El Bakkouri" userId="8b130982-2e3f-4164-b881-fd3a2e4b2453" providerId="ADAL" clId="{4457FA57-250B-44AC-8655-05D46C5A3D8A}" dt="2023-06-09T11:28:12.364" v="21739" actId="478"/>
          <ac:spMkLst>
            <pc:docMk/>
            <pc:sldMk cId="4005026562" sldId="230717707"/>
            <ac:spMk id="42" creationId="{A64C7408-49A6-4C3E-99BB-C931B1351638}"/>
          </ac:spMkLst>
        </pc:spChg>
        <pc:spChg chg="mod">
          <ac:chgData name="Manal El Bakkouri" userId="8b130982-2e3f-4164-b881-fd3a2e4b2453" providerId="ADAL" clId="{4457FA57-250B-44AC-8655-05D46C5A3D8A}" dt="2023-06-09T11:10:01.724" v="21547"/>
          <ac:spMkLst>
            <pc:docMk/>
            <pc:sldMk cId="4005026562" sldId="230717707"/>
            <ac:spMk id="44" creationId="{616EED15-FBE1-4A2D-A21F-FDA7BD8C3F8A}"/>
          </ac:spMkLst>
        </pc:spChg>
        <pc:spChg chg="del">
          <ac:chgData name="Manal El Bakkouri" userId="8b130982-2e3f-4164-b881-fd3a2e4b2453" providerId="ADAL" clId="{4457FA57-250B-44AC-8655-05D46C5A3D8A}" dt="2023-06-09T11:28:12.364" v="21739" actId="478"/>
          <ac:spMkLst>
            <pc:docMk/>
            <pc:sldMk cId="4005026562" sldId="230717707"/>
            <ac:spMk id="45" creationId="{408C8D92-08B3-4B61-A0CD-13080857796B}"/>
          </ac:spMkLst>
        </pc:spChg>
        <pc:spChg chg="mod">
          <ac:chgData name="Manal El Bakkouri" userId="8b130982-2e3f-4164-b881-fd3a2e4b2453" providerId="ADAL" clId="{4457FA57-250B-44AC-8655-05D46C5A3D8A}" dt="2023-06-09T11:10:01.724" v="21547"/>
          <ac:spMkLst>
            <pc:docMk/>
            <pc:sldMk cId="4005026562" sldId="230717707"/>
            <ac:spMk id="46" creationId="{C49F955B-6126-45E9-B4C8-2BB68AB3C3BB}"/>
          </ac:spMkLst>
        </pc:spChg>
        <pc:spChg chg="del">
          <ac:chgData name="Manal El Bakkouri" userId="8b130982-2e3f-4164-b881-fd3a2e4b2453" providerId="ADAL" clId="{4457FA57-250B-44AC-8655-05D46C5A3D8A}" dt="2023-06-09T11:28:12.364" v="21739" actId="478"/>
          <ac:spMkLst>
            <pc:docMk/>
            <pc:sldMk cId="4005026562" sldId="230717707"/>
            <ac:spMk id="47" creationId="{50567FD5-B65B-4FC4-B0C8-4197E71F7081}"/>
          </ac:spMkLst>
        </pc:spChg>
        <pc:spChg chg="mod">
          <ac:chgData name="Manal El Bakkouri" userId="8b130982-2e3f-4164-b881-fd3a2e4b2453" providerId="ADAL" clId="{4457FA57-250B-44AC-8655-05D46C5A3D8A}" dt="2023-06-09T11:10:01.724" v="21547"/>
          <ac:spMkLst>
            <pc:docMk/>
            <pc:sldMk cId="4005026562" sldId="230717707"/>
            <ac:spMk id="49" creationId="{9F29E782-3A07-4BDA-A1E3-CE0A7F652D50}"/>
          </ac:spMkLst>
        </pc:spChg>
        <pc:spChg chg="mod">
          <ac:chgData name="Manal El Bakkouri" userId="8b130982-2e3f-4164-b881-fd3a2e4b2453" providerId="ADAL" clId="{4457FA57-250B-44AC-8655-05D46C5A3D8A}" dt="2023-06-09T11:10:01.724" v="21547"/>
          <ac:spMkLst>
            <pc:docMk/>
            <pc:sldMk cId="4005026562" sldId="230717707"/>
            <ac:spMk id="50" creationId="{6469F43B-06BD-4CB3-AF6A-BB9F81127D10}"/>
          </ac:spMkLst>
        </pc:spChg>
        <pc:spChg chg="mod">
          <ac:chgData name="Manal El Bakkouri" userId="8b130982-2e3f-4164-b881-fd3a2e4b2453" providerId="ADAL" clId="{4457FA57-250B-44AC-8655-05D46C5A3D8A}" dt="2023-06-09T11:10:01.724" v="21547"/>
          <ac:spMkLst>
            <pc:docMk/>
            <pc:sldMk cId="4005026562" sldId="230717707"/>
            <ac:spMk id="52" creationId="{34F75E19-2E16-463E-BBF4-1A0C7DB74D2B}"/>
          </ac:spMkLst>
        </pc:spChg>
        <pc:spChg chg="mod">
          <ac:chgData name="Manal El Bakkouri" userId="8b130982-2e3f-4164-b881-fd3a2e4b2453" providerId="ADAL" clId="{4457FA57-250B-44AC-8655-05D46C5A3D8A}" dt="2023-06-09T11:10:01.724" v="21547"/>
          <ac:spMkLst>
            <pc:docMk/>
            <pc:sldMk cId="4005026562" sldId="230717707"/>
            <ac:spMk id="53" creationId="{0A30FF52-0EC4-4D83-9092-17E460ACC7F5}"/>
          </ac:spMkLst>
        </pc:spChg>
        <pc:spChg chg="mod">
          <ac:chgData name="Manal El Bakkouri" userId="8b130982-2e3f-4164-b881-fd3a2e4b2453" providerId="ADAL" clId="{4457FA57-250B-44AC-8655-05D46C5A3D8A}" dt="2023-06-09T11:10:01.724" v="21547"/>
          <ac:spMkLst>
            <pc:docMk/>
            <pc:sldMk cId="4005026562" sldId="230717707"/>
            <ac:spMk id="55" creationId="{EEB97ED8-C8DA-43DF-9349-449F09B67927}"/>
          </ac:spMkLst>
        </pc:spChg>
        <pc:spChg chg="mod">
          <ac:chgData name="Manal El Bakkouri" userId="8b130982-2e3f-4164-b881-fd3a2e4b2453" providerId="ADAL" clId="{4457FA57-250B-44AC-8655-05D46C5A3D8A}" dt="2023-06-09T11:10:01.724" v="21547"/>
          <ac:spMkLst>
            <pc:docMk/>
            <pc:sldMk cId="4005026562" sldId="230717707"/>
            <ac:spMk id="56" creationId="{D856DF66-1B98-40C0-BD1C-BC6ACF7BEB44}"/>
          </ac:spMkLst>
        </pc:spChg>
        <pc:spChg chg="add mod">
          <ac:chgData name="Manal El Bakkouri" userId="8b130982-2e3f-4164-b881-fd3a2e4b2453" providerId="ADAL" clId="{4457FA57-250B-44AC-8655-05D46C5A3D8A}" dt="2023-06-09T11:28:12.801" v="21740"/>
          <ac:spMkLst>
            <pc:docMk/>
            <pc:sldMk cId="4005026562" sldId="230717707"/>
            <ac:spMk id="57" creationId="{AD2928A9-E2C1-468C-93A4-1BDEF44C040E}"/>
          </ac:spMkLst>
        </pc:spChg>
        <pc:spChg chg="add mod">
          <ac:chgData name="Manal El Bakkouri" userId="8b130982-2e3f-4164-b881-fd3a2e4b2453" providerId="ADAL" clId="{4457FA57-250B-44AC-8655-05D46C5A3D8A}" dt="2023-06-09T11:28:12.801" v="21740"/>
          <ac:spMkLst>
            <pc:docMk/>
            <pc:sldMk cId="4005026562" sldId="230717707"/>
            <ac:spMk id="58" creationId="{9CB9451C-E9A2-4D8A-8DC2-ACA5AA7C097A}"/>
          </ac:spMkLst>
        </pc:spChg>
        <pc:spChg chg="del">
          <ac:chgData name="Manal El Bakkouri" userId="8b130982-2e3f-4164-b881-fd3a2e4b2453" providerId="ADAL" clId="{4457FA57-250B-44AC-8655-05D46C5A3D8A}" dt="2023-06-07T10:03:57.763" v="17631" actId="478"/>
          <ac:spMkLst>
            <pc:docMk/>
            <pc:sldMk cId="4005026562" sldId="230717707"/>
            <ac:spMk id="61" creationId="{DC34440A-5105-449E-A8F6-18365D73F0D3}"/>
          </ac:spMkLst>
        </pc:spChg>
        <pc:spChg chg="add mod">
          <ac:chgData name="Manal El Bakkouri" userId="8b130982-2e3f-4164-b881-fd3a2e4b2453" providerId="ADAL" clId="{4457FA57-250B-44AC-8655-05D46C5A3D8A}" dt="2023-06-09T11:28:12.801" v="21740"/>
          <ac:spMkLst>
            <pc:docMk/>
            <pc:sldMk cId="4005026562" sldId="230717707"/>
            <ac:spMk id="61" creationId="{EA6DCE77-D166-4096-B38A-5CB32955D40E}"/>
          </ac:spMkLst>
        </pc:spChg>
        <pc:spChg chg="mod">
          <ac:chgData name="Manal El Bakkouri" userId="8b130982-2e3f-4164-b881-fd3a2e4b2453" providerId="ADAL" clId="{4457FA57-250B-44AC-8655-05D46C5A3D8A}" dt="2023-06-06T09:14:06.725" v="9095" actId="14100"/>
          <ac:spMkLst>
            <pc:docMk/>
            <pc:sldMk cId="4005026562" sldId="230717707"/>
            <ac:spMk id="62" creationId="{495309CA-AF39-44A7-930A-E0AD872571D6}"/>
          </ac:spMkLst>
        </pc:spChg>
        <pc:spChg chg="add mod">
          <ac:chgData name="Manal El Bakkouri" userId="8b130982-2e3f-4164-b881-fd3a2e4b2453" providerId="ADAL" clId="{4457FA57-250B-44AC-8655-05D46C5A3D8A}" dt="2023-06-09T11:28:12.801" v="21740"/>
          <ac:spMkLst>
            <pc:docMk/>
            <pc:sldMk cId="4005026562" sldId="230717707"/>
            <ac:spMk id="63" creationId="{1BC5C212-375E-45B3-909B-A6280E5B5544}"/>
          </ac:spMkLst>
        </pc:spChg>
        <pc:spChg chg="del">
          <ac:chgData name="Manal El Bakkouri" userId="8b130982-2e3f-4164-b881-fd3a2e4b2453" providerId="ADAL" clId="{4457FA57-250B-44AC-8655-05D46C5A3D8A}" dt="2023-06-07T10:03:57.763" v="17631" actId="478"/>
          <ac:spMkLst>
            <pc:docMk/>
            <pc:sldMk cId="4005026562" sldId="230717707"/>
            <ac:spMk id="63" creationId="{CD634BF4-A42B-4E33-B1C2-82DE0979F488}"/>
          </ac:spMkLst>
        </pc:spChg>
        <pc:spChg chg="del">
          <ac:chgData name="Manal El Bakkouri" userId="8b130982-2e3f-4164-b881-fd3a2e4b2453" providerId="ADAL" clId="{4457FA57-250B-44AC-8655-05D46C5A3D8A}" dt="2023-06-07T10:03:57.763" v="17631" actId="478"/>
          <ac:spMkLst>
            <pc:docMk/>
            <pc:sldMk cId="4005026562" sldId="230717707"/>
            <ac:spMk id="64" creationId="{0BC6162E-87CC-4975-8AC3-B1C4E75A1FCD}"/>
          </ac:spMkLst>
        </pc:spChg>
        <pc:spChg chg="del">
          <ac:chgData name="Manal El Bakkouri" userId="8b130982-2e3f-4164-b881-fd3a2e4b2453" providerId="ADAL" clId="{4457FA57-250B-44AC-8655-05D46C5A3D8A}" dt="2023-06-07T10:03:57.763" v="17631" actId="478"/>
          <ac:spMkLst>
            <pc:docMk/>
            <pc:sldMk cId="4005026562" sldId="230717707"/>
            <ac:spMk id="65" creationId="{0DED4506-E850-4EDF-8E57-6CDA06ECCD31}"/>
          </ac:spMkLst>
        </pc:spChg>
        <pc:spChg chg="del">
          <ac:chgData name="Manal El Bakkouri" userId="8b130982-2e3f-4164-b881-fd3a2e4b2453" providerId="ADAL" clId="{4457FA57-250B-44AC-8655-05D46C5A3D8A}" dt="2023-06-07T10:03:57.763" v="17631" actId="478"/>
          <ac:spMkLst>
            <pc:docMk/>
            <pc:sldMk cId="4005026562" sldId="230717707"/>
            <ac:spMk id="67" creationId="{C2E676D3-7044-4416-95A3-0BDD568F460D}"/>
          </ac:spMkLst>
        </pc:spChg>
        <pc:spChg chg="del">
          <ac:chgData name="Manal El Bakkouri" userId="8b130982-2e3f-4164-b881-fd3a2e4b2453" providerId="ADAL" clId="{4457FA57-250B-44AC-8655-05D46C5A3D8A}" dt="2023-06-07T10:03:57.763" v="17631" actId="478"/>
          <ac:spMkLst>
            <pc:docMk/>
            <pc:sldMk cId="4005026562" sldId="230717707"/>
            <ac:spMk id="68" creationId="{E5E343C9-AD16-4EA4-89E2-CE2CE015D6E8}"/>
          </ac:spMkLst>
        </pc:spChg>
        <pc:spChg chg="del">
          <ac:chgData name="Manal El Bakkouri" userId="8b130982-2e3f-4164-b881-fd3a2e4b2453" providerId="ADAL" clId="{4457FA57-250B-44AC-8655-05D46C5A3D8A}" dt="2023-06-07T10:03:57.763" v="17631" actId="478"/>
          <ac:spMkLst>
            <pc:docMk/>
            <pc:sldMk cId="4005026562" sldId="230717707"/>
            <ac:spMk id="69" creationId="{EBD33ADD-FAAA-4E62-973F-7498E56F2256}"/>
          </ac:spMkLst>
        </pc:spChg>
        <pc:spChg chg="del">
          <ac:chgData name="Manal El Bakkouri" userId="8b130982-2e3f-4164-b881-fd3a2e4b2453" providerId="ADAL" clId="{4457FA57-250B-44AC-8655-05D46C5A3D8A}" dt="2023-06-07T10:03:57.763" v="17631" actId="478"/>
          <ac:spMkLst>
            <pc:docMk/>
            <pc:sldMk cId="4005026562" sldId="230717707"/>
            <ac:spMk id="70" creationId="{5D159352-80CA-4E9C-88AB-B5020F0649E1}"/>
          </ac:spMkLst>
        </pc:spChg>
        <pc:spChg chg="del">
          <ac:chgData name="Manal El Bakkouri" userId="8b130982-2e3f-4164-b881-fd3a2e4b2453" providerId="ADAL" clId="{4457FA57-250B-44AC-8655-05D46C5A3D8A}" dt="2023-06-07T10:03:57.763" v="17631" actId="478"/>
          <ac:spMkLst>
            <pc:docMk/>
            <pc:sldMk cId="4005026562" sldId="230717707"/>
            <ac:spMk id="71" creationId="{3776B1AD-70C1-41F9-856E-401FA9523AD6}"/>
          </ac:spMkLst>
        </pc:spChg>
        <pc:spChg chg="del">
          <ac:chgData name="Manal El Bakkouri" userId="8b130982-2e3f-4164-b881-fd3a2e4b2453" providerId="ADAL" clId="{4457FA57-250B-44AC-8655-05D46C5A3D8A}" dt="2023-06-07T10:03:57.763" v="17631" actId="478"/>
          <ac:spMkLst>
            <pc:docMk/>
            <pc:sldMk cId="4005026562" sldId="230717707"/>
            <ac:spMk id="72" creationId="{E9C39060-E719-4A69-856C-B9621AB4CBB0}"/>
          </ac:spMkLst>
        </pc:spChg>
        <pc:grpChg chg="add del mod">
          <ac:chgData name="Manal El Bakkouri" userId="8b130982-2e3f-4164-b881-fd3a2e4b2453" providerId="ADAL" clId="{4457FA57-250B-44AC-8655-05D46C5A3D8A}" dt="2023-06-09T11:10:01.392" v="21546" actId="478"/>
          <ac:grpSpMkLst>
            <pc:docMk/>
            <pc:sldMk cId="4005026562" sldId="230717707"/>
            <ac:grpSpMk id="24" creationId="{91093222-0FAF-42DE-B645-526CD637CEEF}"/>
          </ac:grpSpMkLst>
        </pc:grpChg>
        <pc:grpChg chg="add del mod">
          <ac:chgData name="Manal El Bakkouri" userId="8b130982-2e3f-4164-b881-fd3a2e4b2453" providerId="ADAL" clId="{4457FA57-250B-44AC-8655-05D46C5A3D8A}" dt="2023-06-09T11:10:01.392" v="21546" actId="478"/>
          <ac:grpSpMkLst>
            <pc:docMk/>
            <pc:sldMk cId="4005026562" sldId="230717707"/>
            <ac:grpSpMk id="27" creationId="{C3AEA5BE-851F-4BF3-83DD-A243457DA682}"/>
          </ac:grpSpMkLst>
        </pc:grpChg>
        <pc:grpChg chg="add del mod">
          <ac:chgData name="Manal El Bakkouri" userId="8b130982-2e3f-4164-b881-fd3a2e4b2453" providerId="ADAL" clId="{4457FA57-250B-44AC-8655-05D46C5A3D8A}" dt="2023-06-09T11:10:01.392" v="21546" actId="478"/>
          <ac:grpSpMkLst>
            <pc:docMk/>
            <pc:sldMk cId="4005026562" sldId="230717707"/>
            <ac:grpSpMk id="30" creationId="{C6F498F7-A9BF-4298-BEC6-9F265A795D52}"/>
          </ac:grpSpMkLst>
        </pc:grpChg>
        <pc:grpChg chg="add del mod">
          <ac:chgData name="Manal El Bakkouri" userId="8b130982-2e3f-4164-b881-fd3a2e4b2453" providerId="ADAL" clId="{4457FA57-250B-44AC-8655-05D46C5A3D8A}" dt="2023-06-09T11:10:01.392" v="21546" actId="478"/>
          <ac:grpSpMkLst>
            <pc:docMk/>
            <pc:sldMk cId="4005026562" sldId="230717707"/>
            <ac:grpSpMk id="33" creationId="{6B946260-9D4B-4F74-BB4F-E14A0326860E}"/>
          </ac:grpSpMkLst>
        </pc:grpChg>
        <pc:grpChg chg="add del mod">
          <ac:chgData name="Manal El Bakkouri" userId="8b130982-2e3f-4164-b881-fd3a2e4b2453" providerId="ADAL" clId="{4457FA57-250B-44AC-8655-05D46C5A3D8A}" dt="2023-06-09T11:10:01.392" v="21546" actId="478"/>
          <ac:grpSpMkLst>
            <pc:docMk/>
            <pc:sldMk cId="4005026562" sldId="230717707"/>
            <ac:grpSpMk id="36" creationId="{89BEC7F0-5F5F-46A4-9673-9388C8DEFCC7}"/>
          </ac:grpSpMkLst>
        </pc:grpChg>
        <pc:grpChg chg="add mod">
          <ac:chgData name="Manal El Bakkouri" userId="8b130982-2e3f-4164-b881-fd3a2e4b2453" providerId="ADAL" clId="{4457FA57-250B-44AC-8655-05D46C5A3D8A}" dt="2023-06-09T11:10:01.724" v="21547"/>
          <ac:grpSpMkLst>
            <pc:docMk/>
            <pc:sldMk cId="4005026562" sldId="230717707"/>
            <ac:grpSpMk id="39" creationId="{6865B83B-5994-4D34-802E-476D490A89BD}"/>
          </ac:grpSpMkLst>
        </pc:grpChg>
        <pc:grpChg chg="add mod">
          <ac:chgData name="Manal El Bakkouri" userId="8b130982-2e3f-4164-b881-fd3a2e4b2453" providerId="ADAL" clId="{4457FA57-250B-44AC-8655-05D46C5A3D8A}" dt="2023-06-09T11:10:01.724" v="21547"/>
          <ac:grpSpMkLst>
            <pc:docMk/>
            <pc:sldMk cId="4005026562" sldId="230717707"/>
            <ac:grpSpMk id="43" creationId="{6DA119F6-77FE-40D2-80B5-DB5DD7BCE328}"/>
          </ac:grpSpMkLst>
        </pc:grpChg>
        <pc:grpChg chg="add mod">
          <ac:chgData name="Manal El Bakkouri" userId="8b130982-2e3f-4164-b881-fd3a2e4b2453" providerId="ADAL" clId="{4457FA57-250B-44AC-8655-05D46C5A3D8A}" dt="2023-06-09T11:10:01.724" v="21547"/>
          <ac:grpSpMkLst>
            <pc:docMk/>
            <pc:sldMk cId="4005026562" sldId="230717707"/>
            <ac:grpSpMk id="48" creationId="{C1B8B868-30E6-4CDE-BC4E-88964EB5BA6D}"/>
          </ac:grpSpMkLst>
        </pc:grpChg>
        <pc:grpChg chg="add mod">
          <ac:chgData name="Manal El Bakkouri" userId="8b130982-2e3f-4164-b881-fd3a2e4b2453" providerId="ADAL" clId="{4457FA57-250B-44AC-8655-05D46C5A3D8A}" dt="2023-06-09T11:10:01.724" v="21547"/>
          <ac:grpSpMkLst>
            <pc:docMk/>
            <pc:sldMk cId="4005026562" sldId="230717707"/>
            <ac:grpSpMk id="51" creationId="{123FFE07-31FA-42D6-ACDC-415910228959}"/>
          </ac:grpSpMkLst>
        </pc:grpChg>
        <pc:grpChg chg="add mod">
          <ac:chgData name="Manal El Bakkouri" userId="8b130982-2e3f-4164-b881-fd3a2e4b2453" providerId="ADAL" clId="{4457FA57-250B-44AC-8655-05D46C5A3D8A}" dt="2023-06-09T11:10:01.724" v="21547"/>
          <ac:grpSpMkLst>
            <pc:docMk/>
            <pc:sldMk cId="4005026562" sldId="230717707"/>
            <ac:grpSpMk id="54" creationId="{15EC17DE-7112-4468-8235-9BEAA5937392}"/>
          </ac:grpSpMkLst>
        </pc:grpChg>
        <pc:picChg chg="mod">
          <ac:chgData name="Manal El Bakkouri" userId="8b130982-2e3f-4164-b881-fd3a2e4b2453" providerId="ADAL" clId="{4457FA57-250B-44AC-8655-05D46C5A3D8A}" dt="2023-06-06T09:13:35.948" v="9063" actId="1076"/>
          <ac:picMkLst>
            <pc:docMk/>
            <pc:sldMk cId="4005026562" sldId="230717707"/>
            <ac:picMk id="3" creationId="{63C8F282-454F-44AC-B262-0B6A21DF676C}"/>
          </ac:picMkLst>
        </pc:picChg>
        <pc:picChg chg="mod">
          <ac:chgData name="Manal El Bakkouri" userId="8b130982-2e3f-4164-b881-fd3a2e4b2453" providerId="ADAL" clId="{4457FA57-250B-44AC-8655-05D46C5A3D8A}" dt="2023-06-06T09:13:39.301" v="9065" actId="1076"/>
          <ac:picMkLst>
            <pc:docMk/>
            <pc:sldMk cId="4005026562" sldId="230717707"/>
            <ac:picMk id="7" creationId="{9B7DBCE6-D483-408E-91F7-6162E26E31DF}"/>
          </ac:picMkLst>
        </pc:picChg>
        <pc:picChg chg="mod">
          <ac:chgData name="Manal El Bakkouri" userId="8b130982-2e3f-4164-b881-fd3a2e4b2453" providerId="ADAL" clId="{4457FA57-250B-44AC-8655-05D46C5A3D8A}" dt="2023-06-06T09:13:32.204" v="9060" actId="1076"/>
          <ac:picMkLst>
            <pc:docMk/>
            <pc:sldMk cId="4005026562" sldId="230717707"/>
            <ac:picMk id="9" creationId="{A8E930A2-4CB1-4781-A9C8-29077092C6A2}"/>
          </ac:picMkLst>
        </pc:picChg>
        <pc:picChg chg="mod">
          <ac:chgData name="Manal El Bakkouri" userId="8b130982-2e3f-4164-b881-fd3a2e4b2453" providerId="ADAL" clId="{4457FA57-250B-44AC-8655-05D46C5A3D8A}" dt="2023-06-06T09:13:30.780" v="9059" actId="1076"/>
          <ac:picMkLst>
            <pc:docMk/>
            <pc:sldMk cId="4005026562" sldId="230717707"/>
            <ac:picMk id="11" creationId="{0DD446C0-D902-451F-97DE-304869F6F4BB}"/>
          </ac:picMkLst>
        </pc:picChg>
        <pc:picChg chg="mod ord">
          <ac:chgData name="Manal El Bakkouri" userId="8b130982-2e3f-4164-b881-fd3a2e4b2453" providerId="ADAL" clId="{4457FA57-250B-44AC-8655-05D46C5A3D8A}" dt="2023-06-06T09:18:19.698" v="9138" actId="166"/>
          <ac:picMkLst>
            <pc:docMk/>
            <pc:sldMk cId="4005026562" sldId="230717707"/>
            <ac:picMk id="13" creationId="{47F62D46-D751-4F10-B5AF-25A44D54E798}"/>
          </ac:picMkLst>
        </pc:picChg>
        <pc:picChg chg="mod">
          <ac:chgData name="Manal El Bakkouri" userId="8b130982-2e3f-4164-b881-fd3a2e4b2453" providerId="ADAL" clId="{4457FA57-250B-44AC-8655-05D46C5A3D8A}" dt="2023-06-06T09:13:36.661" v="9064" actId="1076"/>
          <ac:picMkLst>
            <pc:docMk/>
            <pc:sldMk cId="4005026562" sldId="230717707"/>
            <ac:picMk id="18" creationId="{DD627184-D4DB-4368-95C2-5485143F4BAF}"/>
          </ac:picMkLst>
        </pc:picChg>
      </pc:sldChg>
      <pc:sldChg chg="addSp delSp modSp add mod modNotesTx">
        <pc:chgData name="Manal El Bakkouri" userId="8b130982-2e3f-4164-b881-fd3a2e4b2453" providerId="ADAL" clId="{4457FA57-250B-44AC-8655-05D46C5A3D8A}" dt="2023-06-09T11:28:17.718" v="21742"/>
        <pc:sldMkLst>
          <pc:docMk/>
          <pc:sldMk cId="3480139383" sldId="230717708"/>
        </pc:sldMkLst>
        <pc:spChg chg="mod">
          <ac:chgData name="Manal El Bakkouri" userId="8b130982-2e3f-4164-b881-fd3a2e4b2453" providerId="ADAL" clId="{4457FA57-250B-44AC-8655-05D46C5A3D8A}" dt="2023-06-07T10:04:02.889" v="17634"/>
          <ac:spMkLst>
            <pc:docMk/>
            <pc:sldMk cId="3480139383" sldId="230717708"/>
            <ac:spMk id="26" creationId="{83362AF3-709A-473A-851C-3E9ED8F908F1}"/>
          </ac:spMkLst>
        </pc:spChg>
        <pc:spChg chg="mod">
          <ac:chgData name="Manal El Bakkouri" userId="8b130982-2e3f-4164-b881-fd3a2e4b2453" providerId="ADAL" clId="{4457FA57-250B-44AC-8655-05D46C5A3D8A}" dt="2023-06-07T10:04:02.889" v="17634"/>
          <ac:spMkLst>
            <pc:docMk/>
            <pc:sldMk cId="3480139383" sldId="230717708"/>
            <ac:spMk id="27" creationId="{57CE7C73-7F97-419E-A235-C6293E7D3DD7}"/>
          </ac:spMkLst>
        </pc:spChg>
        <pc:spChg chg="mod">
          <ac:chgData name="Manal El Bakkouri" userId="8b130982-2e3f-4164-b881-fd3a2e4b2453" providerId="ADAL" clId="{4457FA57-250B-44AC-8655-05D46C5A3D8A}" dt="2023-06-07T10:04:02.889" v="17634"/>
          <ac:spMkLst>
            <pc:docMk/>
            <pc:sldMk cId="3480139383" sldId="230717708"/>
            <ac:spMk id="29" creationId="{6DDC2DC9-D790-449A-B586-ED650EBB1ED0}"/>
          </ac:spMkLst>
        </pc:spChg>
        <pc:spChg chg="mod">
          <ac:chgData name="Manal El Bakkouri" userId="8b130982-2e3f-4164-b881-fd3a2e4b2453" providerId="ADAL" clId="{4457FA57-250B-44AC-8655-05D46C5A3D8A}" dt="2023-06-07T10:04:02.889" v="17634"/>
          <ac:spMkLst>
            <pc:docMk/>
            <pc:sldMk cId="3480139383" sldId="230717708"/>
            <ac:spMk id="30" creationId="{B1BB936D-9A89-4DF8-9A74-54060DCC90F9}"/>
          </ac:spMkLst>
        </pc:spChg>
        <pc:spChg chg="mod">
          <ac:chgData name="Manal El Bakkouri" userId="8b130982-2e3f-4164-b881-fd3a2e4b2453" providerId="ADAL" clId="{4457FA57-250B-44AC-8655-05D46C5A3D8A}" dt="2023-06-07T10:04:02.889" v="17634"/>
          <ac:spMkLst>
            <pc:docMk/>
            <pc:sldMk cId="3480139383" sldId="230717708"/>
            <ac:spMk id="32" creationId="{682A5997-6E01-4D8F-925D-56931B3E185C}"/>
          </ac:spMkLst>
        </pc:spChg>
        <pc:spChg chg="mod">
          <ac:chgData name="Manal El Bakkouri" userId="8b130982-2e3f-4164-b881-fd3a2e4b2453" providerId="ADAL" clId="{4457FA57-250B-44AC-8655-05D46C5A3D8A}" dt="2023-06-07T10:04:02.889" v="17634"/>
          <ac:spMkLst>
            <pc:docMk/>
            <pc:sldMk cId="3480139383" sldId="230717708"/>
            <ac:spMk id="33" creationId="{58752FBB-A5D7-444E-9A52-14CD664F093E}"/>
          </ac:spMkLst>
        </pc:spChg>
        <pc:spChg chg="mod">
          <ac:chgData name="Manal El Bakkouri" userId="8b130982-2e3f-4164-b881-fd3a2e4b2453" providerId="ADAL" clId="{4457FA57-250B-44AC-8655-05D46C5A3D8A}" dt="2023-06-07T10:04:02.889" v="17634"/>
          <ac:spMkLst>
            <pc:docMk/>
            <pc:sldMk cId="3480139383" sldId="230717708"/>
            <ac:spMk id="35" creationId="{6D0C1190-2CB3-49CB-8730-3E3533F4F86C}"/>
          </ac:spMkLst>
        </pc:spChg>
        <pc:spChg chg="mod">
          <ac:chgData name="Manal El Bakkouri" userId="8b130982-2e3f-4164-b881-fd3a2e4b2453" providerId="ADAL" clId="{4457FA57-250B-44AC-8655-05D46C5A3D8A}" dt="2023-06-07T10:04:02.889" v="17634"/>
          <ac:spMkLst>
            <pc:docMk/>
            <pc:sldMk cId="3480139383" sldId="230717708"/>
            <ac:spMk id="36" creationId="{279C3B89-7CFF-46E0-AE61-DD572AF86FEA}"/>
          </ac:spMkLst>
        </pc:spChg>
        <pc:spChg chg="mod">
          <ac:chgData name="Manal El Bakkouri" userId="8b130982-2e3f-4164-b881-fd3a2e4b2453" providerId="ADAL" clId="{4457FA57-250B-44AC-8655-05D46C5A3D8A}" dt="2023-06-07T10:04:02.889" v="17634"/>
          <ac:spMkLst>
            <pc:docMk/>
            <pc:sldMk cId="3480139383" sldId="230717708"/>
            <ac:spMk id="38" creationId="{25426D8A-69A5-4FA9-85BD-108D69D85562}"/>
          </ac:spMkLst>
        </pc:spChg>
        <pc:spChg chg="mod">
          <ac:chgData name="Manal El Bakkouri" userId="8b130982-2e3f-4164-b881-fd3a2e4b2453" providerId="ADAL" clId="{4457FA57-250B-44AC-8655-05D46C5A3D8A}" dt="2023-06-07T10:04:02.889" v="17634"/>
          <ac:spMkLst>
            <pc:docMk/>
            <pc:sldMk cId="3480139383" sldId="230717708"/>
            <ac:spMk id="39" creationId="{8F4BAF5A-6849-4E6D-A502-1DF88CCB4F48}"/>
          </ac:spMkLst>
        </pc:spChg>
        <pc:spChg chg="mod">
          <ac:chgData name="Manal El Bakkouri" userId="8b130982-2e3f-4164-b881-fd3a2e4b2453" providerId="ADAL" clId="{4457FA57-250B-44AC-8655-05D46C5A3D8A}" dt="2023-06-09T11:10:06.996" v="21549"/>
          <ac:spMkLst>
            <pc:docMk/>
            <pc:sldMk cId="3480139383" sldId="230717708"/>
            <ac:spMk id="41" creationId="{CF0BB9F9-ED53-4466-8977-CE4FAE4750E5}"/>
          </ac:spMkLst>
        </pc:spChg>
        <pc:spChg chg="del">
          <ac:chgData name="Manal El Bakkouri" userId="8b130982-2e3f-4164-b881-fd3a2e4b2453" providerId="ADAL" clId="{4457FA57-250B-44AC-8655-05D46C5A3D8A}" dt="2023-06-09T11:28:17.395" v="21741" actId="478"/>
          <ac:spMkLst>
            <pc:docMk/>
            <pc:sldMk cId="3480139383" sldId="230717708"/>
            <ac:spMk id="42" creationId="{A64C7408-49A6-4C3E-99BB-C931B1351638}"/>
          </ac:spMkLst>
        </pc:spChg>
        <pc:spChg chg="mod">
          <ac:chgData name="Manal El Bakkouri" userId="8b130982-2e3f-4164-b881-fd3a2e4b2453" providerId="ADAL" clId="{4457FA57-250B-44AC-8655-05D46C5A3D8A}" dt="2023-06-09T11:10:06.996" v="21549"/>
          <ac:spMkLst>
            <pc:docMk/>
            <pc:sldMk cId="3480139383" sldId="230717708"/>
            <ac:spMk id="43" creationId="{B6F758E3-4C9F-494A-8105-4CF976EED5C8}"/>
          </ac:spMkLst>
        </pc:spChg>
        <pc:spChg chg="del">
          <ac:chgData name="Manal El Bakkouri" userId="8b130982-2e3f-4164-b881-fd3a2e4b2453" providerId="ADAL" clId="{4457FA57-250B-44AC-8655-05D46C5A3D8A}" dt="2023-06-09T11:28:17.395" v="21741" actId="478"/>
          <ac:spMkLst>
            <pc:docMk/>
            <pc:sldMk cId="3480139383" sldId="230717708"/>
            <ac:spMk id="45" creationId="{408C8D92-08B3-4B61-A0CD-13080857796B}"/>
          </ac:spMkLst>
        </pc:spChg>
        <pc:spChg chg="mod">
          <ac:chgData name="Manal El Bakkouri" userId="8b130982-2e3f-4164-b881-fd3a2e4b2453" providerId="ADAL" clId="{4457FA57-250B-44AC-8655-05D46C5A3D8A}" dt="2023-06-09T11:10:06.996" v="21549"/>
          <ac:spMkLst>
            <pc:docMk/>
            <pc:sldMk cId="3480139383" sldId="230717708"/>
            <ac:spMk id="46" creationId="{FF7B0B7C-F406-43BB-9035-E9D36A3F1AC8}"/>
          </ac:spMkLst>
        </pc:spChg>
        <pc:spChg chg="del">
          <ac:chgData name="Manal El Bakkouri" userId="8b130982-2e3f-4164-b881-fd3a2e4b2453" providerId="ADAL" clId="{4457FA57-250B-44AC-8655-05D46C5A3D8A}" dt="2023-06-09T11:28:17.395" v="21741" actId="478"/>
          <ac:spMkLst>
            <pc:docMk/>
            <pc:sldMk cId="3480139383" sldId="230717708"/>
            <ac:spMk id="47" creationId="{50567FD5-B65B-4FC4-B0C8-4197E71F7081}"/>
          </ac:spMkLst>
        </pc:spChg>
        <pc:spChg chg="mod">
          <ac:chgData name="Manal El Bakkouri" userId="8b130982-2e3f-4164-b881-fd3a2e4b2453" providerId="ADAL" clId="{4457FA57-250B-44AC-8655-05D46C5A3D8A}" dt="2023-06-09T11:10:06.996" v="21549"/>
          <ac:spMkLst>
            <pc:docMk/>
            <pc:sldMk cId="3480139383" sldId="230717708"/>
            <ac:spMk id="48" creationId="{D198DA51-57E4-4CF3-ABA7-84A9B7A7B5CE}"/>
          </ac:spMkLst>
        </pc:spChg>
        <pc:spChg chg="mod">
          <ac:chgData name="Manal El Bakkouri" userId="8b130982-2e3f-4164-b881-fd3a2e4b2453" providerId="ADAL" clId="{4457FA57-250B-44AC-8655-05D46C5A3D8A}" dt="2023-06-09T11:10:06.996" v="21549"/>
          <ac:spMkLst>
            <pc:docMk/>
            <pc:sldMk cId="3480139383" sldId="230717708"/>
            <ac:spMk id="50" creationId="{3A4C4225-B837-48F4-87E0-1CD0FA788B1F}"/>
          </ac:spMkLst>
        </pc:spChg>
        <pc:spChg chg="mod">
          <ac:chgData name="Manal El Bakkouri" userId="8b130982-2e3f-4164-b881-fd3a2e4b2453" providerId="ADAL" clId="{4457FA57-250B-44AC-8655-05D46C5A3D8A}" dt="2023-06-09T11:10:06.996" v="21549"/>
          <ac:spMkLst>
            <pc:docMk/>
            <pc:sldMk cId="3480139383" sldId="230717708"/>
            <ac:spMk id="51" creationId="{5FB995D4-D327-4E37-BA00-930C53FA7BFA}"/>
          </ac:spMkLst>
        </pc:spChg>
        <pc:spChg chg="mod">
          <ac:chgData name="Manal El Bakkouri" userId="8b130982-2e3f-4164-b881-fd3a2e4b2453" providerId="ADAL" clId="{4457FA57-250B-44AC-8655-05D46C5A3D8A}" dt="2023-06-09T11:10:06.996" v="21549"/>
          <ac:spMkLst>
            <pc:docMk/>
            <pc:sldMk cId="3480139383" sldId="230717708"/>
            <ac:spMk id="53" creationId="{3F5D7D73-8B96-43C8-A8F9-59C350EB0DFE}"/>
          </ac:spMkLst>
        </pc:spChg>
        <pc:spChg chg="mod">
          <ac:chgData name="Manal El Bakkouri" userId="8b130982-2e3f-4164-b881-fd3a2e4b2453" providerId="ADAL" clId="{4457FA57-250B-44AC-8655-05D46C5A3D8A}" dt="2023-06-09T11:10:06.996" v="21549"/>
          <ac:spMkLst>
            <pc:docMk/>
            <pc:sldMk cId="3480139383" sldId="230717708"/>
            <ac:spMk id="54" creationId="{8C1598B5-DDDA-4CA1-97AE-45D5C25A9F93}"/>
          </ac:spMkLst>
        </pc:spChg>
        <pc:spChg chg="mod">
          <ac:chgData name="Manal El Bakkouri" userId="8b130982-2e3f-4164-b881-fd3a2e4b2453" providerId="ADAL" clId="{4457FA57-250B-44AC-8655-05D46C5A3D8A}" dt="2023-06-09T11:10:06.996" v="21549"/>
          <ac:spMkLst>
            <pc:docMk/>
            <pc:sldMk cId="3480139383" sldId="230717708"/>
            <ac:spMk id="56" creationId="{774A56D4-6EB6-4871-8D5E-ADE89ED402D5}"/>
          </ac:spMkLst>
        </pc:spChg>
        <pc:spChg chg="mod">
          <ac:chgData name="Manal El Bakkouri" userId="8b130982-2e3f-4164-b881-fd3a2e4b2453" providerId="ADAL" clId="{4457FA57-250B-44AC-8655-05D46C5A3D8A}" dt="2023-06-09T11:10:06.996" v="21549"/>
          <ac:spMkLst>
            <pc:docMk/>
            <pc:sldMk cId="3480139383" sldId="230717708"/>
            <ac:spMk id="57" creationId="{2107EE1F-989B-4F14-9D9A-99E5183E44F5}"/>
          </ac:spMkLst>
        </pc:spChg>
        <pc:spChg chg="add mod">
          <ac:chgData name="Manal El Bakkouri" userId="8b130982-2e3f-4164-b881-fd3a2e4b2453" providerId="ADAL" clId="{4457FA57-250B-44AC-8655-05D46C5A3D8A}" dt="2023-06-09T11:28:17.718" v="21742"/>
          <ac:spMkLst>
            <pc:docMk/>
            <pc:sldMk cId="3480139383" sldId="230717708"/>
            <ac:spMk id="58" creationId="{F51DBACC-D316-4B96-A4A4-DEFFEA8EEDB8}"/>
          </ac:spMkLst>
        </pc:spChg>
        <pc:spChg chg="add mod">
          <ac:chgData name="Manal El Bakkouri" userId="8b130982-2e3f-4164-b881-fd3a2e4b2453" providerId="ADAL" clId="{4457FA57-250B-44AC-8655-05D46C5A3D8A}" dt="2023-06-09T11:28:17.718" v="21742"/>
          <ac:spMkLst>
            <pc:docMk/>
            <pc:sldMk cId="3480139383" sldId="230717708"/>
            <ac:spMk id="61" creationId="{A608D777-6BD2-42D0-96CE-710398612A38}"/>
          </ac:spMkLst>
        </pc:spChg>
        <pc:spChg chg="del">
          <ac:chgData name="Manal El Bakkouri" userId="8b130982-2e3f-4164-b881-fd3a2e4b2453" providerId="ADAL" clId="{4457FA57-250B-44AC-8655-05D46C5A3D8A}" dt="2023-06-07T10:04:02.562" v="17633" actId="478"/>
          <ac:spMkLst>
            <pc:docMk/>
            <pc:sldMk cId="3480139383" sldId="230717708"/>
            <ac:spMk id="61" creationId="{DC34440A-5105-449E-A8F6-18365D73F0D3}"/>
          </ac:spMkLst>
        </pc:spChg>
        <pc:spChg chg="mod">
          <ac:chgData name="Manal El Bakkouri" userId="8b130982-2e3f-4164-b881-fd3a2e4b2453" providerId="ADAL" clId="{4457FA57-250B-44AC-8655-05D46C5A3D8A}" dt="2023-06-06T09:15:13.525" v="9119" actId="14100"/>
          <ac:spMkLst>
            <pc:docMk/>
            <pc:sldMk cId="3480139383" sldId="230717708"/>
            <ac:spMk id="62" creationId="{495309CA-AF39-44A7-930A-E0AD872571D6}"/>
          </ac:spMkLst>
        </pc:spChg>
        <pc:spChg chg="add mod">
          <ac:chgData name="Manal El Bakkouri" userId="8b130982-2e3f-4164-b881-fd3a2e4b2453" providerId="ADAL" clId="{4457FA57-250B-44AC-8655-05D46C5A3D8A}" dt="2023-06-09T11:28:17.718" v="21742"/>
          <ac:spMkLst>
            <pc:docMk/>
            <pc:sldMk cId="3480139383" sldId="230717708"/>
            <ac:spMk id="63" creationId="{52BBB0F4-F4BF-408B-87F8-484751FB1DE4}"/>
          </ac:spMkLst>
        </pc:spChg>
        <pc:spChg chg="del">
          <ac:chgData name="Manal El Bakkouri" userId="8b130982-2e3f-4164-b881-fd3a2e4b2453" providerId="ADAL" clId="{4457FA57-250B-44AC-8655-05D46C5A3D8A}" dt="2023-06-07T10:04:02.562" v="17633" actId="478"/>
          <ac:spMkLst>
            <pc:docMk/>
            <pc:sldMk cId="3480139383" sldId="230717708"/>
            <ac:spMk id="63" creationId="{CD634BF4-A42B-4E33-B1C2-82DE0979F488}"/>
          </ac:spMkLst>
        </pc:spChg>
        <pc:spChg chg="del">
          <ac:chgData name="Manal El Bakkouri" userId="8b130982-2e3f-4164-b881-fd3a2e4b2453" providerId="ADAL" clId="{4457FA57-250B-44AC-8655-05D46C5A3D8A}" dt="2023-06-07T10:04:02.562" v="17633" actId="478"/>
          <ac:spMkLst>
            <pc:docMk/>
            <pc:sldMk cId="3480139383" sldId="230717708"/>
            <ac:spMk id="64" creationId="{0BC6162E-87CC-4975-8AC3-B1C4E75A1FCD}"/>
          </ac:spMkLst>
        </pc:spChg>
        <pc:spChg chg="add mod">
          <ac:chgData name="Manal El Bakkouri" userId="8b130982-2e3f-4164-b881-fd3a2e4b2453" providerId="ADAL" clId="{4457FA57-250B-44AC-8655-05D46C5A3D8A}" dt="2023-06-09T11:28:17.718" v="21742"/>
          <ac:spMkLst>
            <pc:docMk/>
            <pc:sldMk cId="3480139383" sldId="230717708"/>
            <ac:spMk id="64" creationId="{6BA4E31F-4D7F-4F3C-B9D0-9E9FC0F9646F}"/>
          </ac:spMkLst>
        </pc:spChg>
        <pc:spChg chg="del">
          <ac:chgData name="Manal El Bakkouri" userId="8b130982-2e3f-4164-b881-fd3a2e4b2453" providerId="ADAL" clId="{4457FA57-250B-44AC-8655-05D46C5A3D8A}" dt="2023-06-07T10:04:02.562" v="17633" actId="478"/>
          <ac:spMkLst>
            <pc:docMk/>
            <pc:sldMk cId="3480139383" sldId="230717708"/>
            <ac:spMk id="65" creationId="{0DED4506-E850-4EDF-8E57-6CDA06ECCD31}"/>
          </ac:spMkLst>
        </pc:spChg>
        <pc:spChg chg="del">
          <ac:chgData name="Manal El Bakkouri" userId="8b130982-2e3f-4164-b881-fd3a2e4b2453" providerId="ADAL" clId="{4457FA57-250B-44AC-8655-05D46C5A3D8A}" dt="2023-06-07T10:04:02.562" v="17633" actId="478"/>
          <ac:spMkLst>
            <pc:docMk/>
            <pc:sldMk cId="3480139383" sldId="230717708"/>
            <ac:spMk id="67" creationId="{C2E676D3-7044-4416-95A3-0BDD568F460D}"/>
          </ac:spMkLst>
        </pc:spChg>
        <pc:spChg chg="del">
          <ac:chgData name="Manal El Bakkouri" userId="8b130982-2e3f-4164-b881-fd3a2e4b2453" providerId="ADAL" clId="{4457FA57-250B-44AC-8655-05D46C5A3D8A}" dt="2023-06-07T10:04:02.562" v="17633" actId="478"/>
          <ac:spMkLst>
            <pc:docMk/>
            <pc:sldMk cId="3480139383" sldId="230717708"/>
            <ac:spMk id="68" creationId="{E5E343C9-AD16-4EA4-89E2-CE2CE015D6E8}"/>
          </ac:spMkLst>
        </pc:spChg>
        <pc:spChg chg="del">
          <ac:chgData name="Manal El Bakkouri" userId="8b130982-2e3f-4164-b881-fd3a2e4b2453" providerId="ADAL" clId="{4457FA57-250B-44AC-8655-05D46C5A3D8A}" dt="2023-06-07T10:04:02.562" v="17633" actId="478"/>
          <ac:spMkLst>
            <pc:docMk/>
            <pc:sldMk cId="3480139383" sldId="230717708"/>
            <ac:spMk id="69" creationId="{EBD33ADD-FAAA-4E62-973F-7498E56F2256}"/>
          </ac:spMkLst>
        </pc:spChg>
        <pc:spChg chg="del">
          <ac:chgData name="Manal El Bakkouri" userId="8b130982-2e3f-4164-b881-fd3a2e4b2453" providerId="ADAL" clId="{4457FA57-250B-44AC-8655-05D46C5A3D8A}" dt="2023-06-07T10:04:02.562" v="17633" actId="478"/>
          <ac:spMkLst>
            <pc:docMk/>
            <pc:sldMk cId="3480139383" sldId="230717708"/>
            <ac:spMk id="70" creationId="{5D159352-80CA-4E9C-88AB-B5020F0649E1}"/>
          </ac:spMkLst>
        </pc:spChg>
        <pc:spChg chg="del">
          <ac:chgData name="Manal El Bakkouri" userId="8b130982-2e3f-4164-b881-fd3a2e4b2453" providerId="ADAL" clId="{4457FA57-250B-44AC-8655-05D46C5A3D8A}" dt="2023-06-07T10:04:02.562" v="17633" actId="478"/>
          <ac:spMkLst>
            <pc:docMk/>
            <pc:sldMk cId="3480139383" sldId="230717708"/>
            <ac:spMk id="71" creationId="{3776B1AD-70C1-41F9-856E-401FA9523AD6}"/>
          </ac:spMkLst>
        </pc:spChg>
        <pc:spChg chg="del">
          <ac:chgData name="Manal El Bakkouri" userId="8b130982-2e3f-4164-b881-fd3a2e4b2453" providerId="ADAL" clId="{4457FA57-250B-44AC-8655-05D46C5A3D8A}" dt="2023-06-07T10:04:02.562" v="17633" actId="478"/>
          <ac:spMkLst>
            <pc:docMk/>
            <pc:sldMk cId="3480139383" sldId="230717708"/>
            <ac:spMk id="72" creationId="{E9C39060-E719-4A69-856C-B9621AB4CBB0}"/>
          </ac:spMkLst>
        </pc:spChg>
        <pc:grpChg chg="add del mod">
          <ac:chgData name="Manal El Bakkouri" userId="8b130982-2e3f-4164-b881-fd3a2e4b2453" providerId="ADAL" clId="{4457FA57-250B-44AC-8655-05D46C5A3D8A}" dt="2023-06-09T11:10:06.417" v="21548" actId="478"/>
          <ac:grpSpMkLst>
            <pc:docMk/>
            <pc:sldMk cId="3480139383" sldId="230717708"/>
            <ac:grpSpMk id="25" creationId="{A665231C-B243-4312-A114-23D23FB0D212}"/>
          </ac:grpSpMkLst>
        </pc:grpChg>
        <pc:grpChg chg="add del mod">
          <ac:chgData name="Manal El Bakkouri" userId="8b130982-2e3f-4164-b881-fd3a2e4b2453" providerId="ADAL" clId="{4457FA57-250B-44AC-8655-05D46C5A3D8A}" dt="2023-06-09T11:10:06.417" v="21548" actId="478"/>
          <ac:grpSpMkLst>
            <pc:docMk/>
            <pc:sldMk cId="3480139383" sldId="230717708"/>
            <ac:grpSpMk id="28" creationId="{EE9EF56D-3B13-4390-BADF-2AD369A0164B}"/>
          </ac:grpSpMkLst>
        </pc:grpChg>
        <pc:grpChg chg="add del mod">
          <ac:chgData name="Manal El Bakkouri" userId="8b130982-2e3f-4164-b881-fd3a2e4b2453" providerId="ADAL" clId="{4457FA57-250B-44AC-8655-05D46C5A3D8A}" dt="2023-06-09T11:10:06.417" v="21548" actId="478"/>
          <ac:grpSpMkLst>
            <pc:docMk/>
            <pc:sldMk cId="3480139383" sldId="230717708"/>
            <ac:grpSpMk id="31" creationId="{02ECF5A4-58D4-45D0-B5A7-B1F223408CCC}"/>
          </ac:grpSpMkLst>
        </pc:grpChg>
        <pc:grpChg chg="add del mod">
          <ac:chgData name="Manal El Bakkouri" userId="8b130982-2e3f-4164-b881-fd3a2e4b2453" providerId="ADAL" clId="{4457FA57-250B-44AC-8655-05D46C5A3D8A}" dt="2023-06-09T11:10:06.417" v="21548" actId="478"/>
          <ac:grpSpMkLst>
            <pc:docMk/>
            <pc:sldMk cId="3480139383" sldId="230717708"/>
            <ac:grpSpMk id="34" creationId="{5EA80351-1A6D-4921-8805-E5CCBE5A60A3}"/>
          </ac:grpSpMkLst>
        </pc:grpChg>
        <pc:grpChg chg="add del mod">
          <ac:chgData name="Manal El Bakkouri" userId="8b130982-2e3f-4164-b881-fd3a2e4b2453" providerId="ADAL" clId="{4457FA57-250B-44AC-8655-05D46C5A3D8A}" dt="2023-06-09T11:10:06.417" v="21548" actId="478"/>
          <ac:grpSpMkLst>
            <pc:docMk/>
            <pc:sldMk cId="3480139383" sldId="230717708"/>
            <ac:grpSpMk id="37" creationId="{DFCD3443-EE18-47C7-A8F4-6C4E488FA6D7}"/>
          </ac:grpSpMkLst>
        </pc:grpChg>
        <pc:grpChg chg="add mod">
          <ac:chgData name="Manal El Bakkouri" userId="8b130982-2e3f-4164-b881-fd3a2e4b2453" providerId="ADAL" clId="{4457FA57-250B-44AC-8655-05D46C5A3D8A}" dt="2023-06-09T11:10:06.996" v="21549"/>
          <ac:grpSpMkLst>
            <pc:docMk/>
            <pc:sldMk cId="3480139383" sldId="230717708"/>
            <ac:grpSpMk id="40" creationId="{3E4D8B7B-EB66-4687-AF71-9B10F569442A}"/>
          </ac:grpSpMkLst>
        </pc:grpChg>
        <pc:grpChg chg="add mod">
          <ac:chgData name="Manal El Bakkouri" userId="8b130982-2e3f-4164-b881-fd3a2e4b2453" providerId="ADAL" clId="{4457FA57-250B-44AC-8655-05D46C5A3D8A}" dt="2023-06-09T11:10:06.996" v="21549"/>
          <ac:grpSpMkLst>
            <pc:docMk/>
            <pc:sldMk cId="3480139383" sldId="230717708"/>
            <ac:grpSpMk id="44" creationId="{D2414979-16DC-404B-B9AC-FD8150D8C62C}"/>
          </ac:grpSpMkLst>
        </pc:grpChg>
        <pc:grpChg chg="add mod">
          <ac:chgData name="Manal El Bakkouri" userId="8b130982-2e3f-4164-b881-fd3a2e4b2453" providerId="ADAL" clId="{4457FA57-250B-44AC-8655-05D46C5A3D8A}" dt="2023-06-09T11:10:06.996" v="21549"/>
          <ac:grpSpMkLst>
            <pc:docMk/>
            <pc:sldMk cId="3480139383" sldId="230717708"/>
            <ac:grpSpMk id="49" creationId="{C7E700EE-9BDD-4133-8267-F919A42DF48C}"/>
          </ac:grpSpMkLst>
        </pc:grpChg>
        <pc:grpChg chg="add mod">
          <ac:chgData name="Manal El Bakkouri" userId="8b130982-2e3f-4164-b881-fd3a2e4b2453" providerId="ADAL" clId="{4457FA57-250B-44AC-8655-05D46C5A3D8A}" dt="2023-06-09T11:10:06.996" v="21549"/>
          <ac:grpSpMkLst>
            <pc:docMk/>
            <pc:sldMk cId="3480139383" sldId="230717708"/>
            <ac:grpSpMk id="52" creationId="{B869F3BD-9E3A-4302-A59E-8E7FA069697D}"/>
          </ac:grpSpMkLst>
        </pc:grpChg>
        <pc:grpChg chg="add mod">
          <ac:chgData name="Manal El Bakkouri" userId="8b130982-2e3f-4164-b881-fd3a2e4b2453" providerId="ADAL" clId="{4457FA57-250B-44AC-8655-05D46C5A3D8A}" dt="2023-06-09T11:10:06.996" v="21549"/>
          <ac:grpSpMkLst>
            <pc:docMk/>
            <pc:sldMk cId="3480139383" sldId="230717708"/>
            <ac:grpSpMk id="55" creationId="{C324BE12-3CA1-4358-9E81-FD4DF7F496C0}"/>
          </ac:grpSpMkLst>
        </pc:grpChg>
        <pc:picChg chg="mod">
          <ac:chgData name="Manal El Bakkouri" userId="8b130982-2e3f-4164-b881-fd3a2e4b2453" providerId="ADAL" clId="{4457FA57-250B-44AC-8655-05D46C5A3D8A}" dt="2023-06-06T09:14:39.597" v="9104" actId="1076"/>
          <ac:picMkLst>
            <pc:docMk/>
            <pc:sldMk cId="3480139383" sldId="230717708"/>
            <ac:picMk id="3" creationId="{63C8F282-454F-44AC-B262-0B6A21DF676C}"/>
          </ac:picMkLst>
        </pc:picChg>
        <pc:picChg chg="mod">
          <ac:chgData name="Manal El Bakkouri" userId="8b130982-2e3f-4164-b881-fd3a2e4b2453" providerId="ADAL" clId="{4457FA57-250B-44AC-8655-05D46C5A3D8A}" dt="2023-06-06T09:14:45.054" v="9106" actId="1076"/>
          <ac:picMkLst>
            <pc:docMk/>
            <pc:sldMk cId="3480139383" sldId="230717708"/>
            <ac:picMk id="7" creationId="{9B7DBCE6-D483-408E-91F7-6162E26E31DF}"/>
          </ac:picMkLst>
        </pc:picChg>
        <pc:picChg chg="del mod">
          <ac:chgData name="Manal El Bakkouri" userId="8b130982-2e3f-4164-b881-fd3a2e4b2453" providerId="ADAL" clId="{4457FA57-250B-44AC-8655-05D46C5A3D8A}" dt="2023-06-06T09:17:30.716" v="9133" actId="478"/>
          <ac:picMkLst>
            <pc:docMk/>
            <pc:sldMk cId="3480139383" sldId="230717708"/>
            <ac:picMk id="9" creationId="{A8E930A2-4CB1-4781-A9C8-29077092C6A2}"/>
          </ac:picMkLst>
        </pc:picChg>
        <pc:picChg chg="mod ord">
          <ac:chgData name="Manal El Bakkouri" userId="8b130982-2e3f-4164-b881-fd3a2e4b2453" providerId="ADAL" clId="{4457FA57-250B-44AC-8655-05D46C5A3D8A}" dt="2023-06-06T09:17:37.463" v="9136" actId="166"/>
          <ac:picMkLst>
            <pc:docMk/>
            <pc:sldMk cId="3480139383" sldId="230717708"/>
            <ac:picMk id="11" creationId="{0DD446C0-D902-451F-97DE-304869F6F4BB}"/>
          </ac:picMkLst>
        </pc:picChg>
        <pc:picChg chg="mod">
          <ac:chgData name="Manal El Bakkouri" userId="8b130982-2e3f-4164-b881-fd3a2e4b2453" providerId="ADAL" clId="{4457FA57-250B-44AC-8655-05D46C5A3D8A}" dt="2023-06-08T12:30:34.546" v="21062" actId="1037"/>
          <ac:picMkLst>
            <pc:docMk/>
            <pc:sldMk cId="3480139383" sldId="230717708"/>
            <ac:picMk id="13" creationId="{47F62D46-D751-4F10-B5AF-25A44D54E798}"/>
          </ac:picMkLst>
        </pc:picChg>
        <pc:picChg chg="mod">
          <ac:chgData name="Manal El Bakkouri" userId="8b130982-2e3f-4164-b881-fd3a2e4b2453" providerId="ADAL" clId="{4457FA57-250B-44AC-8655-05D46C5A3D8A}" dt="2023-06-06T09:14:37.902" v="9103" actId="1076"/>
          <ac:picMkLst>
            <pc:docMk/>
            <pc:sldMk cId="3480139383" sldId="230717708"/>
            <ac:picMk id="18" creationId="{DD627184-D4DB-4368-95C2-5485143F4BAF}"/>
          </ac:picMkLst>
        </pc:picChg>
        <pc:picChg chg="add mod">
          <ac:chgData name="Manal El Bakkouri" userId="8b130982-2e3f-4164-b881-fd3a2e4b2453" providerId="ADAL" clId="{4457FA57-250B-44AC-8655-05D46C5A3D8A}" dt="2023-06-06T09:17:33.926" v="9135"/>
          <ac:picMkLst>
            <pc:docMk/>
            <pc:sldMk cId="3480139383" sldId="230717708"/>
            <ac:picMk id="24" creationId="{92F3B984-BA92-471E-A031-F1A071281FE4}"/>
          </ac:picMkLst>
        </pc:picChg>
      </pc:sldChg>
      <pc:sldChg chg="addSp delSp modSp add mod modNotesTx">
        <pc:chgData name="Manal El Bakkouri" userId="8b130982-2e3f-4164-b881-fd3a2e4b2453" providerId="ADAL" clId="{4457FA57-250B-44AC-8655-05D46C5A3D8A}" dt="2023-06-09T11:29:00.898" v="21748" actId="14100"/>
        <pc:sldMkLst>
          <pc:docMk/>
          <pc:sldMk cId="1171884687" sldId="230717709"/>
        </pc:sldMkLst>
        <pc:spChg chg="mod">
          <ac:chgData name="Manal El Bakkouri" userId="8b130982-2e3f-4164-b881-fd3a2e4b2453" providerId="ADAL" clId="{4457FA57-250B-44AC-8655-05D46C5A3D8A}" dt="2023-06-07T10:04:07.303" v="17636"/>
          <ac:spMkLst>
            <pc:docMk/>
            <pc:sldMk cId="1171884687" sldId="230717709"/>
            <ac:spMk id="25" creationId="{0ABF5D73-4F1C-49DB-A37C-EBAF308BC83A}"/>
          </ac:spMkLst>
        </pc:spChg>
        <pc:spChg chg="mod">
          <ac:chgData name="Manal El Bakkouri" userId="8b130982-2e3f-4164-b881-fd3a2e4b2453" providerId="ADAL" clId="{4457FA57-250B-44AC-8655-05D46C5A3D8A}" dt="2023-06-07T10:04:07.303" v="17636"/>
          <ac:spMkLst>
            <pc:docMk/>
            <pc:sldMk cId="1171884687" sldId="230717709"/>
            <ac:spMk id="26" creationId="{88E1F4BD-AFCF-4CB2-9E9A-691CA3397C7D}"/>
          </ac:spMkLst>
        </pc:spChg>
        <pc:spChg chg="mod">
          <ac:chgData name="Manal El Bakkouri" userId="8b130982-2e3f-4164-b881-fd3a2e4b2453" providerId="ADAL" clId="{4457FA57-250B-44AC-8655-05D46C5A3D8A}" dt="2023-06-07T10:04:07.303" v="17636"/>
          <ac:spMkLst>
            <pc:docMk/>
            <pc:sldMk cId="1171884687" sldId="230717709"/>
            <ac:spMk id="28" creationId="{58DFE7F9-9A6A-4B47-B140-39E9F70D2F50}"/>
          </ac:spMkLst>
        </pc:spChg>
        <pc:spChg chg="mod">
          <ac:chgData name="Manal El Bakkouri" userId="8b130982-2e3f-4164-b881-fd3a2e4b2453" providerId="ADAL" clId="{4457FA57-250B-44AC-8655-05D46C5A3D8A}" dt="2023-06-07T10:04:07.303" v="17636"/>
          <ac:spMkLst>
            <pc:docMk/>
            <pc:sldMk cId="1171884687" sldId="230717709"/>
            <ac:spMk id="29" creationId="{A3DEEB99-1985-4BD1-95EB-E0EDBA482C5F}"/>
          </ac:spMkLst>
        </pc:spChg>
        <pc:spChg chg="mod">
          <ac:chgData name="Manal El Bakkouri" userId="8b130982-2e3f-4164-b881-fd3a2e4b2453" providerId="ADAL" clId="{4457FA57-250B-44AC-8655-05D46C5A3D8A}" dt="2023-06-07T10:04:07.303" v="17636"/>
          <ac:spMkLst>
            <pc:docMk/>
            <pc:sldMk cId="1171884687" sldId="230717709"/>
            <ac:spMk id="31" creationId="{A577DF81-3DBC-40DA-A126-81A1EF0A0997}"/>
          </ac:spMkLst>
        </pc:spChg>
        <pc:spChg chg="mod">
          <ac:chgData name="Manal El Bakkouri" userId="8b130982-2e3f-4164-b881-fd3a2e4b2453" providerId="ADAL" clId="{4457FA57-250B-44AC-8655-05D46C5A3D8A}" dt="2023-06-07T10:04:07.303" v="17636"/>
          <ac:spMkLst>
            <pc:docMk/>
            <pc:sldMk cId="1171884687" sldId="230717709"/>
            <ac:spMk id="32" creationId="{E8772E7B-A4EC-40FB-8E8A-659EA6FBDBEC}"/>
          </ac:spMkLst>
        </pc:spChg>
        <pc:spChg chg="mod">
          <ac:chgData name="Manal El Bakkouri" userId="8b130982-2e3f-4164-b881-fd3a2e4b2453" providerId="ADAL" clId="{4457FA57-250B-44AC-8655-05D46C5A3D8A}" dt="2023-06-07T10:04:07.303" v="17636"/>
          <ac:spMkLst>
            <pc:docMk/>
            <pc:sldMk cId="1171884687" sldId="230717709"/>
            <ac:spMk id="34" creationId="{33CF41F1-6FBD-4EC5-87B7-E90AA6C2C1A8}"/>
          </ac:spMkLst>
        </pc:spChg>
        <pc:spChg chg="mod">
          <ac:chgData name="Manal El Bakkouri" userId="8b130982-2e3f-4164-b881-fd3a2e4b2453" providerId="ADAL" clId="{4457FA57-250B-44AC-8655-05D46C5A3D8A}" dt="2023-06-07T10:04:07.303" v="17636"/>
          <ac:spMkLst>
            <pc:docMk/>
            <pc:sldMk cId="1171884687" sldId="230717709"/>
            <ac:spMk id="35" creationId="{1457C042-67C2-4A68-9AB6-31D3421B49B4}"/>
          </ac:spMkLst>
        </pc:spChg>
        <pc:spChg chg="mod">
          <ac:chgData name="Manal El Bakkouri" userId="8b130982-2e3f-4164-b881-fd3a2e4b2453" providerId="ADAL" clId="{4457FA57-250B-44AC-8655-05D46C5A3D8A}" dt="2023-06-07T10:04:07.303" v="17636"/>
          <ac:spMkLst>
            <pc:docMk/>
            <pc:sldMk cId="1171884687" sldId="230717709"/>
            <ac:spMk id="37" creationId="{BD8ABE2C-905B-49CF-A098-BFD7E1F79FC2}"/>
          </ac:spMkLst>
        </pc:spChg>
        <pc:spChg chg="mod">
          <ac:chgData name="Manal El Bakkouri" userId="8b130982-2e3f-4164-b881-fd3a2e4b2453" providerId="ADAL" clId="{4457FA57-250B-44AC-8655-05D46C5A3D8A}" dt="2023-06-07T10:04:07.303" v="17636"/>
          <ac:spMkLst>
            <pc:docMk/>
            <pc:sldMk cId="1171884687" sldId="230717709"/>
            <ac:spMk id="38" creationId="{398225F1-C954-4A65-8DE6-CD60A0AD383A}"/>
          </ac:spMkLst>
        </pc:spChg>
        <pc:spChg chg="mod">
          <ac:chgData name="Manal El Bakkouri" userId="8b130982-2e3f-4164-b881-fd3a2e4b2453" providerId="ADAL" clId="{4457FA57-250B-44AC-8655-05D46C5A3D8A}" dt="2023-06-09T11:10:16.907" v="21553"/>
          <ac:spMkLst>
            <pc:docMk/>
            <pc:sldMk cId="1171884687" sldId="230717709"/>
            <ac:spMk id="40" creationId="{C8142086-917B-414A-8361-817922DE4E8A}"/>
          </ac:spMkLst>
        </pc:spChg>
        <pc:spChg chg="mod">
          <ac:chgData name="Manal El Bakkouri" userId="8b130982-2e3f-4164-b881-fd3a2e4b2453" providerId="ADAL" clId="{4457FA57-250B-44AC-8655-05D46C5A3D8A}" dt="2023-06-09T11:10:16.907" v="21553"/>
          <ac:spMkLst>
            <pc:docMk/>
            <pc:sldMk cId="1171884687" sldId="230717709"/>
            <ac:spMk id="41" creationId="{25A44E10-6A08-473B-8BED-E2DFDD7EA5D6}"/>
          </ac:spMkLst>
        </pc:spChg>
        <pc:spChg chg="del">
          <ac:chgData name="Manal El Bakkouri" userId="8b130982-2e3f-4164-b881-fd3a2e4b2453" providerId="ADAL" clId="{4457FA57-250B-44AC-8655-05D46C5A3D8A}" dt="2023-06-09T11:28:24.051" v="21743" actId="478"/>
          <ac:spMkLst>
            <pc:docMk/>
            <pc:sldMk cId="1171884687" sldId="230717709"/>
            <ac:spMk id="42" creationId="{A64C7408-49A6-4C3E-99BB-C931B1351638}"/>
          </ac:spMkLst>
        </pc:spChg>
        <pc:spChg chg="mod">
          <ac:chgData name="Manal El Bakkouri" userId="8b130982-2e3f-4164-b881-fd3a2e4b2453" providerId="ADAL" clId="{4457FA57-250B-44AC-8655-05D46C5A3D8A}" dt="2023-06-09T11:10:16.907" v="21553"/>
          <ac:spMkLst>
            <pc:docMk/>
            <pc:sldMk cId="1171884687" sldId="230717709"/>
            <ac:spMk id="44" creationId="{9B06BAAB-FB03-481D-9728-92384D66B2A8}"/>
          </ac:spMkLst>
        </pc:spChg>
        <pc:spChg chg="del">
          <ac:chgData name="Manal El Bakkouri" userId="8b130982-2e3f-4164-b881-fd3a2e4b2453" providerId="ADAL" clId="{4457FA57-250B-44AC-8655-05D46C5A3D8A}" dt="2023-06-09T11:28:24.051" v="21743" actId="478"/>
          <ac:spMkLst>
            <pc:docMk/>
            <pc:sldMk cId="1171884687" sldId="230717709"/>
            <ac:spMk id="45" creationId="{408C8D92-08B3-4B61-A0CD-13080857796B}"/>
          </ac:spMkLst>
        </pc:spChg>
        <pc:spChg chg="mod">
          <ac:chgData name="Manal El Bakkouri" userId="8b130982-2e3f-4164-b881-fd3a2e4b2453" providerId="ADAL" clId="{4457FA57-250B-44AC-8655-05D46C5A3D8A}" dt="2023-06-09T11:10:16.907" v="21553"/>
          <ac:spMkLst>
            <pc:docMk/>
            <pc:sldMk cId="1171884687" sldId="230717709"/>
            <ac:spMk id="46" creationId="{F8D4893C-1875-4209-B66E-7F6EA42DD207}"/>
          </ac:spMkLst>
        </pc:spChg>
        <pc:spChg chg="del mod">
          <ac:chgData name="Manal El Bakkouri" userId="8b130982-2e3f-4164-b881-fd3a2e4b2453" providerId="ADAL" clId="{4457FA57-250B-44AC-8655-05D46C5A3D8A}" dt="2023-06-09T11:28:24.051" v="21743" actId="478"/>
          <ac:spMkLst>
            <pc:docMk/>
            <pc:sldMk cId="1171884687" sldId="230717709"/>
            <ac:spMk id="47" creationId="{50567FD5-B65B-4FC4-B0C8-4197E71F7081}"/>
          </ac:spMkLst>
        </pc:spChg>
        <pc:spChg chg="mod">
          <ac:chgData name="Manal El Bakkouri" userId="8b130982-2e3f-4164-b881-fd3a2e4b2453" providerId="ADAL" clId="{4457FA57-250B-44AC-8655-05D46C5A3D8A}" dt="2023-06-09T11:10:16.907" v="21553"/>
          <ac:spMkLst>
            <pc:docMk/>
            <pc:sldMk cId="1171884687" sldId="230717709"/>
            <ac:spMk id="49" creationId="{F3BE2C80-32B1-4BAE-B118-1EC30ED66C2D}"/>
          </ac:spMkLst>
        </pc:spChg>
        <pc:spChg chg="mod">
          <ac:chgData name="Manal El Bakkouri" userId="8b130982-2e3f-4164-b881-fd3a2e4b2453" providerId="ADAL" clId="{4457FA57-250B-44AC-8655-05D46C5A3D8A}" dt="2023-06-09T11:10:16.907" v="21553"/>
          <ac:spMkLst>
            <pc:docMk/>
            <pc:sldMk cId="1171884687" sldId="230717709"/>
            <ac:spMk id="50" creationId="{261EDEA7-5541-47CA-9107-0F0FC1C4EC99}"/>
          </ac:spMkLst>
        </pc:spChg>
        <pc:spChg chg="mod">
          <ac:chgData name="Manal El Bakkouri" userId="8b130982-2e3f-4164-b881-fd3a2e4b2453" providerId="ADAL" clId="{4457FA57-250B-44AC-8655-05D46C5A3D8A}" dt="2023-06-09T11:10:16.907" v="21553"/>
          <ac:spMkLst>
            <pc:docMk/>
            <pc:sldMk cId="1171884687" sldId="230717709"/>
            <ac:spMk id="52" creationId="{1C632A78-8753-4E65-AC98-386D5FE04375}"/>
          </ac:spMkLst>
        </pc:spChg>
        <pc:spChg chg="mod">
          <ac:chgData name="Manal El Bakkouri" userId="8b130982-2e3f-4164-b881-fd3a2e4b2453" providerId="ADAL" clId="{4457FA57-250B-44AC-8655-05D46C5A3D8A}" dt="2023-06-09T11:10:16.907" v="21553"/>
          <ac:spMkLst>
            <pc:docMk/>
            <pc:sldMk cId="1171884687" sldId="230717709"/>
            <ac:spMk id="53" creationId="{C252348B-881B-45E1-A4BB-0D6EF6BA3614}"/>
          </ac:spMkLst>
        </pc:spChg>
        <pc:spChg chg="mod">
          <ac:chgData name="Manal El Bakkouri" userId="8b130982-2e3f-4164-b881-fd3a2e4b2453" providerId="ADAL" clId="{4457FA57-250B-44AC-8655-05D46C5A3D8A}" dt="2023-06-09T11:10:16.907" v="21553"/>
          <ac:spMkLst>
            <pc:docMk/>
            <pc:sldMk cId="1171884687" sldId="230717709"/>
            <ac:spMk id="55" creationId="{33169B05-4454-444C-8C33-F9CE5A31BA7A}"/>
          </ac:spMkLst>
        </pc:spChg>
        <pc:spChg chg="mod">
          <ac:chgData name="Manal El Bakkouri" userId="8b130982-2e3f-4164-b881-fd3a2e4b2453" providerId="ADAL" clId="{4457FA57-250B-44AC-8655-05D46C5A3D8A}" dt="2023-06-09T11:10:16.907" v="21553"/>
          <ac:spMkLst>
            <pc:docMk/>
            <pc:sldMk cId="1171884687" sldId="230717709"/>
            <ac:spMk id="56" creationId="{8D619FAE-1810-47B4-A0F6-0E004B8DE160}"/>
          </ac:spMkLst>
        </pc:spChg>
        <pc:spChg chg="add mod">
          <ac:chgData name="Manal El Bakkouri" userId="8b130982-2e3f-4164-b881-fd3a2e4b2453" providerId="ADAL" clId="{4457FA57-250B-44AC-8655-05D46C5A3D8A}" dt="2023-06-09T11:29:00.898" v="21748" actId="14100"/>
          <ac:spMkLst>
            <pc:docMk/>
            <pc:sldMk cId="1171884687" sldId="230717709"/>
            <ac:spMk id="57" creationId="{7C516218-20F0-47E7-AF98-A20A7B41F749}"/>
          </ac:spMkLst>
        </pc:spChg>
        <pc:spChg chg="add mod">
          <ac:chgData name="Manal El Bakkouri" userId="8b130982-2e3f-4164-b881-fd3a2e4b2453" providerId="ADAL" clId="{4457FA57-250B-44AC-8655-05D46C5A3D8A}" dt="2023-06-09T11:28:24.490" v="21744"/>
          <ac:spMkLst>
            <pc:docMk/>
            <pc:sldMk cId="1171884687" sldId="230717709"/>
            <ac:spMk id="58" creationId="{782419A5-AD73-41B9-BFEE-5EE698670EE7}"/>
          </ac:spMkLst>
        </pc:spChg>
        <pc:spChg chg="add mod">
          <ac:chgData name="Manal El Bakkouri" userId="8b130982-2e3f-4164-b881-fd3a2e4b2453" providerId="ADAL" clId="{4457FA57-250B-44AC-8655-05D46C5A3D8A}" dt="2023-06-09T11:28:24.490" v="21744"/>
          <ac:spMkLst>
            <pc:docMk/>
            <pc:sldMk cId="1171884687" sldId="230717709"/>
            <ac:spMk id="61" creationId="{421DA2C2-78D7-48E8-B0B8-0C972CFB1FE9}"/>
          </ac:spMkLst>
        </pc:spChg>
        <pc:spChg chg="del">
          <ac:chgData name="Manal El Bakkouri" userId="8b130982-2e3f-4164-b881-fd3a2e4b2453" providerId="ADAL" clId="{4457FA57-250B-44AC-8655-05D46C5A3D8A}" dt="2023-06-07T10:04:07.083" v="17635" actId="478"/>
          <ac:spMkLst>
            <pc:docMk/>
            <pc:sldMk cId="1171884687" sldId="230717709"/>
            <ac:spMk id="61" creationId="{DC34440A-5105-449E-A8F6-18365D73F0D3}"/>
          </ac:spMkLst>
        </pc:spChg>
        <pc:spChg chg="add mod">
          <ac:chgData name="Manal El Bakkouri" userId="8b130982-2e3f-4164-b881-fd3a2e4b2453" providerId="ADAL" clId="{4457FA57-250B-44AC-8655-05D46C5A3D8A}" dt="2023-06-09T11:28:24.490" v="21744"/>
          <ac:spMkLst>
            <pc:docMk/>
            <pc:sldMk cId="1171884687" sldId="230717709"/>
            <ac:spMk id="62" creationId="{42DF8D30-CA4D-4BDB-A890-31E3D7FC0321}"/>
          </ac:spMkLst>
        </pc:spChg>
        <pc:spChg chg="del">
          <ac:chgData name="Manal El Bakkouri" userId="8b130982-2e3f-4164-b881-fd3a2e4b2453" providerId="ADAL" clId="{4457FA57-250B-44AC-8655-05D46C5A3D8A}" dt="2023-06-06T09:16:53.206" v="9130" actId="478"/>
          <ac:spMkLst>
            <pc:docMk/>
            <pc:sldMk cId="1171884687" sldId="230717709"/>
            <ac:spMk id="62" creationId="{495309CA-AF39-44A7-930A-E0AD872571D6}"/>
          </ac:spMkLst>
        </pc:spChg>
        <pc:spChg chg="del">
          <ac:chgData name="Manal El Bakkouri" userId="8b130982-2e3f-4164-b881-fd3a2e4b2453" providerId="ADAL" clId="{4457FA57-250B-44AC-8655-05D46C5A3D8A}" dt="2023-06-07T10:04:07.083" v="17635" actId="478"/>
          <ac:spMkLst>
            <pc:docMk/>
            <pc:sldMk cId="1171884687" sldId="230717709"/>
            <ac:spMk id="63" creationId="{CD634BF4-A42B-4E33-B1C2-82DE0979F488}"/>
          </ac:spMkLst>
        </pc:spChg>
        <pc:spChg chg="del">
          <ac:chgData name="Manal El Bakkouri" userId="8b130982-2e3f-4164-b881-fd3a2e4b2453" providerId="ADAL" clId="{4457FA57-250B-44AC-8655-05D46C5A3D8A}" dt="2023-06-07T10:04:07.083" v="17635" actId="478"/>
          <ac:spMkLst>
            <pc:docMk/>
            <pc:sldMk cId="1171884687" sldId="230717709"/>
            <ac:spMk id="64" creationId="{0BC6162E-87CC-4975-8AC3-B1C4E75A1FCD}"/>
          </ac:spMkLst>
        </pc:spChg>
        <pc:spChg chg="del">
          <ac:chgData name="Manal El Bakkouri" userId="8b130982-2e3f-4164-b881-fd3a2e4b2453" providerId="ADAL" clId="{4457FA57-250B-44AC-8655-05D46C5A3D8A}" dt="2023-06-07T10:04:07.083" v="17635" actId="478"/>
          <ac:spMkLst>
            <pc:docMk/>
            <pc:sldMk cId="1171884687" sldId="230717709"/>
            <ac:spMk id="65" creationId="{0DED4506-E850-4EDF-8E57-6CDA06ECCD31}"/>
          </ac:spMkLst>
        </pc:spChg>
        <pc:spChg chg="del">
          <ac:chgData name="Manal El Bakkouri" userId="8b130982-2e3f-4164-b881-fd3a2e4b2453" providerId="ADAL" clId="{4457FA57-250B-44AC-8655-05D46C5A3D8A}" dt="2023-06-07T10:04:07.083" v="17635" actId="478"/>
          <ac:spMkLst>
            <pc:docMk/>
            <pc:sldMk cId="1171884687" sldId="230717709"/>
            <ac:spMk id="67" creationId="{C2E676D3-7044-4416-95A3-0BDD568F460D}"/>
          </ac:spMkLst>
        </pc:spChg>
        <pc:spChg chg="del">
          <ac:chgData name="Manal El Bakkouri" userId="8b130982-2e3f-4164-b881-fd3a2e4b2453" providerId="ADAL" clId="{4457FA57-250B-44AC-8655-05D46C5A3D8A}" dt="2023-06-07T10:04:07.083" v="17635" actId="478"/>
          <ac:spMkLst>
            <pc:docMk/>
            <pc:sldMk cId="1171884687" sldId="230717709"/>
            <ac:spMk id="68" creationId="{E5E343C9-AD16-4EA4-89E2-CE2CE015D6E8}"/>
          </ac:spMkLst>
        </pc:spChg>
        <pc:spChg chg="del">
          <ac:chgData name="Manal El Bakkouri" userId="8b130982-2e3f-4164-b881-fd3a2e4b2453" providerId="ADAL" clId="{4457FA57-250B-44AC-8655-05D46C5A3D8A}" dt="2023-06-07T10:04:07.083" v="17635" actId="478"/>
          <ac:spMkLst>
            <pc:docMk/>
            <pc:sldMk cId="1171884687" sldId="230717709"/>
            <ac:spMk id="69" creationId="{EBD33ADD-FAAA-4E62-973F-7498E56F2256}"/>
          </ac:spMkLst>
        </pc:spChg>
        <pc:spChg chg="del">
          <ac:chgData name="Manal El Bakkouri" userId="8b130982-2e3f-4164-b881-fd3a2e4b2453" providerId="ADAL" clId="{4457FA57-250B-44AC-8655-05D46C5A3D8A}" dt="2023-06-07T10:04:07.083" v="17635" actId="478"/>
          <ac:spMkLst>
            <pc:docMk/>
            <pc:sldMk cId="1171884687" sldId="230717709"/>
            <ac:spMk id="70" creationId="{5D159352-80CA-4E9C-88AB-B5020F0649E1}"/>
          </ac:spMkLst>
        </pc:spChg>
        <pc:spChg chg="del">
          <ac:chgData name="Manal El Bakkouri" userId="8b130982-2e3f-4164-b881-fd3a2e4b2453" providerId="ADAL" clId="{4457FA57-250B-44AC-8655-05D46C5A3D8A}" dt="2023-06-07T10:04:07.083" v="17635" actId="478"/>
          <ac:spMkLst>
            <pc:docMk/>
            <pc:sldMk cId="1171884687" sldId="230717709"/>
            <ac:spMk id="71" creationId="{3776B1AD-70C1-41F9-856E-401FA9523AD6}"/>
          </ac:spMkLst>
        </pc:spChg>
        <pc:spChg chg="del">
          <ac:chgData name="Manal El Bakkouri" userId="8b130982-2e3f-4164-b881-fd3a2e4b2453" providerId="ADAL" clId="{4457FA57-250B-44AC-8655-05D46C5A3D8A}" dt="2023-06-07T10:04:07.083" v="17635" actId="478"/>
          <ac:spMkLst>
            <pc:docMk/>
            <pc:sldMk cId="1171884687" sldId="230717709"/>
            <ac:spMk id="72" creationId="{E9C39060-E719-4A69-856C-B9621AB4CBB0}"/>
          </ac:spMkLst>
        </pc:spChg>
        <pc:grpChg chg="add del mod">
          <ac:chgData name="Manal El Bakkouri" userId="8b130982-2e3f-4164-b881-fd3a2e4b2453" providerId="ADAL" clId="{4457FA57-250B-44AC-8655-05D46C5A3D8A}" dt="2023-06-09T11:10:16.362" v="21552" actId="478"/>
          <ac:grpSpMkLst>
            <pc:docMk/>
            <pc:sldMk cId="1171884687" sldId="230717709"/>
            <ac:grpSpMk id="24" creationId="{7F0AABD7-C68E-4E8D-AE83-C29BE9963C59}"/>
          </ac:grpSpMkLst>
        </pc:grpChg>
        <pc:grpChg chg="add del mod">
          <ac:chgData name="Manal El Bakkouri" userId="8b130982-2e3f-4164-b881-fd3a2e4b2453" providerId="ADAL" clId="{4457FA57-250B-44AC-8655-05D46C5A3D8A}" dt="2023-06-09T11:10:16.362" v="21552" actId="478"/>
          <ac:grpSpMkLst>
            <pc:docMk/>
            <pc:sldMk cId="1171884687" sldId="230717709"/>
            <ac:grpSpMk id="27" creationId="{C018A6E0-6A0A-43EA-98B1-16996A6C9FDC}"/>
          </ac:grpSpMkLst>
        </pc:grpChg>
        <pc:grpChg chg="add del mod">
          <ac:chgData name="Manal El Bakkouri" userId="8b130982-2e3f-4164-b881-fd3a2e4b2453" providerId="ADAL" clId="{4457FA57-250B-44AC-8655-05D46C5A3D8A}" dt="2023-06-09T11:10:16.362" v="21552" actId="478"/>
          <ac:grpSpMkLst>
            <pc:docMk/>
            <pc:sldMk cId="1171884687" sldId="230717709"/>
            <ac:grpSpMk id="30" creationId="{F72DF428-CC33-48A3-9240-4CD437E24079}"/>
          </ac:grpSpMkLst>
        </pc:grpChg>
        <pc:grpChg chg="add del mod">
          <ac:chgData name="Manal El Bakkouri" userId="8b130982-2e3f-4164-b881-fd3a2e4b2453" providerId="ADAL" clId="{4457FA57-250B-44AC-8655-05D46C5A3D8A}" dt="2023-06-09T11:10:16.362" v="21552" actId="478"/>
          <ac:grpSpMkLst>
            <pc:docMk/>
            <pc:sldMk cId="1171884687" sldId="230717709"/>
            <ac:grpSpMk id="33" creationId="{57091632-8D5E-4854-AE46-754E456ED89C}"/>
          </ac:grpSpMkLst>
        </pc:grpChg>
        <pc:grpChg chg="add del mod">
          <ac:chgData name="Manal El Bakkouri" userId="8b130982-2e3f-4164-b881-fd3a2e4b2453" providerId="ADAL" clId="{4457FA57-250B-44AC-8655-05D46C5A3D8A}" dt="2023-06-09T11:10:16.362" v="21552" actId="478"/>
          <ac:grpSpMkLst>
            <pc:docMk/>
            <pc:sldMk cId="1171884687" sldId="230717709"/>
            <ac:grpSpMk id="36" creationId="{A9B5ECF5-4A34-4664-8A21-00FDAE210398}"/>
          </ac:grpSpMkLst>
        </pc:grpChg>
        <pc:grpChg chg="add mod">
          <ac:chgData name="Manal El Bakkouri" userId="8b130982-2e3f-4164-b881-fd3a2e4b2453" providerId="ADAL" clId="{4457FA57-250B-44AC-8655-05D46C5A3D8A}" dt="2023-06-09T11:10:16.907" v="21553"/>
          <ac:grpSpMkLst>
            <pc:docMk/>
            <pc:sldMk cId="1171884687" sldId="230717709"/>
            <ac:grpSpMk id="39" creationId="{7D6EC116-CC18-4DD8-93EA-091548DC6762}"/>
          </ac:grpSpMkLst>
        </pc:grpChg>
        <pc:grpChg chg="add mod">
          <ac:chgData name="Manal El Bakkouri" userId="8b130982-2e3f-4164-b881-fd3a2e4b2453" providerId="ADAL" clId="{4457FA57-250B-44AC-8655-05D46C5A3D8A}" dt="2023-06-09T11:10:16.907" v="21553"/>
          <ac:grpSpMkLst>
            <pc:docMk/>
            <pc:sldMk cId="1171884687" sldId="230717709"/>
            <ac:grpSpMk id="43" creationId="{03F5E109-F1B9-4762-830C-A0C00B28149B}"/>
          </ac:grpSpMkLst>
        </pc:grpChg>
        <pc:grpChg chg="add mod">
          <ac:chgData name="Manal El Bakkouri" userId="8b130982-2e3f-4164-b881-fd3a2e4b2453" providerId="ADAL" clId="{4457FA57-250B-44AC-8655-05D46C5A3D8A}" dt="2023-06-09T11:10:16.907" v="21553"/>
          <ac:grpSpMkLst>
            <pc:docMk/>
            <pc:sldMk cId="1171884687" sldId="230717709"/>
            <ac:grpSpMk id="48" creationId="{FB313139-B82A-4EFD-906B-385F222016B5}"/>
          </ac:grpSpMkLst>
        </pc:grpChg>
        <pc:grpChg chg="add mod">
          <ac:chgData name="Manal El Bakkouri" userId="8b130982-2e3f-4164-b881-fd3a2e4b2453" providerId="ADAL" clId="{4457FA57-250B-44AC-8655-05D46C5A3D8A}" dt="2023-06-09T11:10:16.907" v="21553"/>
          <ac:grpSpMkLst>
            <pc:docMk/>
            <pc:sldMk cId="1171884687" sldId="230717709"/>
            <ac:grpSpMk id="51" creationId="{C384D503-208A-4687-A4F2-B0ECF18B446C}"/>
          </ac:grpSpMkLst>
        </pc:grpChg>
        <pc:grpChg chg="add mod">
          <ac:chgData name="Manal El Bakkouri" userId="8b130982-2e3f-4164-b881-fd3a2e4b2453" providerId="ADAL" clId="{4457FA57-250B-44AC-8655-05D46C5A3D8A}" dt="2023-06-09T11:10:16.907" v="21553"/>
          <ac:grpSpMkLst>
            <pc:docMk/>
            <pc:sldMk cId="1171884687" sldId="230717709"/>
            <ac:grpSpMk id="54" creationId="{AB18138B-F51B-4AC0-869B-32254D7C3350}"/>
          </ac:grpSpMkLst>
        </pc:grpChg>
        <pc:picChg chg="mod ord">
          <ac:chgData name="Manal El Bakkouri" userId="8b130982-2e3f-4164-b881-fd3a2e4b2453" providerId="ADAL" clId="{4457FA57-250B-44AC-8655-05D46C5A3D8A}" dt="2023-06-06T09:16:47.041" v="9128" actId="166"/>
          <ac:picMkLst>
            <pc:docMk/>
            <pc:sldMk cId="1171884687" sldId="230717709"/>
            <ac:picMk id="9" creationId="{A8E930A2-4CB1-4781-A9C8-29077092C6A2}"/>
          </ac:picMkLst>
        </pc:picChg>
        <pc:picChg chg="mod ord">
          <ac:chgData name="Manal El Bakkouri" userId="8b130982-2e3f-4164-b881-fd3a2e4b2453" providerId="ADAL" clId="{4457FA57-250B-44AC-8655-05D46C5A3D8A}" dt="2023-06-06T09:18:09.493" v="9137" actId="166"/>
          <ac:picMkLst>
            <pc:docMk/>
            <pc:sldMk cId="1171884687" sldId="230717709"/>
            <ac:picMk id="11" creationId="{0DD446C0-D902-451F-97DE-304869F6F4BB}"/>
          </ac:picMkLst>
        </pc:picChg>
      </pc:sldChg>
      <pc:sldChg chg="addSp delSp modSp add mod modTransition">
        <pc:chgData name="Manal El Bakkouri" userId="8b130982-2e3f-4164-b881-fd3a2e4b2453" providerId="ADAL" clId="{4457FA57-250B-44AC-8655-05D46C5A3D8A}" dt="2023-06-09T11:30:21.910" v="21771"/>
        <pc:sldMkLst>
          <pc:docMk/>
          <pc:sldMk cId="389744111" sldId="230717710"/>
        </pc:sldMkLst>
        <pc:spChg chg="del">
          <ac:chgData name="Manal El Bakkouri" userId="8b130982-2e3f-4164-b881-fd3a2e4b2453" providerId="ADAL" clId="{4457FA57-250B-44AC-8655-05D46C5A3D8A}" dt="2023-06-09T11:30:21.554" v="21770" actId="478"/>
          <ac:spMkLst>
            <pc:docMk/>
            <pc:sldMk cId="389744111" sldId="230717710"/>
            <ac:spMk id="7" creationId="{B2FAACA5-EFCE-4655-8761-6FEC03BDB0B0}"/>
          </ac:spMkLst>
        </pc:spChg>
        <pc:spChg chg="del">
          <ac:chgData name="Manal El Bakkouri" userId="8b130982-2e3f-4164-b881-fd3a2e4b2453" providerId="ADAL" clId="{4457FA57-250B-44AC-8655-05D46C5A3D8A}" dt="2023-06-09T11:30:21.554" v="21770" actId="478"/>
          <ac:spMkLst>
            <pc:docMk/>
            <pc:sldMk cId="389744111" sldId="230717710"/>
            <ac:spMk id="8" creationId="{A45F0BFB-3688-4B96-9AC7-BF0E08B3F706}"/>
          </ac:spMkLst>
        </pc:spChg>
        <pc:spChg chg="del">
          <ac:chgData name="Manal El Bakkouri" userId="8b130982-2e3f-4164-b881-fd3a2e4b2453" providerId="ADAL" clId="{4457FA57-250B-44AC-8655-05D46C5A3D8A}" dt="2023-06-09T11:30:21.554" v="21770" actId="478"/>
          <ac:spMkLst>
            <pc:docMk/>
            <pc:sldMk cId="389744111" sldId="230717710"/>
            <ac:spMk id="9" creationId="{3888FD4A-C7D4-459E-B558-4260C7973FD2}"/>
          </ac:spMkLst>
        </pc:spChg>
        <pc:spChg chg="add mod">
          <ac:chgData name="Manal El Bakkouri" userId="8b130982-2e3f-4164-b881-fd3a2e4b2453" providerId="ADAL" clId="{4457FA57-250B-44AC-8655-05D46C5A3D8A}" dt="2023-06-09T11:30:21.910" v="21771"/>
          <ac:spMkLst>
            <pc:docMk/>
            <pc:sldMk cId="389744111" sldId="230717710"/>
            <ac:spMk id="21" creationId="{B0FFF040-0F9E-4B20-BED5-E5C8DD0100B8}"/>
          </ac:spMkLst>
        </pc:spChg>
        <pc:spChg chg="add mod">
          <ac:chgData name="Manal El Bakkouri" userId="8b130982-2e3f-4164-b881-fd3a2e4b2453" providerId="ADAL" clId="{4457FA57-250B-44AC-8655-05D46C5A3D8A}" dt="2023-06-09T11:30:21.910" v="21771"/>
          <ac:spMkLst>
            <pc:docMk/>
            <pc:sldMk cId="389744111" sldId="230717710"/>
            <ac:spMk id="22" creationId="{E2176006-644A-4A5B-99F1-1AFE8006F848}"/>
          </ac:spMkLst>
        </pc:spChg>
        <pc:spChg chg="add mod">
          <ac:chgData name="Manal El Bakkouri" userId="8b130982-2e3f-4164-b881-fd3a2e4b2453" providerId="ADAL" clId="{4457FA57-250B-44AC-8655-05D46C5A3D8A}" dt="2023-06-09T11:30:21.910" v="21771"/>
          <ac:spMkLst>
            <pc:docMk/>
            <pc:sldMk cId="389744111" sldId="230717710"/>
            <ac:spMk id="23" creationId="{24D61433-AD04-4616-A749-0C43F730B4F3}"/>
          </ac:spMkLst>
        </pc:spChg>
        <pc:spChg chg="add mod">
          <ac:chgData name="Manal El Bakkouri" userId="8b130982-2e3f-4164-b881-fd3a2e4b2453" providerId="ADAL" clId="{4457FA57-250B-44AC-8655-05D46C5A3D8A}" dt="2023-06-09T11:30:21.910" v="21771"/>
          <ac:spMkLst>
            <pc:docMk/>
            <pc:sldMk cId="389744111" sldId="230717710"/>
            <ac:spMk id="25" creationId="{4D785009-428B-455A-A473-FE7C12AE2501}"/>
          </ac:spMkLst>
        </pc:spChg>
        <pc:spChg chg="add del mod">
          <ac:chgData name="Manal El Bakkouri" userId="8b130982-2e3f-4164-b881-fd3a2e4b2453" providerId="ADAL" clId="{4457FA57-250B-44AC-8655-05D46C5A3D8A}" dt="2023-06-06T10:12:35.777" v="9432"/>
          <ac:spMkLst>
            <pc:docMk/>
            <pc:sldMk cId="389744111" sldId="230717710"/>
            <ac:spMk id="25" creationId="{967ECF9D-F6CF-4811-810B-844F42F99A85}"/>
          </ac:spMkLst>
        </pc:spChg>
        <pc:spChg chg="add mod">
          <ac:chgData name="Manal El Bakkouri" userId="8b130982-2e3f-4164-b881-fd3a2e4b2453" providerId="ADAL" clId="{4457FA57-250B-44AC-8655-05D46C5A3D8A}" dt="2023-06-06T10:13:19.885" v="9500" actId="20577"/>
          <ac:spMkLst>
            <pc:docMk/>
            <pc:sldMk cId="389744111" sldId="230717710"/>
            <ac:spMk id="29" creationId="{F9657EB2-8117-42D8-A4E0-9FDBF0393410}"/>
          </ac:spMkLst>
        </pc:spChg>
        <pc:picChg chg="add mod">
          <ac:chgData name="Manal El Bakkouri" userId="8b130982-2e3f-4164-b881-fd3a2e4b2453" providerId="ADAL" clId="{4457FA57-250B-44AC-8655-05D46C5A3D8A}" dt="2023-06-06T10:14:19.710" v="9506" actId="1076"/>
          <ac:picMkLst>
            <pc:docMk/>
            <pc:sldMk cId="389744111" sldId="230717710"/>
            <ac:picMk id="3" creationId="{29D9E3E0-AF5F-41F8-9FC0-36A854966FF4}"/>
          </ac:picMkLst>
        </pc:picChg>
        <pc:picChg chg="add del">
          <ac:chgData name="Manal El Bakkouri" userId="8b130982-2e3f-4164-b881-fd3a2e4b2453" providerId="ADAL" clId="{4457FA57-250B-44AC-8655-05D46C5A3D8A}" dt="2023-06-06T10:12:26.803" v="9428" actId="478"/>
          <ac:picMkLst>
            <pc:docMk/>
            <pc:sldMk cId="389744111" sldId="230717710"/>
            <ac:picMk id="5" creationId="{E489D3D2-61FC-4161-B8DE-007FC6AD77B7}"/>
          </ac:picMkLst>
        </pc:picChg>
        <pc:picChg chg="del">
          <ac:chgData name="Manal El Bakkouri" userId="8b130982-2e3f-4164-b881-fd3a2e4b2453" providerId="ADAL" clId="{4457FA57-250B-44AC-8655-05D46C5A3D8A}" dt="2023-06-06T10:14:16.846" v="9505" actId="478"/>
          <ac:picMkLst>
            <pc:docMk/>
            <pc:sldMk cId="389744111" sldId="230717710"/>
            <ac:picMk id="27" creationId="{7765A913-D07A-4AAC-950A-27AF2DC440C9}"/>
          </ac:picMkLst>
        </pc:picChg>
        <pc:picChg chg="del">
          <ac:chgData name="Manal El Bakkouri" userId="8b130982-2e3f-4164-b881-fd3a2e4b2453" providerId="ADAL" clId="{4457FA57-250B-44AC-8655-05D46C5A3D8A}" dt="2023-06-06T10:14:43.192" v="9509" actId="478"/>
          <ac:picMkLst>
            <pc:docMk/>
            <pc:sldMk cId="389744111" sldId="230717710"/>
            <ac:picMk id="28" creationId="{DF44311A-B1EB-47E2-808E-3EDC8BDCF4CE}"/>
          </ac:picMkLst>
        </pc:picChg>
        <pc:picChg chg="add mod">
          <ac:chgData name="Manal El Bakkouri" userId="8b130982-2e3f-4164-b881-fd3a2e4b2453" providerId="ADAL" clId="{4457FA57-250B-44AC-8655-05D46C5A3D8A}" dt="2023-06-06T10:14:10.872" v="9503" actId="571"/>
          <ac:picMkLst>
            <pc:docMk/>
            <pc:sldMk cId="389744111" sldId="230717710"/>
            <ac:picMk id="30" creationId="{F95F3BE0-D8F7-44F3-8DD7-F0F7EC606FA3}"/>
          </ac:picMkLst>
        </pc:picChg>
      </pc:sldChg>
      <pc:sldChg chg="add del ord">
        <pc:chgData name="Manal El Bakkouri" userId="8b130982-2e3f-4164-b881-fd3a2e4b2453" providerId="ADAL" clId="{4457FA57-250B-44AC-8655-05D46C5A3D8A}" dt="2023-06-06T09:47:41.379" v="9290" actId="2696"/>
        <pc:sldMkLst>
          <pc:docMk/>
          <pc:sldMk cId="823238805" sldId="230717710"/>
        </pc:sldMkLst>
      </pc:sldChg>
      <pc:sldChg chg="addSp delSp modSp add mod modTransition modNotesTx">
        <pc:chgData name="Manal El Bakkouri" userId="8b130982-2e3f-4164-b881-fd3a2e4b2453" providerId="ADAL" clId="{4457FA57-250B-44AC-8655-05D46C5A3D8A}" dt="2023-06-09T11:28:05.334" v="21738"/>
        <pc:sldMkLst>
          <pc:docMk/>
          <pc:sldMk cId="2979480581" sldId="230717711"/>
        </pc:sldMkLst>
        <pc:spChg chg="add mod">
          <ac:chgData name="Manal El Bakkouri" userId="8b130982-2e3f-4164-b881-fd3a2e4b2453" providerId="ADAL" clId="{4457FA57-250B-44AC-8655-05D46C5A3D8A}" dt="2023-06-06T15:43:10.116" v="15674" actId="1076"/>
          <ac:spMkLst>
            <pc:docMk/>
            <pc:sldMk cId="2979480581" sldId="230717711"/>
            <ac:spMk id="6" creationId="{EF08032F-61BF-4B68-B21B-3124F7C546AE}"/>
          </ac:spMkLst>
        </pc:spChg>
        <pc:spChg chg="add mod">
          <ac:chgData name="Manal El Bakkouri" userId="8b130982-2e3f-4164-b881-fd3a2e4b2453" providerId="ADAL" clId="{4457FA57-250B-44AC-8655-05D46C5A3D8A}" dt="2023-06-06T15:43:02.044" v="15672" actId="14100"/>
          <ac:spMkLst>
            <pc:docMk/>
            <pc:sldMk cId="2979480581" sldId="230717711"/>
            <ac:spMk id="28" creationId="{01ADA86B-4101-4B9F-8BBA-ACD8B608E4BC}"/>
          </ac:spMkLst>
        </pc:spChg>
        <pc:spChg chg="add mod">
          <ac:chgData name="Manal El Bakkouri" userId="8b130982-2e3f-4164-b881-fd3a2e4b2453" providerId="ADAL" clId="{4457FA57-250B-44AC-8655-05D46C5A3D8A}" dt="2023-06-06T15:43:14.749" v="15675" actId="1076"/>
          <ac:spMkLst>
            <pc:docMk/>
            <pc:sldMk cId="2979480581" sldId="230717711"/>
            <ac:spMk id="29" creationId="{E0FF13EB-5F6D-4D86-95E2-5A9966B259E6}"/>
          </ac:spMkLst>
        </pc:spChg>
        <pc:spChg chg="add mod">
          <ac:chgData name="Manal El Bakkouri" userId="8b130982-2e3f-4164-b881-fd3a2e4b2453" providerId="ADAL" clId="{4457FA57-250B-44AC-8655-05D46C5A3D8A}" dt="2023-06-06T15:43:25.701" v="15677" actId="571"/>
          <ac:spMkLst>
            <pc:docMk/>
            <pc:sldMk cId="2979480581" sldId="230717711"/>
            <ac:spMk id="31" creationId="{EFF29BBA-D1FE-4D5F-AE6C-CF4CB9F5B622}"/>
          </ac:spMkLst>
        </pc:spChg>
        <pc:spChg chg="add mod">
          <ac:chgData name="Manal El Bakkouri" userId="8b130982-2e3f-4164-b881-fd3a2e4b2453" providerId="ADAL" clId="{4457FA57-250B-44AC-8655-05D46C5A3D8A}" dt="2023-06-06T15:43:34.062" v="15680" actId="14100"/>
          <ac:spMkLst>
            <pc:docMk/>
            <pc:sldMk cId="2979480581" sldId="230717711"/>
            <ac:spMk id="32" creationId="{28E9A26B-7F05-4A4D-9218-83052B4074B7}"/>
          </ac:spMkLst>
        </pc:spChg>
        <pc:spChg chg="add mod">
          <ac:chgData name="Manal El Bakkouri" userId="8b130982-2e3f-4164-b881-fd3a2e4b2453" providerId="ADAL" clId="{4457FA57-250B-44AC-8655-05D46C5A3D8A}" dt="2023-06-06T15:43:38.278" v="15682" actId="1076"/>
          <ac:spMkLst>
            <pc:docMk/>
            <pc:sldMk cId="2979480581" sldId="230717711"/>
            <ac:spMk id="33" creationId="{D5AA499F-56F2-4399-8F6C-4032BDB5C481}"/>
          </ac:spMkLst>
        </pc:spChg>
        <pc:spChg chg="add mod">
          <ac:chgData name="Manal El Bakkouri" userId="8b130982-2e3f-4164-b881-fd3a2e4b2453" providerId="ADAL" clId="{4457FA57-250B-44AC-8655-05D46C5A3D8A}" dt="2023-06-06T15:43:41.485" v="15684" actId="14100"/>
          <ac:spMkLst>
            <pc:docMk/>
            <pc:sldMk cId="2979480581" sldId="230717711"/>
            <ac:spMk id="34" creationId="{AFAE59CA-52AC-4C54-A316-4B9C2FBA35CC}"/>
          </ac:spMkLst>
        </pc:spChg>
        <pc:spChg chg="add mod">
          <ac:chgData name="Manal El Bakkouri" userId="8b130982-2e3f-4164-b881-fd3a2e4b2453" providerId="ADAL" clId="{4457FA57-250B-44AC-8655-05D46C5A3D8A}" dt="2023-06-06T15:43:50.557" v="15689" actId="14100"/>
          <ac:spMkLst>
            <pc:docMk/>
            <pc:sldMk cId="2979480581" sldId="230717711"/>
            <ac:spMk id="35" creationId="{FE6B4C29-AA35-40F5-A803-AF3ECCF55C7F}"/>
          </ac:spMkLst>
        </pc:spChg>
        <pc:spChg chg="del">
          <ac:chgData name="Manal El Bakkouri" userId="8b130982-2e3f-4164-b881-fd3a2e4b2453" providerId="ADAL" clId="{4457FA57-250B-44AC-8655-05D46C5A3D8A}" dt="2023-06-09T11:28:04.925" v="21737" actId="478"/>
          <ac:spMkLst>
            <pc:docMk/>
            <pc:sldMk cId="2979480581" sldId="230717711"/>
            <ac:spMk id="42" creationId="{A64C7408-49A6-4C3E-99BB-C931B1351638}"/>
          </ac:spMkLst>
        </pc:spChg>
        <pc:spChg chg="mod">
          <ac:chgData name="Manal El Bakkouri" userId="8b130982-2e3f-4164-b881-fd3a2e4b2453" providerId="ADAL" clId="{4457FA57-250B-44AC-8655-05D46C5A3D8A}" dt="2023-06-09T11:09:56.505" v="21545"/>
          <ac:spMkLst>
            <pc:docMk/>
            <pc:sldMk cId="2979480581" sldId="230717711"/>
            <ac:spMk id="44" creationId="{82466882-69ED-4141-878F-DCA26AD619A2}"/>
          </ac:spMkLst>
        </pc:spChg>
        <pc:spChg chg="del">
          <ac:chgData name="Manal El Bakkouri" userId="8b130982-2e3f-4164-b881-fd3a2e4b2453" providerId="ADAL" clId="{4457FA57-250B-44AC-8655-05D46C5A3D8A}" dt="2023-06-09T11:28:04.925" v="21737" actId="478"/>
          <ac:spMkLst>
            <pc:docMk/>
            <pc:sldMk cId="2979480581" sldId="230717711"/>
            <ac:spMk id="45" creationId="{408C8D92-08B3-4B61-A0CD-13080857796B}"/>
          </ac:spMkLst>
        </pc:spChg>
        <pc:spChg chg="mod">
          <ac:chgData name="Manal El Bakkouri" userId="8b130982-2e3f-4164-b881-fd3a2e4b2453" providerId="ADAL" clId="{4457FA57-250B-44AC-8655-05D46C5A3D8A}" dt="2023-06-09T11:09:56.505" v="21545"/>
          <ac:spMkLst>
            <pc:docMk/>
            <pc:sldMk cId="2979480581" sldId="230717711"/>
            <ac:spMk id="46" creationId="{11F71501-2E73-4D30-B856-507822EF8BD5}"/>
          </ac:spMkLst>
        </pc:spChg>
        <pc:spChg chg="del">
          <ac:chgData name="Manal El Bakkouri" userId="8b130982-2e3f-4164-b881-fd3a2e4b2453" providerId="ADAL" clId="{4457FA57-250B-44AC-8655-05D46C5A3D8A}" dt="2023-06-09T11:28:04.925" v="21737" actId="478"/>
          <ac:spMkLst>
            <pc:docMk/>
            <pc:sldMk cId="2979480581" sldId="230717711"/>
            <ac:spMk id="47" creationId="{50567FD5-B65B-4FC4-B0C8-4197E71F7081}"/>
          </ac:spMkLst>
        </pc:spChg>
        <pc:spChg chg="mod">
          <ac:chgData name="Manal El Bakkouri" userId="8b130982-2e3f-4164-b881-fd3a2e4b2453" providerId="ADAL" clId="{4457FA57-250B-44AC-8655-05D46C5A3D8A}" dt="2023-06-09T11:09:56.505" v="21545"/>
          <ac:spMkLst>
            <pc:docMk/>
            <pc:sldMk cId="2979480581" sldId="230717711"/>
            <ac:spMk id="49" creationId="{1AA0FA19-862B-469B-A868-307A317C19D1}"/>
          </ac:spMkLst>
        </pc:spChg>
        <pc:spChg chg="mod">
          <ac:chgData name="Manal El Bakkouri" userId="8b130982-2e3f-4164-b881-fd3a2e4b2453" providerId="ADAL" clId="{4457FA57-250B-44AC-8655-05D46C5A3D8A}" dt="2023-06-07T10:03:52.538" v="17630"/>
          <ac:spMkLst>
            <pc:docMk/>
            <pc:sldMk cId="2979480581" sldId="230717711"/>
            <ac:spMk id="51" creationId="{5A24CB72-32F4-4606-92EA-795AAFEE9E38}"/>
          </ac:spMkLst>
        </pc:spChg>
        <pc:spChg chg="mod">
          <ac:chgData name="Manal El Bakkouri" userId="8b130982-2e3f-4164-b881-fd3a2e4b2453" providerId="ADAL" clId="{4457FA57-250B-44AC-8655-05D46C5A3D8A}" dt="2023-06-07T10:03:52.538" v="17630"/>
          <ac:spMkLst>
            <pc:docMk/>
            <pc:sldMk cId="2979480581" sldId="230717711"/>
            <ac:spMk id="52" creationId="{FA3F18D8-8D58-488F-BB2A-BF234FF21C49}"/>
          </ac:spMkLst>
        </pc:spChg>
        <pc:spChg chg="mod">
          <ac:chgData name="Manal El Bakkouri" userId="8b130982-2e3f-4164-b881-fd3a2e4b2453" providerId="ADAL" clId="{4457FA57-250B-44AC-8655-05D46C5A3D8A}" dt="2023-06-07T10:03:52.538" v="17630"/>
          <ac:spMkLst>
            <pc:docMk/>
            <pc:sldMk cId="2979480581" sldId="230717711"/>
            <ac:spMk id="54" creationId="{04DE60FE-F957-4B02-BBB5-FC7EC9588A79}"/>
          </ac:spMkLst>
        </pc:spChg>
        <pc:spChg chg="mod">
          <ac:chgData name="Manal El Bakkouri" userId="8b130982-2e3f-4164-b881-fd3a2e4b2453" providerId="ADAL" clId="{4457FA57-250B-44AC-8655-05D46C5A3D8A}" dt="2023-06-07T10:03:52.538" v="17630"/>
          <ac:spMkLst>
            <pc:docMk/>
            <pc:sldMk cId="2979480581" sldId="230717711"/>
            <ac:spMk id="55" creationId="{5FA7EA4B-4BEF-483C-A6B6-51782167AE53}"/>
          </ac:spMkLst>
        </pc:spChg>
        <pc:spChg chg="mod">
          <ac:chgData name="Manal El Bakkouri" userId="8b130982-2e3f-4164-b881-fd3a2e4b2453" providerId="ADAL" clId="{4457FA57-250B-44AC-8655-05D46C5A3D8A}" dt="2023-06-07T10:03:52.538" v="17630"/>
          <ac:spMkLst>
            <pc:docMk/>
            <pc:sldMk cId="2979480581" sldId="230717711"/>
            <ac:spMk id="57" creationId="{82DAC3FA-92FD-4A87-9C26-9D8C40D7494B}"/>
          </ac:spMkLst>
        </pc:spChg>
        <pc:spChg chg="mod">
          <ac:chgData name="Manal El Bakkouri" userId="8b130982-2e3f-4164-b881-fd3a2e4b2453" providerId="ADAL" clId="{4457FA57-250B-44AC-8655-05D46C5A3D8A}" dt="2023-06-07T10:03:52.538" v="17630"/>
          <ac:spMkLst>
            <pc:docMk/>
            <pc:sldMk cId="2979480581" sldId="230717711"/>
            <ac:spMk id="58" creationId="{CD4B6ED2-50C9-4B94-8EE9-178334681242}"/>
          </ac:spMkLst>
        </pc:spChg>
        <pc:spChg chg="mod">
          <ac:chgData name="Manal El Bakkouri" userId="8b130982-2e3f-4164-b881-fd3a2e4b2453" providerId="ADAL" clId="{4457FA57-250B-44AC-8655-05D46C5A3D8A}" dt="2023-06-09T11:09:56.505" v="21545"/>
          <ac:spMkLst>
            <pc:docMk/>
            <pc:sldMk cId="2979480581" sldId="230717711"/>
            <ac:spMk id="61" creationId="{C2265C78-EB11-430C-BE6B-520ACEE4423C}"/>
          </ac:spMkLst>
        </pc:spChg>
        <pc:spChg chg="del">
          <ac:chgData name="Manal El Bakkouri" userId="8b130982-2e3f-4164-b881-fd3a2e4b2453" providerId="ADAL" clId="{4457FA57-250B-44AC-8655-05D46C5A3D8A}" dt="2023-06-07T10:03:52.206" v="17629" actId="478"/>
          <ac:spMkLst>
            <pc:docMk/>
            <pc:sldMk cId="2979480581" sldId="230717711"/>
            <ac:spMk id="61" creationId="{DC34440A-5105-449E-A8F6-18365D73F0D3}"/>
          </ac:spMkLst>
        </pc:spChg>
        <pc:spChg chg="del">
          <ac:chgData name="Manal El Bakkouri" userId="8b130982-2e3f-4164-b881-fd3a2e4b2453" providerId="ADAL" clId="{4457FA57-250B-44AC-8655-05D46C5A3D8A}" dt="2023-06-07T10:03:52.206" v="17629" actId="478"/>
          <ac:spMkLst>
            <pc:docMk/>
            <pc:sldMk cId="2979480581" sldId="230717711"/>
            <ac:spMk id="63" creationId="{CD634BF4-A42B-4E33-B1C2-82DE0979F488}"/>
          </ac:spMkLst>
        </pc:spChg>
        <pc:spChg chg="del">
          <ac:chgData name="Manal El Bakkouri" userId="8b130982-2e3f-4164-b881-fd3a2e4b2453" providerId="ADAL" clId="{4457FA57-250B-44AC-8655-05D46C5A3D8A}" dt="2023-06-07T10:03:52.206" v="17629" actId="478"/>
          <ac:spMkLst>
            <pc:docMk/>
            <pc:sldMk cId="2979480581" sldId="230717711"/>
            <ac:spMk id="64" creationId="{0BC6162E-87CC-4975-8AC3-B1C4E75A1FCD}"/>
          </ac:spMkLst>
        </pc:spChg>
        <pc:spChg chg="mod">
          <ac:chgData name="Manal El Bakkouri" userId="8b130982-2e3f-4164-b881-fd3a2e4b2453" providerId="ADAL" clId="{4457FA57-250B-44AC-8655-05D46C5A3D8A}" dt="2023-06-09T11:09:56.505" v="21545"/>
          <ac:spMkLst>
            <pc:docMk/>
            <pc:sldMk cId="2979480581" sldId="230717711"/>
            <ac:spMk id="64" creationId="{A1183CC0-77FC-41E1-A0EE-D52D95242326}"/>
          </ac:spMkLst>
        </pc:spChg>
        <pc:spChg chg="del">
          <ac:chgData name="Manal El Bakkouri" userId="8b130982-2e3f-4164-b881-fd3a2e4b2453" providerId="ADAL" clId="{4457FA57-250B-44AC-8655-05D46C5A3D8A}" dt="2023-06-07T10:03:52.206" v="17629" actId="478"/>
          <ac:spMkLst>
            <pc:docMk/>
            <pc:sldMk cId="2979480581" sldId="230717711"/>
            <ac:spMk id="65" creationId="{0DED4506-E850-4EDF-8E57-6CDA06ECCD31}"/>
          </ac:spMkLst>
        </pc:spChg>
        <pc:spChg chg="mod">
          <ac:chgData name="Manal El Bakkouri" userId="8b130982-2e3f-4164-b881-fd3a2e4b2453" providerId="ADAL" clId="{4457FA57-250B-44AC-8655-05D46C5A3D8A}" dt="2023-06-09T11:09:56.505" v="21545"/>
          <ac:spMkLst>
            <pc:docMk/>
            <pc:sldMk cId="2979480581" sldId="230717711"/>
            <ac:spMk id="65" creationId="{F090F33C-CF02-46C3-86BA-E80844BD8ABF}"/>
          </ac:spMkLst>
        </pc:spChg>
        <pc:spChg chg="del">
          <ac:chgData name="Manal El Bakkouri" userId="8b130982-2e3f-4164-b881-fd3a2e4b2453" providerId="ADAL" clId="{4457FA57-250B-44AC-8655-05D46C5A3D8A}" dt="2023-06-07T10:03:52.206" v="17629" actId="478"/>
          <ac:spMkLst>
            <pc:docMk/>
            <pc:sldMk cId="2979480581" sldId="230717711"/>
            <ac:spMk id="67" creationId="{C2E676D3-7044-4416-95A3-0BDD568F460D}"/>
          </ac:spMkLst>
        </pc:spChg>
        <pc:spChg chg="mod">
          <ac:chgData name="Manal El Bakkouri" userId="8b130982-2e3f-4164-b881-fd3a2e4b2453" providerId="ADAL" clId="{4457FA57-250B-44AC-8655-05D46C5A3D8A}" dt="2023-06-09T11:09:56.505" v="21545"/>
          <ac:spMkLst>
            <pc:docMk/>
            <pc:sldMk cId="2979480581" sldId="230717711"/>
            <ac:spMk id="68" creationId="{AF07A1D9-3E47-49B3-95FE-D9E8A9279963}"/>
          </ac:spMkLst>
        </pc:spChg>
        <pc:spChg chg="del">
          <ac:chgData name="Manal El Bakkouri" userId="8b130982-2e3f-4164-b881-fd3a2e4b2453" providerId="ADAL" clId="{4457FA57-250B-44AC-8655-05D46C5A3D8A}" dt="2023-06-07T10:03:52.206" v="17629" actId="478"/>
          <ac:spMkLst>
            <pc:docMk/>
            <pc:sldMk cId="2979480581" sldId="230717711"/>
            <ac:spMk id="68" creationId="{E5E343C9-AD16-4EA4-89E2-CE2CE015D6E8}"/>
          </ac:spMkLst>
        </pc:spChg>
        <pc:spChg chg="mod">
          <ac:chgData name="Manal El Bakkouri" userId="8b130982-2e3f-4164-b881-fd3a2e4b2453" providerId="ADAL" clId="{4457FA57-250B-44AC-8655-05D46C5A3D8A}" dt="2023-06-09T11:09:56.505" v="21545"/>
          <ac:spMkLst>
            <pc:docMk/>
            <pc:sldMk cId="2979480581" sldId="230717711"/>
            <ac:spMk id="69" creationId="{3FB35CF1-7E9A-4880-B9F4-4F860A78318B}"/>
          </ac:spMkLst>
        </pc:spChg>
        <pc:spChg chg="del">
          <ac:chgData name="Manal El Bakkouri" userId="8b130982-2e3f-4164-b881-fd3a2e4b2453" providerId="ADAL" clId="{4457FA57-250B-44AC-8655-05D46C5A3D8A}" dt="2023-06-07T10:03:52.206" v="17629" actId="478"/>
          <ac:spMkLst>
            <pc:docMk/>
            <pc:sldMk cId="2979480581" sldId="230717711"/>
            <ac:spMk id="69" creationId="{EBD33ADD-FAAA-4E62-973F-7498E56F2256}"/>
          </ac:spMkLst>
        </pc:spChg>
        <pc:spChg chg="del">
          <ac:chgData name="Manal El Bakkouri" userId="8b130982-2e3f-4164-b881-fd3a2e4b2453" providerId="ADAL" clId="{4457FA57-250B-44AC-8655-05D46C5A3D8A}" dt="2023-06-07T10:03:52.206" v="17629" actId="478"/>
          <ac:spMkLst>
            <pc:docMk/>
            <pc:sldMk cId="2979480581" sldId="230717711"/>
            <ac:spMk id="70" creationId="{5D159352-80CA-4E9C-88AB-B5020F0649E1}"/>
          </ac:spMkLst>
        </pc:spChg>
        <pc:spChg chg="del">
          <ac:chgData name="Manal El Bakkouri" userId="8b130982-2e3f-4164-b881-fd3a2e4b2453" providerId="ADAL" clId="{4457FA57-250B-44AC-8655-05D46C5A3D8A}" dt="2023-06-07T10:03:52.206" v="17629" actId="478"/>
          <ac:spMkLst>
            <pc:docMk/>
            <pc:sldMk cId="2979480581" sldId="230717711"/>
            <ac:spMk id="71" creationId="{3776B1AD-70C1-41F9-856E-401FA9523AD6}"/>
          </ac:spMkLst>
        </pc:spChg>
        <pc:spChg chg="mod">
          <ac:chgData name="Manal El Bakkouri" userId="8b130982-2e3f-4164-b881-fd3a2e4b2453" providerId="ADAL" clId="{4457FA57-250B-44AC-8655-05D46C5A3D8A}" dt="2023-06-09T11:09:56.505" v="21545"/>
          <ac:spMkLst>
            <pc:docMk/>
            <pc:sldMk cId="2979480581" sldId="230717711"/>
            <ac:spMk id="71" creationId="{64A4F20A-C281-4275-8446-98FB48DD1993}"/>
          </ac:spMkLst>
        </pc:spChg>
        <pc:spChg chg="mod">
          <ac:chgData name="Manal El Bakkouri" userId="8b130982-2e3f-4164-b881-fd3a2e4b2453" providerId="ADAL" clId="{4457FA57-250B-44AC-8655-05D46C5A3D8A}" dt="2023-06-09T11:09:56.505" v="21545"/>
          <ac:spMkLst>
            <pc:docMk/>
            <pc:sldMk cId="2979480581" sldId="230717711"/>
            <ac:spMk id="72" creationId="{9ED74FD4-E3F7-423A-AD21-DF35B9F4FE95}"/>
          </ac:spMkLst>
        </pc:spChg>
        <pc:spChg chg="del">
          <ac:chgData name="Manal El Bakkouri" userId="8b130982-2e3f-4164-b881-fd3a2e4b2453" providerId="ADAL" clId="{4457FA57-250B-44AC-8655-05D46C5A3D8A}" dt="2023-06-07T10:03:52.206" v="17629" actId="478"/>
          <ac:spMkLst>
            <pc:docMk/>
            <pc:sldMk cId="2979480581" sldId="230717711"/>
            <ac:spMk id="72" creationId="{E9C39060-E719-4A69-856C-B9621AB4CBB0}"/>
          </ac:spMkLst>
        </pc:spChg>
        <pc:spChg chg="mod">
          <ac:chgData name="Manal El Bakkouri" userId="8b130982-2e3f-4164-b881-fd3a2e4b2453" providerId="ADAL" clId="{4457FA57-250B-44AC-8655-05D46C5A3D8A}" dt="2023-06-07T10:03:52.538" v="17630"/>
          <ac:spMkLst>
            <pc:docMk/>
            <pc:sldMk cId="2979480581" sldId="230717711"/>
            <ac:spMk id="73" creationId="{2E795AD6-1300-4C81-813D-2029731A46CB}"/>
          </ac:spMkLst>
        </pc:spChg>
        <pc:spChg chg="mod">
          <ac:chgData name="Manal El Bakkouri" userId="8b130982-2e3f-4164-b881-fd3a2e4b2453" providerId="ADAL" clId="{4457FA57-250B-44AC-8655-05D46C5A3D8A}" dt="2023-06-07T10:03:52.538" v="17630"/>
          <ac:spMkLst>
            <pc:docMk/>
            <pc:sldMk cId="2979480581" sldId="230717711"/>
            <ac:spMk id="74" creationId="{46DCAE79-CA48-4107-A6E4-8856832D49E6}"/>
          </ac:spMkLst>
        </pc:spChg>
        <pc:spChg chg="mod">
          <ac:chgData name="Manal El Bakkouri" userId="8b130982-2e3f-4164-b881-fd3a2e4b2453" providerId="ADAL" clId="{4457FA57-250B-44AC-8655-05D46C5A3D8A}" dt="2023-06-07T10:03:52.538" v="17630"/>
          <ac:spMkLst>
            <pc:docMk/>
            <pc:sldMk cId="2979480581" sldId="230717711"/>
            <ac:spMk id="76" creationId="{D3822382-0354-44E6-8363-B9C3CE6D7BC9}"/>
          </ac:spMkLst>
        </pc:spChg>
        <pc:spChg chg="mod">
          <ac:chgData name="Manal El Bakkouri" userId="8b130982-2e3f-4164-b881-fd3a2e4b2453" providerId="ADAL" clId="{4457FA57-250B-44AC-8655-05D46C5A3D8A}" dt="2023-06-07T10:03:52.538" v="17630"/>
          <ac:spMkLst>
            <pc:docMk/>
            <pc:sldMk cId="2979480581" sldId="230717711"/>
            <ac:spMk id="77" creationId="{63F11979-D6ED-428E-98D1-962BE4944D61}"/>
          </ac:spMkLst>
        </pc:spChg>
        <pc:spChg chg="add mod">
          <ac:chgData name="Manal El Bakkouri" userId="8b130982-2e3f-4164-b881-fd3a2e4b2453" providerId="ADAL" clId="{4457FA57-250B-44AC-8655-05D46C5A3D8A}" dt="2023-06-09T11:28:05.334" v="21738"/>
          <ac:spMkLst>
            <pc:docMk/>
            <pc:sldMk cId="2979480581" sldId="230717711"/>
            <ac:spMk id="78" creationId="{DADB0A59-E9DF-4F01-B6F1-320099DC518F}"/>
          </ac:spMkLst>
        </pc:spChg>
        <pc:spChg chg="add mod">
          <ac:chgData name="Manal El Bakkouri" userId="8b130982-2e3f-4164-b881-fd3a2e4b2453" providerId="ADAL" clId="{4457FA57-250B-44AC-8655-05D46C5A3D8A}" dt="2023-06-09T11:28:05.334" v="21738"/>
          <ac:spMkLst>
            <pc:docMk/>
            <pc:sldMk cId="2979480581" sldId="230717711"/>
            <ac:spMk id="79" creationId="{F13475A0-ADC1-483A-BAC4-6BA11A76EBDB}"/>
          </ac:spMkLst>
        </pc:spChg>
        <pc:spChg chg="add mod">
          <ac:chgData name="Manal El Bakkouri" userId="8b130982-2e3f-4164-b881-fd3a2e4b2453" providerId="ADAL" clId="{4457FA57-250B-44AC-8655-05D46C5A3D8A}" dt="2023-06-09T11:28:05.334" v="21738"/>
          <ac:spMkLst>
            <pc:docMk/>
            <pc:sldMk cId="2979480581" sldId="230717711"/>
            <ac:spMk id="80" creationId="{59F1D7D1-1DB0-4EC1-946F-A2BFCAC7A57C}"/>
          </ac:spMkLst>
        </pc:spChg>
        <pc:spChg chg="add mod">
          <ac:chgData name="Manal El Bakkouri" userId="8b130982-2e3f-4164-b881-fd3a2e4b2453" providerId="ADAL" clId="{4457FA57-250B-44AC-8655-05D46C5A3D8A}" dt="2023-06-09T11:28:05.334" v="21738"/>
          <ac:spMkLst>
            <pc:docMk/>
            <pc:sldMk cId="2979480581" sldId="230717711"/>
            <ac:spMk id="81" creationId="{22543970-E163-411B-A4F6-E0D75F2F672A}"/>
          </ac:spMkLst>
        </pc:spChg>
        <pc:grpChg chg="add mod">
          <ac:chgData name="Manal El Bakkouri" userId="8b130982-2e3f-4164-b881-fd3a2e4b2453" providerId="ADAL" clId="{4457FA57-250B-44AC-8655-05D46C5A3D8A}" dt="2023-06-09T11:09:56.505" v="21545"/>
          <ac:grpSpMkLst>
            <pc:docMk/>
            <pc:sldMk cId="2979480581" sldId="230717711"/>
            <ac:grpSpMk id="43" creationId="{9BCFC71C-9E89-4CCA-9FBF-32346518526A}"/>
          </ac:grpSpMkLst>
        </pc:grpChg>
        <pc:grpChg chg="add mod">
          <ac:chgData name="Manal El Bakkouri" userId="8b130982-2e3f-4164-b881-fd3a2e4b2453" providerId="ADAL" clId="{4457FA57-250B-44AC-8655-05D46C5A3D8A}" dt="2023-06-09T11:09:56.505" v="21545"/>
          <ac:grpSpMkLst>
            <pc:docMk/>
            <pc:sldMk cId="2979480581" sldId="230717711"/>
            <ac:grpSpMk id="48" creationId="{964E4B98-764D-4152-ADC2-4410BE798A0A}"/>
          </ac:grpSpMkLst>
        </pc:grpChg>
        <pc:grpChg chg="add del mod">
          <ac:chgData name="Manal El Bakkouri" userId="8b130982-2e3f-4164-b881-fd3a2e4b2453" providerId="ADAL" clId="{4457FA57-250B-44AC-8655-05D46C5A3D8A}" dt="2023-06-09T11:09:56.051" v="21544" actId="478"/>
          <ac:grpSpMkLst>
            <pc:docMk/>
            <pc:sldMk cId="2979480581" sldId="230717711"/>
            <ac:grpSpMk id="50" creationId="{28FED858-A30B-41A9-AF75-B052E4BCDCED}"/>
          </ac:grpSpMkLst>
        </pc:grpChg>
        <pc:grpChg chg="add del mod">
          <ac:chgData name="Manal El Bakkouri" userId="8b130982-2e3f-4164-b881-fd3a2e4b2453" providerId="ADAL" clId="{4457FA57-250B-44AC-8655-05D46C5A3D8A}" dt="2023-06-09T11:09:56.051" v="21544" actId="478"/>
          <ac:grpSpMkLst>
            <pc:docMk/>
            <pc:sldMk cId="2979480581" sldId="230717711"/>
            <ac:grpSpMk id="53" creationId="{B6603315-BC0A-4E72-8260-72114990F869}"/>
          </ac:grpSpMkLst>
        </pc:grpChg>
        <pc:grpChg chg="add del mod">
          <ac:chgData name="Manal El Bakkouri" userId="8b130982-2e3f-4164-b881-fd3a2e4b2453" providerId="ADAL" clId="{4457FA57-250B-44AC-8655-05D46C5A3D8A}" dt="2023-06-09T11:09:56.051" v="21544" actId="478"/>
          <ac:grpSpMkLst>
            <pc:docMk/>
            <pc:sldMk cId="2979480581" sldId="230717711"/>
            <ac:grpSpMk id="56" creationId="{D2EF7656-7488-4084-9A41-6FBD75378836}"/>
          </ac:grpSpMkLst>
        </pc:grpChg>
        <pc:grpChg chg="add mod">
          <ac:chgData name="Manal El Bakkouri" userId="8b130982-2e3f-4164-b881-fd3a2e4b2453" providerId="ADAL" clId="{4457FA57-250B-44AC-8655-05D46C5A3D8A}" dt="2023-06-09T11:09:56.505" v="21545"/>
          <ac:grpSpMkLst>
            <pc:docMk/>
            <pc:sldMk cId="2979480581" sldId="230717711"/>
            <ac:grpSpMk id="63" creationId="{882D1CAB-F3DA-4BA4-9C8D-6CEDDFCFA778}"/>
          </ac:grpSpMkLst>
        </pc:grpChg>
        <pc:grpChg chg="add del mod">
          <ac:chgData name="Manal El Bakkouri" userId="8b130982-2e3f-4164-b881-fd3a2e4b2453" providerId="ADAL" clId="{4457FA57-250B-44AC-8655-05D46C5A3D8A}" dt="2023-06-09T11:09:56.051" v="21544" actId="478"/>
          <ac:grpSpMkLst>
            <pc:docMk/>
            <pc:sldMk cId="2979480581" sldId="230717711"/>
            <ac:grpSpMk id="66" creationId="{09B30AE7-AF27-458C-AC42-88EF80FBD87B}"/>
          </ac:grpSpMkLst>
        </pc:grpChg>
        <pc:grpChg chg="add mod">
          <ac:chgData name="Manal El Bakkouri" userId="8b130982-2e3f-4164-b881-fd3a2e4b2453" providerId="ADAL" clId="{4457FA57-250B-44AC-8655-05D46C5A3D8A}" dt="2023-06-09T11:09:56.505" v="21545"/>
          <ac:grpSpMkLst>
            <pc:docMk/>
            <pc:sldMk cId="2979480581" sldId="230717711"/>
            <ac:grpSpMk id="67" creationId="{4C18F107-C3BF-4FE1-BA9B-93BC988FE854}"/>
          </ac:grpSpMkLst>
        </pc:grpChg>
        <pc:grpChg chg="add mod">
          <ac:chgData name="Manal El Bakkouri" userId="8b130982-2e3f-4164-b881-fd3a2e4b2453" providerId="ADAL" clId="{4457FA57-250B-44AC-8655-05D46C5A3D8A}" dt="2023-06-09T11:09:56.505" v="21545"/>
          <ac:grpSpMkLst>
            <pc:docMk/>
            <pc:sldMk cId="2979480581" sldId="230717711"/>
            <ac:grpSpMk id="70" creationId="{693CFACB-2110-4D43-907C-907A718CC4CA}"/>
          </ac:grpSpMkLst>
        </pc:grpChg>
        <pc:grpChg chg="add del mod">
          <ac:chgData name="Manal El Bakkouri" userId="8b130982-2e3f-4164-b881-fd3a2e4b2453" providerId="ADAL" clId="{4457FA57-250B-44AC-8655-05D46C5A3D8A}" dt="2023-06-09T11:09:56.051" v="21544" actId="478"/>
          <ac:grpSpMkLst>
            <pc:docMk/>
            <pc:sldMk cId="2979480581" sldId="230717711"/>
            <ac:grpSpMk id="75" creationId="{DFF4F9C7-210B-44BE-BCD4-B274EC0DE6F0}"/>
          </ac:grpSpMkLst>
        </pc:grpChg>
        <pc:picChg chg="mod">
          <ac:chgData name="Manal El Bakkouri" userId="8b130982-2e3f-4164-b881-fd3a2e4b2453" providerId="ADAL" clId="{4457FA57-250B-44AC-8655-05D46C5A3D8A}" dt="2023-06-06T15:43:45.186" v="15687" actId="1076"/>
          <ac:picMkLst>
            <pc:docMk/>
            <pc:sldMk cId="2979480581" sldId="230717711"/>
            <ac:picMk id="7" creationId="{9B7DBCE6-D483-408E-91F7-6162E26E31DF}"/>
          </ac:picMkLst>
        </pc:picChg>
        <pc:picChg chg="add mod">
          <ac:chgData name="Manal El Bakkouri" userId="8b130982-2e3f-4164-b881-fd3a2e4b2453" providerId="ADAL" clId="{4457FA57-250B-44AC-8655-05D46C5A3D8A}" dt="2023-06-06T15:45:47.656" v="15700" actId="554"/>
          <ac:picMkLst>
            <pc:docMk/>
            <pc:sldMk cId="2979480581" sldId="230717711"/>
            <ac:picMk id="10" creationId="{3486E0DB-6375-4FEF-A82E-66A23F1751B7}"/>
          </ac:picMkLst>
        </pc:picChg>
        <pc:picChg chg="add mod">
          <ac:chgData name="Manal El Bakkouri" userId="8b130982-2e3f-4164-b881-fd3a2e4b2453" providerId="ADAL" clId="{4457FA57-250B-44AC-8655-05D46C5A3D8A}" dt="2023-06-06T15:45:47.656" v="15700" actId="554"/>
          <ac:picMkLst>
            <pc:docMk/>
            <pc:sldMk cId="2979480581" sldId="230717711"/>
            <ac:picMk id="14" creationId="{4B4F6BCE-55FB-4BD9-BA6C-AACC8548CC1C}"/>
          </ac:picMkLst>
        </pc:picChg>
        <pc:picChg chg="add mod">
          <ac:chgData name="Manal El Bakkouri" userId="8b130982-2e3f-4164-b881-fd3a2e4b2453" providerId="ADAL" clId="{4457FA57-250B-44AC-8655-05D46C5A3D8A}" dt="2023-06-06T15:45:47.656" v="15700" actId="554"/>
          <ac:picMkLst>
            <pc:docMk/>
            <pc:sldMk cId="2979480581" sldId="230717711"/>
            <ac:picMk id="16" creationId="{62663F68-23E8-4C25-8385-000546D38A80}"/>
          </ac:picMkLst>
        </pc:picChg>
        <pc:picChg chg="add mod">
          <ac:chgData name="Manal El Bakkouri" userId="8b130982-2e3f-4164-b881-fd3a2e4b2453" providerId="ADAL" clId="{4457FA57-250B-44AC-8655-05D46C5A3D8A}" dt="2023-06-06T15:45:47.656" v="15700" actId="554"/>
          <ac:picMkLst>
            <pc:docMk/>
            <pc:sldMk cId="2979480581" sldId="230717711"/>
            <ac:picMk id="19" creationId="{50CB099B-52C5-4237-AFF3-00F972EE38E9}"/>
          </ac:picMkLst>
        </pc:picChg>
        <pc:picChg chg="add mod">
          <ac:chgData name="Manal El Bakkouri" userId="8b130982-2e3f-4164-b881-fd3a2e4b2453" providerId="ADAL" clId="{4457FA57-250B-44AC-8655-05D46C5A3D8A}" dt="2023-06-06T15:45:47.656" v="15700" actId="554"/>
          <ac:picMkLst>
            <pc:docMk/>
            <pc:sldMk cId="2979480581" sldId="230717711"/>
            <ac:picMk id="21" creationId="{4883DD7E-020D-4BC6-B036-B783CD8EF84F}"/>
          </ac:picMkLst>
        </pc:picChg>
        <pc:picChg chg="add mod">
          <ac:chgData name="Manal El Bakkouri" userId="8b130982-2e3f-4164-b881-fd3a2e4b2453" providerId="ADAL" clId="{4457FA57-250B-44AC-8655-05D46C5A3D8A}" dt="2023-06-06T15:45:47.656" v="15700" actId="554"/>
          <ac:picMkLst>
            <pc:docMk/>
            <pc:sldMk cId="2979480581" sldId="230717711"/>
            <ac:picMk id="23" creationId="{11319ABF-FEF4-41D8-9834-1F7098298D2D}"/>
          </ac:picMkLst>
        </pc:picChg>
        <pc:picChg chg="add mod">
          <ac:chgData name="Manal El Bakkouri" userId="8b130982-2e3f-4164-b881-fd3a2e4b2453" providerId="ADAL" clId="{4457FA57-250B-44AC-8655-05D46C5A3D8A}" dt="2023-06-06T15:45:47.656" v="15700" actId="554"/>
          <ac:picMkLst>
            <pc:docMk/>
            <pc:sldMk cId="2979480581" sldId="230717711"/>
            <ac:picMk id="25" creationId="{1F369781-6E9E-48B9-98E6-32695EF6B1F1}"/>
          </ac:picMkLst>
        </pc:picChg>
        <pc:picChg chg="add mod">
          <ac:chgData name="Manal El Bakkouri" userId="8b130982-2e3f-4164-b881-fd3a2e4b2453" providerId="ADAL" clId="{4457FA57-250B-44AC-8655-05D46C5A3D8A}" dt="2023-06-06T15:43:25.701" v="15677" actId="571"/>
          <ac:picMkLst>
            <pc:docMk/>
            <pc:sldMk cId="2979480581" sldId="230717711"/>
            <ac:picMk id="30" creationId="{991184E0-FE28-48F2-BB75-E2FE6CF3A18A}"/>
          </ac:picMkLst>
        </pc:picChg>
        <pc:inkChg chg="add del">
          <ac:chgData name="Manal El Bakkouri" userId="8b130982-2e3f-4164-b881-fd3a2e4b2453" providerId="ADAL" clId="{4457FA57-250B-44AC-8655-05D46C5A3D8A}" dt="2023-06-06T15:41:53.723" v="15660" actId="9405"/>
          <ac:inkMkLst>
            <pc:docMk/>
            <pc:sldMk cId="2979480581" sldId="230717711"/>
            <ac:inkMk id="2" creationId="{E90A518C-97D4-4D84-B90C-6C66B63F6DAE}"/>
          </ac:inkMkLst>
        </pc:inkChg>
        <pc:inkChg chg="add del">
          <ac:chgData name="Manal El Bakkouri" userId="8b130982-2e3f-4164-b881-fd3a2e4b2453" providerId="ADAL" clId="{4457FA57-250B-44AC-8655-05D46C5A3D8A}" dt="2023-06-06T15:42:35.173" v="15662" actId="9405"/>
          <ac:inkMkLst>
            <pc:docMk/>
            <pc:sldMk cId="2979480581" sldId="230717711"/>
            <ac:inkMk id="4" creationId="{754EDF97-17CD-4319-BA2A-822F99CA0CBB}"/>
          </ac:inkMkLst>
        </pc:inkChg>
        <pc:inkChg chg="add del">
          <ac:chgData name="Manal El Bakkouri" userId="8b130982-2e3f-4164-b881-fd3a2e4b2453" providerId="ADAL" clId="{4457FA57-250B-44AC-8655-05D46C5A3D8A}" dt="2023-06-06T15:42:39.535" v="15664" actId="9405"/>
          <ac:inkMkLst>
            <pc:docMk/>
            <pc:sldMk cId="2979480581" sldId="230717711"/>
            <ac:inkMk id="5" creationId="{BCA0744C-60E3-48D9-B769-7095104AD6DF}"/>
          </ac:inkMkLst>
        </pc:inkChg>
      </pc:sldChg>
      <pc:sldChg chg="addSp delSp modSp add del mod modTransition modNotesTx">
        <pc:chgData name="Manal El Bakkouri" userId="8b130982-2e3f-4164-b881-fd3a2e4b2453" providerId="ADAL" clId="{4457FA57-250B-44AC-8655-05D46C5A3D8A}" dt="2023-06-09T11:25:04.008" v="21686"/>
        <pc:sldMkLst>
          <pc:docMk/>
          <pc:sldMk cId="800710135" sldId="230717712"/>
        </pc:sldMkLst>
        <pc:spChg chg="del">
          <ac:chgData name="Manal El Bakkouri" userId="8b130982-2e3f-4164-b881-fd3a2e4b2453" providerId="ADAL" clId="{4457FA57-250B-44AC-8655-05D46C5A3D8A}" dt="2023-06-09T11:25:03.608" v="21685" actId="478"/>
          <ac:spMkLst>
            <pc:docMk/>
            <pc:sldMk cId="800710135" sldId="230717712"/>
            <ac:spMk id="66" creationId="{40616B47-65E5-44AE-8CA8-B8E9BECF0A36}"/>
          </ac:spMkLst>
        </pc:spChg>
        <pc:spChg chg="del">
          <ac:chgData name="Manal El Bakkouri" userId="8b130982-2e3f-4164-b881-fd3a2e4b2453" providerId="ADAL" clId="{4457FA57-250B-44AC-8655-05D46C5A3D8A}" dt="2023-06-09T11:25:03.608" v="21685" actId="478"/>
          <ac:spMkLst>
            <pc:docMk/>
            <pc:sldMk cId="800710135" sldId="230717712"/>
            <ac:spMk id="67" creationId="{DB19165C-A0AC-4C9C-BF51-6F602AA9A843}"/>
          </ac:spMkLst>
        </pc:spChg>
        <pc:spChg chg="add mod">
          <ac:chgData name="Manal El Bakkouri" userId="8b130982-2e3f-4164-b881-fd3a2e4b2453" providerId="ADAL" clId="{4457FA57-250B-44AC-8655-05D46C5A3D8A}" dt="2023-06-09T11:25:04.008" v="21686"/>
          <ac:spMkLst>
            <pc:docMk/>
            <pc:sldMk cId="800710135" sldId="230717712"/>
            <ac:spMk id="68" creationId="{A976559C-24C2-45DD-BBCD-7423846E4419}"/>
          </ac:spMkLst>
        </pc:spChg>
        <pc:spChg chg="add mod">
          <ac:chgData name="Manal El Bakkouri" userId="8b130982-2e3f-4164-b881-fd3a2e4b2453" providerId="ADAL" clId="{4457FA57-250B-44AC-8655-05D46C5A3D8A}" dt="2023-06-09T11:25:04.008" v="21686"/>
          <ac:spMkLst>
            <pc:docMk/>
            <pc:sldMk cId="800710135" sldId="230717712"/>
            <ac:spMk id="69" creationId="{6B6A274D-A33C-4E8C-A0ED-F0B6C80449EA}"/>
          </ac:spMkLst>
        </pc:spChg>
        <pc:spChg chg="add mod">
          <ac:chgData name="Manal El Bakkouri" userId="8b130982-2e3f-4164-b881-fd3a2e4b2453" providerId="ADAL" clId="{4457FA57-250B-44AC-8655-05D46C5A3D8A}" dt="2023-06-09T11:25:04.008" v="21686"/>
          <ac:spMkLst>
            <pc:docMk/>
            <pc:sldMk cId="800710135" sldId="230717712"/>
            <ac:spMk id="70" creationId="{73485155-9AE0-4138-A179-8100FC46D656}"/>
          </ac:spMkLst>
        </pc:spChg>
        <pc:spChg chg="add mod">
          <ac:chgData name="Manal El Bakkouri" userId="8b130982-2e3f-4164-b881-fd3a2e4b2453" providerId="ADAL" clId="{4457FA57-250B-44AC-8655-05D46C5A3D8A}" dt="2023-06-09T11:25:04.008" v="21686"/>
          <ac:spMkLst>
            <pc:docMk/>
            <pc:sldMk cId="800710135" sldId="230717712"/>
            <ac:spMk id="71" creationId="{2DE5DF13-B5A2-45C9-A49F-09C9CD327BCA}"/>
          </ac:spMkLst>
        </pc:spChg>
        <pc:spChg chg="del">
          <ac:chgData name="Manal El Bakkouri" userId="8b130982-2e3f-4164-b881-fd3a2e4b2453" providerId="ADAL" clId="{4457FA57-250B-44AC-8655-05D46C5A3D8A}" dt="2023-06-09T11:25:03.608" v="21685" actId="478"/>
          <ac:spMkLst>
            <pc:docMk/>
            <pc:sldMk cId="800710135" sldId="230717712"/>
            <ac:spMk id="77" creationId="{AB972F49-F3D8-4170-A6F5-EC924AFC9998}"/>
          </ac:spMkLst>
        </pc:spChg>
        <pc:spChg chg="mod topLvl">
          <ac:chgData name="Manal El Bakkouri" userId="8b130982-2e3f-4164-b881-fd3a2e4b2453" providerId="ADAL" clId="{4457FA57-250B-44AC-8655-05D46C5A3D8A}" dt="2023-06-07T09:34:33.725" v="17463" actId="165"/>
          <ac:spMkLst>
            <pc:docMk/>
            <pc:sldMk cId="800710135" sldId="230717712"/>
            <ac:spMk id="119" creationId="{8BB3E113-DBDC-4943-BC20-08A1D8647163}"/>
          </ac:spMkLst>
        </pc:spChg>
        <pc:spChg chg="mod topLvl">
          <ac:chgData name="Manal El Bakkouri" userId="8b130982-2e3f-4164-b881-fd3a2e4b2453" providerId="ADAL" clId="{4457FA57-250B-44AC-8655-05D46C5A3D8A}" dt="2023-06-07T09:34:41.521" v="17464" actId="14100"/>
          <ac:spMkLst>
            <pc:docMk/>
            <pc:sldMk cId="800710135" sldId="230717712"/>
            <ac:spMk id="120" creationId="{DBA511E5-8029-4BAF-B020-F9BACBA7C36A}"/>
          </ac:spMkLst>
        </pc:spChg>
        <pc:spChg chg="mod topLvl">
          <ac:chgData name="Manal El Bakkouri" userId="8b130982-2e3f-4164-b881-fd3a2e4b2453" providerId="ADAL" clId="{4457FA57-250B-44AC-8655-05D46C5A3D8A}" dt="2023-06-07T09:34:33.725" v="17463" actId="165"/>
          <ac:spMkLst>
            <pc:docMk/>
            <pc:sldMk cId="800710135" sldId="230717712"/>
            <ac:spMk id="166" creationId="{D27B26C8-C13D-464F-B11A-DE828B22FFC3}"/>
          </ac:spMkLst>
        </pc:spChg>
        <pc:spChg chg="mod topLvl">
          <ac:chgData name="Manal El Bakkouri" userId="8b130982-2e3f-4164-b881-fd3a2e4b2453" providerId="ADAL" clId="{4457FA57-250B-44AC-8655-05D46C5A3D8A}" dt="2023-06-07T09:34:45.924" v="17465" actId="113"/>
          <ac:spMkLst>
            <pc:docMk/>
            <pc:sldMk cId="800710135" sldId="230717712"/>
            <ac:spMk id="167" creationId="{3DDDC167-0805-4D3B-AE2C-251C02306ACE}"/>
          </ac:spMkLst>
        </pc:spChg>
        <pc:grpChg chg="del mod">
          <ac:chgData name="Manal El Bakkouri" userId="8b130982-2e3f-4164-b881-fd3a2e4b2453" providerId="ADAL" clId="{4457FA57-250B-44AC-8655-05D46C5A3D8A}" dt="2023-06-07T09:34:33.725" v="17463" actId="165"/>
          <ac:grpSpMkLst>
            <pc:docMk/>
            <pc:sldMk cId="800710135" sldId="230717712"/>
            <ac:grpSpMk id="5" creationId="{B99FB03A-A3A4-48C5-9FA8-4AD4DBF1946D}"/>
          </ac:grpSpMkLst>
        </pc:grpChg>
      </pc:sldChg>
      <pc:sldChg chg="addSp delSp modSp add del mod modTransition modNotesTx">
        <pc:chgData name="Manal El Bakkouri" userId="8b130982-2e3f-4164-b881-fd3a2e4b2453" providerId="ADAL" clId="{4457FA57-250B-44AC-8655-05D46C5A3D8A}" dt="2023-06-09T11:25:10.622" v="21688"/>
        <pc:sldMkLst>
          <pc:docMk/>
          <pc:sldMk cId="498807704" sldId="230717713"/>
        </pc:sldMkLst>
        <pc:spChg chg="del">
          <ac:chgData name="Manal El Bakkouri" userId="8b130982-2e3f-4164-b881-fd3a2e4b2453" providerId="ADAL" clId="{4457FA57-250B-44AC-8655-05D46C5A3D8A}" dt="2023-06-09T11:25:09.420" v="21687" actId="478"/>
          <ac:spMkLst>
            <pc:docMk/>
            <pc:sldMk cId="498807704" sldId="230717713"/>
            <ac:spMk id="66" creationId="{40616B47-65E5-44AE-8CA8-B8E9BECF0A36}"/>
          </ac:spMkLst>
        </pc:spChg>
        <pc:spChg chg="del">
          <ac:chgData name="Manal El Bakkouri" userId="8b130982-2e3f-4164-b881-fd3a2e4b2453" providerId="ADAL" clId="{4457FA57-250B-44AC-8655-05D46C5A3D8A}" dt="2023-06-09T11:25:09.420" v="21687" actId="478"/>
          <ac:spMkLst>
            <pc:docMk/>
            <pc:sldMk cId="498807704" sldId="230717713"/>
            <ac:spMk id="67" creationId="{DB19165C-A0AC-4C9C-BF51-6F602AA9A843}"/>
          </ac:spMkLst>
        </pc:spChg>
        <pc:spChg chg="add mod">
          <ac:chgData name="Manal El Bakkouri" userId="8b130982-2e3f-4164-b881-fd3a2e4b2453" providerId="ADAL" clId="{4457FA57-250B-44AC-8655-05D46C5A3D8A}" dt="2023-06-09T11:25:10.622" v="21688"/>
          <ac:spMkLst>
            <pc:docMk/>
            <pc:sldMk cId="498807704" sldId="230717713"/>
            <ac:spMk id="68" creationId="{1EE3579F-472D-4D7E-9D5A-53047F0F8420}"/>
          </ac:spMkLst>
        </pc:spChg>
        <pc:spChg chg="add mod">
          <ac:chgData name="Manal El Bakkouri" userId="8b130982-2e3f-4164-b881-fd3a2e4b2453" providerId="ADAL" clId="{4457FA57-250B-44AC-8655-05D46C5A3D8A}" dt="2023-06-09T11:25:10.622" v="21688"/>
          <ac:spMkLst>
            <pc:docMk/>
            <pc:sldMk cId="498807704" sldId="230717713"/>
            <ac:spMk id="69" creationId="{CB13CED8-662C-41B5-8812-451BEB68EB06}"/>
          </ac:spMkLst>
        </pc:spChg>
        <pc:spChg chg="add mod">
          <ac:chgData name="Manal El Bakkouri" userId="8b130982-2e3f-4164-b881-fd3a2e4b2453" providerId="ADAL" clId="{4457FA57-250B-44AC-8655-05D46C5A3D8A}" dt="2023-06-09T11:25:10.622" v="21688"/>
          <ac:spMkLst>
            <pc:docMk/>
            <pc:sldMk cId="498807704" sldId="230717713"/>
            <ac:spMk id="70" creationId="{927A5DC3-F902-447C-ABDF-C60C5CF0E6B8}"/>
          </ac:spMkLst>
        </pc:spChg>
        <pc:spChg chg="add mod">
          <ac:chgData name="Manal El Bakkouri" userId="8b130982-2e3f-4164-b881-fd3a2e4b2453" providerId="ADAL" clId="{4457FA57-250B-44AC-8655-05D46C5A3D8A}" dt="2023-06-09T11:25:10.622" v="21688"/>
          <ac:spMkLst>
            <pc:docMk/>
            <pc:sldMk cId="498807704" sldId="230717713"/>
            <ac:spMk id="71" creationId="{DA4481E8-ECDD-40BC-BC6A-B249E8243D9A}"/>
          </ac:spMkLst>
        </pc:spChg>
        <pc:spChg chg="del">
          <ac:chgData name="Manal El Bakkouri" userId="8b130982-2e3f-4164-b881-fd3a2e4b2453" providerId="ADAL" clId="{4457FA57-250B-44AC-8655-05D46C5A3D8A}" dt="2023-06-09T11:25:09.420" v="21687" actId="478"/>
          <ac:spMkLst>
            <pc:docMk/>
            <pc:sldMk cId="498807704" sldId="230717713"/>
            <ac:spMk id="77" creationId="{AB972F49-F3D8-4170-A6F5-EC924AFC9998}"/>
          </ac:spMkLst>
        </pc:spChg>
        <pc:spChg chg="mod topLvl">
          <ac:chgData name="Manal El Bakkouri" userId="8b130982-2e3f-4164-b881-fd3a2e4b2453" providerId="ADAL" clId="{4457FA57-250B-44AC-8655-05D46C5A3D8A}" dt="2023-06-07T09:37:49.503" v="17479" actId="14100"/>
          <ac:spMkLst>
            <pc:docMk/>
            <pc:sldMk cId="498807704" sldId="230717713"/>
            <ac:spMk id="121" creationId="{EECC24BB-F3E3-4694-B71D-CFCCEB9DDADC}"/>
          </ac:spMkLst>
        </pc:spChg>
        <pc:spChg chg="mod topLvl">
          <ac:chgData name="Manal El Bakkouri" userId="8b130982-2e3f-4164-b881-fd3a2e4b2453" providerId="ADAL" clId="{4457FA57-250B-44AC-8655-05D46C5A3D8A}" dt="2023-06-07T09:37:49.503" v="17479" actId="14100"/>
          <ac:spMkLst>
            <pc:docMk/>
            <pc:sldMk cId="498807704" sldId="230717713"/>
            <ac:spMk id="122" creationId="{4799DAD5-7EDB-4FB6-9D0D-6E4A79685091}"/>
          </ac:spMkLst>
        </pc:spChg>
        <pc:spChg chg="mod topLvl">
          <ac:chgData name="Manal El Bakkouri" userId="8b130982-2e3f-4164-b881-fd3a2e4b2453" providerId="ADAL" clId="{4457FA57-250B-44AC-8655-05D46C5A3D8A}" dt="2023-06-07T09:37:49.503" v="17479" actId="14100"/>
          <ac:spMkLst>
            <pc:docMk/>
            <pc:sldMk cId="498807704" sldId="230717713"/>
            <ac:spMk id="170" creationId="{19781465-D084-42C0-8F11-EA8A6B40B50B}"/>
          </ac:spMkLst>
        </pc:spChg>
        <pc:spChg chg="mod topLvl">
          <ac:chgData name="Manal El Bakkouri" userId="8b130982-2e3f-4164-b881-fd3a2e4b2453" providerId="ADAL" clId="{4457FA57-250B-44AC-8655-05D46C5A3D8A}" dt="2023-06-07T09:37:49.503" v="17479" actId="14100"/>
          <ac:spMkLst>
            <pc:docMk/>
            <pc:sldMk cId="498807704" sldId="230717713"/>
            <ac:spMk id="171" creationId="{D628E6C3-A266-430E-8C58-90D97AB26078}"/>
          </ac:spMkLst>
        </pc:spChg>
        <pc:grpChg chg="add del mod">
          <ac:chgData name="Manal El Bakkouri" userId="8b130982-2e3f-4164-b881-fd3a2e4b2453" providerId="ADAL" clId="{4457FA57-250B-44AC-8655-05D46C5A3D8A}" dt="2023-06-07T09:37:01.647" v="17476" actId="165"/>
          <ac:grpSpMkLst>
            <pc:docMk/>
            <pc:sldMk cId="498807704" sldId="230717713"/>
            <ac:grpSpMk id="3" creationId="{B499E35C-EBD8-4933-9607-0254B46F6A6C}"/>
          </ac:grpSpMkLst>
        </pc:grpChg>
        <pc:grpChg chg="add mod">
          <ac:chgData name="Manal El Bakkouri" userId="8b130982-2e3f-4164-b881-fd3a2e4b2453" providerId="ADAL" clId="{4457FA57-250B-44AC-8655-05D46C5A3D8A}" dt="2023-06-07T09:37:49.503" v="17479" actId="14100"/>
          <ac:grpSpMkLst>
            <pc:docMk/>
            <pc:sldMk cId="498807704" sldId="230717713"/>
            <ac:grpSpMk id="4" creationId="{66284D0F-7842-438C-9D29-AC16148EE6A5}"/>
          </ac:grpSpMkLst>
        </pc:grpChg>
      </pc:sldChg>
      <pc:sldChg chg="addSp delSp modSp add del mod modTransition modNotesTx">
        <pc:chgData name="Manal El Bakkouri" userId="8b130982-2e3f-4164-b881-fd3a2e4b2453" providerId="ADAL" clId="{4457FA57-250B-44AC-8655-05D46C5A3D8A}" dt="2023-06-09T11:25:15.329" v="21690"/>
        <pc:sldMkLst>
          <pc:docMk/>
          <pc:sldMk cId="3771872325" sldId="230717714"/>
        </pc:sldMkLst>
        <pc:spChg chg="del">
          <ac:chgData name="Manal El Bakkouri" userId="8b130982-2e3f-4164-b881-fd3a2e4b2453" providerId="ADAL" clId="{4457FA57-250B-44AC-8655-05D46C5A3D8A}" dt="2023-06-09T11:25:14.961" v="21689" actId="478"/>
          <ac:spMkLst>
            <pc:docMk/>
            <pc:sldMk cId="3771872325" sldId="230717714"/>
            <ac:spMk id="66" creationId="{40616B47-65E5-44AE-8CA8-B8E9BECF0A36}"/>
          </ac:spMkLst>
        </pc:spChg>
        <pc:spChg chg="del">
          <ac:chgData name="Manal El Bakkouri" userId="8b130982-2e3f-4164-b881-fd3a2e4b2453" providerId="ADAL" clId="{4457FA57-250B-44AC-8655-05D46C5A3D8A}" dt="2023-06-09T11:25:14.961" v="21689" actId="478"/>
          <ac:spMkLst>
            <pc:docMk/>
            <pc:sldMk cId="3771872325" sldId="230717714"/>
            <ac:spMk id="67" creationId="{DB19165C-A0AC-4C9C-BF51-6F602AA9A843}"/>
          </ac:spMkLst>
        </pc:spChg>
        <pc:spChg chg="add mod">
          <ac:chgData name="Manal El Bakkouri" userId="8b130982-2e3f-4164-b881-fd3a2e4b2453" providerId="ADAL" clId="{4457FA57-250B-44AC-8655-05D46C5A3D8A}" dt="2023-06-09T11:25:15.329" v="21690"/>
          <ac:spMkLst>
            <pc:docMk/>
            <pc:sldMk cId="3771872325" sldId="230717714"/>
            <ac:spMk id="68" creationId="{64735F5A-B087-4A38-9EA4-2CFC7CD726A7}"/>
          </ac:spMkLst>
        </pc:spChg>
        <pc:spChg chg="add mod">
          <ac:chgData name="Manal El Bakkouri" userId="8b130982-2e3f-4164-b881-fd3a2e4b2453" providerId="ADAL" clId="{4457FA57-250B-44AC-8655-05D46C5A3D8A}" dt="2023-06-09T11:25:15.329" v="21690"/>
          <ac:spMkLst>
            <pc:docMk/>
            <pc:sldMk cId="3771872325" sldId="230717714"/>
            <ac:spMk id="69" creationId="{B7A2DE60-1448-4539-85AE-9E97B04883C0}"/>
          </ac:spMkLst>
        </pc:spChg>
        <pc:spChg chg="add mod">
          <ac:chgData name="Manal El Bakkouri" userId="8b130982-2e3f-4164-b881-fd3a2e4b2453" providerId="ADAL" clId="{4457FA57-250B-44AC-8655-05D46C5A3D8A}" dt="2023-06-09T11:25:15.329" v="21690"/>
          <ac:spMkLst>
            <pc:docMk/>
            <pc:sldMk cId="3771872325" sldId="230717714"/>
            <ac:spMk id="70" creationId="{2C0EF117-FB46-4000-B232-7FD59600E2A2}"/>
          </ac:spMkLst>
        </pc:spChg>
        <pc:spChg chg="add mod">
          <ac:chgData name="Manal El Bakkouri" userId="8b130982-2e3f-4164-b881-fd3a2e4b2453" providerId="ADAL" clId="{4457FA57-250B-44AC-8655-05D46C5A3D8A}" dt="2023-06-09T11:25:15.329" v="21690"/>
          <ac:spMkLst>
            <pc:docMk/>
            <pc:sldMk cId="3771872325" sldId="230717714"/>
            <ac:spMk id="71" creationId="{DE7B85D0-AA88-4DC0-B940-6D3F86F9AC58}"/>
          </ac:spMkLst>
        </pc:spChg>
        <pc:spChg chg="del">
          <ac:chgData name="Manal El Bakkouri" userId="8b130982-2e3f-4164-b881-fd3a2e4b2453" providerId="ADAL" clId="{4457FA57-250B-44AC-8655-05D46C5A3D8A}" dt="2023-06-09T11:25:14.961" v="21689" actId="478"/>
          <ac:spMkLst>
            <pc:docMk/>
            <pc:sldMk cId="3771872325" sldId="230717714"/>
            <ac:spMk id="77" creationId="{AB972F49-F3D8-4170-A6F5-EC924AFC9998}"/>
          </ac:spMkLst>
        </pc:spChg>
        <pc:spChg chg="mod topLvl">
          <ac:chgData name="Manal El Bakkouri" userId="8b130982-2e3f-4164-b881-fd3a2e4b2453" providerId="ADAL" clId="{4457FA57-250B-44AC-8655-05D46C5A3D8A}" dt="2023-06-07T09:35:05.857" v="17472" actId="165"/>
          <ac:spMkLst>
            <pc:docMk/>
            <pc:sldMk cId="3771872325" sldId="230717714"/>
            <ac:spMk id="125" creationId="{2DAC146E-9949-4F3C-AB58-D525CB78D374}"/>
          </ac:spMkLst>
        </pc:spChg>
        <pc:spChg chg="mod topLvl">
          <ac:chgData name="Manal El Bakkouri" userId="8b130982-2e3f-4164-b881-fd3a2e4b2453" providerId="ADAL" clId="{4457FA57-250B-44AC-8655-05D46C5A3D8A}" dt="2023-06-07T09:35:10.985" v="17473" actId="14100"/>
          <ac:spMkLst>
            <pc:docMk/>
            <pc:sldMk cId="3771872325" sldId="230717714"/>
            <ac:spMk id="126" creationId="{77FC47C5-7F1B-4A3B-82CB-2BCBDE2864E8}"/>
          </ac:spMkLst>
        </pc:spChg>
        <pc:spChg chg="mod topLvl">
          <ac:chgData name="Manal El Bakkouri" userId="8b130982-2e3f-4164-b881-fd3a2e4b2453" providerId="ADAL" clId="{4457FA57-250B-44AC-8655-05D46C5A3D8A}" dt="2023-06-07T09:35:05.857" v="17472" actId="165"/>
          <ac:spMkLst>
            <pc:docMk/>
            <pc:sldMk cId="3771872325" sldId="230717714"/>
            <ac:spMk id="164" creationId="{43090170-9E86-4302-B872-1EFF239B40FB}"/>
          </ac:spMkLst>
        </pc:spChg>
        <pc:spChg chg="mod topLvl">
          <ac:chgData name="Manal El Bakkouri" userId="8b130982-2e3f-4164-b881-fd3a2e4b2453" providerId="ADAL" clId="{4457FA57-250B-44AC-8655-05D46C5A3D8A}" dt="2023-06-07T09:35:14.132" v="17474" actId="113"/>
          <ac:spMkLst>
            <pc:docMk/>
            <pc:sldMk cId="3771872325" sldId="230717714"/>
            <ac:spMk id="165" creationId="{F413437A-2C06-42B3-A5EE-895BD0130AE9}"/>
          </ac:spMkLst>
        </pc:spChg>
        <pc:grpChg chg="del mod">
          <ac:chgData name="Manal El Bakkouri" userId="8b130982-2e3f-4164-b881-fd3a2e4b2453" providerId="ADAL" clId="{4457FA57-250B-44AC-8655-05D46C5A3D8A}" dt="2023-06-07T09:35:05.857" v="17472" actId="165"/>
          <ac:grpSpMkLst>
            <pc:docMk/>
            <pc:sldMk cId="3771872325" sldId="230717714"/>
            <ac:grpSpMk id="2" creationId="{AC24E6CE-6CB0-483D-B9DE-49369F158678}"/>
          </ac:grpSpMkLst>
        </pc:grpChg>
      </pc:sldChg>
      <pc:sldChg chg="addSp delSp modSp new mod ord">
        <pc:chgData name="Manal El Bakkouri" userId="8b130982-2e3f-4164-b881-fd3a2e4b2453" providerId="ADAL" clId="{4457FA57-250B-44AC-8655-05D46C5A3D8A}" dt="2023-06-09T14:46:30.891" v="22649" actId="1037"/>
        <pc:sldMkLst>
          <pc:docMk/>
          <pc:sldMk cId="1164342460" sldId="230717715"/>
        </pc:sldMkLst>
        <pc:spChg chg="del">
          <ac:chgData name="Manal El Bakkouri" userId="8b130982-2e3f-4164-b881-fd3a2e4b2453" providerId="ADAL" clId="{4457FA57-250B-44AC-8655-05D46C5A3D8A}" dt="2023-06-09T14:27:58.190" v="21873" actId="478"/>
          <ac:spMkLst>
            <pc:docMk/>
            <pc:sldMk cId="1164342460" sldId="230717715"/>
            <ac:spMk id="2" creationId="{DD9098B2-56A9-4DE2-874C-5235F611AEAF}"/>
          </ac:spMkLst>
        </pc:spChg>
        <pc:spChg chg="del">
          <ac:chgData name="Manal El Bakkouri" userId="8b130982-2e3f-4164-b881-fd3a2e4b2453" providerId="ADAL" clId="{4457FA57-250B-44AC-8655-05D46C5A3D8A}" dt="2023-06-09T14:27:58.190" v="21873" actId="478"/>
          <ac:spMkLst>
            <pc:docMk/>
            <pc:sldMk cId="1164342460" sldId="230717715"/>
            <ac:spMk id="3" creationId="{1EC417CD-5E91-4F5D-BDA5-3E922B4FFD90}"/>
          </ac:spMkLst>
        </pc:spChg>
        <pc:spChg chg="del">
          <ac:chgData name="Manal El Bakkouri" userId="8b130982-2e3f-4164-b881-fd3a2e4b2453" providerId="ADAL" clId="{4457FA57-250B-44AC-8655-05D46C5A3D8A}" dt="2023-06-09T14:27:58.190" v="21873" actId="478"/>
          <ac:spMkLst>
            <pc:docMk/>
            <pc:sldMk cId="1164342460" sldId="230717715"/>
            <ac:spMk id="4" creationId="{B3F13E37-7054-4E28-8751-2B9E223C5366}"/>
          </ac:spMkLst>
        </pc:spChg>
        <pc:spChg chg="add mod ord">
          <ac:chgData name="Manal El Bakkouri" userId="8b130982-2e3f-4164-b881-fd3a2e4b2453" providerId="ADAL" clId="{4457FA57-250B-44AC-8655-05D46C5A3D8A}" dt="2023-06-09T14:45:51.756" v="22456" actId="166"/>
          <ac:spMkLst>
            <pc:docMk/>
            <pc:sldMk cId="1164342460" sldId="230717715"/>
            <ac:spMk id="5" creationId="{562886F5-F9D2-41B4-B6B7-9ADBAB09AF80}"/>
          </ac:spMkLst>
        </pc:spChg>
        <pc:spChg chg="mod">
          <ac:chgData name="Manal El Bakkouri" userId="8b130982-2e3f-4164-b881-fd3a2e4b2453" providerId="ADAL" clId="{4457FA57-250B-44AC-8655-05D46C5A3D8A}" dt="2023-06-09T14:33:13.203" v="22054" actId="165"/>
          <ac:spMkLst>
            <pc:docMk/>
            <pc:sldMk cId="1164342460" sldId="230717715"/>
            <ac:spMk id="7" creationId="{67C70FF1-3D95-422D-8F9A-26DB9EB4CB3B}"/>
          </ac:spMkLst>
        </pc:spChg>
        <pc:spChg chg="mod">
          <ac:chgData name="Manal El Bakkouri" userId="8b130982-2e3f-4164-b881-fd3a2e4b2453" providerId="ADAL" clId="{4457FA57-250B-44AC-8655-05D46C5A3D8A}" dt="2023-06-09T14:33:13.203" v="22054" actId="165"/>
          <ac:spMkLst>
            <pc:docMk/>
            <pc:sldMk cId="1164342460" sldId="230717715"/>
            <ac:spMk id="9" creationId="{3C74B3F7-BC66-4198-AD65-9F39A2579D4D}"/>
          </ac:spMkLst>
        </pc:spChg>
        <pc:spChg chg="mod">
          <ac:chgData name="Manal El Bakkouri" userId="8b130982-2e3f-4164-b881-fd3a2e4b2453" providerId="ADAL" clId="{4457FA57-250B-44AC-8655-05D46C5A3D8A}" dt="2023-06-09T14:33:13.203" v="22054" actId="165"/>
          <ac:spMkLst>
            <pc:docMk/>
            <pc:sldMk cId="1164342460" sldId="230717715"/>
            <ac:spMk id="10" creationId="{7162DD11-C00C-47ED-84CA-471273AEF295}"/>
          </ac:spMkLst>
        </pc:spChg>
        <pc:spChg chg="mod">
          <ac:chgData name="Manal El Bakkouri" userId="8b130982-2e3f-4164-b881-fd3a2e4b2453" providerId="ADAL" clId="{4457FA57-250B-44AC-8655-05D46C5A3D8A}" dt="2023-06-09T14:33:13.203" v="22054" actId="165"/>
          <ac:spMkLst>
            <pc:docMk/>
            <pc:sldMk cId="1164342460" sldId="230717715"/>
            <ac:spMk id="12" creationId="{7C5B3F82-1B67-4F8D-B4E9-C17E7D0B2869}"/>
          </ac:spMkLst>
        </pc:spChg>
        <pc:spChg chg="mod">
          <ac:chgData name="Manal El Bakkouri" userId="8b130982-2e3f-4164-b881-fd3a2e4b2453" providerId="ADAL" clId="{4457FA57-250B-44AC-8655-05D46C5A3D8A}" dt="2023-06-09T14:34:43.921" v="22072" actId="14100"/>
          <ac:spMkLst>
            <pc:docMk/>
            <pc:sldMk cId="1164342460" sldId="230717715"/>
            <ac:spMk id="14" creationId="{885258D9-7A47-4570-B1BF-85959FAC5DD3}"/>
          </ac:spMkLst>
        </pc:spChg>
        <pc:spChg chg="del mod">
          <ac:chgData name="Manal El Bakkouri" userId="8b130982-2e3f-4164-b881-fd3a2e4b2453" providerId="ADAL" clId="{4457FA57-250B-44AC-8655-05D46C5A3D8A}" dt="2023-06-09T14:37:58.253" v="22081" actId="478"/>
          <ac:spMkLst>
            <pc:docMk/>
            <pc:sldMk cId="1164342460" sldId="230717715"/>
            <ac:spMk id="15" creationId="{68B370F8-44ED-4C40-BBC1-01EF4BD04ED5}"/>
          </ac:spMkLst>
        </pc:spChg>
        <pc:spChg chg="mod">
          <ac:chgData name="Manal El Bakkouri" userId="8b130982-2e3f-4164-b881-fd3a2e4b2453" providerId="ADAL" clId="{4457FA57-250B-44AC-8655-05D46C5A3D8A}" dt="2023-06-09T14:33:13.203" v="22054" actId="165"/>
          <ac:spMkLst>
            <pc:docMk/>
            <pc:sldMk cId="1164342460" sldId="230717715"/>
            <ac:spMk id="17" creationId="{9A40A8C0-ADBE-49A8-AF20-ED6B70D8A2BB}"/>
          </ac:spMkLst>
        </pc:spChg>
        <pc:spChg chg="mod">
          <ac:chgData name="Manal El Bakkouri" userId="8b130982-2e3f-4164-b881-fd3a2e4b2453" providerId="ADAL" clId="{4457FA57-250B-44AC-8655-05D46C5A3D8A}" dt="2023-06-09T14:34:57.478" v="22074"/>
          <ac:spMkLst>
            <pc:docMk/>
            <pc:sldMk cId="1164342460" sldId="230717715"/>
            <ac:spMk id="19" creationId="{E10F6F53-AFE2-4355-BD2A-2E6EE2C4C6A2}"/>
          </ac:spMkLst>
        </pc:spChg>
        <pc:spChg chg="del mod">
          <ac:chgData name="Manal El Bakkouri" userId="8b130982-2e3f-4164-b881-fd3a2e4b2453" providerId="ADAL" clId="{4457FA57-250B-44AC-8655-05D46C5A3D8A}" dt="2023-06-09T14:38:28.814" v="22085" actId="478"/>
          <ac:spMkLst>
            <pc:docMk/>
            <pc:sldMk cId="1164342460" sldId="230717715"/>
            <ac:spMk id="20" creationId="{9CD6BC94-BC15-4F7A-9019-C31DC3D9FA37}"/>
          </ac:spMkLst>
        </pc:spChg>
        <pc:spChg chg="mod">
          <ac:chgData name="Manal El Bakkouri" userId="8b130982-2e3f-4164-b881-fd3a2e4b2453" providerId="ADAL" clId="{4457FA57-250B-44AC-8655-05D46C5A3D8A}" dt="2023-06-09T14:33:13.203" v="22054" actId="165"/>
          <ac:spMkLst>
            <pc:docMk/>
            <pc:sldMk cId="1164342460" sldId="230717715"/>
            <ac:spMk id="22" creationId="{956D872D-E387-46D6-83EA-9AF1F1621612}"/>
          </ac:spMkLst>
        </pc:spChg>
        <pc:spChg chg="mod">
          <ac:chgData name="Manal El Bakkouri" userId="8b130982-2e3f-4164-b881-fd3a2e4b2453" providerId="ADAL" clId="{4457FA57-250B-44AC-8655-05D46C5A3D8A}" dt="2023-06-09T14:35:13.732" v="22078" actId="14100"/>
          <ac:spMkLst>
            <pc:docMk/>
            <pc:sldMk cId="1164342460" sldId="230717715"/>
            <ac:spMk id="24" creationId="{E1067234-0B57-4D51-AA9E-C3F5D84BD506}"/>
          </ac:spMkLst>
        </pc:spChg>
        <pc:spChg chg="del mod">
          <ac:chgData name="Manal El Bakkouri" userId="8b130982-2e3f-4164-b881-fd3a2e4b2453" providerId="ADAL" clId="{4457FA57-250B-44AC-8655-05D46C5A3D8A}" dt="2023-06-09T14:42:00.801" v="22100" actId="478"/>
          <ac:spMkLst>
            <pc:docMk/>
            <pc:sldMk cId="1164342460" sldId="230717715"/>
            <ac:spMk id="25" creationId="{AA377BFD-928C-4F54-9C9A-5073DA0C9CB3}"/>
          </ac:spMkLst>
        </pc:spChg>
        <pc:spChg chg="add mod">
          <ac:chgData name="Manal El Bakkouri" userId="8b130982-2e3f-4164-b881-fd3a2e4b2453" providerId="ADAL" clId="{4457FA57-250B-44AC-8655-05D46C5A3D8A}" dt="2023-06-09T14:34:22.386" v="22068" actId="403"/>
          <ac:spMkLst>
            <pc:docMk/>
            <pc:sldMk cId="1164342460" sldId="230717715"/>
            <ac:spMk id="30" creationId="{C671DE1E-8CF5-4017-BA5C-20065085BECE}"/>
          </ac:spMkLst>
        </pc:spChg>
        <pc:spChg chg="add mod">
          <ac:chgData name="Manal El Bakkouri" userId="8b130982-2e3f-4164-b881-fd3a2e4b2453" providerId="ADAL" clId="{4457FA57-250B-44AC-8655-05D46C5A3D8A}" dt="2023-06-09T14:38:10.333" v="22084" actId="1035"/>
          <ac:spMkLst>
            <pc:docMk/>
            <pc:sldMk cId="1164342460" sldId="230717715"/>
            <ac:spMk id="31" creationId="{4185104E-85D0-44D5-A73F-6898F62737D0}"/>
          </ac:spMkLst>
        </pc:spChg>
        <pc:spChg chg="add del mod">
          <ac:chgData name="Manal El Bakkouri" userId="8b130982-2e3f-4164-b881-fd3a2e4b2453" providerId="ADAL" clId="{4457FA57-250B-44AC-8655-05D46C5A3D8A}" dt="2023-06-09T14:38:52.339" v="22087" actId="478"/>
          <ac:spMkLst>
            <pc:docMk/>
            <pc:sldMk cId="1164342460" sldId="230717715"/>
            <ac:spMk id="32" creationId="{7EE7F3D8-93B0-40C1-94B3-AB26B8570EA5}"/>
          </ac:spMkLst>
        </pc:spChg>
        <pc:spChg chg="add del mod">
          <ac:chgData name="Manal El Bakkouri" userId="8b130982-2e3f-4164-b881-fd3a2e4b2453" providerId="ADAL" clId="{4457FA57-250B-44AC-8655-05D46C5A3D8A}" dt="2023-06-09T14:38:57.940" v="22090" actId="478"/>
          <ac:spMkLst>
            <pc:docMk/>
            <pc:sldMk cId="1164342460" sldId="230717715"/>
            <ac:spMk id="33" creationId="{3177DB98-6522-4172-A87E-BB8510F6B475}"/>
          </ac:spMkLst>
        </pc:spChg>
        <pc:spChg chg="add del mod">
          <ac:chgData name="Manal El Bakkouri" userId="8b130982-2e3f-4164-b881-fd3a2e4b2453" providerId="ADAL" clId="{4457FA57-250B-44AC-8655-05D46C5A3D8A}" dt="2023-06-09T14:38:57.940" v="22090" actId="478"/>
          <ac:spMkLst>
            <pc:docMk/>
            <pc:sldMk cId="1164342460" sldId="230717715"/>
            <ac:spMk id="34" creationId="{BDA543ED-0BC2-4CF2-B1EE-72B64340CA65}"/>
          </ac:spMkLst>
        </pc:spChg>
        <pc:spChg chg="add del mod">
          <ac:chgData name="Manal El Bakkouri" userId="8b130982-2e3f-4164-b881-fd3a2e4b2453" providerId="ADAL" clId="{4457FA57-250B-44AC-8655-05D46C5A3D8A}" dt="2023-06-09T14:38:57.940" v="22090" actId="478"/>
          <ac:spMkLst>
            <pc:docMk/>
            <pc:sldMk cId="1164342460" sldId="230717715"/>
            <ac:spMk id="35" creationId="{6E8CFE7F-1347-4375-AC0D-7A142B58021A}"/>
          </ac:spMkLst>
        </pc:spChg>
        <pc:spChg chg="add del mod">
          <ac:chgData name="Manal El Bakkouri" userId="8b130982-2e3f-4164-b881-fd3a2e4b2453" providerId="ADAL" clId="{4457FA57-250B-44AC-8655-05D46C5A3D8A}" dt="2023-06-09T14:38:57.940" v="22090" actId="478"/>
          <ac:spMkLst>
            <pc:docMk/>
            <pc:sldMk cId="1164342460" sldId="230717715"/>
            <ac:spMk id="36" creationId="{9F56B170-2444-4D58-AD60-410CE7F44D46}"/>
          </ac:spMkLst>
        </pc:spChg>
        <pc:spChg chg="add del mod">
          <ac:chgData name="Manal El Bakkouri" userId="8b130982-2e3f-4164-b881-fd3a2e4b2453" providerId="ADAL" clId="{4457FA57-250B-44AC-8655-05D46C5A3D8A}" dt="2023-06-09T14:38:57.940" v="22090" actId="478"/>
          <ac:spMkLst>
            <pc:docMk/>
            <pc:sldMk cId="1164342460" sldId="230717715"/>
            <ac:spMk id="37" creationId="{E815EABA-3A7C-4F1C-8809-8F6442CAD358}"/>
          </ac:spMkLst>
        </pc:spChg>
        <pc:spChg chg="add del mod">
          <ac:chgData name="Manal El Bakkouri" userId="8b130982-2e3f-4164-b881-fd3a2e4b2453" providerId="ADAL" clId="{4457FA57-250B-44AC-8655-05D46C5A3D8A}" dt="2023-06-09T14:38:57.940" v="22090" actId="478"/>
          <ac:spMkLst>
            <pc:docMk/>
            <pc:sldMk cId="1164342460" sldId="230717715"/>
            <ac:spMk id="38" creationId="{78C08CD8-3378-4190-83DC-EBB37CB2CC4F}"/>
          </ac:spMkLst>
        </pc:spChg>
        <pc:spChg chg="add del mod">
          <ac:chgData name="Manal El Bakkouri" userId="8b130982-2e3f-4164-b881-fd3a2e4b2453" providerId="ADAL" clId="{4457FA57-250B-44AC-8655-05D46C5A3D8A}" dt="2023-06-09T14:38:57.940" v="22090" actId="478"/>
          <ac:spMkLst>
            <pc:docMk/>
            <pc:sldMk cId="1164342460" sldId="230717715"/>
            <ac:spMk id="39" creationId="{4D5E2D9C-3CE4-4CDF-8A4D-ADB15A4EE400}"/>
          </ac:spMkLst>
        </pc:spChg>
        <pc:spChg chg="add del mod">
          <ac:chgData name="Manal El Bakkouri" userId="8b130982-2e3f-4164-b881-fd3a2e4b2453" providerId="ADAL" clId="{4457FA57-250B-44AC-8655-05D46C5A3D8A}" dt="2023-06-09T14:38:57.940" v="22090" actId="478"/>
          <ac:spMkLst>
            <pc:docMk/>
            <pc:sldMk cId="1164342460" sldId="230717715"/>
            <ac:spMk id="40" creationId="{D731C88D-6BC5-4DC5-9222-622C36FF934B}"/>
          </ac:spMkLst>
        </pc:spChg>
        <pc:spChg chg="add del mod">
          <ac:chgData name="Manal El Bakkouri" userId="8b130982-2e3f-4164-b881-fd3a2e4b2453" providerId="ADAL" clId="{4457FA57-250B-44AC-8655-05D46C5A3D8A}" dt="2023-06-09T14:40:06.327" v="22094" actId="478"/>
          <ac:spMkLst>
            <pc:docMk/>
            <pc:sldMk cId="1164342460" sldId="230717715"/>
            <ac:spMk id="41" creationId="{BA58C766-31E0-4C19-BA26-56B9EABD992D}"/>
          </ac:spMkLst>
        </pc:spChg>
        <pc:spChg chg="add del mod">
          <ac:chgData name="Manal El Bakkouri" userId="8b130982-2e3f-4164-b881-fd3a2e4b2453" providerId="ADAL" clId="{4457FA57-250B-44AC-8655-05D46C5A3D8A}" dt="2023-06-09T14:40:06.327" v="22094" actId="478"/>
          <ac:spMkLst>
            <pc:docMk/>
            <pc:sldMk cId="1164342460" sldId="230717715"/>
            <ac:spMk id="42" creationId="{6F512E57-77CE-43D2-8709-DA94AA6AEC42}"/>
          </ac:spMkLst>
        </pc:spChg>
        <pc:spChg chg="add del mod">
          <ac:chgData name="Manal El Bakkouri" userId="8b130982-2e3f-4164-b881-fd3a2e4b2453" providerId="ADAL" clId="{4457FA57-250B-44AC-8655-05D46C5A3D8A}" dt="2023-06-09T14:40:06.327" v="22094" actId="478"/>
          <ac:spMkLst>
            <pc:docMk/>
            <pc:sldMk cId="1164342460" sldId="230717715"/>
            <ac:spMk id="43" creationId="{22BB66BF-1744-4F3F-B14F-6C52DA79AA96}"/>
          </ac:spMkLst>
        </pc:spChg>
        <pc:spChg chg="add del mod">
          <ac:chgData name="Manal El Bakkouri" userId="8b130982-2e3f-4164-b881-fd3a2e4b2453" providerId="ADAL" clId="{4457FA57-250B-44AC-8655-05D46C5A3D8A}" dt="2023-06-09T14:40:06.327" v="22094" actId="478"/>
          <ac:spMkLst>
            <pc:docMk/>
            <pc:sldMk cId="1164342460" sldId="230717715"/>
            <ac:spMk id="44" creationId="{0D710715-E3C5-44CA-85EA-F958B63342F4}"/>
          </ac:spMkLst>
        </pc:spChg>
        <pc:spChg chg="add del mod">
          <ac:chgData name="Manal El Bakkouri" userId="8b130982-2e3f-4164-b881-fd3a2e4b2453" providerId="ADAL" clId="{4457FA57-250B-44AC-8655-05D46C5A3D8A}" dt="2023-06-09T14:40:06.327" v="22094" actId="478"/>
          <ac:spMkLst>
            <pc:docMk/>
            <pc:sldMk cId="1164342460" sldId="230717715"/>
            <ac:spMk id="45" creationId="{BFD8B6B3-CA5E-4E60-A358-78E97F5B5F72}"/>
          </ac:spMkLst>
        </pc:spChg>
        <pc:spChg chg="add del mod">
          <ac:chgData name="Manal El Bakkouri" userId="8b130982-2e3f-4164-b881-fd3a2e4b2453" providerId="ADAL" clId="{4457FA57-250B-44AC-8655-05D46C5A3D8A}" dt="2023-06-09T14:40:06.327" v="22094" actId="478"/>
          <ac:spMkLst>
            <pc:docMk/>
            <pc:sldMk cId="1164342460" sldId="230717715"/>
            <ac:spMk id="46" creationId="{D9476341-4828-43BE-BDBF-DE098581487A}"/>
          </ac:spMkLst>
        </pc:spChg>
        <pc:spChg chg="add del mod">
          <ac:chgData name="Manal El Bakkouri" userId="8b130982-2e3f-4164-b881-fd3a2e4b2453" providerId="ADAL" clId="{4457FA57-250B-44AC-8655-05D46C5A3D8A}" dt="2023-06-09T14:40:06.327" v="22094" actId="478"/>
          <ac:spMkLst>
            <pc:docMk/>
            <pc:sldMk cId="1164342460" sldId="230717715"/>
            <ac:spMk id="47" creationId="{712E38FF-0916-4F19-B598-81E53A95F010}"/>
          </ac:spMkLst>
        </pc:spChg>
        <pc:spChg chg="add del mod">
          <ac:chgData name="Manal El Bakkouri" userId="8b130982-2e3f-4164-b881-fd3a2e4b2453" providerId="ADAL" clId="{4457FA57-250B-44AC-8655-05D46C5A3D8A}" dt="2023-06-09T14:40:06.327" v="22094" actId="478"/>
          <ac:spMkLst>
            <pc:docMk/>
            <pc:sldMk cId="1164342460" sldId="230717715"/>
            <ac:spMk id="48" creationId="{9378035B-4431-464F-8F98-CA3E73D4570D}"/>
          </ac:spMkLst>
        </pc:spChg>
        <pc:spChg chg="add mod">
          <ac:chgData name="Manal El Bakkouri" userId="8b130982-2e3f-4164-b881-fd3a2e4b2453" providerId="ADAL" clId="{4457FA57-250B-44AC-8655-05D46C5A3D8A}" dt="2023-06-09T14:46:19.929" v="22571" actId="164"/>
          <ac:spMkLst>
            <pc:docMk/>
            <pc:sldMk cId="1164342460" sldId="230717715"/>
            <ac:spMk id="49" creationId="{0E8A7F0C-06C2-46E5-BD73-94C959289B05}"/>
          </ac:spMkLst>
        </pc:spChg>
        <pc:spChg chg="add mod">
          <ac:chgData name="Manal El Bakkouri" userId="8b130982-2e3f-4164-b881-fd3a2e4b2453" providerId="ADAL" clId="{4457FA57-250B-44AC-8655-05D46C5A3D8A}" dt="2023-06-09T14:46:19.929" v="22571" actId="164"/>
          <ac:spMkLst>
            <pc:docMk/>
            <pc:sldMk cId="1164342460" sldId="230717715"/>
            <ac:spMk id="50" creationId="{DCD66C00-2DA5-4F63-B405-2A7218B7BF82}"/>
          </ac:spMkLst>
        </pc:spChg>
        <pc:spChg chg="add mod">
          <ac:chgData name="Manal El Bakkouri" userId="8b130982-2e3f-4164-b881-fd3a2e4b2453" providerId="ADAL" clId="{4457FA57-250B-44AC-8655-05D46C5A3D8A}" dt="2023-06-09T14:46:19.929" v="22571" actId="164"/>
          <ac:spMkLst>
            <pc:docMk/>
            <pc:sldMk cId="1164342460" sldId="230717715"/>
            <ac:spMk id="51" creationId="{1989DCC3-334B-4FCB-AC17-A6D8434A36A6}"/>
          </ac:spMkLst>
        </pc:spChg>
        <pc:spChg chg="add mod">
          <ac:chgData name="Manal El Bakkouri" userId="8b130982-2e3f-4164-b881-fd3a2e4b2453" providerId="ADAL" clId="{4457FA57-250B-44AC-8655-05D46C5A3D8A}" dt="2023-06-09T14:46:19.929" v="22571" actId="164"/>
          <ac:spMkLst>
            <pc:docMk/>
            <pc:sldMk cId="1164342460" sldId="230717715"/>
            <ac:spMk id="52" creationId="{30CCB8BF-4B1B-4A30-89C5-D048FE623DCA}"/>
          </ac:spMkLst>
        </pc:spChg>
        <pc:spChg chg="add mod">
          <ac:chgData name="Manal El Bakkouri" userId="8b130982-2e3f-4164-b881-fd3a2e4b2453" providerId="ADAL" clId="{4457FA57-250B-44AC-8655-05D46C5A3D8A}" dt="2023-06-09T14:46:19.929" v="22571" actId="164"/>
          <ac:spMkLst>
            <pc:docMk/>
            <pc:sldMk cId="1164342460" sldId="230717715"/>
            <ac:spMk id="53" creationId="{974E3478-9095-422D-984B-BE9523CE46EF}"/>
          </ac:spMkLst>
        </pc:spChg>
        <pc:spChg chg="add mod">
          <ac:chgData name="Manal El Bakkouri" userId="8b130982-2e3f-4164-b881-fd3a2e4b2453" providerId="ADAL" clId="{4457FA57-250B-44AC-8655-05D46C5A3D8A}" dt="2023-06-09T14:46:19.929" v="22571" actId="164"/>
          <ac:spMkLst>
            <pc:docMk/>
            <pc:sldMk cId="1164342460" sldId="230717715"/>
            <ac:spMk id="54" creationId="{E827EED2-D78C-4DA1-BAC9-30B1EBBAFADA}"/>
          </ac:spMkLst>
        </pc:spChg>
        <pc:spChg chg="add mod">
          <ac:chgData name="Manal El Bakkouri" userId="8b130982-2e3f-4164-b881-fd3a2e4b2453" providerId="ADAL" clId="{4457FA57-250B-44AC-8655-05D46C5A3D8A}" dt="2023-06-09T14:46:19.929" v="22571" actId="164"/>
          <ac:spMkLst>
            <pc:docMk/>
            <pc:sldMk cId="1164342460" sldId="230717715"/>
            <ac:spMk id="55" creationId="{A6D51597-47E9-47DE-8741-9102DAB48B7A}"/>
          </ac:spMkLst>
        </pc:spChg>
        <pc:spChg chg="add mod">
          <ac:chgData name="Manal El Bakkouri" userId="8b130982-2e3f-4164-b881-fd3a2e4b2453" providerId="ADAL" clId="{4457FA57-250B-44AC-8655-05D46C5A3D8A}" dt="2023-06-09T14:46:19.929" v="22571" actId="164"/>
          <ac:spMkLst>
            <pc:docMk/>
            <pc:sldMk cId="1164342460" sldId="230717715"/>
            <ac:spMk id="56" creationId="{679F4214-5319-44FF-9861-976CDFCB4293}"/>
          </ac:spMkLst>
        </pc:spChg>
        <pc:spChg chg="add mod">
          <ac:chgData name="Manal El Bakkouri" userId="8b130982-2e3f-4164-b881-fd3a2e4b2453" providerId="ADAL" clId="{4457FA57-250B-44AC-8655-05D46C5A3D8A}" dt="2023-06-09T14:46:19.929" v="22571" actId="164"/>
          <ac:spMkLst>
            <pc:docMk/>
            <pc:sldMk cId="1164342460" sldId="230717715"/>
            <ac:spMk id="57" creationId="{81701C87-DB66-4B62-99F1-B07A03833739}"/>
          </ac:spMkLst>
        </pc:spChg>
        <pc:spChg chg="add mod">
          <ac:chgData name="Manal El Bakkouri" userId="8b130982-2e3f-4164-b881-fd3a2e4b2453" providerId="ADAL" clId="{4457FA57-250B-44AC-8655-05D46C5A3D8A}" dt="2023-06-09T14:46:19.929" v="22571" actId="164"/>
          <ac:spMkLst>
            <pc:docMk/>
            <pc:sldMk cId="1164342460" sldId="230717715"/>
            <ac:spMk id="58" creationId="{B8D52DA5-BACB-4234-85C2-32EEB13ADF20}"/>
          </ac:spMkLst>
        </pc:spChg>
        <pc:spChg chg="add mod">
          <ac:chgData name="Manal El Bakkouri" userId="8b130982-2e3f-4164-b881-fd3a2e4b2453" providerId="ADAL" clId="{4457FA57-250B-44AC-8655-05D46C5A3D8A}" dt="2023-06-09T14:42:32.177" v="22107" actId="207"/>
          <ac:spMkLst>
            <pc:docMk/>
            <pc:sldMk cId="1164342460" sldId="230717715"/>
            <ac:spMk id="59" creationId="{2655AD68-470A-4F7E-BF38-1D1C6D555289}"/>
          </ac:spMkLst>
        </pc:spChg>
        <pc:spChg chg="add mod">
          <ac:chgData name="Manal El Bakkouri" userId="8b130982-2e3f-4164-b881-fd3a2e4b2453" providerId="ADAL" clId="{4457FA57-250B-44AC-8655-05D46C5A3D8A}" dt="2023-06-09T14:46:30.891" v="22649" actId="1037"/>
          <ac:spMkLst>
            <pc:docMk/>
            <pc:sldMk cId="1164342460" sldId="230717715"/>
            <ac:spMk id="60" creationId="{FD3FA630-6445-4409-827A-899ABB7264D0}"/>
          </ac:spMkLst>
        </pc:spChg>
        <pc:grpChg chg="add mod topLvl">
          <ac:chgData name="Manal El Bakkouri" userId="8b130982-2e3f-4164-b881-fd3a2e4b2453" providerId="ADAL" clId="{4457FA57-250B-44AC-8655-05D46C5A3D8A}" dt="2023-06-09T14:33:36.056" v="22057" actId="14100"/>
          <ac:grpSpMkLst>
            <pc:docMk/>
            <pc:sldMk cId="1164342460" sldId="230717715"/>
            <ac:grpSpMk id="6" creationId="{ADF9DF4E-4739-42D6-83CC-754348FE4619}"/>
          </ac:grpSpMkLst>
        </pc:grpChg>
        <pc:grpChg chg="add mod topLvl">
          <ac:chgData name="Manal El Bakkouri" userId="8b130982-2e3f-4164-b881-fd3a2e4b2453" providerId="ADAL" clId="{4457FA57-250B-44AC-8655-05D46C5A3D8A}" dt="2023-06-09T14:33:13.203" v="22054" actId="165"/>
          <ac:grpSpMkLst>
            <pc:docMk/>
            <pc:sldMk cId="1164342460" sldId="230717715"/>
            <ac:grpSpMk id="11" creationId="{0B8F20E0-6D87-49C6-AA3E-4AAEB21D373C}"/>
          </ac:grpSpMkLst>
        </pc:grpChg>
        <pc:grpChg chg="add mod ord topLvl">
          <ac:chgData name="Manal El Bakkouri" userId="8b130982-2e3f-4164-b881-fd3a2e4b2453" providerId="ADAL" clId="{4457FA57-250B-44AC-8655-05D46C5A3D8A}" dt="2023-06-09T14:46:19.929" v="22571" actId="164"/>
          <ac:grpSpMkLst>
            <pc:docMk/>
            <pc:sldMk cId="1164342460" sldId="230717715"/>
            <ac:grpSpMk id="16" creationId="{C05A3CCE-25AE-4C98-8DDB-61A81871DD0B}"/>
          </ac:grpSpMkLst>
        </pc:grpChg>
        <pc:grpChg chg="add mod topLvl">
          <ac:chgData name="Manal El Bakkouri" userId="8b130982-2e3f-4164-b881-fd3a2e4b2453" providerId="ADAL" clId="{4457FA57-250B-44AC-8655-05D46C5A3D8A}" dt="2023-06-09T14:42:18.173" v="22105" actId="1076"/>
          <ac:grpSpMkLst>
            <pc:docMk/>
            <pc:sldMk cId="1164342460" sldId="230717715"/>
            <ac:grpSpMk id="21" creationId="{754166C1-C37B-40D0-BFA2-84451516CF50}"/>
          </ac:grpSpMkLst>
        </pc:grpChg>
        <pc:grpChg chg="add del mod">
          <ac:chgData name="Manal El Bakkouri" userId="8b130982-2e3f-4164-b881-fd3a2e4b2453" providerId="ADAL" clId="{4457FA57-250B-44AC-8655-05D46C5A3D8A}" dt="2023-06-09T14:33:13.203" v="22054" actId="165"/>
          <ac:grpSpMkLst>
            <pc:docMk/>
            <pc:sldMk cId="1164342460" sldId="230717715"/>
            <ac:grpSpMk id="26" creationId="{C7DF86FE-12D3-4DBA-BBCF-372F6069875C}"/>
          </ac:grpSpMkLst>
        </pc:grpChg>
        <pc:grpChg chg="add mod ord">
          <ac:chgData name="Manal El Bakkouri" userId="8b130982-2e3f-4164-b881-fd3a2e4b2453" providerId="ADAL" clId="{4457FA57-250B-44AC-8655-05D46C5A3D8A}" dt="2023-06-09T14:46:22.253" v="22572" actId="166"/>
          <ac:grpSpMkLst>
            <pc:docMk/>
            <pc:sldMk cId="1164342460" sldId="230717715"/>
            <ac:grpSpMk id="61" creationId="{FA804EA4-D6B3-4A41-AD35-742D3BD8E73D}"/>
          </ac:grpSpMkLst>
        </pc:grpChg>
        <pc:picChg chg="add mod ord">
          <ac:chgData name="Manal El Bakkouri" userId="8b130982-2e3f-4164-b881-fd3a2e4b2453" providerId="ADAL" clId="{4457FA57-250B-44AC-8655-05D46C5A3D8A}" dt="2023-06-09T14:34:13.717" v="22063" actId="1076"/>
          <ac:picMkLst>
            <pc:docMk/>
            <pc:sldMk cId="1164342460" sldId="230717715"/>
            <ac:picMk id="29" creationId="{AD1B94BA-436E-42C0-BE8A-D753BCC26326}"/>
          </ac:picMkLst>
        </pc:picChg>
        <pc:cxnChg chg="mod">
          <ac:chgData name="Manal El Bakkouri" userId="8b130982-2e3f-4164-b881-fd3a2e4b2453" providerId="ADAL" clId="{4457FA57-250B-44AC-8655-05D46C5A3D8A}" dt="2023-06-09T14:33:28.558" v="22056" actId="14100"/>
          <ac:cxnSpMkLst>
            <pc:docMk/>
            <pc:sldMk cId="1164342460" sldId="230717715"/>
            <ac:cxnSpMk id="8" creationId="{CFC1F93F-314F-452C-B9EF-324612BB3EBA}"/>
          </ac:cxnSpMkLst>
        </pc:cxnChg>
        <pc:cxnChg chg="mod">
          <ac:chgData name="Manal El Bakkouri" userId="8b130982-2e3f-4164-b881-fd3a2e4b2453" providerId="ADAL" clId="{4457FA57-250B-44AC-8655-05D46C5A3D8A}" dt="2023-06-09T14:33:13.203" v="22054" actId="165"/>
          <ac:cxnSpMkLst>
            <pc:docMk/>
            <pc:sldMk cId="1164342460" sldId="230717715"/>
            <ac:cxnSpMk id="13" creationId="{A66C032C-1CA4-4111-90B9-334BC8E1F193}"/>
          </ac:cxnSpMkLst>
        </pc:cxnChg>
        <pc:cxnChg chg="mod">
          <ac:chgData name="Manal El Bakkouri" userId="8b130982-2e3f-4164-b881-fd3a2e4b2453" providerId="ADAL" clId="{4457FA57-250B-44AC-8655-05D46C5A3D8A}" dt="2023-06-09T14:33:13.203" v="22054" actId="165"/>
          <ac:cxnSpMkLst>
            <pc:docMk/>
            <pc:sldMk cId="1164342460" sldId="230717715"/>
            <ac:cxnSpMk id="18" creationId="{1537A99F-9A5E-4663-AAEB-392C9ABA7984}"/>
          </ac:cxnSpMkLst>
        </pc:cxnChg>
        <pc:cxnChg chg="mod">
          <ac:chgData name="Manal El Bakkouri" userId="8b130982-2e3f-4164-b881-fd3a2e4b2453" providerId="ADAL" clId="{4457FA57-250B-44AC-8655-05D46C5A3D8A}" dt="2023-06-09T14:33:42.562" v="22058" actId="14100"/>
          <ac:cxnSpMkLst>
            <pc:docMk/>
            <pc:sldMk cId="1164342460" sldId="230717715"/>
            <ac:cxnSpMk id="23" creationId="{61F7FBBA-33DF-41AF-A4C7-C4ABC9BBAABF}"/>
          </ac:cxnSpMkLst>
        </pc:cxnChg>
      </pc:sldChg>
      <pc:sldChg chg="modSp add mod">
        <pc:chgData name="Manal El Bakkouri" userId="8b130982-2e3f-4164-b881-fd3a2e4b2453" providerId="ADAL" clId="{4457FA57-250B-44AC-8655-05D46C5A3D8A}" dt="2023-06-09T14:44:40.511" v="22378" actId="14100"/>
        <pc:sldMkLst>
          <pc:docMk/>
          <pc:sldMk cId="1114683658" sldId="230717716"/>
        </pc:sldMkLst>
        <pc:spChg chg="ord">
          <ac:chgData name="Manal El Bakkouri" userId="8b130982-2e3f-4164-b881-fd3a2e4b2453" providerId="ADAL" clId="{4457FA57-250B-44AC-8655-05D46C5A3D8A}" dt="2023-06-09T14:44:09.991" v="22292" actId="166"/>
          <ac:spMkLst>
            <pc:docMk/>
            <pc:sldMk cId="1114683658" sldId="230717716"/>
            <ac:spMk id="5" creationId="{562886F5-F9D2-41B4-B6B7-9ADBAB09AF80}"/>
          </ac:spMkLst>
        </pc:spChg>
        <pc:spChg chg="mod">
          <ac:chgData name="Manal El Bakkouri" userId="8b130982-2e3f-4164-b881-fd3a2e4b2453" providerId="ADAL" clId="{4457FA57-250B-44AC-8655-05D46C5A3D8A}" dt="2023-06-09T14:44:40.511" v="22378" actId="14100"/>
          <ac:spMkLst>
            <pc:docMk/>
            <pc:sldMk cId="1114683658" sldId="230717716"/>
            <ac:spMk id="60" creationId="{FD3FA630-6445-4409-827A-899ABB7264D0}"/>
          </ac:spMkLst>
        </pc:spChg>
        <pc:grpChg chg="ord">
          <ac:chgData name="Manal El Bakkouri" userId="8b130982-2e3f-4164-b881-fd3a2e4b2453" providerId="ADAL" clId="{4457FA57-250B-44AC-8655-05D46C5A3D8A}" dt="2023-06-09T14:43:50.850" v="22168" actId="166"/>
          <ac:grpSpMkLst>
            <pc:docMk/>
            <pc:sldMk cId="1114683658" sldId="230717716"/>
            <ac:grpSpMk id="6" creationId="{ADF9DF4E-4739-42D6-83CC-754348FE4619}"/>
          </ac:grpSpMkLst>
        </pc:grpChg>
      </pc:sldChg>
      <pc:sldChg chg="modSp add mod">
        <pc:chgData name="Manal El Bakkouri" userId="8b130982-2e3f-4164-b881-fd3a2e4b2453" providerId="ADAL" clId="{4457FA57-250B-44AC-8655-05D46C5A3D8A}" dt="2023-06-09T14:45:14.590" v="22451" actId="1038"/>
        <pc:sldMkLst>
          <pc:docMk/>
          <pc:sldMk cId="4240393568" sldId="230717717"/>
        </pc:sldMkLst>
        <pc:spChg chg="ord">
          <ac:chgData name="Manal El Bakkouri" userId="8b130982-2e3f-4164-b881-fd3a2e4b2453" providerId="ADAL" clId="{4457FA57-250B-44AC-8655-05D46C5A3D8A}" dt="2023-06-09T14:45:04.509" v="22384" actId="166"/>
          <ac:spMkLst>
            <pc:docMk/>
            <pc:sldMk cId="4240393568" sldId="230717717"/>
            <ac:spMk id="5" creationId="{562886F5-F9D2-41B4-B6B7-9ADBAB09AF80}"/>
          </ac:spMkLst>
        </pc:spChg>
        <pc:spChg chg="mod">
          <ac:chgData name="Manal El Bakkouri" userId="8b130982-2e3f-4164-b881-fd3a2e4b2453" providerId="ADAL" clId="{4457FA57-250B-44AC-8655-05D46C5A3D8A}" dt="2023-06-09T14:45:14.590" v="22451" actId="1038"/>
          <ac:spMkLst>
            <pc:docMk/>
            <pc:sldMk cId="4240393568" sldId="230717717"/>
            <ac:spMk id="60" creationId="{FD3FA630-6445-4409-827A-899ABB7264D0}"/>
          </ac:spMkLst>
        </pc:spChg>
        <pc:grpChg chg="ord">
          <ac:chgData name="Manal El Bakkouri" userId="8b130982-2e3f-4164-b881-fd3a2e4b2453" providerId="ADAL" clId="{4457FA57-250B-44AC-8655-05D46C5A3D8A}" dt="2023-06-09T14:45:00.192" v="22383" actId="166"/>
          <ac:grpSpMkLst>
            <pc:docMk/>
            <pc:sldMk cId="4240393568" sldId="230717717"/>
            <ac:grpSpMk id="11" creationId="{0B8F20E0-6D87-49C6-AA3E-4AAEB21D373C}"/>
          </ac:grpSpMkLst>
        </pc:grpChg>
      </pc:sldChg>
      <pc:sldChg chg="addSp modSp add mod ord">
        <pc:chgData name="Manal El Bakkouri" userId="8b130982-2e3f-4164-b881-fd3a2e4b2453" providerId="ADAL" clId="{4457FA57-250B-44AC-8655-05D46C5A3D8A}" dt="2023-06-09T14:47:09.996" v="22726" actId="1037"/>
        <pc:sldMkLst>
          <pc:docMk/>
          <pc:sldMk cId="1954974880" sldId="230717718"/>
        </pc:sldMkLst>
        <pc:spChg chg="ord">
          <ac:chgData name="Manal El Bakkouri" userId="8b130982-2e3f-4164-b881-fd3a2e4b2453" providerId="ADAL" clId="{4457FA57-250B-44AC-8655-05D46C5A3D8A}" dt="2023-06-09T14:47:01.469" v="22655" actId="166"/>
          <ac:spMkLst>
            <pc:docMk/>
            <pc:sldMk cId="1954974880" sldId="230717718"/>
            <ac:spMk id="5" creationId="{562886F5-F9D2-41B4-B6B7-9ADBAB09AF80}"/>
          </ac:spMkLst>
        </pc:spChg>
        <pc:spChg chg="mod">
          <ac:chgData name="Manal El Bakkouri" userId="8b130982-2e3f-4164-b881-fd3a2e4b2453" providerId="ADAL" clId="{4457FA57-250B-44AC-8655-05D46C5A3D8A}" dt="2023-06-09T14:46:56.549" v="22653" actId="164"/>
          <ac:spMkLst>
            <pc:docMk/>
            <pc:sldMk cId="1954974880" sldId="230717718"/>
            <ac:spMk id="59" creationId="{2655AD68-470A-4F7E-BF38-1D1C6D555289}"/>
          </ac:spMkLst>
        </pc:spChg>
        <pc:spChg chg="mod">
          <ac:chgData name="Manal El Bakkouri" userId="8b130982-2e3f-4164-b881-fd3a2e4b2453" providerId="ADAL" clId="{4457FA57-250B-44AC-8655-05D46C5A3D8A}" dt="2023-06-09T14:47:09.996" v="22726" actId="1037"/>
          <ac:spMkLst>
            <pc:docMk/>
            <pc:sldMk cId="1954974880" sldId="230717718"/>
            <ac:spMk id="60" creationId="{FD3FA630-6445-4409-827A-899ABB7264D0}"/>
          </ac:spMkLst>
        </pc:spChg>
        <pc:grpChg chg="add mod ord">
          <ac:chgData name="Manal El Bakkouri" userId="8b130982-2e3f-4164-b881-fd3a2e4b2453" providerId="ADAL" clId="{4457FA57-250B-44AC-8655-05D46C5A3D8A}" dt="2023-06-09T14:46:58.618" v="22654" actId="166"/>
          <ac:grpSpMkLst>
            <pc:docMk/>
            <pc:sldMk cId="1954974880" sldId="230717718"/>
            <ac:grpSpMk id="2" creationId="{C3CF8EFC-6084-45BA-AEB7-F192699D5F66}"/>
          </ac:grpSpMkLst>
        </pc:grpChg>
        <pc:grpChg chg="mod">
          <ac:chgData name="Manal El Bakkouri" userId="8b130982-2e3f-4164-b881-fd3a2e4b2453" providerId="ADAL" clId="{4457FA57-250B-44AC-8655-05D46C5A3D8A}" dt="2023-06-09T14:46:56.549" v="22653" actId="164"/>
          <ac:grpSpMkLst>
            <pc:docMk/>
            <pc:sldMk cId="1954974880" sldId="230717718"/>
            <ac:grpSpMk id="21" creationId="{754166C1-C37B-40D0-BFA2-84451516CF50}"/>
          </ac:grpSpMkLst>
        </pc:grpChg>
      </pc:sldChg>
      <pc:sldMasterChg chg="addSldLayout delSldLayout">
        <pc:chgData name="Manal El Bakkouri" userId="8b130982-2e3f-4164-b881-fd3a2e4b2453" providerId="ADAL" clId="{4457FA57-250B-44AC-8655-05D46C5A3D8A}" dt="2023-06-09T14:51:48.266" v="22742" actId="2696"/>
        <pc:sldMasterMkLst>
          <pc:docMk/>
          <pc:sldMasterMk cId="793854995" sldId="2147483757"/>
        </pc:sldMasterMkLst>
        <pc:sldLayoutChg chg="add del">
          <pc:chgData name="Manal El Bakkouri" userId="8b130982-2e3f-4164-b881-fd3a2e4b2453" providerId="ADAL" clId="{4457FA57-250B-44AC-8655-05D46C5A3D8A}" dt="2023-06-06T10:56:09.360" v="9825" actId="2696"/>
          <pc:sldLayoutMkLst>
            <pc:docMk/>
            <pc:sldMasterMk cId="793854995" sldId="2147483757"/>
            <pc:sldLayoutMk cId="1870670545" sldId="2147483815"/>
          </pc:sldLayoutMkLst>
        </pc:sldLayoutChg>
        <pc:sldLayoutChg chg="del">
          <pc:chgData name="Manal El Bakkouri" userId="8b130982-2e3f-4164-b881-fd3a2e4b2453" providerId="ADAL" clId="{4457FA57-250B-44AC-8655-05D46C5A3D8A}" dt="2023-06-09T14:51:48.266" v="22742" actId="2696"/>
          <pc:sldLayoutMkLst>
            <pc:docMk/>
            <pc:sldMasterMk cId="793854995" sldId="2147483757"/>
            <pc:sldLayoutMk cId="2421622333" sldId="2147483816"/>
          </pc:sldLayoutMkLst>
        </pc:sldLayoutChg>
      </pc:sldMasterChg>
    </pc:docChg>
  </pc:docChgLst>
  <pc:docChgLst>
    <pc:chgData name="Ait Mbarek, Mohamed Amine" userId="836f6319-bd9b-43a2-8515-dfddc3d9b8d5" providerId="ADAL" clId="{97F52C40-62F7-4A43-B70C-42547248D06E}"/>
    <pc:docChg chg="undo custSel addSld modSld">
      <pc:chgData name="Ait Mbarek, Mohamed Amine" userId="836f6319-bd9b-43a2-8515-dfddc3d9b8d5" providerId="ADAL" clId="{97F52C40-62F7-4A43-B70C-42547248D06E}" dt="2023-06-05T16:42:28.596" v="2" actId="1076"/>
      <pc:docMkLst>
        <pc:docMk/>
      </pc:docMkLst>
      <pc:sldChg chg="add">
        <pc:chgData name="Ait Mbarek, Mohamed Amine" userId="836f6319-bd9b-43a2-8515-dfddc3d9b8d5" providerId="ADAL" clId="{97F52C40-62F7-4A43-B70C-42547248D06E}" dt="2023-06-01T15:07:13.693" v="0"/>
        <pc:sldMkLst>
          <pc:docMk/>
          <pc:sldMk cId="3693186348" sldId="266"/>
        </pc:sldMkLst>
      </pc:sldChg>
      <pc:sldChg chg="modSp mod">
        <pc:chgData name="Ait Mbarek, Mohamed Amine" userId="836f6319-bd9b-43a2-8515-dfddc3d9b8d5" providerId="ADAL" clId="{97F52C40-62F7-4A43-B70C-42547248D06E}" dt="2023-06-05T16:42:28.596" v="2" actId="1076"/>
        <pc:sldMkLst>
          <pc:docMk/>
          <pc:sldMk cId="106205287" sldId="230717671"/>
        </pc:sldMkLst>
        <pc:picChg chg="mod">
          <ac:chgData name="Ait Mbarek, Mohamed Amine" userId="836f6319-bd9b-43a2-8515-dfddc3d9b8d5" providerId="ADAL" clId="{97F52C40-62F7-4A43-B70C-42547248D06E}" dt="2023-06-05T16:42:28.596" v="2" actId="1076"/>
          <ac:picMkLst>
            <pc:docMk/>
            <pc:sldMk cId="106205287" sldId="230717671"/>
            <ac:picMk id="5" creationId="{B91189E4-3152-41C0-9F69-CE5D36ECD280}"/>
          </ac:picMkLst>
        </pc:picChg>
      </pc:sldChg>
    </pc:docChg>
  </pc:docChgLst>
  <pc:docChgLst>
    <pc:chgData name="Ait Mbarek, Mohamed Amine" userId="836f6319-bd9b-43a2-8515-dfddc3d9b8d5" providerId="ADAL" clId="{8ECA36B2-8E0D-489F-B22C-77D60A6743CD}"/>
    <pc:docChg chg="undo custSel addSld modSld">
      <pc:chgData name="Ait Mbarek, Mohamed Amine" userId="836f6319-bd9b-43a2-8515-dfddc3d9b8d5" providerId="ADAL" clId="{8ECA36B2-8E0D-489F-B22C-77D60A6743CD}" dt="2023-05-17T09:02:36.234" v="28" actId="20577"/>
      <pc:docMkLst>
        <pc:docMk/>
      </pc:docMkLst>
      <pc:sldChg chg="addSp delSp modSp mod">
        <pc:chgData name="Ait Mbarek, Mohamed Amine" userId="836f6319-bd9b-43a2-8515-dfddc3d9b8d5" providerId="ADAL" clId="{8ECA36B2-8E0D-489F-B22C-77D60A6743CD}" dt="2023-05-17T09:02:36.234" v="28" actId="20577"/>
        <pc:sldMkLst>
          <pc:docMk/>
          <pc:sldMk cId="3270476557" sldId="263"/>
        </pc:sldMkLst>
        <pc:spChg chg="mod topLvl">
          <ac:chgData name="Ait Mbarek, Mohamed Amine" userId="836f6319-bd9b-43a2-8515-dfddc3d9b8d5" providerId="ADAL" clId="{8ECA36B2-8E0D-489F-B22C-77D60A6743CD}" dt="2023-05-17T09:00:30.722" v="3" actId="165"/>
          <ac:spMkLst>
            <pc:docMk/>
            <pc:sldMk cId="3270476557" sldId="263"/>
            <ac:spMk id="5" creationId="{59A89B48-976D-422A-87F1-E726FD9C4265}"/>
          </ac:spMkLst>
        </pc:spChg>
        <pc:spChg chg="mod topLvl">
          <ac:chgData name="Ait Mbarek, Mohamed Amine" userId="836f6319-bd9b-43a2-8515-dfddc3d9b8d5" providerId="ADAL" clId="{8ECA36B2-8E0D-489F-B22C-77D60A6743CD}" dt="2023-05-17T09:01:48.588" v="27" actId="20578"/>
          <ac:spMkLst>
            <pc:docMk/>
            <pc:sldMk cId="3270476557" sldId="263"/>
            <ac:spMk id="6" creationId="{C950CF90-E482-434E-BC8A-C9642F0028CE}"/>
          </ac:spMkLst>
        </pc:spChg>
        <pc:spChg chg="mod topLvl">
          <ac:chgData name="Ait Mbarek, Mohamed Amine" userId="836f6319-bd9b-43a2-8515-dfddc3d9b8d5" providerId="ADAL" clId="{8ECA36B2-8E0D-489F-B22C-77D60A6743CD}" dt="2023-05-17T09:00:30.722" v="3" actId="165"/>
          <ac:spMkLst>
            <pc:docMk/>
            <pc:sldMk cId="3270476557" sldId="263"/>
            <ac:spMk id="7" creationId="{9B630D9C-A57B-4899-84DE-A1DABB701BA1}"/>
          </ac:spMkLst>
        </pc:spChg>
        <pc:spChg chg="mod topLvl">
          <ac:chgData name="Ait Mbarek, Mohamed Amine" userId="836f6319-bd9b-43a2-8515-dfddc3d9b8d5" providerId="ADAL" clId="{8ECA36B2-8E0D-489F-B22C-77D60A6743CD}" dt="2023-05-17T09:02:36.234" v="28" actId="20577"/>
          <ac:spMkLst>
            <pc:docMk/>
            <pc:sldMk cId="3270476557" sldId="263"/>
            <ac:spMk id="8" creationId="{4A4B0881-755F-41E4-94D0-C364FFC1AD85}"/>
          </ac:spMkLst>
        </pc:spChg>
        <pc:spChg chg="mod topLvl">
          <ac:chgData name="Ait Mbarek, Mohamed Amine" userId="836f6319-bd9b-43a2-8515-dfddc3d9b8d5" providerId="ADAL" clId="{8ECA36B2-8E0D-489F-B22C-77D60A6743CD}" dt="2023-05-17T09:00:30.722" v="3" actId="165"/>
          <ac:spMkLst>
            <pc:docMk/>
            <pc:sldMk cId="3270476557" sldId="263"/>
            <ac:spMk id="9" creationId="{A4E3A649-1B2F-4D30-A73F-503ECABDD064}"/>
          </ac:spMkLst>
        </pc:spChg>
        <pc:spChg chg="mod">
          <ac:chgData name="Ait Mbarek, Mohamed Amine" userId="836f6319-bd9b-43a2-8515-dfddc3d9b8d5" providerId="ADAL" clId="{8ECA36B2-8E0D-489F-B22C-77D60A6743CD}" dt="2023-05-17T09:00:30.722" v="3" actId="165"/>
          <ac:spMkLst>
            <pc:docMk/>
            <pc:sldMk cId="3270476557" sldId="263"/>
            <ac:spMk id="11" creationId="{AE69BE7C-2D2A-4491-BD92-226C6B8D85CF}"/>
          </ac:spMkLst>
        </pc:spChg>
        <pc:spChg chg="mod">
          <ac:chgData name="Ait Mbarek, Mohamed Amine" userId="836f6319-bd9b-43a2-8515-dfddc3d9b8d5" providerId="ADAL" clId="{8ECA36B2-8E0D-489F-B22C-77D60A6743CD}" dt="2023-05-17T09:00:30.722" v="3" actId="165"/>
          <ac:spMkLst>
            <pc:docMk/>
            <pc:sldMk cId="3270476557" sldId="263"/>
            <ac:spMk id="12" creationId="{57CDBFF8-0259-4B8F-AE35-11B6CE6CE8D9}"/>
          </ac:spMkLst>
        </pc:spChg>
        <pc:spChg chg="mod topLvl">
          <ac:chgData name="Ait Mbarek, Mohamed Amine" userId="836f6319-bd9b-43a2-8515-dfddc3d9b8d5" providerId="ADAL" clId="{8ECA36B2-8E0D-489F-B22C-77D60A6743CD}" dt="2023-05-17T09:00:30.722" v="3" actId="165"/>
          <ac:spMkLst>
            <pc:docMk/>
            <pc:sldMk cId="3270476557" sldId="263"/>
            <ac:spMk id="17" creationId="{B3223313-9EC1-4937-9F10-885D4DC55888}"/>
          </ac:spMkLst>
        </pc:spChg>
        <pc:spChg chg="mod topLvl">
          <ac:chgData name="Ait Mbarek, Mohamed Amine" userId="836f6319-bd9b-43a2-8515-dfddc3d9b8d5" providerId="ADAL" clId="{8ECA36B2-8E0D-489F-B22C-77D60A6743CD}" dt="2023-05-17T09:00:30.722" v="3" actId="165"/>
          <ac:spMkLst>
            <pc:docMk/>
            <pc:sldMk cId="3270476557" sldId="263"/>
            <ac:spMk id="18" creationId="{F88B4211-F30B-490D-BCDB-A98ECC95DC8B}"/>
          </ac:spMkLst>
        </pc:spChg>
        <pc:spChg chg="mod topLvl">
          <ac:chgData name="Ait Mbarek, Mohamed Amine" userId="836f6319-bd9b-43a2-8515-dfddc3d9b8d5" providerId="ADAL" clId="{8ECA36B2-8E0D-489F-B22C-77D60A6743CD}" dt="2023-05-17T09:00:30.722" v="3" actId="165"/>
          <ac:spMkLst>
            <pc:docMk/>
            <pc:sldMk cId="3270476557" sldId="263"/>
            <ac:spMk id="19" creationId="{6B868F8A-1C8A-49F4-9AC7-8C5F8FDD0D6C}"/>
          </ac:spMkLst>
        </pc:spChg>
        <pc:spChg chg="mod topLvl">
          <ac:chgData name="Ait Mbarek, Mohamed Amine" userId="836f6319-bd9b-43a2-8515-dfddc3d9b8d5" providerId="ADAL" clId="{8ECA36B2-8E0D-489F-B22C-77D60A6743CD}" dt="2023-05-17T09:00:43.631" v="8" actId="164"/>
          <ac:spMkLst>
            <pc:docMk/>
            <pc:sldMk cId="3270476557" sldId="263"/>
            <ac:spMk id="20" creationId="{84B03CE6-6871-4A89-B895-9EFA0B85C8D8}"/>
          </ac:spMkLst>
        </pc:spChg>
        <pc:spChg chg="mod">
          <ac:chgData name="Ait Mbarek, Mohamed Amine" userId="836f6319-bd9b-43a2-8515-dfddc3d9b8d5" providerId="ADAL" clId="{8ECA36B2-8E0D-489F-B22C-77D60A6743CD}" dt="2023-05-17T09:00:30.722" v="3" actId="165"/>
          <ac:spMkLst>
            <pc:docMk/>
            <pc:sldMk cId="3270476557" sldId="263"/>
            <ac:spMk id="22" creationId="{9AFB95B1-9DDB-432C-9596-DCBBF02D7FCD}"/>
          </ac:spMkLst>
        </pc:spChg>
        <pc:spChg chg="mod">
          <ac:chgData name="Ait Mbarek, Mohamed Amine" userId="836f6319-bd9b-43a2-8515-dfddc3d9b8d5" providerId="ADAL" clId="{8ECA36B2-8E0D-489F-B22C-77D60A6743CD}" dt="2023-05-17T09:00:30.722" v="3" actId="165"/>
          <ac:spMkLst>
            <pc:docMk/>
            <pc:sldMk cId="3270476557" sldId="263"/>
            <ac:spMk id="23" creationId="{9346D6FC-85FF-45DE-AB57-B1C3E9C4591B}"/>
          </ac:spMkLst>
        </pc:spChg>
        <pc:spChg chg="mod">
          <ac:chgData name="Ait Mbarek, Mohamed Amine" userId="836f6319-bd9b-43a2-8515-dfddc3d9b8d5" providerId="ADAL" clId="{8ECA36B2-8E0D-489F-B22C-77D60A6743CD}" dt="2023-05-17T09:00:30.722" v="3" actId="165"/>
          <ac:spMkLst>
            <pc:docMk/>
            <pc:sldMk cId="3270476557" sldId="263"/>
            <ac:spMk id="24" creationId="{C85D6497-25CE-4E67-9678-AAAE37DDA38C}"/>
          </ac:spMkLst>
        </pc:spChg>
        <pc:spChg chg="mod">
          <ac:chgData name="Ait Mbarek, Mohamed Amine" userId="836f6319-bd9b-43a2-8515-dfddc3d9b8d5" providerId="ADAL" clId="{8ECA36B2-8E0D-489F-B22C-77D60A6743CD}" dt="2023-05-17T09:00:30.722" v="3" actId="165"/>
          <ac:spMkLst>
            <pc:docMk/>
            <pc:sldMk cId="3270476557" sldId="263"/>
            <ac:spMk id="25" creationId="{D738B703-7649-4FDA-90B4-72E8E8BA2F75}"/>
          </ac:spMkLst>
        </pc:spChg>
        <pc:spChg chg="mod">
          <ac:chgData name="Ait Mbarek, Mohamed Amine" userId="836f6319-bd9b-43a2-8515-dfddc3d9b8d5" providerId="ADAL" clId="{8ECA36B2-8E0D-489F-B22C-77D60A6743CD}" dt="2023-05-17T09:00:30.722" v="3" actId="165"/>
          <ac:spMkLst>
            <pc:docMk/>
            <pc:sldMk cId="3270476557" sldId="263"/>
            <ac:spMk id="26" creationId="{A597C6C1-6EBB-4D54-990D-A26006EFC07D}"/>
          </ac:spMkLst>
        </pc:spChg>
        <pc:spChg chg="mod">
          <ac:chgData name="Ait Mbarek, Mohamed Amine" userId="836f6319-bd9b-43a2-8515-dfddc3d9b8d5" providerId="ADAL" clId="{8ECA36B2-8E0D-489F-B22C-77D60A6743CD}" dt="2023-05-17T09:00:30.722" v="3" actId="165"/>
          <ac:spMkLst>
            <pc:docMk/>
            <pc:sldMk cId="3270476557" sldId="263"/>
            <ac:spMk id="27" creationId="{B2E8A827-0D0A-47AA-BE2A-24595C6AB87C}"/>
          </ac:spMkLst>
        </pc:spChg>
        <pc:spChg chg="mod">
          <ac:chgData name="Ait Mbarek, Mohamed Amine" userId="836f6319-bd9b-43a2-8515-dfddc3d9b8d5" providerId="ADAL" clId="{8ECA36B2-8E0D-489F-B22C-77D60A6743CD}" dt="2023-05-17T09:00:30.722" v="3" actId="165"/>
          <ac:spMkLst>
            <pc:docMk/>
            <pc:sldMk cId="3270476557" sldId="263"/>
            <ac:spMk id="28" creationId="{ED45CC3D-54E4-4B01-A78B-0ABD2C0EC309}"/>
          </ac:spMkLst>
        </pc:spChg>
        <pc:spChg chg="mod">
          <ac:chgData name="Ait Mbarek, Mohamed Amine" userId="836f6319-bd9b-43a2-8515-dfddc3d9b8d5" providerId="ADAL" clId="{8ECA36B2-8E0D-489F-B22C-77D60A6743CD}" dt="2023-05-17T09:00:30.722" v="3" actId="165"/>
          <ac:spMkLst>
            <pc:docMk/>
            <pc:sldMk cId="3270476557" sldId="263"/>
            <ac:spMk id="29" creationId="{CDF44754-CB63-46AD-AAD4-679219D26F92}"/>
          </ac:spMkLst>
        </pc:spChg>
        <pc:spChg chg="mod">
          <ac:chgData name="Ait Mbarek, Mohamed Amine" userId="836f6319-bd9b-43a2-8515-dfddc3d9b8d5" providerId="ADAL" clId="{8ECA36B2-8E0D-489F-B22C-77D60A6743CD}" dt="2023-05-17T09:00:30.722" v="3" actId="165"/>
          <ac:spMkLst>
            <pc:docMk/>
            <pc:sldMk cId="3270476557" sldId="263"/>
            <ac:spMk id="30" creationId="{46DA00BB-66F1-4F5A-B831-28D2E3EF2546}"/>
          </ac:spMkLst>
        </pc:spChg>
        <pc:spChg chg="mod">
          <ac:chgData name="Ait Mbarek, Mohamed Amine" userId="836f6319-bd9b-43a2-8515-dfddc3d9b8d5" providerId="ADAL" clId="{8ECA36B2-8E0D-489F-B22C-77D60A6743CD}" dt="2023-05-17T09:00:30.722" v="3" actId="165"/>
          <ac:spMkLst>
            <pc:docMk/>
            <pc:sldMk cId="3270476557" sldId="263"/>
            <ac:spMk id="32" creationId="{97C05E92-3AB6-407D-BEC8-757A81012E30}"/>
          </ac:spMkLst>
        </pc:spChg>
        <pc:spChg chg="mod">
          <ac:chgData name="Ait Mbarek, Mohamed Amine" userId="836f6319-bd9b-43a2-8515-dfddc3d9b8d5" providerId="ADAL" clId="{8ECA36B2-8E0D-489F-B22C-77D60A6743CD}" dt="2023-05-17T09:00:30.722" v="3" actId="165"/>
          <ac:spMkLst>
            <pc:docMk/>
            <pc:sldMk cId="3270476557" sldId="263"/>
            <ac:spMk id="33" creationId="{21F03BF1-D317-4963-8970-0F7C21296C32}"/>
          </ac:spMkLst>
        </pc:spChg>
        <pc:spChg chg="mod">
          <ac:chgData name="Ait Mbarek, Mohamed Amine" userId="836f6319-bd9b-43a2-8515-dfddc3d9b8d5" providerId="ADAL" clId="{8ECA36B2-8E0D-489F-B22C-77D60A6743CD}" dt="2023-05-17T09:00:30.722" v="3" actId="165"/>
          <ac:spMkLst>
            <pc:docMk/>
            <pc:sldMk cId="3270476557" sldId="263"/>
            <ac:spMk id="35" creationId="{5D86671B-C872-4BC9-96C1-C97B12E0E590}"/>
          </ac:spMkLst>
        </pc:spChg>
        <pc:spChg chg="mod">
          <ac:chgData name="Ait Mbarek, Mohamed Amine" userId="836f6319-bd9b-43a2-8515-dfddc3d9b8d5" providerId="ADAL" clId="{8ECA36B2-8E0D-489F-B22C-77D60A6743CD}" dt="2023-05-17T09:00:30.722" v="3" actId="165"/>
          <ac:spMkLst>
            <pc:docMk/>
            <pc:sldMk cId="3270476557" sldId="263"/>
            <ac:spMk id="36" creationId="{623FE02D-DB33-4F75-89DC-5F3967FDF689}"/>
          </ac:spMkLst>
        </pc:spChg>
        <pc:spChg chg="mod">
          <ac:chgData name="Ait Mbarek, Mohamed Amine" userId="836f6319-bd9b-43a2-8515-dfddc3d9b8d5" providerId="ADAL" clId="{8ECA36B2-8E0D-489F-B22C-77D60A6743CD}" dt="2023-05-17T09:00:30.722" v="3" actId="165"/>
          <ac:spMkLst>
            <pc:docMk/>
            <pc:sldMk cId="3270476557" sldId="263"/>
            <ac:spMk id="38" creationId="{C571FE6B-D66C-4D15-B32A-C005BB1C5FF3}"/>
          </ac:spMkLst>
        </pc:spChg>
        <pc:spChg chg="mod">
          <ac:chgData name="Ait Mbarek, Mohamed Amine" userId="836f6319-bd9b-43a2-8515-dfddc3d9b8d5" providerId="ADAL" clId="{8ECA36B2-8E0D-489F-B22C-77D60A6743CD}" dt="2023-05-17T09:00:30.722" v="3" actId="165"/>
          <ac:spMkLst>
            <pc:docMk/>
            <pc:sldMk cId="3270476557" sldId="263"/>
            <ac:spMk id="39" creationId="{490146CF-71BC-4F10-ACC8-22170DA2EFA1}"/>
          </ac:spMkLst>
        </pc:spChg>
        <pc:grpChg chg="add mod">
          <ac:chgData name="Ait Mbarek, Mohamed Amine" userId="836f6319-bd9b-43a2-8515-dfddc3d9b8d5" providerId="ADAL" clId="{8ECA36B2-8E0D-489F-B22C-77D60A6743CD}" dt="2023-05-17T09:01:04.346" v="16" actId="14100"/>
          <ac:grpSpMkLst>
            <pc:docMk/>
            <pc:sldMk cId="3270476557" sldId="263"/>
            <ac:grpSpMk id="2" creationId="{2E8DD678-DB97-4E1D-AF42-D6A9CF156A02}"/>
          </ac:grpSpMkLst>
        </pc:grpChg>
        <pc:grpChg chg="mod topLvl">
          <ac:chgData name="Ait Mbarek, Mohamed Amine" userId="836f6319-bd9b-43a2-8515-dfddc3d9b8d5" providerId="ADAL" clId="{8ECA36B2-8E0D-489F-B22C-77D60A6743CD}" dt="2023-05-17T09:00:30.722" v="3" actId="165"/>
          <ac:grpSpMkLst>
            <pc:docMk/>
            <pc:sldMk cId="3270476557" sldId="263"/>
            <ac:grpSpMk id="10" creationId="{C21934AC-6260-4750-A49E-5ADC45D87002}"/>
          </ac:grpSpMkLst>
        </pc:grpChg>
        <pc:grpChg chg="mod topLvl">
          <ac:chgData name="Ait Mbarek, Mohamed Amine" userId="836f6319-bd9b-43a2-8515-dfddc3d9b8d5" providerId="ADAL" clId="{8ECA36B2-8E0D-489F-B22C-77D60A6743CD}" dt="2023-05-17T09:00:30.722" v="3" actId="165"/>
          <ac:grpSpMkLst>
            <pc:docMk/>
            <pc:sldMk cId="3270476557" sldId="263"/>
            <ac:grpSpMk id="21" creationId="{74782AAD-9AA8-4747-8E17-C90EFE30103C}"/>
          </ac:grpSpMkLst>
        </pc:grpChg>
        <pc:grpChg chg="mod topLvl">
          <ac:chgData name="Ait Mbarek, Mohamed Amine" userId="836f6319-bd9b-43a2-8515-dfddc3d9b8d5" providerId="ADAL" clId="{8ECA36B2-8E0D-489F-B22C-77D60A6743CD}" dt="2023-05-17T09:00:30.722" v="3" actId="165"/>
          <ac:grpSpMkLst>
            <pc:docMk/>
            <pc:sldMk cId="3270476557" sldId="263"/>
            <ac:grpSpMk id="31" creationId="{6A38A6F1-22C8-4C49-9935-C2A21AB748AA}"/>
          </ac:grpSpMkLst>
        </pc:grpChg>
        <pc:grpChg chg="mod topLvl">
          <ac:chgData name="Ait Mbarek, Mohamed Amine" userId="836f6319-bd9b-43a2-8515-dfddc3d9b8d5" providerId="ADAL" clId="{8ECA36B2-8E0D-489F-B22C-77D60A6743CD}" dt="2023-05-17T09:00:43.631" v="8" actId="164"/>
          <ac:grpSpMkLst>
            <pc:docMk/>
            <pc:sldMk cId="3270476557" sldId="263"/>
            <ac:grpSpMk id="34" creationId="{525CEB3A-7A5D-47C8-9CF8-1B00BB7AD328}"/>
          </ac:grpSpMkLst>
        </pc:grpChg>
        <pc:grpChg chg="mod topLvl">
          <ac:chgData name="Ait Mbarek, Mohamed Amine" userId="836f6319-bd9b-43a2-8515-dfddc3d9b8d5" providerId="ADAL" clId="{8ECA36B2-8E0D-489F-B22C-77D60A6743CD}" dt="2023-05-17T09:00:30.722" v="3" actId="165"/>
          <ac:grpSpMkLst>
            <pc:docMk/>
            <pc:sldMk cId="3270476557" sldId="263"/>
            <ac:grpSpMk id="37" creationId="{8EC4674F-3C5B-4954-859D-C4B5295B0CFF}"/>
          </ac:grpSpMkLst>
        </pc:grpChg>
        <pc:grpChg chg="del">
          <ac:chgData name="Ait Mbarek, Mohamed Amine" userId="836f6319-bd9b-43a2-8515-dfddc3d9b8d5" providerId="ADAL" clId="{8ECA36B2-8E0D-489F-B22C-77D60A6743CD}" dt="2023-05-17T09:00:30.722" v="3" actId="165"/>
          <ac:grpSpMkLst>
            <pc:docMk/>
            <pc:sldMk cId="3270476557" sldId="263"/>
            <ac:grpSpMk id="46" creationId="{3CAD5863-67CC-4624-AFF3-1AD4B226355C}"/>
          </ac:grpSpMkLst>
        </pc:grpChg>
        <pc:cxnChg chg="mod topLvl">
          <ac:chgData name="Ait Mbarek, Mohamed Amine" userId="836f6319-bd9b-43a2-8515-dfddc3d9b8d5" providerId="ADAL" clId="{8ECA36B2-8E0D-489F-B22C-77D60A6743CD}" dt="2023-05-17T09:01:18.304" v="21" actId="14100"/>
          <ac:cxnSpMkLst>
            <pc:docMk/>
            <pc:sldMk cId="3270476557" sldId="263"/>
            <ac:cxnSpMk id="40" creationId="{DB9B7D34-3E69-4F38-82C5-51CF4F5AEE06}"/>
          </ac:cxnSpMkLst>
        </pc:cxnChg>
        <pc:cxnChg chg="mod topLvl">
          <ac:chgData name="Ait Mbarek, Mohamed Amine" userId="836f6319-bd9b-43a2-8515-dfddc3d9b8d5" providerId="ADAL" clId="{8ECA36B2-8E0D-489F-B22C-77D60A6743CD}" dt="2023-05-17T09:00:30.722" v="3" actId="165"/>
          <ac:cxnSpMkLst>
            <pc:docMk/>
            <pc:sldMk cId="3270476557" sldId="263"/>
            <ac:cxnSpMk id="41" creationId="{468D4790-182B-4E75-955D-E5ED17B9E326}"/>
          </ac:cxnSpMkLst>
        </pc:cxnChg>
        <pc:cxnChg chg="mod topLvl">
          <ac:chgData name="Ait Mbarek, Mohamed Amine" userId="836f6319-bd9b-43a2-8515-dfddc3d9b8d5" providerId="ADAL" clId="{8ECA36B2-8E0D-489F-B22C-77D60A6743CD}" dt="2023-05-17T09:00:30.722" v="3" actId="165"/>
          <ac:cxnSpMkLst>
            <pc:docMk/>
            <pc:sldMk cId="3270476557" sldId="263"/>
            <ac:cxnSpMk id="42" creationId="{3157A2DC-BA7F-42B4-AF1F-AF2A52B9F5AC}"/>
          </ac:cxnSpMkLst>
        </pc:cxnChg>
        <pc:cxnChg chg="mod topLvl">
          <ac:chgData name="Ait Mbarek, Mohamed Amine" userId="836f6319-bd9b-43a2-8515-dfddc3d9b8d5" providerId="ADAL" clId="{8ECA36B2-8E0D-489F-B22C-77D60A6743CD}" dt="2023-05-17T09:00:30.722" v="3" actId="165"/>
          <ac:cxnSpMkLst>
            <pc:docMk/>
            <pc:sldMk cId="3270476557" sldId="263"/>
            <ac:cxnSpMk id="43" creationId="{E9070D03-2592-4A7A-B874-BCFC481275CA}"/>
          </ac:cxnSpMkLst>
        </pc:cxnChg>
      </pc:sldChg>
      <pc:sldChg chg="add">
        <pc:chgData name="Ait Mbarek, Mohamed Amine" userId="836f6319-bd9b-43a2-8515-dfddc3d9b8d5" providerId="ADAL" clId="{8ECA36B2-8E0D-489F-B22C-77D60A6743CD}" dt="2023-05-17T09:00:00.411" v="0"/>
        <pc:sldMkLst>
          <pc:docMk/>
          <pc:sldMk cId="327435205" sldId="230717611"/>
        </pc:sldMkLst>
      </pc:sldChg>
    </pc:docChg>
  </pc:docChgLst>
  <pc:docChgLst>
    <pc:chgData name="El Bakkouri, Manal" userId="8b130982-2e3f-4164-b881-fd3a2e4b2453" providerId="ADAL" clId="{4457FA57-250B-44AC-8655-05D46C5A3D8A}"/>
    <pc:docChg chg="undo redo custSel addSld delSld modSld sldOrd">
      <pc:chgData name="El Bakkouri, Manal" userId="8b130982-2e3f-4164-b881-fd3a2e4b2453" providerId="ADAL" clId="{4457FA57-250B-44AC-8655-05D46C5A3D8A}" dt="2023-06-13T11:25:06.204" v="16038" actId="20577"/>
      <pc:docMkLst>
        <pc:docMk/>
      </pc:docMkLst>
      <pc:sldChg chg="addSp delSp modSp del mod ord setBg modAnim">
        <pc:chgData name="El Bakkouri, Manal" userId="8b130982-2e3f-4164-b881-fd3a2e4b2453" providerId="ADAL" clId="{4457FA57-250B-44AC-8655-05D46C5A3D8A}" dt="2023-05-19T08:10:15.472" v="4556" actId="2696"/>
        <pc:sldMkLst>
          <pc:docMk/>
          <pc:sldMk cId="3923586874" sldId="257"/>
        </pc:sldMkLst>
        <pc:spChg chg="mod">
          <ac:chgData name="El Bakkouri, Manal" userId="8b130982-2e3f-4164-b881-fd3a2e4b2453" providerId="ADAL" clId="{4457FA57-250B-44AC-8655-05D46C5A3D8A}" dt="2023-05-17T14:07:27.414" v="2534" actId="164"/>
          <ac:spMkLst>
            <pc:docMk/>
            <pc:sldMk cId="3923586874" sldId="257"/>
            <ac:spMk id="6" creationId="{007DB17D-1A68-4581-A55F-731F4FDC9101}"/>
          </ac:spMkLst>
        </pc:spChg>
        <pc:spChg chg="mod">
          <ac:chgData name="El Bakkouri, Manal" userId="8b130982-2e3f-4164-b881-fd3a2e4b2453" providerId="ADAL" clId="{4457FA57-250B-44AC-8655-05D46C5A3D8A}" dt="2023-05-17T14:07:27.414" v="2534" actId="164"/>
          <ac:spMkLst>
            <pc:docMk/>
            <pc:sldMk cId="3923586874" sldId="257"/>
            <ac:spMk id="7" creationId="{C0B63283-8078-46AC-8D79-9A6C6EC5662D}"/>
          </ac:spMkLst>
        </pc:spChg>
        <pc:spChg chg="mod">
          <ac:chgData name="El Bakkouri, Manal" userId="8b130982-2e3f-4164-b881-fd3a2e4b2453" providerId="ADAL" clId="{4457FA57-250B-44AC-8655-05D46C5A3D8A}" dt="2023-05-17T14:07:58.635" v="2537"/>
          <ac:spMkLst>
            <pc:docMk/>
            <pc:sldMk cId="3923586874" sldId="257"/>
            <ac:spMk id="10" creationId="{B6AA1AB6-196D-4AC4-B28A-85A775039A5A}"/>
          </ac:spMkLst>
        </pc:spChg>
        <pc:spChg chg="mod">
          <ac:chgData name="El Bakkouri, Manal" userId="8b130982-2e3f-4164-b881-fd3a2e4b2453" providerId="ADAL" clId="{4457FA57-250B-44AC-8655-05D46C5A3D8A}" dt="2023-05-17T14:07:58.635" v="2537"/>
          <ac:spMkLst>
            <pc:docMk/>
            <pc:sldMk cId="3923586874" sldId="257"/>
            <ac:spMk id="11" creationId="{1E877349-4691-4244-9A42-36A0AA5B5CA7}"/>
          </ac:spMkLst>
        </pc:spChg>
        <pc:spChg chg="mod">
          <ac:chgData name="El Bakkouri, Manal" userId="8b130982-2e3f-4164-b881-fd3a2e4b2453" providerId="ADAL" clId="{4457FA57-250B-44AC-8655-05D46C5A3D8A}" dt="2023-05-17T14:12:12.162" v="2575" actId="208"/>
          <ac:spMkLst>
            <pc:docMk/>
            <pc:sldMk cId="3923586874" sldId="257"/>
            <ac:spMk id="13" creationId="{114F29FB-8199-4271-8413-57B0ACE5DE12}"/>
          </ac:spMkLst>
        </pc:spChg>
        <pc:spChg chg="mod">
          <ac:chgData name="El Bakkouri, Manal" userId="8b130982-2e3f-4164-b881-fd3a2e4b2453" providerId="ADAL" clId="{4457FA57-250B-44AC-8655-05D46C5A3D8A}" dt="2023-05-17T14:12:18.597" v="2578" actId="207"/>
          <ac:spMkLst>
            <pc:docMk/>
            <pc:sldMk cId="3923586874" sldId="257"/>
            <ac:spMk id="14" creationId="{EF785489-4E84-41CC-8B52-19810BE53C71}"/>
          </ac:spMkLst>
        </pc:spChg>
        <pc:spChg chg="mod">
          <ac:chgData name="El Bakkouri, Manal" userId="8b130982-2e3f-4164-b881-fd3a2e4b2453" providerId="ADAL" clId="{4457FA57-250B-44AC-8655-05D46C5A3D8A}" dt="2023-05-17T14:08:15.343" v="2543" actId="1076"/>
          <ac:spMkLst>
            <pc:docMk/>
            <pc:sldMk cId="3923586874" sldId="257"/>
            <ac:spMk id="16" creationId="{0C28B718-A3D8-4889-8E14-790BC3E37AA7}"/>
          </ac:spMkLst>
        </pc:spChg>
        <pc:spChg chg="mod">
          <ac:chgData name="El Bakkouri, Manal" userId="8b130982-2e3f-4164-b881-fd3a2e4b2453" providerId="ADAL" clId="{4457FA57-250B-44AC-8655-05D46C5A3D8A}" dt="2023-05-17T14:08:11.444" v="2541"/>
          <ac:spMkLst>
            <pc:docMk/>
            <pc:sldMk cId="3923586874" sldId="257"/>
            <ac:spMk id="17" creationId="{D518A62E-3BF3-411F-B520-C7FCCE6AE0FA}"/>
          </ac:spMkLst>
        </pc:spChg>
        <pc:spChg chg="mod">
          <ac:chgData name="El Bakkouri, Manal" userId="8b130982-2e3f-4164-b881-fd3a2e4b2453" providerId="ADAL" clId="{4457FA57-250B-44AC-8655-05D46C5A3D8A}" dt="2023-05-17T14:12:37.014" v="2580" actId="208"/>
          <ac:spMkLst>
            <pc:docMk/>
            <pc:sldMk cId="3923586874" sldId="257"/>
            <ac:spMk id="19" creationId="{4B3B7FDF-BAF1-492C-BEF5-B15E68EA58B2}"/>
          </ac:spMkLst>
        </pc:spChg>
        <pc:spChg chg="mod">
          <ac:chgData name="El Bakkouri, Manal" userId="8b130982-2e3f-4164-b881-fd3a2e4b2453" providerId="ADAL" clId="{4457FA57-250B-44AC-8655-05D46C5A3D8A}" dt="2023-05-17T14:12:42.483" v="2581" actId="207"/>
          <ac:spMkLst>
            <pc:docMk/>
            <pc:sldMk cId="3923586874" sldId="257"/>
            <ac:spMk id="20" creationId="{E7FB91E8-FAB8-4D92-88D4-3AD2415F3C8D}"/>
          </ac:spMkLst>
        </pc:spChg>
        <pc:spChg chg="mod">
          <ac:chgData name="El Bakkouri, Manal" userId="8b130982-2e3f-4164-b881-fd3a2e4b2453" providerId="ADAL" clId="{4457FA57-250B-44AC-8655-05D46C5A3D8A}" dt="2023-05-17T14:12:54.987" v="2583" actId="208"/>
          <ac:spMkLst>
            <pc:docMk/>
            <pc:sldMk cId="3923586874" sldId="257"/>
            <ac:spMk id="22" creationId="{CCEC7D36-14F3-4C60-B74A-E88E26A7551A}"/>
          </ac:spMkLst>
        </pc:spChg>
        <pc:spChg chg="mod">
          <ac:chgData name="El Bakkouri, Manal" userId="8b130982-2e3f-4164-b881-fd3a2e4b2453" providerId="ADAL" clId="{4457FA57-250B-44AC-8655-05D46C5A3D8A}" dt="2023-05-17T14:13:07.923" v="2586" actId="2085"/>
          <ac:spMkLst>
            <pc:docMk/>
            <pc:sldMk cId="3923586874" sldId="257"/>
            <ac:spMk id="23" creationId="{A627BDAD-494C-4098-8574-08B743ADE632}"/>
          </ac:spMkLst>
        </pc:spChg>
        <pc:grpChg chg="add mod">
          <ac:chgData name="El Bakkouri, Manal" userId="8b130982-2e3f-4164-b881-fd3a2e4b2453" providerId="ADAL" clId="{4457FA57-250B-44AC-8655-05D46C5A3D8A}" dt="2023-05-17T14:11:14.088" v="2566" actId="1076"/>
          <ac:grpSpMkLst>
            <pc:docMk/>
            <pc:sldMk cId="3923586874" sldId="257"/>
            <ac:grpSpMk id="8" creationId="{A2D83CBF-515F-4F55-B324-C8E8F07B252C}"/>
          </ac:grpSpMkLst>
        </pc:grpChg>
        <pc:grpChg chg="add del mod">
          <ac:chgData name="El Bakkouri, Manal" userId="8b130982-2e3f-4164-b881-fd3a2e4b2453" providerId="ADAL" clId="{4457FA57-250B-44AC-8655-05D46C5A3D8A}" dt="2023-05-17T14:10:24.624" v="2554" actId="478"/>
          <ac:grpSpMkLst>
            <pc:docMk/>
            <pc:sldMk cId="3923586874" sldId="257"/>
            <ac:grpSpMk id="9" creationId="{66DF216A-0203-4014-A3E7-1CB4E7E3F387}"/>
          </ac:grpSpMkLst>
        </pc:grpChg>
        <pc:grpChg chg="add del mod">
          <ac:chgData name="El Bakkouri, Manal" userId="8b130982-2e3f-4164-b881-fd3a2e4b2453" providerId="ADAL" clId="{4457FA57-250B-44AC-8655-05D46C5A3D8A}" dt="2023-05-17T14:14:48.185" v="2594" actId="478"/>
          <ac:grpSpMkLst>
            <pc:docMk/>
            <pc:sldMk cId="3923586874" sldId="257"/>
            <ac:grpSpMk id="12" creationId="{EB575078-816F-4FBE-AD85-C5EB1FC5D3B1}"/>
          </ac:grpSpMkLst>
        </pc:grpChg>
        <pc:grpChg chg="add del mod">
          <ac:chgData name="El Bakkouri, Manal" userId="8b130982-2e3f-4164-b881-fd3a2e4b2453" providerId="ADAL" clId="{4457FA57-250B-44AC-8655-05D46C5A3D8A}" dt="2023-05-17T14:10:26.779" v="2555" actId="478"/>
          <ac:grpSpMkLst>
            <pc:docMk/>
            <pc:sldMk cId="3923586874" sldId="257"/>
            <ac:grpSpMk id="15" creationId="{CC398D64-C7D5-4ED0-AB23-7F1E3D4FDAF6}"/>
          </ac:grpSpMkLst>
        </pc:grpChg>
        <pc:grpChg chg="add del mod">
          <ac:chgData name="El Bakkouri, Manal" userId="8b130982-2e3f-4164-b881-fd3a2e4b2453" providerId="ADAL" clId="{4457FA57-250B-44AC-8655-05D46C5A3D8A}" dt="2023-05-17T14:14:48.996" v="2595" actId="478"/>
          <ac:grpSpMkLst>
            <pc:docMk/>
            <pc:sldMk cId="3923586874" sldId="257"/>
            <ac:grpSpMk id="18" creationId="{B01E8A97-E976-4717-85FD-668EE62A7552}"/>
          </ac:grpSpMkLst>
        </pc:grpChg>
        <pc:grpChg chg="add del mod">
          <ac:chgData name="El Bakkouri, Manal" userId="8b130982-2e3f-4164-b881-fd3a2e4b2453" providerId="ADAL" clId="{4457FA57-250B-44AC-8655-05D46C5A3D8A}" dt="2023-05-17T14:14:49.740" v="2596" actId="478"/>
          <ac:grpSpMkLst>
            <pc:docMk/>
            <pc:sldMk cId="3923586874" sldId="257"/>
            <ac:grpSpMk id="21" creationId="{854F33E3-6DAC-4D07-B038-735B7FFE0577}"/>
          </ac:grpSpMkLst>
        </pc:grpChg>
        <pc:picChg chg="mod">
          <ac:chgData name="El Bakkouri, Manal" userId="8b130982-2e3f-4164-b881-fd3a2e4b2453" providerId="ADAL" clId="{4457FA57-250B-44AC-8655-05D46C5A3D8A}" dt="2023-05-17T14:11:10.241" v="2565" actId="1076"/>
          <ac:picMkLst>
            <pc:docMk/>
            <pc:sldMk cId="3923586874" sldId="257"/>
            <ac:picMk id="5" creationId="{3B968451-5753-4F94-9D25-462CBF10B4E9}"/>
          </ac:picMkLst>
        </pc:picChg>
      </pc:sldChg>
      <pc:sldChg chg="del">
        <pc:chgData name="El Bakkouri, Manal" userId="8b130982-2e3f-4164-b881-fd3a2e4b2453" providerId="ADAL" clId="{4457FA57-250B-44AC-8655-05D46C5A3D8A}" dt="2023-05-19T08:16:58.663" v="4651" actId="2696"/>
        <pc:sldMkLst>
          <pc:docMk/>
          <pc:sldMk cId="1101509147" sldId="258"/>
        </pc:sldMkLst>
      </pc:sldChg>
      <pc:sldChg chg="del">
        <pc:chgData name="El Bakkouri, Manal" userId="8b130982-2e3f-4164-b881-fd3a2e4b2453" providerId="ADAL" clId="{4457FA57-250B-44AC-8655-05D46C5A3D8A}" dt="2023-05-19T08:17:02.119" v="4652" actId="2696"/>
        <pc:sldMkLst>
          <pc:docMk/>
          <pc:sldMk cId="2733479168" sldId="259"/>
        </pc:sldMkLst>
      </pc:sldChg>
      <pc:sldChg chg="del">
        <pc:chgData name="El Bakkouri, Manal" userId="8b130982-2e3f-4164-b881-fd3a2e4b2453" providerId="ADAL" clId="{4457FA57-250B-44AC-8655-05D46C5A3D8A}" dt="2023-05-19T08:16:55.169" v="4650" actId="2696"/>
        <pc:sldMkLst>
          <pc:docMk/>
          <pc:sldMk cId="3410700688" sldId="260"/>
        </pc:sldMkLst>
      </pc:sldChg>
      <pc:sldChg chg="modSp del mod">
        <pc:chgData name="El Bakkouri, Manal" userId="8b130982-2e3f-4164-b881-fd3a2e4b2453" providerId="ADAL" clId="{4457FA57-250B-44AC-8655-05D46C5A3D8A}" dt="2023-05-19T08:16:50.749" v="4648" actId="2696"/>
        <pc:sldMkLst>
          <pc:docMk/>
          <pc:sldMk cId="1623925635" sldId="261"/>
        </pc:sldMkLst>
        <pc:spChg chg="mod">
          <ac:chgData name="El Bakkouri, Manal" userId="8b130982-2e3f-4164-b881-fd3a2e4b2453" providerId="ADAL" clId="{4457FA57-250B-44AC-8655-05D46C5A3D8A}" dt="2023-05-16T13:51:39.306" v="3" actId="207"/>
          <ac:spMkLst>
            <pc:docMk/>
            <pc:sldMk cId="1623925635" sldId="261"/>
            <ac:spMk id="31" creationId="{0775A51F-D9D6-4999-83EB-30144E705AEE}"/>
          </ac:spMkLst>
        </pc:spChg>
        <pc:spChg chg="mod">
          <ac:chgData name="El Bakkouri, Manal" userId="8b130982-2e3f-4164-b881-fd3a2e4b2453" providerId="ADAL" clId="{4457FA57-250B-44AC-8655-05D46C5A3D8A}" dt="2023-05-16T13:51:39.306" v="3" actId="207"/>
          <ac:spMkLst>
            <pc:docMk/>
            <pc:sldMk cId="1623925635" sldId="261"/>
            <ac:spMk id="32" creationId="{3504C098-A63B-4010-87E1-BBB4C5CBD444}"/>
          </ac:spMkLst>
        </pc:spChg>
        <pc:grpChg chg="mod">
          <ac:chgData name="El Bakkouri, Manal" userId="8b130982-2e3f-4164-b881-fd3a2e4b2453" providerId="ADAL" clId="{4457FA57-250B-44AC-8655-05D46C5A3D8A}" dt="2023-05-16T13:51:39.306" v="3" actId="207"/>
          <ac:grpSpMkLst>
            <pc:docMk/>
            <pc:sldMk cId="1623925635" sldId="261"/>
            <ac:grpSpMk id="30" creationId="{79ABE484-B778-43A4-89A8-C2F6D8B17093}"/>
          </ac:grpSpMkLst>
        </pc:grpChg>
      </pc:sldChg>
      <pc:sldChg chg="del">
        <pc:chgData name="El Bakkouri, Manal" userId="8b130982-2e3f-4164-b881-fd3a2e4b2453" providerId="ADAL" clId="{4457FA57-250B-44AC-8655-05D46C5A3D8A}" dt="2023-05-19T08:16:53.007" v="4649" actId="2696"/>
        <pc:sldMkLst>
          <pc:docMk/>
          <pc:sldMk cId="358065188" sldId="262"/>
        </pc:sldMkLst>
      </pc:sldChg>
      <pc:sldChg chg="addSp delSp modSp new mod ord modTransition modAnim">
        <pc:chgData name="El Bakkouri, Manal" userId="8b130982-2e3f-4164-b881-fd3a2e4b2453" providerId="ADAL" clId="{4457FA57-250B-44AC-8655-05D46C5A3D8A}" dt="2023-05-31T13:16:55.515" v="14596"/>
        <pc:sldMkLst>
          <pc:docMk/>
          <pc:sldMk cId="3270476557" sldId="263"/>
        </pc:sldMkLst>
        <pc:spChg chg="del">
          <ac:chgData name="El Bakkouri, Manal" userId="8b130982-2e3f-4164-b881-fd3a2e4b2453" providerId="ADAL" clId="{4457FA57-250B-44AC-8655-05D46C5A3D8A}" dt="2023-05-16T16:09:03.228" v="7" actId="478"/>
          <ac:spMkLst>
            <pc:docMk/>
            <pc:sldMk cId="3270476557" sldId="263"/>
            <ac:spMk id="2" creationId="{309DA09C-4E9A-442C-9D11-544EF45E5AAE}"/>
          </ac:spMkLst>
        </pc:spChg>
        <pc:spChg chg="del">
          <ac:chgData name="El Bakkouri, Manal" userId="8b130982-2e3f-4164-b881-fd3a2e4b2453" providerId="ADAL" clId="{4457FA57-250B-44AC-8655-05D46C5A3D8A}" dt="2023-05-16T16:09:06.062" v="8" actId="478"/>
          <ac:spMkLst>
            <pc:docMk/>
            <pc:sldMk cId="3270476557" sldId="263"/>
            <ac:spMk id="3" creationId="{F401E145-8E14-4C01-A9CB-60503D8BAC40}"/>
          </ac:spMkLst>
        </pc:spChg>
        <pc:spChg chg="del">
          <ac:chgData name="El Bakkouri, Manal" userId="8b130982-2e3f-4164-b881-fd3a2e4b2453" providerId="ADAL" clId="{4457FA57-250B-44AC-8655-05D46C5A3D8A}" dt="2023-05-16T16:46:18.543" v="594" actId="478"/>
          <ac:spMkLst>
            <pc:docMk/>
            <pc:sldMk cId="3270476557" sldId="263"/>
            <ac:spMk id="4" creationId="{ED684076-167E-4C47-BEB2-79090BF6AE22}"/>
          </ac:spMkLst>
        </pc:spChg>
        <pc:spChg chg="add mod">
          <ac:chgData name="El Bakkouri, Manal" userId="8b130982-2e3f-4164-b881-fd3a2e4b2453" providerId="ADAL" clId="{4457FA57-250B-44AC-8655-05D46C5A3D8A}" dt="2023-05-19T10:29:25.846" v="5742" actId="164"/>
          <ac:spMkLst>
            <pc:docMk/>
            <pc:sldMk cId="3270476557" sldId="263"/>
            <ac:spMk id="5" creationId="{59A89B48-976D-422A-87F1-E726FD9C4265}"/>
          </ac:spMkLst>
        </pc:spChg>
        <pc:spChg chg="add mod">
          <ac:chgData name="El Bakkouri, Manal" userId="8b130982-2e3f-4164-b881-fd3a2e4b2453" providerId="ADAL" clId="{4457FA57-250B-44AC-8655-05D46C5A3D8A}" dt="2023-05-17T10:07:01.450" v="1417" actId="554"/>
          <ac:spMkLst>
            <pc:docMk/>
            <pc:sldMk cId="3270476557" sldId="263"/>
            <ac:spMk id="6" creationId="{C950CF90-E482-434E-BC8A-C9642F0028CE}"/>
          </ac:spMkLst>
        </pc:spChg>
        <pc:spChg chg="add mod">
          <ac:chgData name="El Bakkouri, Manal" userId="8b130982-2e3f-4164-b881-fd3a2e4b2453" providerId="ADAL" clId="{4457FA57-250B-44AC-8655-05D46C5A3D8A}" dt="2023-05-24T09:34:37.058" v="10532" actId="20577"/>
          <ac:spMkLst>
            <pc:docMk/>
            <pc:sldMk cId="3270476557" sldId="263"/>
            <ac:spMk id="7" creationId="{9B630D9C-A57B-4899-84DE-A1DABB701BA1}"/>
          </ac:spMkLst>
        </pc:spChg>
        <pc:spChg chg="add mod">
          <ac:chgData name="El Bakkouri, Manal" userId="8b130982-2e3f-4164-b881-fd3a2e4b2453" providerId="ADAL" clId="{4457FA57-250B-44AC-8655-05D46C5A3D8A}" dt="2023-05-26T16:18:26.040" v="14187" actId="1037"/>
          <ac:spMkLst>
            <pc:docMk/>
            <pc:sldMk cId="3270476557" sldId="263"/>
            <ac:spMk id="8" creationId="{4A4B0881-755F-41E4-94D0-C364FFC1AD85}"/>
          </ac:spMkLst>
        </pc:spChg>
        <pc:spChg chg="add mod">
          <ac:chgData name="El Bakkouri, Manal" userId="8b130982-2e3f-4164-b881-fd3a2e4b2453" providerId="ADAL" clId="{4457FA57-250B-44AC-8655-05D46C5A3D8A}" dt="2023-05-26T16:20:51.044" v="14234" actId="1037"/>
          <ac:spMkLst>
            <pc:docMk/>
            <pc:sldMk cId="3270476557" sldId="263"/>
            <ac:spMk id="9" creationId="{A4E3A649-1B2F-4D30-A73F-503ECABDD064}"/>
          </ac:spMkLst>
        </pc:spChg>
        <pc:spChg chg="mod">
          <ac:chgData name="El Bakkouri, Manal" userId="8b130982-2e3f-4164-b881-fd3a2e4b2453" providerId="ADAL" clId="{4457FA57-250B-44AC-8655-05D46C5A3D8A}" dt="2023-05-16T16:15:11.474" v="9"/>
          <ac:spMkLst>
            <pc:docMk/>
            <pc:sldMk cId="3270476557" sldId="263"/>
            <ac:spMk id="11" creationId="{AE69BE7C-2D2A-4491-BD92-226C6B8D85CF}"/>
          </ac:spMkLst>
        </pc:spChg>
        <pc:spChg chg="mod">
          <ac:chgData name="El Bakkouri, Manal" userId="8b130982-2e3f-4164-b881-fd3a2e4b2453" providerId="ADAL" clId="{4457FA57-250B-44AC-8655-05D46C5A3D8A}" dt="2023-05-16T16:15:11.474" v="9"/>
          <ac:spMkLst>
            <pc:docMk/>
            <pc:sldMk cId="3270476557" sldId="263"/>
            <ac:spMk id="12" creationId="{57CDBFF8-0259-4B8F-AE35-11B6CE6CE8D9}"/>
          </ac:spMkLst>
        </pc:spChg>
        <pc:spChg chg="add del mod">
          <ac:chgData name="El Bakkouri, Manal" userId="8b130982-2e3f-4164-b881-fd3a2e4b2453" providerId="ADAL" clId="{4457FA57-250B-44AC-8655-05D46C5A3D8A}" dt="2023-05-16T16:41:06.634" v="547" actId="478"/>
          <ac:spMkLst>
            <pc:docMk/>
            <pc:sldMk cId="3270476557" sldId="263"/>
            <ac:spMk id="13" creationId="{18E9A4CB-8A74-497E-9B04-B5B60B0F09CF}"/>
          </ac:spMkLst>
        </pc:spChg>
        <pc:spChg chg="mod">
          <ac:chgData name="El Bakkouri, Manal" userId="8b130982-2e3f-4164-b881-fd3a2e4b2453" providerId="ADAL" clId="{4457FA57-250B-44AC-8655-05D46C5A3D8A}" dt="2023-05-16T16:15:11.474" v="9"/>
          <ac:spMkLst>
            <pc:docMk/>
            <pc:sldMk cId="3270476557" sldId="263"/>
            <ac:spMk id="15" creationId="{6CE88A3B-6BAD-4412-9784-92E571168511}"/>
          </ac:spMkLst>
        </pc:spChg>
        <pc:spChg chg="mod">
          <ac:chgData name="El Bakkouri, Manal" userId="8b130982-2e3f-4164-b881-fd3a2e4b2453" providerId="ADAL" clId="{4457FA57-250B-44AC-8655-05D46C5A3D8A}" dt="2023-05-16T16:15:11.474" v="9"/>
          <ac:spMkLst>
            <pc:docMk/>
            <pc:sldMk cId="3270476557" sldId="263"/>
            <ac:spMk id="16" creationId="{C57EDB18-7603-4B0A-96DE-044EFD2EFFDB}"/>
          </ac:spMkLst>
        </pc:spChg>
        <pc:spChg chg="add mod">
          <ac:chgData name="El Bakkouri, Manal" userId="8b130982-2e3f-4164-b881-fd3a2e4b2453" providerId="ADAL" clId="{4457FA57-250B-44AC-8655-05D46C5A3D8A}" dt="2023-05-17T10:02:27.235" v="1381" actId="164"/>
          <ac:spMkLst>
            <pc:docMk/>
            <pc:sldMk cId="3270476557" sldId="263"/>
            <ac:spMk id="17" creationId="{B3223313-9EC1-4937-9F10-885D4DC55888}"/>
          </ac:spMkLst>
        </pc:spChg>
        <pc:spChg chg="add mod">
          <ac:chgData name="El Bakkouri, Manal" userId="8b130982-2e3f-4164-b881-fd3a2e4b2453" providerId="ADAL" clId="{4457FA57-250B-44AC-8655-05D46C5A3D8A}" dt="2023-05-17T10:02:13.171" v="1378" actId="164"/>
          <ac:spMkLst>
            <pc:docMk/>
            <pc:sldMk cId="3270476557" sldId="263"/>
            <ac:spMk id="18" creationId="{F88B4211-F30B-490D-BCDB-A98ECC95DC8B}"/>
          </ac:spMkLst>
        </pc:spChg>
        <pc:spChg chg="add mod">
          <ac:chgData name="El Bakkouri, Manal" userId="8b130982-2e3f-4164-b881-fd3a2e4b2453" providerId="ADAL" clId="{4457FA57-250B-44AC-8655-05D46C5A3D8A}" dt="2023-05-17T10:01:33.720" v="1371" actId="164"/>
          <ac:spMkLst>
            <pc:docMk/>
            <pc:sldMk cId="3270476557" sldId="263"/>
            <ac:spMk id="19" creationId="{6B868F8A-1C8A-49F4-9AC7-8C5F8FDD0D6C}"/>
          </ac:spMkLst>
        </pc:spChg>
        <pc:spChg chg="add mod">
          <ac:chgData name="El Bakkouri, Manal" userId="8b130982-2e3f-4164-b881-fd3a2e4b2453" providerId="ADAL" clId="{4457FA57-250B-44AC-8655-05D46C5A3D8A}" dt="2023-05-26T15:37:42.176" v="13544" actId="1076"/>
          <ac:spMkLst>
            <pc:docMk/>
            <pc:sldMk cId="3270476557" sldId="263"/>
            <ac:spMk id="20" creationId="{84B03CE6-6871-4A89-B895-9EFA0B85C8D8}"/>
          </ac:spMkLst>
        </pc:spChg>
        <pc:spChg chg="mod">
          <ac:chgData name="El Bakkouri, Manal" userId="8b130982-2e3f-4164-b881-fd3a2e4b2453" providerId="ADAL" clId="{4457FA57-250B-44AC-8655-05D46C5A3D8A}" dt="2023-05-16T16:15:11.474" v="9"/>
          <ac:spMkLst>
            <pc:docMk/>
            <pc:sldMk cId="3270476557" sldId="263"/>
            <ac:spMk id="22" creationId="{9AFB95B1-9DDB-432C-9596-DCBBF02D7FCD}"/>
          </ac:spMkLst>
        </pc:spChg>
        <pc:spChg chg="mod">
          <ac:chgData name="El Bakkouri, Manal" userId="8b130982-2e3f-4164-b881-fd3a2e4b2453" providerId="ADAL" clId="{4457FA57-250B-44AC-8655-05D46C5A3D8A}" dt="2023-05-16T16:15:11.474" v="9"/>
          <ac:spMkLst>
            <pc:docMk/>
            <pc:sldMk cId="3270476557" sldId="263"/>
            <ac:spMk id="23" creationId="{9346D6FC-85FF-45DE-AB57-B1C3E9C4591B}"/>
          </ac:spMkLst>
        </pc:spChg>
        <pc:spChg chg="mod">
          <ac:chgData name="El Bakkouri, Manal" userId="8b130982-2e3f-4164-b881-fd3a2e4b2453" providerId="ADAL" clId="{4457FA57-250B-44AC-8655-05D46C5A3D8A}" dt="2023-05-16T16:15:11.474" v="9"/>
          <ac:spMkLst>
            <pc:docMk/>
            <pc:sldMk cId="3270476557" sldId="263"/>
            <ac:spMk id="24" creationId="{C85D6497-25CE-4E67-9678-AAAE37DDA38C}"/>
          </ac:spMkLst>
        </pc:spChg>
        <pc:spChg chg="mod">
          <ac:chgData name="El Bakkouri, Manal" userId="8b130982-2e3f-4164-b881-fd3a2e4b2453" providerId="ADAL" clId="{4457FA57-250B-44AC-8655-05D46C5A3D8A}" dt="2023-05-16T16:15:11.474" v="9"/>
          <ac:spMkLst>
            <pc:docMk/>
            <pc:sldMk cId="3270476557" sldId="263"/>
            <ac:spMk id="25" creationId="{D738B703-7649-4FDA-90B4-72E8E8BA2F75}"/>
          </ac:spMkLst>
        </pc:spChg>
        <pc:spChg chg="mod">
          <ac:chgData name="El Bakkouri, Manal" userId="8b130982-2e3f-4164-b881-fd3a2e4b2453" providerId="ADAL" clId="{4457FA57-250B-44AC-8655-05D46C5A3D8A}" dt="2023-05-16T16:15:11.474" v="9"/>
          <ac:spMkLst>
            <pc:docMk/>
            <pc:sldMk cId="3270476557" sldId="263"/>
            <ac:spMk id="26" creationId="{A597C6C1-6EBB-4D54-990D-A26006EFC07D}"/>
          </ac:spMkLst>
        </pc:spChg>
        <pc:spChg chg="mod">
          <ac:chgData name="El Bakkouri, Manal" userId="8b130982-2e3f-4164-b881-fd3a2e4b2453" providerId="ADAL" clId="{4457FA57-250B-44AC-8655-05D46C5A3D8A}" dt="2023-05-16T16:15:11.474" v="9"/>
          <ac:spMkLst>
            <pc:docMk/>
            <pc:sldMk cId="3270476557" sldId="263"/>
            <ac:spMk id="27" creationId="{B2E8A827-0D0A-47AA-BE2A-24595C6AB87C}"/>
          </ac:spMkLst>
        </pc:spChg>
        <pc:spChg chg="mod">
          <ac:chgData name="El Bakkouri, Manal" userId="8b130982-2e3f-4164-b881-fd3a2e4b2453" providerId="ADAL" clId="{4457FA57-250B-44AC-8655-05D46C5A3D8A}" dt="2023-05-16T16:15:11.474" v="9"/>
          <ac:spMkLst>
            <pc:docMk/>
            <pc:sldMk cId="3270476557" sldId="263"/>
            <ac:spMk id="28" creationId="{ED45CC3D-54E4-4B01-A78B-0ABD2C0EC309}"/>
          </ac:spMkLst>
        </pc:spChg>
        <pc:spChg chg="mod">
          <ac:chgData name="El Bakkouri, Manal" userId="8b130982-2e3f-4164-b881-fd3a2e4b2453" providerId="ADAL" clId="{4457FA57-250B-44AC-8655-05D46C5A3D8A}" dt="2023-05-16T16:15:11.474" v="9"/>
          <ac:spMkLst>
            <pc:docMk/>
            <pc:sldMk cId="3270476557" sldId="263"/>
            <ac:spMk id="29" creationId="{CDF44754-CB63-46AD-AAD4-679219D26F92}"/>
          </ac:spMkLst>
        </pc:spChg>
        <pc:spChg chg="mod">
          <ac:chgData name="El Bakkouri, Manal" userId="8b130982-2e3f-4164-b881-fd3a2e4b2453" providerId="ADAL" clId="{4457FA57-250B-44AC-8655-05D46C5A3D8A}" dt="2023-05-16T16:15:11.474" v="9"/>
          <ac:spMkLst>
            <pc:docMk/>
            <pc:sldMk cId="3270476557" sldId="263"/>
            <ac:spMk id="30" creationId="{46DA00BB-66F1-4F5A-B831-28D2E3EF2546}"/>
          </ac:spMkLst>
        </pc:spChg>
        <pc:spChg chg="mod">
          <ac:chgData name="El Bakkouri, Manal" userId="8b130982-2e3f-4164-b881-fd3a2e4b2453" providerId="ADAL" clId="{4457FA57-250B-44AC-8655-05D46C5A3D8A}" dt="2023-05-16T16:45:32.658" v="589" actId="12788"/>
          <ac:spMkLst>
            <pc:docMk/>
            <pc:sldMk cId="3270476557" sldId="263"/>
            <ac:spMk id="32" creationId="{97C05E92-3AB6-407D-BEC8-757A81012E30}"/>
          </ac:spMkLst>
        </pc:spChg>
        <pc:spChg chg="mod">
          <ac:chgData name="El Bakkouri, Manal" userId="8b130982-2e3f-4164-b881-fd3a2e4b2453" providerId="ADAL" clId="{4457FA57-250B-44AC-8655-05D46C5A3D8A}" dt="2023-05-16T16:45:47.191" v="590" actId="12788"/>
          <ac:spMkLst>
            <pc:docMk/>
            <pc:sldMk cId="3270476557" sldId="263"/>
            <ac:spMk id="33" creationId="{21F03BF1-D317-4963-8970-0F7C21296C32}"/>
          </ac:spMkLst>
        </pc:spChg>
        <pc:spChg chg="mod">
          <ac:chgData name="El Bakkouri, Manal" userId="8b130982-2e3f-4164-b881-fd3a2e4b2453" providerId="ADAL" clId="{4457FA57-250B-44AC-8655-05D46C5A3D8A}" dt="2023-05-16T16:15:11.474" v="9"/>
          <ac:spMkLst>
            <pc:docMk/>
            <pc:sldMk cId="3270476557" sldId="263"/>
            <ac:spMk id="35" creationId="{5D86671B-C872-4BC9-96C1-C97B12E0E590}"/>
          </ac:spMkLst>
        </pc:spChg>
        <pc:spChg chg="mod">
          <ac:chgData name="El Bakkouri, Manal" userId="8b130982-2e3f-4164-b881-fd3a2e4b2453" providerId="ADAL" clId="{4457FA57-250B-44AC-8655-05D46C5A3D8A}" dt="2023-05-16T16:15:11.474" v="9"/>
          <ac:spMkLst>
            <pc:docMk/>
            <pc:sldMk cId="3270476557" sldId="263"/>
            <ac:spMk id="36" creationId="{623FE02D-DB33-4F75-89DC-5F3967FDF689}"/>
          </ac:spMkLst>
        </pc:spChg>
        <pc:spChg chg="mod">
          <ac:chgData name="El Bakkouri, Manal" userId="8b130982-2e3f-4164-b881-fd3a2e4b2453" providerId="ADAL" clId="{4457FA57-250B-44AC-8655-05D46C5A3D8A}" dt="2023-05-16T16:15:11.474" v="9"/>
          <ac:spMkLst>
            <pc:docMk/>
            <pc:sldMk cId="3270476557" sldId="263"/>
            <ac:spMk id="38" creationId="{C571FE6B-D66C-4D15-B32A-C005BB1C5FF3}"/>
          </ac:spMkLst>
        </pc:spChg>
        <pc:spChg chg="mod">
          <ac:chgData name="El Bakkouri, Manal" userId="8b130982-2e3f-4164-b881-fd3a2e4b2453" providerId="ADAL" clId="{4457FA57-250B-44AC-8655-05D46C5A3D8A}" dt="2023-05-16T16:15:11.474" v="9"/>
          <ac:spMkLst>
            <pc:docMk/>
            <pc:sldMk cId="3270476557" sldId="263"/>
            <ac:spMk id="39" creationId="{490146CF-71BC-4F10-ACC8-22170DA2EFA1}"/>
          </ac:spMkLst>
        </pc:spChg>
        <pc:spChg chg="add del mod">
          <ac:chgData name="El Bakkouri, Manal" userId="8b130982-2e3f-4164-b881-fd3a2e4b2453" providerId="ADAL" clId="{4457FA57-250B-44AC-8655-05D46C5A3D8A}" dt="2023-05-16T16:34:45.531" v="535" actId="478"/>
          <ac:spMkLst>
            <pc:docMk/>
            <pc:sldMk cId="3270476557" sldId="263"/>
            <ac:spMk id="44" creationId="{B79AF71D-D5F1-473F-91B4-740143AF7EC4}"/>
          </ac:spMkLst>
        </pc:spChg>
        <pc:spChg chg="add del mod">
          <ac:chgData name="El Bakkouri, Manal" userId="8b130982-2e3f-4164-b881-fd3a2e4b2453" providerId="ADAL" clId="{4457FA57-250B-44AC-8655-05D46C5A3D8A}" dt="2023-05-16T16:35:30.385" v="538" actId="478"/>
          <ac:spMkLst>
            <pc:docMk/>
            <pc:sldMk cId="3270476557" sldId="263"/>
            <ac:spMk id="45" creationId="{7913AC82-6005-4C56-B493-E9085BCBC03C}"/>
          </ac:spMkLst>
        </pc:spChg>
        <pc:spChg chg="add mod">
          <ac:chgData name="El Bakkouri, Manal" userId="8b130982-2e3f-4164-b881-fd3a2e4b2453" providerId="ADAL" clId="{4457FA57-250B-44AC-8655-05D46C5A3D8A}" dt="2023-05-17T10:10:20.770" v="1436" actId="113"/>
          <ac:spMkLst>
            <pc:docMk/>
            <pc:sldMk cId="3270476557" sldId="263"/>
            <ac:spMk id="47" creationId="{B5DC2EAA-C804-4DE9-BD15-442E13608635}"/>
          </ac:spMkLst>
        </pc:spChg>
        <pc:grpChg chg="mod">
          <ac:chgData name="El Bakkouri, Manal" userId="8b130982-2e3f-4164-b881-fd3a2e4b2453" providerId="ADAL" clId="{4457FA57-250B-44AC-8655-05D46C5A3D8A}" dt="2023-05-26T16:20:20.240" v="14206" actId="1036"/>
          <ac:grpSpMkLst>
            <pc:docMk/>
            <pc:sldMk cId="3270476557" sldId="263"/>
            <ac:grpSpMk id="2" creationId="{2E8DD678-DB97-4E1D-AF42-D6A9CF156A02}"/>
          </ac:grpSpMkLst>
        </pc:grpChg>
        <pc:grpChg chg="add mod">
          <ac:chgData name="El Bakkouri, Manal" userId="8b130982-2e3f-4164-b881-fd3a2e4b2453" providerId="ADAL" clId="{4457FA57-250B-44AC-8655-05D46C5A3D8A}" dt="2023-05-26T16:20:20.240" v="14206" actId="1036"/>
          <ac:grpSpMkLst>
            <pc:docMk/>
            <pc:sldMk cId="3270476557" sldId="263"/>
            <ac:grpSpMk id="3" creationId="{7C73CE49-2FF3-47F7-A45B-9D063726E4BD}"/>
          </ac:grpSpMkLst>
        </pc:grpChg>
        <pc:grpChg chg="add mod">
          <ac:chgData name="El Bakkouri, Manal" userId="8b130982-2e3f-4164-b881-fd3a2e4b2453" providerId="ADAL" clId="{4457FA57-250B-44AC-8655-05D46C5A3D8A}" dt="2023-05-26T16:20:20.240" v="14206" actId="1036"/>
          <ac:grpSpMkLst>
            <pc:docMk/>
            <pc:sldMk cId="3270476557" sldId="263"/>
            <ac:grpSpMk id="4" creationId="{398EA798-4F72-4609-A3C9-997DA800DF39}"/>
          </ac:grpSpMkLst>
        </pc:grpChg>
        <pc:grpChg chg="add mod">
          <ac:chgData name="El Bakkouri, Manal" userId="8b130982-2e3f-4164-b881-fd3a2e4b2453" providerId="ADAL" clId="{4457FA57-250B-44AC-8655-05D46C5A3D8A}" dt="2023-05-19T10:29:25.846" v="5742" actId="164"/>
          <ac:grpSpMkLst>
            <pc:docMk/>
            <pc:sldMk cId="3270476557" sldId="263"/>
            <ac:grpSpMk id="10" creationId="{C21934AC-6260-4750-A49E-5ADC45D87002}"/>
          </ac:grpSpMkLst>
        </pc:grpChg>
        <pc:grpChg chg="add mod">
          <ac:chgData name="El Bakkouri, Manal" userId="8b130982-2e3f-4164-b881-fd3a2e4b2453" providerId="ADAL" clId="{4457FA57-250B-44AC-8655-05D46C5A3D8A}" dt="2023-05-26T16:20:20.240" v="14206" actId="1036"/>
          <ac:grpSpMkLst>
            <pc:docMk/>
            <pc:sldMk cId="3270476557" sldId="263"/>
            <ac:grpSpMk id="13" creationId="{98F1F383-A7BD-475A-9DB2-367B9CD3F4C5}"/>
          </ac:grpSpMkLst>
        </pc:grpChg>
        <pc:grpChg chg="add mod">
          <ac:chgData name="El Bakkouri, Manal" userId="8b130982-2e3f-4164-b881-fd3a2e4b2453" providerId="ADAL" clId="{4457FA57-250B-44AC-8655-05D46C5A3D8A}" dt="2023-05-26T16:17:49.808" v="14171" actId="1076"/>
          <ac:grpSpMkLst>
            <pc:docMk/>
            <pc:sldMk cId="3270476557" sldId="263"/>
            <ac:grpSpMk id="14" creationId="{027EC016-A761-424F-89E9-A5A9618ACE5E}"/>
          </ac:grpSpMkLst>
        </pc:grpChg>
        <pc:grpChg chg="add del mod">
          <ac:chgData name="El Bakkouri, Manal" userId="8b130982-2e3f-4164-b881-fd3a2e4b2453" providerId="ADAL" clId="{4457FA57-250B-44AC-8655-05D46C5A3D8A}" dt="2023-05-16T16:41:10.487" v="548" actId="478"/>
          <ac:grpSpMkLst>
            <pc:docMk/>
            <pc:sldMk cId="3270476557" sldId="263"/>
            <ac:grpSpMk id="14" creationId="{2785537A-13BD-47FA-92B8-6E83159B891A}"/>
          </ac:grpSpMkLst>
        </pc:grpChg>
        <pc:grpChg chg="add mod">
          <ac:chgData name="El Bakkouri, Manal" userId="8b130982-2e3f-4164-b881-fd3a2e4b2453" providerId="ADAL" clId="{4457FA57-250B-44AC-8655-05D46C5A3D8A}" dt="2023-05-17T10:02:13.171" v="1378" actId="164"/>
          <ac:grpSpMkLst>
            <pc:docMk/>
            <pc:sldMk cId="3270476557" sldId="263"/>
            <ac:grpSpMk id="21" creationId="{74782AAD-9AA8-4747-8E17-C90EFE30103C}"/>
          </ac:grpSpMkLst>
        </pc:grpChg>
        <pc:grpChg chg="add mod">
          <ac:chgData name="El Bakkouri, Manal" userId="8b130982-2e3f-4164-b881-fd3a2e4b2453" providerId="ADAL" clId="{4457FA57-250B-44AC-8655-05D46C5A3D8A}" dt="2023-05-17T10:02:27.235" v="1381" actId="164"/>
          <ac:grpSpMkLst>
            <pc:docMk/>
            <pc:sldMk cId="3270476557" sldId="263"/>
            <ac:grpSpMk id="31" creationId="{6A38A6F1-22C8-4C49-9935-C2A21AB748AA}"/>
          </ac:grpSpMkLst>
        </pc:grpChg>
        <pc:grpChg chg="add mod">
          <ac:chgData name="El Bakkouri, Manal" userId="8b130982-2e3f-4164-b881-fd3a2e4b2453" providerId="ADAL" clId="{4457FA57-250B-44AC-8655-05D46C5A3D8A}" dt="2023-05-16T16:43:13.065" v="561" actId="164"/>
          <ac:grpSpMkLst>
            <pc:docMk/>
            <pc:sldMk cId="3270476557" sldId="263"/>
            <ac:grpSpMk id="34" creationId="{525CEB3A-7A5D-47C8-9CF8-1B00BB7AD328}"/>
          </ac:grpSpMkLst>
        </pc:grpChg>
        <pc:grpChg chg="add mod">
          <ac:chgData name="El Bakkouri, Manal" userId="8b130982-2e3f-4164-b881-fd3a2e4b2453" providerId="ADAL" clId="{4457FA57-250B-44AC-8655-05D46C5A3D8A}" dt="2023-05-17T10:01:33.720" v="1371" actId="164"/>
          <ac:grpSpMkLst>
            <pc:docMk/>
            <pc:sldMk cId="3270476557" sldId="263"/>
            <ac:grpSpMk id="37" creationId="{8EC4674F-3C5B-4954-859D-C4B5295B0CFF}"/>
          </ac:grpSpMkLst>
        </pc:grpChg>
        <pc:grpChg chg="add mod">
          <ac:chgData name="El Bakkouri, Manal" userId="8b130982-2e3f-4164-b881-fd3a2e4b2453" providerId="ADAL" clId="{4457FA57-250B-44AC-8655-05D46C5A3D8A}" dt="2023-05-16T16:49:03.376" v="628" actId="1076"/>
          <ac:grpSpMkLst>
            <pc:docMk/>
            <pc:sldMk cId="3270476557" sldId="263"/>
            <ac:grpSpMk id="46" creationId="{3CAD5863-67CC-4624-AFF3-1AD4B226355C}"/>
          </ac:grpSpMkLst>
        </pc:grpChg>
        <pc:picChg chg="add mod ord">
          <ac:chgData name="El Bakkouri, Manal" userId="8b130982-2e3f-4164-b881-fd3a2e4b2453" providerId="ADAL" clId="{4457FA57-250B-44AC-8655-05D46C5A3D8A}" dt="2023-05-26T16:26:45.721" v="14258" actId="167"/>
          <ac:picMkLst>
            <pc:docMk/>
            <pc:sldMk cId="3270476557" sldId="263"/>
            <ac:picMk id="48" creationId="{849AD34F-A777-470A-86C4-DBD00413756E}"/>
          </ac:picMkLst>
        </pc:picChg>
        <pc:cxnChg chg="add mod">
          <ac:chgData name="El Bakkouri, Manal" userId="8b130982-2e3f-4164-b881-fd3a2e4b2453" providerId="ADAL" clId="{4457FA57-250B-44AC-8655-05D46C5A3D8A}" dt="2023-05-26T16:20:34.066" v="14208" actId="14100"/>
          <ac:cxnSpMkLst>
            <pc:docMk/>
            <pc:sldMk cId="3270476557" sldId="263"/>
            <ac:cxnSpMk id="40" creationId="{DB9B7D34-3E69-4F38-82C5-51CF4F5AEE06}"/>
          </ac:cxnSpMkLst>
        </pc:cxnChg>
        <pc:cxnChg chg="add del mod">
          <ac:chgData name="El Bakkouri, Manal" userId="8b130982-2e3f-4164-b881-fd3a2e4b2453" providerId="ADAL" clId="{4457FA57-250B-44AC-8655-05D46C5A3D8A}" dt="2023-05-17T10:06:22.152" v="1413" actId="478"/>
          <ac:cxnSpMkLst>
            <pc:docMk/>
            <pc:sldMk cId="3270476557" sldId="263"/>
            <ac:cxnSpMk id="41" creationId="{468D4790-182B-4E75-955D-E5ED17B9E326}"/>
          </ac:cxnSpMkLst>
        </pc:cxnChg>
        <pc:cxnChg chg="add del mod">
          <ac:chgData name="El Bakkouri, Manal" userId="8b130982-2e3f-4164-b881-fd3a2e4b2453" providerId="ADAL" clId="{4457FA57-250B-44AC-8655-05D46C5A3D8A}" dt="2023-05-17T10:07:07.174" v="1418" actId="478"/>
          <ac:cxnSpMkLst>
            <pc:docMk/>
            <pc:sldMk cId="3270476557" sldId="263"/>
            <ac:cxnSpMk id="42" creationId="{3157A2DC-BA7F-42B4-AF1F-AF2A52B9F5AC}"/>
          </ac:cxnSpMkLst>
        </pc:cxnChg>
        <pc:cxnChg chg="add mod">
          <ac:chgData name="El Bakkouri, Manal" userId="8b130982-2e3f-4164-b881-fd3a2e4b2453" providerId="ADAL" clId="{4457FA57-250B-44AC-8655-05D46C5A3D8A}" dt="2023-05-26T16:21:04.098" v="14255" actId="1036"/>
          <ac:cxnSpMkLst>
            <pc:docMk/>
            <pc:sldMk cId="3270476557" sldId="263"/>
            <ac:cxnSpMk id="43" creationId="{E9070D03-2592-4A7A-B874-BCFC481275CA}"/>
          </ac:cxnSpMkLst>
        </pc:cxnChg>
        <pc:cxnChg chg="add mod">
          <ac:chgData name="El Bakkouri, Manal" userId="8b130982-2e3f-4164-b881-fd3a2e4b2453" providerId="ADAL" clId="{4457FA57-250B-44AC-8655-05D46C5A3D8A}" dt="2023-05-26T16:20:44.222" v="14229" actId="1035"/>
          <ac:cxnSpMkLst>
            <pc:docMk/>
            <pc:sldMk cId="3270476557" sldId="263"/>
            <ac:cxnSpMk id="45" creationId="{FF4295E2-0DE6-4589-A25C-D4BA5AF4EE3E}"/>
          </ac:cxnSpMkLst>
        </pc:cxnChg>
        <pc:cxnChg chg="add mod">
          <ac:chgData name="El Bakkouri, Manal" userId="8b130982-2e3f-4164-b881-fd3a2e4b2453" providerId="ADAL" clId="{4457FA57-250B-44AC-8655-05D46C5A3D8A}" dt="2023-05-26T16:20:59.097" v="14247" actId="1036"/>
          <ac:cxnSpMkLst>
            <pc:docMk/>
            <pc:sldMk cId="3270476557" sldId="263"/>
            <ac:cxnSpMk id="46" creationId="{C8D8581C-6067-4334-89C3-985D7C247598}"/>
          </ac:cxnSpMkLst>
        </pc:cxnChg>
      </pc:sldChg>
      <pc:sldChg chg="addSp delSp modSp new mod ord modTransition modAnim addCm">
        <pc:chgData name="El Bakkouri, Manal" userId="8b130982-2e3f-4164-b881-fd3a2e4b2453" providerId="ADAL" clId="{4457FA57-250B-44AC-8655-05D46C5A3D8A}" dt="2023-05-31T13:50:47.592" v="14885" actId="1035"/>
        <pc:sldMkLst>
          <pc:docMk/>
          <pc:sldMk cId="3629079265" sldId="264"/>
        </pc:sldMkLst>
        <pc:spChg chg="del">
          <ac:chgData name="El Bakkouri, Manal" userId="8b130982-2e3f-4164-b881-fd3a2e4b2453" providerId="ADAL" clId="{4457FA57-250B-44AC-8655-05D46C5A3D8A}" dt="2023-05-16T16:50:47.241" v="630" actId="478"/>
          <ac:spMkLst>
            <pc:docMk/>
            <pc:sldMk cId="3629079265" sldId="264"/>
            <ac:spMk id="2" creationId="{4C190FBA-C968-44F7-999A-C407DDD449A4}"/>
          </ac:spMkLst>
        </pc:spChg>
        <pc:spChg chg="del">
          <ac:chgData name="El Bakkouri, Manal" userId="8b130982-2e3f-4164-b881-fd3a2e4b2453" providerId="ADAL" clId="{4457FA57-250B-44AC-8655-05D46C5A3D8A}" dt="2023-05-16T16:50:47.241" v="630" actId="478"/>
          <ac:spMkLst>
            <pc:docMk/>
            <pc:sldMk cId="3629079265" sldId="264"/>
            <ac:spMk id="3" creationId="{8EE59AF3-69FD-486B-9383-32A07FC409C1}"/>
          </ac:spMkLst>
        </pc:spChg>
        <pc:spChg chg="del">
          <ac:chgData name="El Bakkouri, Manal" userId="8b130982-2e3f-4164-b881-fd3a2e4b2453" providerId="ADAL" clId="{4457FA57-250B-44AC-8655-05D46C5A3D8A}" dt="2023-05-16T16:50:48.106" v="631" actId="478"/>
          <ac:spMkLst>
            <pc:docMk/>
            <pc:sldMk cId="3629079265" sldId="264"/>
            <ac:spMk id="4" creationId="{FCD88545-BFF4-4E37-9FAC-6AB10EE35BF8}"/>
          </ac:spMkLst>
        </pc:spChg>
        <pc:spChg chg="add del mod">
          <ac:chgData name="El Bakkouri, Manal" userId="8b130982-2e3f-4164-b881-fd3a2e4b2453" providerId="ADAL" clId="{4457FA57-250B-44AC-8655-05D46C5A3D8A}" dt="2023-05-16T17:00:18.629" v="989" actId="478"/>
          <ac:spMkLst>
            <pc:docMk/>
            <pc:sldMk cId="3629079265" sldId="264"/>
            <ac:spMk id="5" creationId="{850165BD-3734-4753-84BF-6F0DF8E1D03E}"/>
          </ac:spMkLst>
        </pc:spChg>
        <pc:spChg chg="add del mod">
          <ac:chgData name="El Bakkouri, Manal" userId="8b130982-2e3f-4164-b881-fd3a2e4b2453" providerId="ADAL" clId="{4457FA57-250B-44AC-8655-05D46C5A3D8A}" dt="2023-05-16T16:53:29.627" v="786" actId="478"/>
          <ac:spMkLst>
            <pc:docMk/>
            <pc:sldMk cId="3629079265" sldId="264"/>
            <ac:spMk id="6" creationId="{7973535E-ABD5-42EF-B203-D8B44764B485}"/>
          </ac:spMkLst>
        </pc:spChg>
        <pc:spChg chg="add del mod">
          <ac:chgData name="El Bakkouri, Manal" userId="8b130982-2e3f-4164-b881-fd3a2e4b2453" providerId="ADAL" clId="{4457FA57-250B-44AC-8655-05D46C5A3D8A}" dt="2023-05-16T16:53:27.713" v="785" actId="478"/>
          <ac:spMkLst>
            <pc:docMk/>
            <pc:sldMk cId="3629079265" sldId="264"/>
            <ac:spMk id="7" creationId="{FD1ED363-4F4B-4A8A-AD24-10F77E778895}"/>
          </ac:spMkLst>
        </pc:spChg>
        <pc:spChg chg="add del mod">
          <ac:chgData name="El Bakkouri, Manal" userId="8b130982-2e3f-4164-b881-fd3a2e4b2453" providerId="ADAL" clId="{4457FA57-250B-44AC-8655-05D46C5A3D8A}" dt="2023-05-16T16:57:18.893" v="915" actId="478"/>
          <ac:spMkLst>
            <pc:docMk/>
            <pc:sldMk cId="3629079265" sldId="264"/>
            <ac:spMk id="8" creationId="{ADFFDBD6-E97E-4B1E-8C1B-1FE67AD5475E}"/>
          </ac:spMkLst>
        </pc:spChg>
        <pc:spChg chg="add del mod">
          <ac:chgData name="El Bakkouri, Manal" userId="8b130982-2e3f-4164-b881-fd3a2e4b2453" providerId="ADAL" clId="{4457FA57-250B-44AC-8655-05D46C5A3D8A}" dt="2023-05-16T16:57:17.682" v="914" actId="478"/>
          <ac:spMkLst>
            <pc:docMk/>
            <pc:sldMk cId="3629079265" sldId="264"/>
            <ac:spMk id="9" creationId="{FF315A9D-CC5E-43DE-8EA6-37FEEDBC95FA}"/>
          </ac:spMkLst>
        </pc:spChg>
        <pc:spChg chg="add del mod">
          <ac:chgData name="El Bakkouri, Manal" userId="8b130982-2e3f-4164-b881-fd3a2e4b2453" providerId="ADAL" clId="{4457FA57-250B-44AC-8655-05D46C5A3D8A}" dt="2023-05-16T16:57:06.184" v="911" actId="478"/>
          <ac:spMkLst>
            <pc:docMk/>
            <pc:sldMk cId="3629079265" sldId="264"/>
            <ac:spMk id="10" creationId="{A38D4FC8-0470-4E4B-B4C3-F6DC1F0901E6}"/>
          </ac:spMkLst>
        </pc:spChg>
        <pc:spChg chg="add del mod">
          <ac:chgData name="El Bakkouri, Manal" userId="8b130982-2e3f-4164-b881-fd3a2e4b2453" providerId="ADAL" clId="{4457FA57-250B-44AC-8655-05D46C5A3D8A}" dt="2023-05-18T11:05:08.971" v="3177" actId="21"/>
          <ac:spMkLst>
            <pc:docMk/>
            <pc:sldMk cId="3629079265" sldId="264"/>
            <ac:spMk id="11" creationId="{0D3F3933-E2F8-4B45-B2F1-4B2CE131AF65}"/>
          </ac:spMkLst>
        </pc:spChg>
        <pc:spChg chg="add del mod">
          <ac:chgData name="El Bakkouri, Manal" userId="8b130982-2e3f-4164-b881-fd3a2e4b2453" providerId="ADAL" clId="{4457FA57-250B-44AC-8655-05D46C5A3D8A}" dt="2023-05-18T11:05:08.971" v="3177" actId="21"/>
          <ac:spMkLst>
            <pc:docMk/>
            <pc:sldMk cId="3629079265" sldId="264"/>
            <ac:spMk id="12" creationId="{291878D4-65FF-43C6-A5EA-F0822039A995}"/>
          </ac:spMkLst>
        </pc:spChg>
        <pc:spChg chg="add del mod">
          <ac:chgData name="El Bakkouri, Manal" userId="8b130982-2e3f-4164-b881-fd3a2e4b2453" providerId="ADAL" clId="{4457FA57-250B-44AC-8655-05D46C5A3D8A}" dt="2023-05-18T11:05:08.971" v="3177" actId="21"/>
          <ac:spMkLst>
            <pc:docMk/>
            <pc:sldMk cId="3629079265" sldId="264"/>
            <ac:spMk id="13" creationId="{33E337F0-03B5-468F-AE09-A478F6BE094F}"/>
          </ac:spMkLst>
        </pc:spChg>
        <pc:spChg chg="add del mod">
          <ac:chgData name="El Bakkouri, Manal" userId="8b130982-2e3f-4164-b881-fd3a2e4b2453" providerId="ADAL" clId="{4457FA57-250B-44AC-8655-05D46C5A3D8A}" dt="2023-05-18T11:05:08.971" v="3177" actId="21"/>
          <ac:spMkLst>
            <pc:docMk/>
            <pc:sldMk cId="3629079265" sldId="264"/>
            <ac:spMk id="14" creationId="{63CA3715-90D6-457A-8272-A9E5BFB811F1}"/>
          </ac:spMkLst>
        </pc:spChg>
        <pc:spChg chg="add del mod">
          <ac:chgData name="El Bakkouri, Manal" userId="8b130982-2e3f-4164-b881-fd3a2e4b2453" providerId="ADAL" clId="{4457FA57-250B-44AC-8655-05D46C5A3D8A}" dt="2023-05-18T11:05:08.971" v="3177" actId="21"/>
          <ac:spMkLst>
            <pc:docMk/>
            <pc:sldMk cId="3629079265" sldId="264"/>
            <ac:spMk id="16" creationId="{6E014C59-E297-401E-9A95-3A6B1935BD83}"/>
          </ac:spMkLst>
        </pc:spChg>
        <pc:spChg chg="add del mod">
          <ac:chgData name="El Bakkouri, Manal" userId="8b130982-2e3f-4164-b881-fd3a2e4b2453" providerId="ADAL" clId="{4457FA57-250B-44AC-8655-05D46C5A3D8A}" dt="2023-05-18T11:05:08.971" v="3177" actId="21"/>
          <ac:spMkLst>
            <pc:docMk/>
            <pc:sldMk cId="3629079265" sldId="264"/>
            <ac:spMk id="18" creationId="{43BA48B5-F8D2-4B9D-BEA0-3BB89F868EB7}"/>
          </ac:spMkLst>
        </pc:spChg>
        <pc:spChg chg="add del mod">
          <ac:chgData name="El Bakkouri, Manal" userId="8b130982-2e3f-4164-b881-fd3a2e4b2453" providerId="ADAL" clId="{4457FA57-250B-44AC-8655-05D46C5A3D8A}" dt="2023-05-18T11:05:08.971" v="3177" actId="21"/>
          <ac:spMkLst>
            <pc:docMk/>
            <pc:sldMk cId="3629079265" sldId="264"/>
            <ac:spMk id="20" creationId="{C4C0190D-71CD-47EE-99CB-2D1C604A39D6}"/>
          </ac:spMkLst>
        </pc:spChg>
        <pc:spChg chg="add del mod">
          <ac:chgData name="El Bakkouri, Manal" userId="8b130982-2e3f-4164-b881-fd3a2e4b2453" providerId="ADAL" clId="{4457FA57-250B-44AC-8655-05D46C5A3D8A}" dt="2023-05-18T11:05:08.971" v="3177" actId="21"/>
          <ac:spMkLst>
            <pc:docMk/>
            <pc:sldMk cId="3629079265" sldId="264"/>
            <ac:spMk id="21" creationId="{3B82B585-7FB5-4AE1-AFA1-5750E7DC8011}"/>
          </ac:spMkLst>
        </pc:spChg>
        <pc:spChg chg="add del mod">
          <ac:chgData name="El Bakkouri, Manal" userId="8b130982-2e3f-4164-b881-fd3a2e4b2453" providerId="ADAL" clId="{4457FA57-250B-44AC-8655-05D46C5A3D8A}" dt="2023-05-18T11:05:08.971" v="3177" actId="21"/>
          <ac:spMkLst>
            <pc:docMk/>
            <pc:sldMk cId="3629079265" sldId="264"/>
            <ac:spMk id="22" creationId="{5519CAEF-F814-464C-B858-25B5DF29B42A}"/>
          </ac:spMkLst>
        </pc:spChg>
        <pc:spChg chg="add del mod">
          <ac:chgData name="El Bakkouri, Manal" userId="8b130982-2e3f-4164-b881-fd3a2e4b2453" providerId="ADAL" clId="{4457FA57-250B-44AC-8655-05D46C5A3D8A}" dt="2023-05-18T11:05:08.971" v="3177" actId="21"/>
          <ac:spMkLst>
            <pc:docMk/>
            <pc:sldMk cId="3629079265" sldId="264"/>
            <ac:spMk id="23" creationId="{B563D08D-7F35-4FD4-8559-5FEF97551BAE}"/>
          </ac:spMkLst>
        </pc:spChg>
        <pc:spChg chg="mod">
          <ac:chgData name="El Bakkouri, Manal" userId="8b130982-2e3f-4164-b881-fd3a2e4b2453" providerId="ADAL" clId="{4457FA57-250B-44AC-8655-05D46C5A3D8A}" dt="2023-05-16T17:13:09.400" v="1093"/>
          <ac:spMkLst>
            <pc:docMk/>
            <pc:sldMk cId="3629079265" sldId="264"/>
            <ac:spMk id="25" creationId="{F3CC91C0-5EE4-47B5-A174-55C4C5697825}"/>
          </ac:spMkLst>
        </pc:spChg>
        <pc:spChg chg="mod">
          <ac:chgData name="El Bakkouri, Manal" userId="8b130982-2e3f-4164-b881-fd3a2e4b2453" providerId="ADAL" clId="{4457FA57-250B-44AC-8655-05D46C5A3D8A}" dt="2023-05-16T17:13:09.400" v="1093"/>
          <ac:spMkLst>
            <pc:docMk/>
            <pc:sldMk cId="3629079265" sldId="264"/>
            <ac:spMk id="26" creationId="{BA09CA79-CB27-4A80-9E7A-2CD196687FF8}"/>
          </ac:spMkLst>
        </pc:spChg>
        <pc:spChg chg="mod">
          <ac:chgData name="El Bakkouri, Manal" userId="8b130982-2e3f-4164-b881-fd3a2e4b2453" providerId="ADAL" clId="{4457FA57-250B-44AC-8655-05D46C5A3D8A}" dt="2023-05-16T17:13:09.400" v="1093"/>
          <ac:spMkLst>
            <pc:docMk/>
            <pc:sldMk cId="3629079265" sldId="264"/>
            <ac:spMk id="27" creationId="{3628E91A-D305-4E29-9928-C3B239F81FD4}"/>
          </ac:spMkLst>
        </pc:spChg>
        <pc:spChg chg="mod">
          <ac:chgData name="El Bakkouri, Manal" userId="8b130982-2e3f-4164-b881-fd3a2e4b2453" providerId="ADAL" clId="{4457FA57-250B-44AC-8655-05D46C5A3D8A}" dt="2023-05-16T17:13:09.400" v="1093"/>
          <ac:spMkLst>
            <pc:docMk/>
            <pc:sldMk cId="3629079265" sldId="264"/>
            <ac:spMk id="28" creationId="{1A3466B9-19B0-4F63-9EC6-E996C9820EB4}"/>
          </ac:spMkLst>
        </pc:spChg>
        <pc:spChg chg="mod">
          <ac:chgData name="El Bakkouri, Manal" userId="8b130982-2e3f-4164-b881-fd3a2e4b2453" providerId="ADAL" clId="{4457FA57-250B-44AC-8655-05D46C5A3D8A}" dt="2023-05-16T17:13:09.400" v="1093"/>
          <ac:spMkLst>
            <pc:docMk/>
            <pc:sldMk cId="3629079265" sldId="264"/>
            <ac:spMk id="29" creationId="{007146C6-BDA5-4F90-BD46-4174ED75FD6F}"/>
          </ac:spMkLst>
        </pc:spChg>
        <pc:spChg chg="mod">
          <ac:chgData name="El Bakkouri, Manal" userId="8b130982-2e3f-4164-b881-fd3a2e4b2453" providerId="ADAL" clId="{4457FA57-250B-44AC-8655-05D46C5A3D8A}" dt="2023-05-16T17:13:09.400" v="1093"/>
          <ac:spMkLst>
            <pc:docMk/>
            <pc:sldMk cId="3629079265" sldId="264"/>
            <ac:spMk id="30" creationId="{C850ECDE-D26E-465F-A3B2-BCBDC7323E47}"/>
          </ac:spMkLst>
        </pc:spChg>
        <pc:spChg chg="mod">
          <ac:chgData name="El Bakkouri, Manal" userId="8b130982-2e3f-4164-b881-fd3a2e4b2453" providerId="ADAL" clId="{4457FA57-250B-44AC-8655-05D46C5A3D8A}" dt="2023-05-16T17:13:09.400" v="1093"/>
          <ac:spMkLst>
            <pc:docMk/>
            <pc:sldMk cId="3629079265" sldId="264"/>
            <ac:spMk id="31" creationId="{9FB27233-8FBF-4235-B148-E15FCAF896CD}"/>
          </ac:spMkLst>
        </pc:spChg>
        <pc:spChg chg="mod">
          <ac:chgData name="El Bakkouri, Manal" userId="8b130982-2e3f-4164-b881-fd3a2e4b2453" providerId="ADAL" clId="{4457FA57-250B-44AC-8655-05D46C5A3D8A}" dt="2023-05-16T17:13:09.400" v="1093"/>
          <ac:spMkLst>
            <pc:docMk/>
            <pc:sldMk cId="3629079265" sldId="264"/>
            <ac:spMk id="32" creationId="{5A0BBA25-BD54-4760-9A79-414D7214686B}"/>
          </ac:spMkLst>
        </pc:spChg>
        <pc:spChg chg="add del mod">
          <ac:chgData name="El Bakkouri, Manal" userId="8b130982-2e3f-4164-b881-fd3a2e4b2453" providerId="ADAL" clId="{4457FA57-250B-44AC-8655-05D46C5A3D8A}" dt="2023-05-16T17:13:28.350" v="1097" actId="478"/>
          <ac:spMkLst>
            <pc:docMk/>
            <pc:sldMk cId="3629079265" sldId="264"/>
            <ac:spMk id="33" creationId="{92C09D20-99F4-40EC-BB85-3C9957A3036C}"/>
          </ac:spMkLst>
        </pc:spChg>
        <pc:spChg chg="mod">
          <ac:chgData name="El Bakkouri, Manal" userId="8b130982-2e3f-4164-b881-fd3a2e4b2453" providerId="ADAL" clId="{4457FA57-250B-44AC-8655-05D46C5A3D8A}" dt="2023-05-31T13:48:52.595" v="14824" actId="165"/>
          <ac:spMkLst>
            <pc:docMk/>
            <pc:sldMk cId="3629079265" sldId="264"/>
            <ac:spMk id="35" creationId="{8327EBCF-4641-457D-A166-3DAC0BA86CA7}"/>
          </ac:spMkLst>
        </pc:spChg>
        <pc:spChg chg="mod">
          <ac:chgData name="El Bakkouri, Manal" userId="8b130982-2e3f-4164-b881-fd3a2e4b2453" providerId="ADAL" clId="{4457FA57-250B-44AC-8655-05D46C5A3D8A}" dt="2023-05-31T13:48:52.595" v="14824" actId="165"/>
          <ac:spMkLst>
            <pc:docMk/>
            <pc:sldMk cId="3629079265" sldId="264"/>
            <ac:spMk id="36" creationId="{4474917D-3455-4D73-837D-2CAF7F2FE1BD}"/>
          </ac:spMkLst>
        </pc:spChg>
        <pc:spChg chg="mod">
          <ac:chgData name="El Bakkouri, Manal" userId="8b130982-2e3f-4164-b881-fd3a2e4b2453" providerId="ADAL" clId="{4457FA57-250B-44AC-8655-05D46C5A3D8A}" dt="2023-05-31T13:48:52.595" v="14824" actId="165"/>
          <ac:spMkLst>
            <pc:docMk/>
            <pc:sldMk cId="3629079265" sldId="264"/>
            <ac:spMk id="37" creationId="{1003FC58-07CB-4597-979C-484380B113C6}"/>
          </ac:spMkLst>
        </pc:spChg>
        <pc:spChg chg="mod">
          <ac:chgData name="El Bakkouri, Manal" userId="8b130982-2e3f-4164-b881-fd3a2e4b2453" providerId="ADAL" clId="{4457FA57-250B-44AC-8655-05D46C5A3D8A}" dt="2023-05-31T13:48:52.595" v="14824" actId="165"/>
          <ac:spMkLst>
            <pc:docMk/>
            <pc:sldMk cId="3629079265" sldId="264"/>
            <ac:spMk id="38" creationId="{FF66ACE6-E119-4225-9F71-4988B20579A4}"/>
          </ac:spMkLst>
        </pc:spChg>
        <pc:spChg chg="mod">
          <ac:chgData name="El Bakkouri, Manal" userId="8b130982-2e3f-4164-b881-fd3a2e4b2453" providerId="ADAL" clId="{4457FA57-250B-44AC-8655-05D46C5A3D8A}" dt="2023-05-31T13:48:52.595" v="14824" actId="165"/>
          <ac:spMkLst>
            <pc:docMk/>
            <pc:sldMk cId="3629079265" sldId="264"/>
            <ac:spMk id="39" creationId="{A0F0134C-722A-4CAF-BB13-2B86165AD311}"/>
          </ac:spMkLst>
        </pc:spChg>
        <pc:spChg chg="mod">
          <ac:chgData name="El Bakkouri, Manal" userId="8b130982-2e3f-4164-b881-fd3a2e4b2453" providerId="ADAL" clId="{4457FA57-250B-44AC-8655-05D46C5A3D8A}" dt="2023-05-31T13:48:52.595" v="14824" actId="165"/>
          <ac:spMkLst>
            <pc:docMk/>
            <pc:sldMk cId="3629079265" sldId="264"/>
            <ac:spMk id="40" creationId="{D2B61F3B-069C-48BD-8969-ACDA53CCCA16}"/>
          </ac:spMkLst>
        </pc:spChg>
        <pc:spChg chg="mod">
          <ac:chgData name="El Bakkouri, Manal" userId="8b130982-2e3f-4164-b881-fd3a2e4b2453" providerId="ADAL" clId="{4457FA57-250B-44AC-8655-05D46C5A3D8A}" dt="2023-05-31T13:48:52.595" v="14824" actId="165"/>
          <ac:spMkLst>
            <pc:docMk/>
            <pc:sldMk cId="3629079265" sldId="264"/>
            <ac:spMk id="41" creationId="{5053BE02-3172-4ECE-82EF-A6C0225F6EE7}"/>
          </ac:spMkLst>
        </pc:spChg>
        <pc:spChg chg="mod">
          <ac:chgData name="El Bakkouri, Manal" userId="8b130982-2e3f-4164-b881-fd3a2e4b2453" providerId="ADAL" clId="{4457FA57-250B-44AC-8655-05D46C5A3D8A}" dt="2023-05-31T13:48:52.595" v="14824" actId="165"/>
          <ac:spMkLst>
            <pc:docMk/>
            <pc:sldMk cId="3629079265" sldId="264"/>
            <ac:spMk id="42" creationId="{AFC82366-5E5E-46B9-9FD1-7B01EE212B94}"/>
          </ac:spMkLst>
        </pc:spChg>
        <pc:spChg chg="add mod">
          <ac:chgData name="El Bakkouri, Manal" userId="8b130982-2e3f-4164-b881-fd3a2e4b2453" providerId="ADAL" clId="{4457FA57-250B-44AC-8655-05D46C5A3D8A}" dt="2023-05-31T13:48:52.595" v="14824" actId="165"/>
          <ac:spMkLst>
            <pc:docMk/>
            <pc:sldMk cId="3629079265" sldId="264"/>
            <ac:spMk id="43" creationId="{F26F6AC7-0481-4A2D-B22E-55C711AD9FBD}"/>
          </ac:spMkLst>
        </pc:spChg>
        <pc:spChg chg="add mod topLvl">
          <ac:chgData name="El Bakkouri, Manal" userId="8b130982-2e3f-4164-b881-fd3a2e4b2453" providerId="ADAL" clId="{4457FA57-250B-44AC-8655-05D46C5A3D8A}" dt="2023-05-31T13:48:52.595" v="14824" actId="165"/>
          <ac:spMkLst>
            <pc:docMk/>
            <pc:sldMk cId="3629079265" sldId="264"/>
            <ac:spMk id="45" creationId="{2DF7C1A0-AAC9-4C43-ABDC-1D6276C54596}"/>
          </ac:spMkLst>
        </pc:spChg>
        <pc:spChg chg="add mod topLvl">
          <ac:chgData name="El Bakkouri, Manal" userId="8b130982-2e3f-4164-b881-fd3a2e4b2453" providerId="ADAL" clId="{4457FA57-250B-44AC-8655-05D46C5A3D8A}" dt="2023-05-31T13:48:52.595" v="14824" actId="165"/>
          <ac:spMkLst>
            <pc:docMk/>
            <pc:sldMk cId="3629079265" sldId="264"/>
            <ac:spMk id="46" creationId="{625DF50D-3E6E-4247-989D-52FE0462B546}"/>
          </ac:spMkLst>
        </pc:spChg>
        <pc:spChg chg="add mod topLvl">
          <ac:chgData name="El Bakkouri, Manal" userId="8b130982-2e3f-4164-b881-fd3a2e4b2453" providerId="ADAL" clId="{4457FA57-250B-44AC-8655-05D46C5A3D8A}" dt="2023-05-31T13:48:52.595" v="14824" actId="165"/>
          <ac:spMkLst>
            <pc:docMk/>
            <pc:sldMk cId="3629079265" sldId="264"/>
            <ac:spMk id="47" creationId="{9826D1F1-AADE-49B1-8088-15DD0F981EF0}"/>
          </ac:spMkLst>
        </pc:spChg>
        <pc:spChg chg="add mod topLvl">
          <ac:chgData name="El Bakkouri, Manal" userId="8b130982-2e3f-4164-b881-fd3a2e4b2453" providerId="ADAL" clId="{4457FA57-250B-44AC-8655-05D46C5A3D8A}" dt="2023-05-31T13:48:52.595" v="14824" actId="165"/>
          <ac:spMkLst>
            <pc:docMk/>
            <pc:sldMk cId="3629079265" sldId="264"/>
            <ac:spMk id="48" creationId="{038656DE-82E4-41A4-92B9-12B719C1688E}"/>
          </ac:spMkLst>
        </pc:spChg>
        <pc:spChg chg="add mod topLvl">
          <ac:chgData name="El Bakkouri, Manal" userId="8b130982-2e3f-4164-b881-fd3a2e4b2453" providerId="ADAL" clId="{4457FA57-250B-44AC-8655-05D46C5A3D8A}" dt="2023-05-31T13:48:52.595" v="14824" actId="165"/>
          <ac:spMkLst>
            <pc:docMk/>
            <pc:sldMk cId="3629079265" sldId="264"/>
            <ac:spMk id="49" creationId="{E7D5267C-FE4A-4501-A5D2-6674DD658B17}"/>
          </ac:spMkLst>
        </pc:spChg>
        <pc:spChg chg="add mod topLvl">
          <ac:chgData name="El Bakkouri, Manal" userId="8b130982-2e3f-4164-b881-fd3a2e4b2453" providerId="ADAL" clId="{4457FA57-250B-44AC-8655-05D46C5A3D8A}" dt="2023-05-31T13:48:52.595" v="14824" actId="165"/>
          <ac:spMkLst>
            <pc:docMk/>
            <pc:sldMk cId="3629079265" sldId="264"/>
            <ac:spMk id="50" creationId="{737EBD5A-E8F2-45F0-A4BD-C8527FFE91DC}"/>
          </ac:spMkLst>
        </pc:spChg>
        <pc:spChg chg="add mod topLvl">
          <ac:chgData name="El Bakkouri, Manal" userId="8b130982-2e3f-4164-b881-fd3a2e4b2453" providerId="ADAL" clId="{4457FA57-250B-44AC-8655-05D46C5A3D8A}" dt="2023-05-31T13:48:52.595" v="14824" actId="165"/>
          <ac:spMkLst>
            <pc:docMk/>
            <pc:sldMk cId="3629079265" sldId="264"/>
            <ac:spMk id="51" creationId="{0D4E5E4C-2F95-4F50-873D-652D312B5328}"/>
          </ac:spMkLst>
        </pc:spChg>
        <pc:spChg chg="add mod topLvl">
          <ac:chgData name="El Bakkouri, Manal" userId="8b130982-2e3f-4164-b881-fd3a2e4b2453" providerId="ADAL" clId="{4457FA57-250B-44AC-8655-05D46C5A3D8A}" dt="2023-05-31T13:48:52.595" v="14824" actId="165"/>
          <ac:spMkLst>
            <pc:docMk/>
            <pc:sldMk cId="3629079265" sldId="264"/>
            <ac:spMk id="52" creationId="{357E566C-C104-44E9-A243-695751ADF7B5}"/>
          </ac:spMkLst>
        </pc:spChg>
        <pc:spChg chg="add mod topLvl">
          <ac:chgData name="El Bakkouri, Manal" userId="8b130982-2e3f-4164-b881-fd3a2e4b2453" providerId="ADAL" clId="{4457FA57-250B-44AC-8655-05D46C5A3D8A}" dt="2023-05-31T13:48:52.595" v="14824" actId="165"/>
          <ac:spMkLst>
            <pc:docMk/>
            <pc:sldMk cId="3629079265" sldId="264"/>
            <ac:spMk id="53" creationId="{F28B1ADE-47E4-4CF8-B498-38D1A2ED9EDB}"/>
          </ac:spMkLst>
        </pc:spChg>
        <pc:spChg chg="add mod topLvl">
          <ac:chgData name="El Bakkouri, Manal" userId="8b130982-2e3f-4164-b881-fd3a2e4b2453" providerId="ADAL" clId="{4457FA57-250B-44AC-8655-05D46C5A3D8A}" dt="2023-05-31T13:48:52.595" v="14824" actId="165"/>
          <ac:spMkLst>
            <pc:docMk/>
            <pc:sldMk cId="3629079265" sldId="264"/>
            <ac:spMk id="54" creationId="{F6B8812C-3167-4B69-9754-EBDCB0E310A2}"/>
          </ac:spMkLst>
        </pc:spChg>
        <pc:spChg chg="add mod topLvl">
          <ac:chgData name="El Bakkouri, Manal" userId="8b130982-2e3f-4164-b881-fd3a2e4b2453" providerId="ADAL" clId="{4457FA57-250B-44AC-8655-05D46C5A3D8A}" dt="2023-05-31T13:48:52.595" v="14824" actId="165"/>
          <ac:spMkLst>
            <pc:docMk/>
            <pc:sldMk cId="3629079265" sldId="264"/>
            <ac:spMk id="55" creationId="{34D25EC3-8BCC-4466-B39C-41DE8105C14C}"/>
          </ac:spMkLst>
        </pc:spChg>
        <pc:spChg chg="add mod topLvl">
          <ac:chgData name="El Bakkouri, Manal" userId="8b130982-2e3f-4164-b881-fd3a2e4b2453" providerId="ADAL" clId="{4457FA57-250B-44AC-8655-05D46C5A3D8A}" dt="2023-05-31T13:48:52.595" v="14824" actId="165"/>
          <ac:spMkLst>
            <pc:docMk/>
            <pc:sldMk cId="3629079265" sldId="264"/>
            <ac:spMk id="56" creationId="{688817B4-43FB-4DCF-9261-222C74274EB6}"/>
          </ac:spMkLst>
        </pc:spChg>
        <pc:spChg chg="add mod topLvl">
          <ac:chgData name="El Bakkouri, Manal" userId="8b130982-2e3f-4164-b881-fd3a2e4b2453" providerId="ADAL" clId="{4457FA57-250B-44AC-8655-05D46C5A3D8A}" dt="2023-05-31T13:48:52.595" v="14824" actId="165"/>
          <ac:spMkLst>
            <pc:docMk/>
            <pc:sldMk cId="3629079265" sldId="264"/>
            <ac:spMk id="57" creationId="{8B88BD4C-82D2-4CD2-AF0C-F5AC7E090F87}"/>
          </ac:spMkLst>
        </pc:spChg>
        <pc:spChg chg="add mod topLvl">
          <ac:chgData name="El Bakkouri, Manal" userId="8b130982-2e3f-4164-b881-fd3a2e4b2453" providerId="ADAL" clId="{4457FA57-250B-44AC-8655-05D46C5A3D8A}" dt="2023-05-31T13:48:52.595" v="14824" actId="165"/>
          <ac:spMkLst>
            <pc:docMk/>
            <pc:sldMk cId="3629079265" sldId="264"/>
            <ac:spMk id="58" creationId="{05B0388F-8F4D-4C65-BF4A-1C91767C144C}"/>
          </ac:spMkLst>
        </pc:spChg>
        <pc:spChg chg="add mod topLvl">
          <ac:chgData name="El Bakkouri, Manal" userId="8b130982-2e3f-4164-b881-fd3a2e4b2453" providerId="ADAL" clId="{4457FA57-250B-44AC-8655-05D46C5A3D8A}" dt="2023-05-31T13:48:52.595" v="14824" actId="165"/>
          <ac:spMkLst>
            <pc:docMk/>
            <pc:sldMk cId="3629079265" sldId="264"/>
            <ac:spMk id="59" creationId="{4C0FC5E5-53C4-4716-9157-DF64BC7DFC63}"/>
          </ac:spMkLst>
        </pc:spChg>
        <pc:spChg chg="add mod topLvl">
          <ac:chgData name="El Bakkouri, Manal" userId="8b130982-2e3f-4164-b881-fd3a2e4b2453" providerId="ADAL" clId="{4457FA57-250B-44AC-8655-05D46C5A3D8A}" dt="2023-05-18T11:07:17.574" v="3276" actId="164"/>
          <ac:spMkLst>
            <pc:docMk/>
            <pc:sldMk cId="3629079265" sldId="264"/>
            <ac:spMk id="61" creationId="{515D938F-DB58-4CE8-9E74-A3E5420D9AB3}"/>
          </ac:spMkLst>
        </pc:spChg>
        <pc:spChg chg="add mod topLvl">
          <ac:chgData name="El Bakkouri, Manal" userId="8b130982-2e3f-4164-b881-fd3a2e4b2453" providerId="ADAL" clId="{4457FA57-250B-44AC-8655-05D46C5A3D8A}" dt="2023-05-18T11:07:17.574" v="3276" actId="164"/>
          <ac:spMkLst>
            <pc:docMk/>
            <pc:sldMk cId="3629079265" sldId="264"/>
            <ac:spMk id="62" creationId="{9B76F599-CE1C-4C2B-B39F-B33B84770325}"/>
          </ac:spMkLst>
        </pc:spChg>
        <pc:spChg chg="add mod topLvl">
          <ac:chgData name="El Bakkouri, Manal" userId="8b130982-2e3f-4164-b881-fd3a2e4b2453" providerId="ADAL" clId="{4457FA57-250B-44AC-8655-05D46C5A3D8A}" dt="2023-05-18T11:07:17.574" v="3276" actId="164"/>
          <ac:spMkLst>
            <pc:docMk/>
            <pc:sldMk cId="3629079265" sldId="264"/>
            <ac:spMk id="63" creationId="{FC93B82A-4C90-43D9-B728-A84A8669ED96}"/>
          </ac:spMkLst>
        </pc:spChg>
        <pc:spChg chg="add mod topLvl">
          <ac:chgData name="El Bakkouri, Manal" userId="8b130982-2e3f-4164-b881-fd3a2e4b2453" providerId="ADAL" clId="{4457FA57-250B-44AC-8655-05D46C5A3D8A}" dt="2023-05-18T11:07:17.574" v="3276" actId="164"/>
          <ac:spMkLst>
            <pc:docMk/>
            <pc:sldMk cId="3629079265" sldId="264"/>
            <ac:spMk id="64" creationId="{F5DCE2C0-48C5-4066-B942-9544D4381D5E}"/>
          </ac:spMkLst>
        </pc:spChg>
        <pc:spChg chg="add mod topLvl">
          <ac:chgData name="El Bakkouri, Manal" userId="8b130982-2e3f-4164-b881-fd3a2e4b2453" providerId="ADAL" clId="{4457FA57-250B-44AC-8655-05D46C5A3D8A}" dt="2023-05-18T11:07:17.574" v="3276" actId="164"/>
          <ac:spMkLst>
            <pc:docMk/>
            <pc:sldMk cId="3629079265" sldId="264"/>
            <ac:spMk id="65" creationId="{66FF7314-B0FA-4747-974D-2016F5D9912D}"/>
          </ac:spMkLst>
        </pc:spChg>
        <pc:spChg chg="add mod topLvl">
          <ac:chgData name="El Bakkouri, Manal" userId="8b130982-2e3f-4164-b881-fd3a2e4b2453" providerId="ADAL" clId="{4457FA57-250B-44AC-8655-05D46C5A3D8A}" dt="2023-05-18T11:07:17.574" v="3276" actId="164"/>
          <ac:spMkLst>
            <pc:docMk/>
            <pc:sldMk cId="3629079265" sldId="264"/>
            <ac:spMk id="66" creationId="{FCC0DE02-84A9-4B89-8DC8-70757AB54B60}"/>
          </ac:spMkLst>
        </pc:spChg>
        <pc:spChg chg="add mod topLvl">
          <ac:chgData name="El Bakkouri, Manal" userId="8b130982-2e3f-4164-b881-fd3a2e4b2453" providerId="ADAL" clId="{4457FA57-250B-44AC-8655-05D46C5A3D8A}" dt="2023-05-18T11:07:17.574" v="3276" actId="164"/>
          <ac:spMkLst>
            <pc:docMk/>
            <pc:sldMk cId="3629079265" sldId="264"/>
            <ac:spMk id="67" creationId="{CF2E2E40-E967-436F-9F06-CA4A1BD97F7B}"/>
          </ac:spMkLst>
        </pc:spChg>
        <pc:spChg chg="add mod topLvl">
          <ac:chgData name="El Bakkouri, Manal" userId="8b130982-2e3f-4164-b881-fd3a2e4b2453" providerId="ADAL" clId="{4457FA57-250B-44AC-8655-05D46C5A3D8A}" dt="2023-05-18T11:07:17.574" v="3276" actId="164"/>
          <ac:spMkLst>
            <pc:docMk/>
            <pc:sldMk cId="3629079265" sldId="264"/>
            <ac:spMk id="68" creationId="{67E48467-CBAA-4D69-A661-5DB55552A108}"/>
          </ac:spMkLst>
        </pc:spChg>
        <pc:spChg chg="add mod topLvl">
          <ac:chgData name="El Bakkouri, Manal" userId="8b130982-2e3f-4164-b881-fd3a2e4b2453" providerId="ADAL" clId="{4457FA57-250B-44AC-8655-05D46C5A3D8A}" dt="2023-05-18T11:07:17.574" v="3276" actId="164"/>
          <ac:spMkLst>
            <pc:docMk/>
            <pc:sldMk cId="3629079265" sldId="264"/>
            <ac:spMk id="69" creationId="{E8B37252-DB37-44F0-B14C-0FB66191D5D0}"/>
          </ac:spMkLst>
        </pc:spChg>
        <pc:spChg chg="add mod topLvl">
          <ac:chgData name="El Bakkouri, Manal" userId="8b130982-2e3f-4164-b881-fd3a2e4b2453" providerId="ADAL" clId="{4457FA57-250B-44AC-8655-05D46C5A3D8A}" dt="2023-05-18T11:07:17.574" v="3276" actId="164"/>
          <ac:spMkLst>
            <pc:docMk/>
            <pc:sldMk cId="3629079265" sldId="264"/>
            <ac:spMk id="70" creationId="{5A78D89D-3403-4704-88A0-CC82EF320C7A}"/>
          </ac:spMkLst>
        </pc:spChg>
        <pc:spChg chg="add mod topLvl">
          <ac:chgData name="El Bakkouri, Manal" userId="8b130982-2e3f-4164-b881-fd3a2e4b2453" providerId="ADAL" clId="{4457FA57-250B-44AC-8655-05D46C5A3D8A}" dt="2023-05-18T11:07:17.574" v="3276" actId="164"/>
          <ac:spMkLst>
            <pc:docMk/>
            <pc:sldMk cId="3629079265" sldId="264"/>
            <ac:spMk id="71" creationId="{F124B06E-8516-48E9-A5B0-F26D03BCEB7A}"/>
          </ac:spMkLst>
        </pc:spChg>
        <pc:spChg chg="add mod topLvl">
          <ac:chgData name="El Bakkouri, Manal" userId="8b130982-2e3f-4164-b881-fd3a2e4b2453" providerId="ADAL" clId="{4457FA57-250B-44AC-8655-05D46C5A3D8A}" dt="2023-05-18T11:07:17.574" v="3276" actId="164"/>
          <ac:spMkLst>
            <pc:docMk/>
            <pc:sldMk cId="3629079265" sldId="264"/>
            <ac:spMk id="72" creationId="{85DFCB18-5206-4F76-8A7A-FD24F3FDC77F}"/>
          </ac:spMkLst>
        </pc:spChg>
        <pc:spChg chg="add mod topLvl">
          <ac:chgData name="El Bakkouri, Manal" userId="8b130982-2e3f-4164-b881-fd3a2e4b2453" providerId="ADAL" clId="{4457FA57-250B-44AC-8655-05D46C5A3D8A}" dt="2023-05-18T11:07:17.574" v="3276" actId="164"/>
          <ac:spMkLst>
            <pc:docMk/>
            <pc:sldMk cId="3629079265" sldId="264"/>
            <ac:spMk id="73" creationId="{381542B9-BB63-4035-8918-2F39EAA5EA47}"/>
          </ac:spMkLst>
        </pc:spChg>
        <pc:spChg chg="add mod topLvl">
          <ac:chgData name="El Bakkouri, Manal" userId="8b130982-2e3f-4164-b881-fd3a2e4b2453" providerId="ADAL" clId="{4457FA57-250B-44AC-8655-05D46C5A3D8A}" dt="2023-05-18T11:07:17.574" v="3276" actId="164"/>
          <ac:spMkLst>
            <pc:docMk/>
            <pc:sldMk cId="3629079265" sldId="264"/>
            <ac:spMk id="74" creationId="{BB387137-673E-4AF7-AAA9-04B92DA0AC94}"/>
          </ac:spMkLst>
        </pc:spChg>
        <pc:spChg chg="add mod topLvl">
          <ac:chgData name="El Bakkouri, Manal" userId="8b130982-2e3f-4164-b881-fd3a2e4b2453" providerId="ADAL" clId="{4457FA57-250B-44AC-8655-05D46C5A3D8A}" dt="2023-05-18T11:07:17.574" v="3276" actId="164"/>
          <ac:spMkLst>
            <pc:docMk/>
            <pc:sldMk cId="3629079265" sldId="264"/>
            <ac:spMk id="75" creationId="{5E068466-542A-4810-815E-2BA41E6B460D}"/>
          </ac:spMkLst>
        </pc:spChg>
        <pc:spChg chg="add mod topLvl">
          <ac:chgData name="El Bakkouri, Manal" userId="8b130982-2e3f-4164-b881-fd3a2e4b2453" providerId="ADAL" clId="{4457FA57-250B-44AC-8655-05D46C5A3D8A}" dt="2023-05-18T11:07:17.574" v="3276" actId="164"/>
          <ac:spMkLst>
            <pc:docMk/>
            <pc:sldMk cId="3629079265" sldId="264"/>
            <ac:spMk id="76" creationId="{4658D36C-AEC5-4FD9-A11A-AE7A2D0E6E8B}"/>
          </ac:spMkLst>
        </pc:spChg>
        <pc:spChg chg="add mod topLvl">
          <ac:chgData name="El Bakkouri, Manal" userId="8b130982-2e3f-4164-b881-fd3a2e4b2453" providerId="ADAL" clId="{4457FA57-250B-44AC-8655-05D46C5A3D8A}" dt="2023-05-18T11:07:17.574" v="3276" actId="164"/>
          <ac:spMkLst>
            <pc:docMk/>
            <pc:sldMk cId="3629079265" sldId="264"/>
            <ac:spMk id="77" creationId="{3920F1DC-CC94-486B-B1EB-1830E34F3D53}"/>
          </ac:spMkLst>
        </pc:spChg>
        <pc:spChg chg="add mod topLvl">
          <ac:chgData name="El Bakkouri, Manal" userId="8b130982-2e3f-4164-b881-fd3a2e4b2453" providerId="ADAL" clId="{4457FA57-250B-44AC-8655-05D46C5A3D8A}" dt="2023-05-18T11:07:17.574" v="3276" actId="164"/>
          <ac:spMkLst>
            <pc:docMk/>
            <pc:sldMk cId="3629079265" sldId="264"/>
            <ac:spMk id="78" creationId="{03B14985-3F76-481A-B470-1C184805B631}"/>
          </ac:spMkLst>
        </pc:spChg>
        <pc:spChg chg="add mod topLvl">
          <ac:chgData name="El Bakkouri, Manal" userId="8b130982-2e3f-4164-b881-fd3a2e4b2453" providerId="ADAL" clId="{4457FA57-250B-44AC-8655-05D46C5A3D8A}" dt="2023-05-18T11:07:17.574" v="3276" actId="164"/>
          <ac:spMkLst>
            <pc:docMk/>
            <pc:sldMk cId="3629079265" sldId="264"/>
            <ac:spMk id="79" creationId="{92C462B5-0AA4-42ED-A9D5-86AA4A7AB7AF}"/>
          </ac:spMkLst>
        </pc:spChg>
        <pc:spChg chg="add mod topLvl">
          <ac:chgData name="El Bakkouri, Manal" userId="8b130982-2e3f-4164-b881-fd3a2e4b2453" providerId="ADAL" clId="{4457FA57-250B-44AC-8655-05D46C5A3D8A}" dt="2023-05-18T11:07:17.574" v="3276" actId="164"/>
          <ac:spMkLst>
            <pc:docMk/>
            <pc:sldMk cId="3629079265" sldId="264"/>
            <ac:spMk id="80" creationId="{24EBA16D-4AB1-4C8B-B530-5DF50EF58E0C}"/>
          </ac:spMkLst>
        </pc:spChg>
        <pc:spChg chg="add mod topLvl">
          <ac:chgData name="El Bakkouri, Manal" userId="8b130982-2e3f-4164-b881-fd3a2e4b2453" providerId="ADAL" clId="{4457FA57-250B-44AC-8655-05D46C5A3D8A}" dt="2023-05-18T11:07:17.574" v="3276" actId="164"/>
          <ac:spMkLst>
            <pc:docMk/>
            <pc:sldMk cId="3629079265" sldId="264"/>
            <ac:spMk id="81" creationId="{6C539F01-B1E4-40EC-BB3C-8C36C8DB33F7}"/>
          </ac:spMkLst>
        </pc:spChg>
        <pc:spChg chg="add mod topLvl">
          <ac:chgData name="El Bakkouri, Manal" userId="8b130982-2e3f-4164-b881-fd3a2e4b2453" providerId="ADAL" clId="{4457FA57-250B-44AC-8655-05D46C5A3D8A}" dt="2023-05-18T11:07:17.574" v="3276" actId="164"/>
          <ac:spMkLst>
            <pc:docMk/>
            <pc:sldMk cId="3629079265" sldId="264"/>
            <ac:spMk id="82" creationId="{CD77E8B4-6FCF-44D1-9D51-BAE10EE2775F}"/>
          </ac:spMkLst>
        </pc:spChg>
        <pc:spChg chg="add mod topLvl">
          <ac:chgData name="El Bakkouri, Manal" userId="8b130982-2e3f-4164-b881-fd3a2e4b2453" providerId="ADAL" clId="{4457FA57-250B-44AC-8655-05D46C5A3D8A}" dt="2023-05-18T11:07:17.574" v="3276" actId="164"/>
          <ac:spMkLst>
            <pc:docMk/>
            <pc:sldMk cId="3629079265" sldId="264"/>
            <ac:spMk id="83" creationId="{8C7474B3-98F4-43D4-AB31-322B9B2BF04C}"/>
          </ac:spMkLst>
        </pc:spChg>
        <pc:spChg chg="add mod topLvl">
          <ac:chgData name="El Bakkouri, Manal" userId="8b130982-2e3f-4164-b881-fd3a2e4b2453" providerId="ADAL" clId="{4457FA57-250B-44AC-8655-05D46C5A3D8A}" dt="2023-05-18T11:07:17.574" v="3276" actId="164"/>
          <ac:spMkLst>
            <pc:docMk/>
            <pc:sldMk cId="3629079265" sldId="264"/>
            <ac:spMk id="84" creationId="{EEDCD887-D7AF-4FFE-82FC-F542F7FDB18D}"/>
          </ac:spMkLst>
        </pc:spChg>
        <pc:spChg chg="add mod topLvl">
          <ac:chgData name="El Bakkouri, Manal" userId="8b130982-2e3f-4164-b881-fd3a2e4b2453" providerId="ADAL" clId="{4457FA57-250B-44AC-8655-05D46C5A3D8A}" dt="2023-05-18T11:07:17.574" v="3276" actId="164"/>
          <ac:spMkLst>
            <pc:docMk/>
            <pc:sldMk cId="3629079265" sldId="264"/>
            <ac:spMk id="85" creationId="{C04BA717-8411-4C42-B42D-AE86D8A398D7}"/>
          </ac:spMkLst>
        </pc:spChg>
        <pc:spChg chg="add mod topLvl">
          <ac:chgData name="El Bakkouri, Manal" userId="8b130982-2e3f-4164-b881-fd3a2e4b2453" providerId="ADAL" clId="{4457FA57-250B-44AC-8655-05D46C5A3D8A}" dt="2023-05-18T11:07:17.574" v="3276" actId="164"/>
          <ac:spMkLst>
            <pc:docMk/>
            <pc:sldMk cId="3629079265" sldId="264"/>
            <ac:spMk id="86" creationId="{799374F1-6119-4166-BE66-3154871D6593}"/>
          </ac:spMkLst>
        </pc:spChg>
        <pc:spChg chg="add mod topLvl">
          <ac:chgData name="El Bakkouri, Manal" userId="8b130982-2e3f-4164-b881-fd3a2e4b2453" providerId="ADAL" clId="{4457FA57-250B-44AC-8655-05D46C5A3D8A}" dt="2023-05-18T11:07:17.574" v="3276" actId="164"/>
          <ac:spMkLst>
            <pc:docMk/>
            <pc:sldMk cId="3629079265" sldId="264"/>
            <ac:spMk id="87" creationId="{12734B5F-4B03-47C7-B32C-4CBB6118355B}"/>
          </ac:spMkLst>
        </pc:spChg>
        <pc:spChg chg="add mod topLvl">
          <ac:chgData name="El Bakkouri, Manal" userId="8b130982-2e3f-4164-b881-fd3a2e4b2453" providerId="ADAL" clId="{4457FA57-250B-44AC-8655-05D46C5A3D8A}" dt="2023-05-18T11:07:17.574" v="3276" actId="164"/>
          <ac:spMkLst>
            <pc:docMk/>
            <pc:sldMk cId="3629079265" sldId="264"/>
            <ac:spMk id="88" creationId="{C477F3F3-DD01-4B7C-9D5D-6BE2ECB742B7}"/>
          </ac:spMkLst>
        </pc:spChg>
        <pc:spChg chg="add mod topLvl">
          <ac:chgData name="El Bakkouri, Manal" userId="8b130982-2e3f-4164-b881-fd3a2e4b2453" providerId="ADAL" clId="{4457FA57-250B-44AC-8655-05D46C5A3D8A}" dt="2023-05-18T11:07:17.574" v="3276" actId="164"/>
          <ac:spMkLst>
            <pc:docMk/>
            <pc:sldMk cId="3629079265" sldId="264"/>
            <ac:spMk id="89" creationId="{5EF9D9C0-F9AD-4D50-BD07-4E861B1CFB88}"/>
          </ac:spMkLst>
        </pc:spChg>
        <pc:spChg chg="add mod topLvl">
          <ac:chgData name="El Bakkouri, Manal" userId="8b130982-2e3f-4164-b881-fd3a2e4b2453" providerId="ADAL" clId="{4457FA57-250B-44AC-8655-05D46C5A3D8A}" dt="2023-05-18T11:07:17.574" v="3276" actId="164"/>
          <ac:spMkLst>
            <pc:docMk/>
            <pc:sldMk cId="3629079265" sldId="264"/>
            <ac:spMk id="90" creationId="{FB602115-DB01-4931-97EC-B6097EC6D61C}"/>
          </ac:spMkLst>
        </pc:spChg>
        <pc:spChg chg="add mod topLvl">
          <ac:chgData name="El Bakkouri, Manal" userId="8b130982-2e3f-4164-b881-fd3a2e4b2453" providerId="ADAL" clId="{4457FA57-250B-44AC-8655-05D46C5A3D8A}" dt="2023-05-18T11:07:17.574" v="3276" actId="164"/>
          <ac:spMkLst>
            <pc:docMk/>
            <pc:sldMk cId="3629079265" sldId="264"/>
            <ac:spMk id="91" creationId="{802ACF15-883D-40D5-8AF0-95BDC9B6559E}"/>
          </ac:spMkLst>
        </pc:spChg>
        <pc:spChg chg="mod">
          <ac:chgData name="El Bakkouri, Manal" userId="8b130982-2e3f-4164-b881-fd3a2e4b2453" providerId="ADAL" clId="{4457FA57-250B-44AC-8655-05D46C5A3D8A}" dt="2023-05-17T10:36:10.547" v="1673" actId="1076"/>
          <ac:spMkLst>
            <pc:docMk/>
            <pc:sldMk cId="3629079265" sldId="264"/>
            <ac:spMk id="94" creationId="{3B1F609E-1E3F-45F3-8999-426EC5D75654}"/>
          </ac:spMkLst>
        </pc:spChg>
        <pc:spChg chg="add del mod topLvl">
          <ac:chgData name="El Bakkouri, Manal" userId="8b130982-2e3f-4164-b881-fd3a2e4b2453" providerId="ADAL" clId="{4457FA57-250B-44AC-8655-05D46C5A3D8A}" dt="2023-05-18T11:06:43.877" v="3271" actId="21"/>
          <ac:spMkLst>
            <pc:docMk/>
            <pc:sldMk cId="3629079265" sldId="264"/>
            <ac:spMk id="95" creationId="{1F671C0F-AE5E-4905-ACC0-4540C92DBE65}"/>
          </ac:spMkLst>
        </pc:spChg>
        <pc:spChg chg="mod topLvl">
          <ac:chgData name="El Bakkouri, Manal" userId="8b130982-2e3f-4164-b881-fd3a2e4b2453" providerId="ADAL" clId="{4457FA57-250B-44AC-8655-05D46C5A3D8A}" dt="2023-05-18T11:06:16.952" v="3266" actId="164"/>
          <ac:spMkLst>
            <pc:docMk/>
            <pc:sldMk cId="3629079265" sldId="264"/>
            <ac:spMk id="99" creationId="{50835525-A7F5-4790-8E24-10CB8F36115A}"/>
          </ac:spMkLst>
        </pc:spChg>
        <pc:spChg chg="mod topLvl">
          <ac:chgData name="El Bakkouri, Manal" userId="8b130982-2e3f-4164-b881-fd3a2e4b2453" providerId="ADAL" clId="{4457FA57-250B-44AC-8655-05D46C5A3D8A}" dt="2023-05-18T11:06:16.952" v="3266" actId="164"/>
          <ac:spMkLst>
            <pc:docMk/>
            <pc:sldMk cId="3629079265" sldId="264"/>
            <ac:spMk id="100" creationId="{6FDBB532-955F-4536-9808-F137FF8D63BA}"/>
          </ac:spMkLst>
        </pc:spChg>
        <pc:spChg chg="mod topLvl">
          <ac:chgData name="El Bakkouri, Manal" userId="8b130982-2e3f-4164-b881-fd3a2e4b2453" providerId="ADAL" clId="{4457FA57-250B-44AC-8655-05D46C5A3D8A}" dt="2023-05-18T11:06:16.952" v="3266" actId="164"/>
          <ac:spMkLst>
            <pc:docMk/>
            <pc:sldMk cId="3629079265" sldId="264"/>
            <ac:spMk id="101" creationId="{93132EFC-7B31-4082-9689-A5FA4ACC4924}"/>
          </ac:spMkLst>
        </pc:spChg>
        <pc:spChg chg="mod topLvl">
          <ac:chgData name="El Bakkouri, Manal" userId="8b130982-2e3f-4164-b881-fd3a2e4b2453" providerId="ADAL" clId="{4457FA57-250B-44AC-8655-05D46C5A3D8A}" dt="2023-05-18T11:06:16.952" v="3266" actId="164"/>
          <ac:spMkLst>
            <pc:docMk/>
            <pc:sldMk cId="3629079265" sldId="264"/>
            <ac:spMk id="102" creationId="{2EB9C80D-068A-47F7-8E72-5537110A0ADC}"/>
          </ac:spMkLst>
        </pc:spChg>
        <pc:spChg chg="mod topLvl">
          <ac:chgData name="El Bakkouri, Manal" userId="8b130982-2e3f-4164-b881-fd3a2e4b2453" providerId="ADAL" clId="{4457FA57-250B-44AC-8655-05D46C5A3D8A}" dt="2023-05-18T11:06:16.952" v="3266" actId="164"/>
          <ac:spMkLst>
            <pc:docMk/>
            <pc:sldMk cId="3629079265" sldId="264"/>
            <ac:spMk id="103" creationId="{60342943-20A5-49C3-B74A-8599ECE5F42F}"/>
          </ac:spMkLst>
        </pc:spChg>
        <pc:spChg chg="mod topLvl">
          <ac:chgData name="El Bakkouri, Manal" userId="8b130982-2e3f-4164-b881-fd3a2e4b2453" providerId="ADAL" clId="{4457FA57-250B-44AC-8655-05D46C5A3D8A}" dt="2023-05-18T11:06:16.952" v="3266" actId="164"/>
          <ac:spMkLst>
            <pc:docMk/>
            <pc:sldMk cId="3629079265" sldId="264"/>
            <ac:spMk id="104" creationId="{69864498-1E57-41BF-97B2-3098DF93EA75}"/>
          </ac:spMkLst>
        </pc:spChg>
        <pc:spChg chg="mod topLvl">
          <ac:chgData name="El Bakkouri, Manal" userId="8b130982-2e3f-4164-b881-fd3a2e4b2453" providerId="ADAL" clId="{4457FA57-250B-44AC-8655-05D46C5A3D8A}" dt="2023-05-18T11:06:16.952" v="3266" actId="164"/>
          <ac:spMkLst>
            <pc:docMk/>
            <pc:sldMk cId="3629079265" sldId="264"/>
            <ac:spMk id="105" creationId="{5F9F62C3-3DA0-453F-943B-A6A4B76A246C}"/>
          </ac:spMkLst>
        </pc:spChg>
        <pc:spChg chg="mod topLvl">
          <ac:chgData name="El Bakkouri, Manal" userId="8b130982-2e3f-4164-b881-fd3a2e4b2453" providerId="ADAL" clId="{4457FA57-250B-44AC-8655-05D46C5A3D8A}" dt="2023-05-18T11:06:16.952" v="3266" actId="164"/>
          <ac:spMkLst>
            <pc:docMk/>
            <pc:sldMk cId="3629079265" sldId="264"/>
            <ac:spMk id="106" creationId="{E76224DC-FB6E-4012-9BB5-DFFED7092886}"/>
          </ac:spMkLst>
        </pc:spChg>
        <pc:spChg chg="del mod topLvl">
          <ac:chgData name="El Bakkouri, Manal" userId="8b130982-2e3f-4164-b881-fd3a2e4b2453" providerId="ADAL" clId="{4457FA57-250B-44AC-8655-05D46C5A3D8A}" dt="2023-05-18T11:04:10.411" v="3129" actId="478"/>
          <ac:spMkLst>
            <pc:docMk/>
            <pc:sldMk cId="3629079265" sldId="264"/>
            <ac:spMk id="107" creationId="{A4488872-9CB4-417B-B2E6-60CD2F271F24}"/>
          </ac:spMkLst>
        </pc:spChg>
        <pc:spChg chg="mod topLvl">
          <ac:chgData name="El Bakkouri, Manal" userId="8b130982-2e3f-4164-b881-fd3a2e4b2453" providerId="ADAL" clId="{4457FA57-250B-44AC-8655-05D46C5A3D8A}" dt="2023-05-18T11:06:16.952" v="3266" actId="164"/>
          <ac:spMkLst>
            <pc:docMk/>
            <pc:sldMk cId="3629079265" sldId="264"/>
            <ac:spMk id="108" creationId="{56466B5B-C1C1-4FDA-B760-57B8224F93F9}"/>
          </ac:spMkLst>
        </pc:spChg>
        <pc:spChg chg="mod topLvl">
          <ac:chgData name="El Bakkouri, Manal" userId="8b130982-2e3f-4164-b881-fd3a2e4b2453" providerId="ADAL" clId="{4457FA57-250B-44AC-8655-05D46C5A3D8A}" dt="2023-05-18T11:06:16.952" v="3266" actId="164"/>
          <ac:spMkLst>
            <pc:docMk/>
            <pc:sldMk cId="3629079265" sldId="264"/>
            <ac:spMk id="109" creationId="{43B6A821-C895-465C-8183-B1D4AC42DF7F}"/>
          </ac:spMkLst>
        </pc:spChg>
        <pc:spChg chg="mod topLvl">
          <ac:chgData name="El Bakkouri, Manal" userId="8b130982-2e3f-4164-b881-fd3a2e4b2453" providerId="ADAL" clId="{4457FA57-250B-44AC-8655-05D46C5A3D8A}" dt="2023-05-18T11:06:16.952" v="3266" actId="164"/>
          <ac:spMkLst>
            <pc:docMk/>
            <pc:sldMk cId="3629079265" sldId="264"/>
            <ac:spMk id="110" creationId="{C15A925B-6092-425D-BC40-8F884FC69FCA}"/>
          </ac:spMkLst>
        </pc:spChg>
        <pc:spChg chg="mod topLvl">
          <ac:chgData name="El Bakkouri, Manal" userId="8b130982-2e3f-4164-b881-fd3a2e4b2453" providerId="ADAL" clId="{4457FA57-250B-44AC-8655-05D46C5A3D8A}" dt="2023-05-18T11:06:16.952" v="3266" actId="164"/>
          <ac:spMkLst>
            <pc:docMk/>
            <pc:sldMk cId="3629079265" sldId="264"/>
            <ac:spMk id="111" creationId="{988E1093-9C7C-4ABE-9799-4C30A534BAC0}"/>
          </ac:spMkLst>
        </pc:spChg>
        <pc:spChg chg="mod topLvl">
          <ac:chgData name="El Bakkouri, Manal" userId="8b130982-2e3f-4164-b881-fd3a2e4b2453" providerId="ADAL" clId="{4457FA57-250B-44AC-8655-05D46C5A3D8A}" dt="2023-05-18T11:06:16.952" v="3266" actId="164"/>
          <ac:spMkLst>
            <pc:docMk/>
            <pc:sldMk cId="3629079265" sldId="264"/>
            <ac:spMk id="112" creationId="{1D0C6288-4265-4B17-A7B8-45824F019010}"/>
          </ac:spMkLst>
        </pc:spChg>
        <pc:spChg chg="mod topLvl">
          <ac:chgData name="El Bakkouri, Manal" userId="8b130982-2e3f-4164-b881-fd3a2e4b2453" providerId="ADAL" clId="{4457FA57-250B-44AC-8655-05D46C5A3D8A}" dt="2023-05-18T11:06:16.952" v="3266" actId="164"/>
          <ac:spMkLst>
            <pc:docMk/>
            <pc:sldMk cId="3629079265" sldId="264"/>
            <ac:spMk id="113" creationId="{69D29716-2655-452D-A539-434E82D3954C}"/>
          </ac:spMkLst>
        </pc:spChg>
        <pc:spChg chg="mod topLvl">
          <ac:chgData name="El Bakkouri, Manal" userId="8b130982-2e3f-4164-b881-fd3a2e4b2453" providerId="ADAL" clId="{4457FA57-250B-44AC-8655-05D46C5A3D8A}" dt="2023-05-18T11:06:16.952" v="3266" actId="164"/>
          <ac:spMkLst>
            <pc:docMk/>
            <pc:sldMk cId="3629079265" sldId="264"/>
            <ac:spMk id="114" creationId="{0DC3F83B-71EE-4DC7-A88E-BC2A4E22E418}"/>
          </ac:spMkLst>
        </pc:spChg>
        <pc:spChg chg="mod topLvl">
          <ac:chgData name="El Bakkouri, Manal" userId="8b130982-2e3f-4164-b881-fd3a2e4b2453" providerId="ADAL" clId="{4457FA57-250B-44AC-8655-05D46C5A3D8A}" dt="2023-05-18T11:06:16.952" v="3266" actId="164"/>
          <ac:spMkLst>
            <pc:docMk/>
            <pc:sldMk cId="3629079265" sldId="264"/>
            <ac:spMk id="115" creationId="{F7FB94EC-3FDC-4002-AB4A-4ED378EA1FCC}"/>
          </ac:spMkLst>
        </pc:spChg>
        <pc:spChg chg="mod topLvl">
          <ac:chgData name="El Bakkouri, Manal" userId="8b130982-2e3f-4164-b881-fd3a2e4b2453" providerId="ADAL" clId="{4457FA57-250B-44AC-8655-05D46C5A3D8A}" dt="2023-05-18T11:06:16.952" v="3266" actId="164"/>
          <ac:spMkLst>
            <pc:docMk/>
            <pc:sldMk cId="3629079265" sldId="264"/>
            <ac:spMk id="116" creationId="{A8403702-97EE-40BA-A464-AF793A1B83AA}"/>
          </ac:spMkLst>
        </pc:spChg>
        <pc:spChg chg="mod topLvl">
          <ac:chgData name="El Bakkouri, Manal" userId="8b130982-2e3f-4164-b881-fd3a2e4b2453" providerId="ADAL" clId="{4457FA57-250B-44AC-8655-05D46C5A3D8A}" dt="2023-05-18T11:06:16.952" v="3266" actId="164"/>
          <ac:spMkLst>
            <pc:docMk/>
            <pc:sldMk cId="3629079265" sldId="264"/>
            <ac:spMk id="117" creationId="{434C6C86-B670-4287-97FA-7609F75ED36B}"/>
          </ac:spMkLst>
        </pc:spChg>
        <pc:spChg chg="mod topLvl">
          <ac:chgData name="El Bakkouri, Manal" userId="8b130982-2e3f-4164-b881-fd3a2e4b2453" providerId="ADAL" clId="{4457FA57-250B-44AC-8655-05D46C5A3D8A}" dt="2023-05-18T11:06:16.952" v="3266" actId="164"/>
          <ac:spMkLst>
            <pc:docMk/>
            <pc:sldMk cId="3629079265" sldId="264"/>
            <ac:spMk id="118" creationId="{20F2E2E0-B31E-4E39-8B4E-476D8DD18E0F}"/>
          </ac:spMkLst>
        </pc:spChg>
        <pc:spChg chg="mod topLvl">
          <ac:chgData name="El Bakkouri, Manal" userId="8b130982-2e3f-4164-b881-fd3a2e4b2453" providerId="ADAL" clId="{4457FA57-250B-44AC-8655-05D46C5A3D8A}" dt="2023-05-18T11:06:16.952" v="3266" actId="164"/>
          <ac:spMkLst>
            <pc:docMk/>
            <pc:sldMk cId="3629079265" sldId="264"/>
            <ac:spMk id="119" creationId="{6D62881E-DE9E-45CB-9798-A3A2E184E0F4}"/>
          </ac:spMkLst>
        </pc:spChg>
        <pc:spChg chg="mod topLvl">
          <ac:chgData name="El Bakkouri, Manal" userId="8b130982-2e3f-4164-b881-fd3a2e4b2453" providerId="ADAL" clId="{4457FA57-250B-44AC-8655-05D46C5A3D8A}" dt="2023-05-18T11:06:16.952" v="3266" actId="164"/>
          <ac:spMkLst>
            <pc:docMk/>
            <pc:sldMk cId="3629079265" sldId="264"/>
            <ac:spMk id="120" creationId="{E38746B5-134C-4453-821D-1B4CEE449EF6}"/>
          </ac:spMkLst>
        </pc:spChg>
        <pc:spChg chg="mod topLvl">
          <ac:chgData name="El Bakkouri, Manal" userId="8b130982-2e3f-4164-b881-fd3a2e4b2453" providerId="ADAL" clId="{4457FA57-250B-44AC-8655-05D46C5A3D8A}" dt="2023-05-18T11:06:16.952" v="3266" actId="164"/>
          <ac:spMkLst>
            <pc:docMk/>
            <pc:sldMk cId="3629079265" sldId="264"/>
            <ac:spMk id="121" creationId="{282DEA93-4F57-40EB-A4A2-9C64F983E157}"/>
          </ac:spMkLst>
        </pc:spChg>
        <pc:spChg chg="mod topLvl">
          <ac:chgData name="El Bakkouri, Manal" userId="8b130982-2e3f-4164-b881-fd3a2e4b2453" providerId="ADAL" clId="{4457FA57-250B-44AC-8655-05D46C5A3D8A}" dt="2023-05-18T11:06:16.952" v="3266" actId="164"/>
          <ac:spMkLst>
            <pc:docMk/>
            <pc:sldMk cId="3629079265" sldId="264"/>
            <ac:spMk id="122" creationId="{C93AD19B-ADDF-49EB-BFD9-7346FD276C37}"/>
          </ac:spMkLst>
        </pc:spChg>
        <pc:spChg chg="mod topLvl">
          <ac:chgData name="El Bakkouri, Manal" userId="8b130982-2e3f-4164-b881-fd3a2e4b2453" providerId="ADAL" clId="{4457FA57-250B-44AC-8655-05D46C5A3D8A}" dt="2023-05-18T11:06:16.952" v="3266" actId="164"/>
          <ac:spMkLst>
            <pc:docMk/>
            <pc:sldMk cId="3629079265" sldId="264"/>
            <ac:spMk id="123" creationId="{4D860CD2-5E6D-4F0A-B694-FECCF545F4B3}"/>
          </ac:spMkLst>
        </pc:spChg>
        <pc:spChg chg="mod topLvl">
          <ac:chgData name="El Bakkouri, Manal" userId="8b130982-2e3f-4164-b881-fd3a2e4b2453" providerId="ADAL" clId="{4457FA57-250B-44AC-8655-05D46C5A3D8A}" dt="2023-05-18T11:06:16.952" v="3266" actId="164"/>
          <ac:spMkLst>
            <pc:docMk/>
            <pc:sldMk cId="3629079265" sldId="264"/>
            <ac:spMk id="124" creationId="{769507E4-4F64-4CDE-BFC4-388A58AFA97F}"/>
          </ac:spMkLst>
        </pc:spChg>
        <pc:spChg chg="mod topLvl">
          <ac:chgData name="El Bakkouri, Manal" userId="8b130982-2e3f-4164-b881-fd3a2e4b2453" providerId="ADAL" clId="{4457FA57-250B-44AC-8655-05D46C5A3D8A}" dt="2023-05-18T11:06:16.952" v="3266" actId="164"/>
          <ac:spMkLst>
            <pc:docMk/>
            <pc:sldMk cId="3629079265" sldId="264"/>
            <ac:spMk id="125" creationId="{5CA83F4C-B69C-4872-AB89-CBD27B9DA130}"/>
          </ac:spMkLst>
        </pc:spChg>
        <pc:spChg chg="del mod topLvl">
          <ac:chgData name="El Bakkouri, Manal" userId="8b130982-2e3f-4164-b881-fd3a2e4b2453" providerId="ADAL" clId="{4457FA57-250B-44AC-8655-05D46C5A3D8A}" dt="2023-05-18T11:04:10.411" v="3129" actId="478"/>
          <ac:spMkLst>
            <pc:docMk/>
            <pc:sldMk cId="3629079265" sldId="264"/>
            <ac:spMk id="126" creationId="{00E47A90-46F2-40B6-A63C-84E853B45AC9}"/>
          </ac:spMkLst>
        </pc:spChg>
        <pc:spChg chg="mod topLvl">
          <ac:chgData name="El Bakkouri, Manal" userId="8b130982-2e3f-4164-b881-fd3a2e4b2453" providerId="ADAL" clId="{4457FA57-250B-44AC-8655-05D46C5A3D8A}" dt="2023-05-18T11:06:16.952" v="3266" actId="164"/>
          <ac:spMkLst>
            <pc:docMk/>
            <pc:sldMk cId="3629079265" sldId="264"/>
            <ac:spMk id="127" creationId="{CF8994F4-3751-4817-8620-B417F7B74810}"/>
          </ac:spMkLst>
        </pc:spChg>
        <pc:spChg chg="mod topLvl">
          <ac:chgData name="El Bakkouri, Manal" userId="8b130982-2e3f-4164-b881-fd3a2e4b2453" providerId="ADAL" clId="{4457FA57-250B-44AC-8655-05D46C5A3D8A}" dt="2023-05-18T11:06:16.952" v="3266" actId="164"/>
          <ac:spMkLst>
            <pc:docMk/>
            <pc:sldMk cId="3629079265" sldId="264"/>
            <ac:spMk id="128" creationId="{A665E118-0D53-4401-A8C8-3182C087A44B}"/>
          </ac:spMkLst>
        </pc:spChg>
        <pc:spChg chg="del mod topLvl">
          <ac:chgData name="El Bakkouri, Manal" userId="8b130982-2e3f-4164-b881-fd3a2e4b2453" providerId="ADAL" clId="{4457FA57-250B-44AC-8655-05D46C5A3D8A}" dt="2023-05-18T11:04:10.411" v="3129" actId="478"/>
          <ac:spMkLst>
            <pc:docMk/>
            <pc:sldMk cId="3629079265" sldId="264"/>
            <ac:spMk id="129" creationId="{A6F7AA97-5B14-4196-A484-03A3FF0A1401}"/>
          </ac:spMkLst>
        </pc:spChg>
        <pc:spChg chg="mod topLvl">
          <ac:chgData name="El Bakkouri, Manal" userId="8b130982-2e3f-4164-b881-fd3a2e4b2453" providerId="ADAL" clId="{4457FA57-250B-44AC-8655-05D46C5A3D8A}" dt="2023-05-18T11:06:16.952" v="3266" actId="164"/>
          <ac:spMkLst>
            <pc:docMk/>
            <pc:sldMk cId="3629079265" sldId="264"/>
            <ac:spMk id="130" creationId="{AC282D6C-8CF7-42C1-B944-003950929AB8}"/>
          </ac:spMkLst>
        </pc:spChg>
        <pc:spChg chg="del mod topLvl">
          <ac:chgData name="El Bakkouri, Manal" userId="8b130982-2e3f-4164-b881-fd3a2e4b2453" providerId="ADAL" clId="{4457FA57-250B-44AC-8655-05D46C5A3D8A}" dt="2023-05-18T11:04:10.411" v="3129" actId="478"/>
          <ac:spMkLst>
            <pc:docMk/>
            <pc:sldMk cId="3629079265" sldId="264"/>
            <ac:spMk id="131" creationId="{CA234F95-5520-49D8-A57E-8520D75D1819}"/>
          </ac:spMkLst>
        </pc:spChg>
        <pc:spChg chg="mod topLvl">
          <ac:chgData name="El Bakkouri, Manal" userId="8b130982-2e3f-4164-b881-fd3a2e4b2453" providerId="ADAL" clId="{4457FA57-250B-44AC-8655-05D46C5A3D8A}" dt="2023-05-18T11:06:16.952" v="3266" actId="164"/>
          <ac:spMkLst>
            <pc:docMk/>
            <pc:sldMk cId="3629079265" sldId="264"/>
            <ac:spMk id="132" creationId="{04EC93B9-5941-4FF5-8B14-807DA50CF17B}"/>
          </ac:spMkLst>
        </pc:spChg>
        <pc:spChg chg="del mod topLvl">
          <ac:chgData name="El Bakkouri, Manal" userId="8b130982-2e3f-4164-b881-fd3a2e4b2453" providerId="ADAL" clId="{4457FA57-250B-44AC-8655-05D46C5A3D8A}" dt="2023-05-18T11:04:10.411" v="3129" actId="478"/>
          <ac:spMkLst>
            <pc:docMk/>
            <pc:sldMk cId="3629079265" sldId="264"/>
            <ac:spMk id="133" creationId="{08AD58A7-3BE9-4D92-8779-93EA49FC09E0}"/>
          </ac:spMkLst>
        </pc:spChg>
        <pc:spChg chg="mod topLvl">
          <ac:chgData name="El Bakkouri, Manal" userId="8b130982-2e3f-4164-b881-fd3a2e4b2453" providerId="ADAL" clId="{4457FA57-250B-44AC-8655-05D46C5A3D8A}" dt="2023-05-18T11:06:16.952" v="3266" actId="164"/>
          <ac:spMkLst>
            <pc:docMk/>
            <pc:sldMk cId="3629079265" sldId="264"/>
            <ac:spMk id="134" creationId="{519B3FB3-AE0A-4E8D-89EF-0B612EAAD4F1}"/>
          </ac:spMkLst>
        </pc:spChg>
        <pc:spChg chg="mod topLvl">
          <ac:chgData name="El Bakkouri, Manal" userId="8b130982-2e3f-4164-b881-fd3a2e4b2453" providerId="ADAL" clId="{4457FA57-250B-44AC-8655-05D46C5A3D8A}" dt="2023-05-18T11:06:16.952" v="3266" actId="164"/>
          <ac:spMkLst>
            <pc:docMk/>
            <pc:sldMk cId="3629079265" sldId="264"/>
            <ac:spMk id="135" creationId="{996DFFC8-7DE2-4084-AF70-54F5651393A3}"/>
          </ac:spMkLst>
        </pc:spChg>
        <pc:spChg chg="mod topLvl">
          <ac:chgData name="El Bakkouri, Manal" userId="8b130982-2e3f-4164-b881-fd3a2e4b2453" providerId="ADAL" clId="{4457FA57-250B-44AC-8655-05D46C5A3D8A}" dt="2023-05-18T11:06:16.952" v="3266" actId="164"/>
          <ac:spMkLst>
            <pc:docMk/>
            <pc:sldMk cId="3629079265" sldId="264"/>
            <ac:spMk id="136" creationId="{1F7A6254-F279-4552-8A88-B07F5E884C23}"/>
          </ac:spMkLst>
        </pc:spChg>
        <pc:spChg chg="mod topLvl">
          <ac:chgData name="El Bakkouri, Manal" userId="8b130982-2e3f-4164-b881-fd3a2e4b2453" providerId="ADAL" clId="{4457FA57-250B-44AC-8655-05D46C5A3D8A}" dt="2023-05-18T11:06:16.952" v="3266" actId="164"/>
          <ac:spMkLst>
            <pc:docMk/>
            <pc:sldMk cId="3629079265" sldId="264"/>
            <ac:spMk id="137" creationId="{86D068D3-813A-4232-BEB3-1149867E997A}"/>
          </ac:spMkLst>
        </pc:spChg>
        <pc:spChg chg="mod topLvl">
          <ac:chgData name="El Bakkouri, Manal" userId="8b130982-2e3f-4164-b881-fd3a2e4b2453" providerId="ADAL" clId="{4457FA57-250B-44AC-8655-05D46C5A3D8A}" dt="2023-05-18T11:06:16.952" v="3266" actId="164"/>
          <ac:spMkLst>
            <pc:docMk/>
            <pc:sldMk cId="3629079265" sldId="264"/>
            <ac:spMk id="138" creationId="{3B47212A-1762-49FC-8B52-F82EC238841C}"/>
          </ac:spMkLst>
        </pc:spChg>
        <pc:spChg chg="mod topLvl">
          <ac:chgData name="El Bakkouri, Manal" userId="8b130982-2e3f-4164-b881-fd3a2e4b2453" providerId="ADAL" clId="{4457FA57-250B-44AC-8655-05D46C5A3D8A}" dt="2023-05-18T11:06:16.952" v="3266" actId="164"/>
          <ac:spMkLst>
            <pc:docMk/>
            <pc:sldMk cId="3629079265" sldId="264"/>
            <ac:spMk id="139" creationId="{C73BDC10-A2BC-4508-9B83-194D02EA93F0}"/>
          </ac:spMkLst>
        </pc:spChg>
        <pc:spChg chg="mod topLvl">
          <ac:chgData name="El Bakkouri, Manal" userId="8b130982-2e3f-4164-b881-fd3a2e4b2453" providerId="ADAL" clId="{4457FA57-250B-44AC-8655-05D46C5A3D8A}" dt="2023-05-18T11:06:16.952" v="3266" actId="164"/>
          <ac:spMkLst>
            <pc:docMk/>
            <pc:sldMk cId="3629079265" sldId="264"/>
            <ac:spMk id="140" creationId="{7C3B88DB-7903-4615-8034-41910774E4B2}"/>
          </ac:spMkLst>
        </pc:spChg>
        <pc:spChg chg="mod topLvl">
          <ac:chgData name="El Bakkouri, Manal" userId="8b130982-2e3f-4164-b881-fd3a2e4b2453" providerId="ADAL" clId="{4457FA57-250B-44AC-8655-05D46C5A3D8A}" dt="2023-05-18T11:06:16.952" v="3266" actId="164"/>
          <ac:spMkLst>
            <pc:docMk/>
            <pc:sldMk cId="3629079265" sldId="264"/>
            <ac:spMk id="141" creationId="{7EF500C0-E5AC-4BBA-9B92-2AF29D4D7C80}"/>
          </ac:spMkLst>
        </pc:spChg>
        <pc:spChg chg="mod topLvl">
          <ac:chgData name="El Bakkouri, Manal" userId="8b130982-2e3f-4164-b881-fd3a2e4b2453" providerId="ADAL" clId="{4457FA57-250B-44AC-8655-05D46C5A3D8A}" dt="2023-05-18T11:06:16.952" v="3266" actId="164"/>
          <ac:spMkLst>
            <pc:docMk/>
            <pc:sldMk cId="3629079265" sldId="264"/>
            <ac:spMk id="142" creationId="{0B929764-B4C2-416A-89E9-FD0114165930}"/>
          </ac:spMkLst>
        </pc:spChg>
        <pc:spChg chg="mod topLvl">
          <ac:chgData name="El Bakkouri, Manal" userId="8b130982-2e3f-4164-b881-fd3a2e4b2453" providerId="ADAL" clId="{4457FA57-250B-44AC-8655-05D46C5A3D8A}" dt="2023-05-18T11:06:16.952" v="3266" actId="164"/>
          <ac:spMkLst>
            <pc:docMk/>
            <pc:sldMk cId="3629079265" sldId="264"/>
            <ac:spMk id="143" creationId="{6C502D11-1D79-4B46-A4CB-94A9B5B9ABB7}"/>
          </ac:spMkLst>
        </pc:spChg>
        <pc:spChg chg="mod topLvl">
          <ac:chgData name="El Bakkouri, Manal" userId="8b130982-2e3f-4164-b881-fd3a2e4b2453" providerId="ADAL" clId="{4457FA57-250B-44AC-8655-05D46C5A3D8A}" dt="2023-05-18T11:06:16.952" v="3266" actId="164"/>
          <ac:spMkLst>
            <pc:docMk/>
            <pc:sldMk cId="3629079265" sldId="264"/>
            <ac:spMk id="144" creationId="{5105B110-4375-4864-BB85-3E817D766453}"/>
          </ac:spMkLst>
        </pc:spChg>
        <pc:spChg chg="mod topLvl">
          <ac:chgData name="El Bakkouri, Manal" userId="8b130982-2e3f-4164-b881-fd3a2e4b2453" providerId="ADAL" clId="{4457FA57-250B-44AC-8655-05D46C5A3D8A}" dt="2023-05-18T11:06:16.952" v="3266" actId="164"/>
          <ac:spMkLst>
            <pc:docMk/>
            <pc:sldMk cId="3629079265" sldId="264"/>
            <ac:spMk id="145" creationId="{4F4331F1-22F6-44A5-B62E-4671EF7625C5}"/>
          </ac:spMkLst>
        </pc:spChg>
        <pc:spChg chg="mod topLvl">
          <ac:chgData name="El Bakkouri, Manal" userId="8b130982-2e3f-4164-b881-fd3a2e4b2453" providerId="ADAL" clId="{4457FA57-250B-44AC-8655-05D46C5A3D8A}" dt="2023-05-18T11:06:16.952" v="3266" actId="164"/>
          <ac:spMkLst>
            <pc:docMk/>
            <pc:sldMk cId="3629079265" sldId="264"/>
            <ac:spMk id="146" creationId="{17562294-2671-4A0B-9B08-34ADE27B3064}"/>
          </ac:spMkLst>
        </pc:spChg>
        <pc:spChg chg="mod topLvl">
          <ac:chgData name="El Bakkouri, Manal" userId="8b130982-2e3f-4164-b881-fd3a2e4b2453" providerId="ADAL" clId="{4457FA57-250B-44AC-8655-05D46C5A3D8A}" dt="2023-05-18T11:06:16.952" v="3266" actId="164"/>
          <ac:spMkLst>
            <pc:docMk/>
            <pc:sldMk cId="3629079265" sldId="264"/>
            <ac:spMk id="147" creationId="{E15E0606-F36E-466D-9601-F446023CE8C9}"/>
          </ac:spMkLst>
        </pc:spChg>
        <pc:spChg chg="mod topLvl">
          <ac:chgData name="El Bakkouri, Manal" userId="8b130982-2e3f-4164-b881-fd3a2e4b2453" providerId="ADAL" clId="{4457FA57-250B-44AC-8655-05D46C5A3D8A}" dt="2023-05-18T11:06:16.952" v="3266" actId="164"/>
          <ac:spMkLst>
            <pc:docMk/>
            <pc:sldMk cId="3629079265" sldId="264"/>
            <ac:spMk id="148" creationId="{7E9D6A95-6662-4F32-A875-77EDD433419A}"/>
          </ac:spMkLst>
        </pc:spChg>
        <pc:spChg chg="mod topLvl">
          <ac:chgData name="El Bakkouri, Manal" userId="8b130982-2e3f-4164-b881-fd3a2e4b2453" providerId="ADAL" clId="{4457FA57-250B-44AC-8655-05D46C5A3D8A}" dt="2023-05-18T11:06:16.952" v="3266" actId="164"/>
          <ac:spMkLst>
            <pc:docMk/>
            <pc:sldMk cId="3629079265" sldId="264"/>
            <ac:spMk id="149" creationId="{4442C880-9D41-4A3B-8A71-8EC68EC67B18}"/>
          </ac:spMkLst>
        </pc:spChg>
        <pc:spChg chg="mod topLvl">
          <ac:chgData name="El Bakkouri, Manal" userId="8b130982-2e3f-4164-b881-fd3a2e4b2453" providerId="ADAL" clId="{4457FA57-250B-44AC-8655-05D46C5A3D8A}" dt="2023-05-18T11:06:16.952" v="3266" actId="164"/>
          <ac:spMkLst>
            <pc:docMk/>
            <pc:sldMk cId="3629079265" sldId="264"/>
            <ac:spMk id="150" creationId="{7AD3A23E-F164-48A9-9510-012E5B883EA9}"/>
          </ac:spMkLst>
        </pc:spChg>
        <pc:spChg chg="del mod topLvl">
          <ac:chgData name="El Bakkouri, Manal" userId="8b130982-2e3f-4164-b881-fd3a2e4b2453" providerId="ADAL" clId="{4457FA57-250B-44AC-8655-05D46C5A3D8A}" dt="2023-05-16T17:35:24.961" v="1353" actId="478"/>
          <ac:spMkLst>
            <pc:docMk/>
            <pc:sldMk cId="3629079265" sldId="264"/>
            <ac:spMk id="151" creationId="{DFF36DA5-4A7F-4E16-B1D9-FC495C428FFF}"/>
          </ac:spMkLst>
        </pc:spChg>
        <pc:spChg chg="mod topLvl">
          <ac:chgData name="El Bakkouri, Manal" userId="8b130982-2e3f-4164-b881-fd3a2e4b2453" providerId="ADAL" clId="{4457FA57-250B-44AC-8655-05D46C5A3D8A}" dt="2023-05-18T11:06:16.952" v="3266" actId="164"/>
          <ac:spMkLst>
            <pc:docMk/>
            <pc:sldMk cId="3629079265" sldId="264"/>
            <ac:spMk id="152" creationId="{8DB73F2A-DC87-42C1-A1FB-431F9B70C59D}"/>
          </ac:spMkLst>
        </pc:spChg>
        <pc:spChg chg="mod topLvl">
          <ac:chgData name="El Bakkouri, Manal" userId="8b130982-2e3f-4164-b881-fd3a2e4b2453" providerId="ADAL" clId="{4457FA57-250B-44AC-8655-05D46C5A3D8A}" dt="2023-05-18T11:06:16.952" v="3266" actId="164"/>
          <ac:spMkLst>
            <pc:docMk/>
            <pc:sldMk cId="3629079265" sldId="264"/>
            <ac:spMk id="153" creationId="{5FAAF78B-9B5A-4F7A-AEB5-F4FCC0A87B43}"/>
          </ac:spMkLst>
        </pc:spChg>
        <pc:spChg chg="mod topLvl">
          <ac:chgData name="El Bakkouri, Manal" userId="8b130982-2e3f-4164-b881-fd3a2e4b2453" providerId="ADAL" clId="{4457FA57-250B-44AC-8655-05D46C5A3D8A}" dt="2023-05-18T11:06:16.952" v="3266" actId="164"/>
          <ac:spMkLst>
            <pc:docMk/>
            <pc:sldMk cId="3629079265" sldId="264"/>
            <ac:spMk id="154" creationId="{9845EB57-610D-442B-995C-B310A3AF7CCA}"/>
          </ac:spMkLst>
        </pc:spChg>
        <pc:spChg chg="mod topLvl">
          <ac:chgData name="El Bakkouri, Manal" userId="8b130982-2e3f-4164-b881-fd3a2e4b2453" providerId="ADAL" clId="{4457FA57-250B-44AC-8655-05D46C5A3D8A}" dt="2023-05-18T11:06:16.952" v="3266" actId="164"/>
          <ac:spMkLst>
            <pc:docMk/>
            <pc:sldMk cId="3629079265" sldId="264"/>
            <ac:spMk id="155" creationId="{FB155AF8-3AE7-447E-A120-9418BD123DE4}"/>
          </ac:spMkLst>
        </pc:spChg>
        <pc:spChg chg="mod topLvl">
          <ac:chgData name="El Bakkouri, Manal" userId="8b130982-2e3f-4164-b881-fd3a2e4b2453" providerId="ADAL" clId="{4457FA57-250B-44AC-8655-05D46C5A3D8A}" dt="2023-05-18T11:06:16.952" v="3266" actId="164"/>
          <ac:spMkLst>
            <pc:docMk/>
            <pc:sldMk cId="3629079265" sldId="264"/>
            <ac:spMk id="156" creationId="{8E8570E8-5093-45A6-990A-907127C05B5C}"/>
          </ac:spMkLst>
        </pc:spChg>
        <pc:spChg chg="mod topLvl">
          <ac:chgData name="El Bakkouri, Manal" userId="8b130982-2e3f-4164-b881-fd3a2e4b2453" providerId="ADAL" clId="{4457FA57-250B-44AC-8655-05D46C5A3D8A}" dt="2023-05-18T11:06:16.952" v="3266" actId="164"/>
          <ac:spMkLst>
            <pc:docMk/>
            <pc:sldMk cId="3629079265" sldId="264"/>
            <ac:spMk id="157" creationId="{E0A1B5C9-5766-46D5-BD52-AF3710C0F332}"/>
          </ac:spMkLst>
        </pc:spChg>
        <pc:spChg chg="mod topLvl">
          <ac:chgData name="El Bakkouri, Manal" userId="8b130982-2e3f-4164-b881-fd3a2e4b2453" providerId="ADAL" clId="{4457FA57-250B-44AC-8655-05D46C5A3D8A}" dt="2023-05-18T11:06:16.952" v="3266" actId="164"/>
          <ac:spMkLst>
            <pc:docMk/>
            <pc:sldMk cId="3629079265" sldId="264"/>
            <ac:spMk id="158" creationId="{9AF11989-DB43-48ED-8372-C8449ECDF357}"/>
          </ac:spMkLst>
        </pc:spChg>
        <pc:spChg chg="mod topLvl">
          <ac:chgData name="El Bakkouri, Manal" userId="8b130982-2e3f-4164-b881-fd3a2e4b2453" providerId="ADAL" clId="{4457FA57-250B-44AC-8655-05D46C5A3D8A}" dt="2023-05-18T11:06:16.952" v="3266" actId="164"/>
          <ac:spMkLst>
            <pc:docMk/>
            <pc:sldMk cId="3629079265" sldId="264"/>
            <ac:spMk id="159" creationId="{042D24EB-DAFE-477D-AE0C-140970CBCAE8}"/>
          </ac:spMkLst>
        </pc:spChg>
        <pc:spChg chg="mod topLvl">
          <ac:chgData name="El Bakkouri, Manal" userId="8b130982-2e3f-4164-b881-fd3a2e4b2453" providerId="ADAL" clId="{4457FA57-250B-44AC-8655-05D46C5A3D8A}" dt="2023-05-18T11:06:16.952" v="3266" actId="164"/>
          <ac:spMkLst>
            <pc:docMk/>
            <pc:sldMk cId="3629079265" sldId="264"/>
            <ac:spMk id="160" creationId="{BDC6C883-1116-4942-A47C-CEBD7A49D23D}"/>
          </ac:spMkLst>
        </pc:spChg>
        <pc:spChg chg="del mod topLvl">
          <ac:chgData name="El Bakkouri, Manal" userId="8b130982-2e3f-4164-b881-fd3a2e4b2453" providerId="ADAL" clId="{4457FA57-250B-44AC-8655-05D46C5A3D8A}" dt="2023-05-18T11:04:15.912" v="3130" actId="478"/>
          <ac:spMkLst>
            <pc:docMk/>
            <pc:sldMk cId="3629079265" sldId="264"/>
            <ac:spMk id="161" creationId="{B201B7E2-708E-43F2-BCC7-395B5C905053}"/>
          </ac:spMkLst>
        </pc:spChg>
        <pc:spChg chg="mod topLvl">
          <ac:chgData name="El Bakkouri, Manal" userId="8b130982-2e3f-4164-b881-fd3a2e4b2453" providerId="ADAL" clId="{4457FA57-250B-44AC-8655-05D46C5A3D8A}" dt="2023-05-18T11:06:16.952" v="3266" actId="164"/>
          <ac:spMkLst>
            <pc:docMk/>
            <pc:sldMk cId="3629079265" sldId="264"/>
            <ac:spMk id="162" creationId="{A2B93536-5365-498F-B1A5-96A28DD49DC0}"/>
          </ac:spMkLst>
        </pc:spChg>
        <pc:spChg chg="mod topLvl">
          <ac:chgData name="El Bakkouri, Manal" userId="8b130982-2e3f-4164-b881-fd3a2e4b2453" providerId="ADAL" clId="{4457FA57-250B-44AC-8655-05D46C5A3D8A}" dt="2023-05-18T11:06:16.952" v="3266" actId="164"/>
          <ac:spMkLst>
            <pc:docMk/>
            <pc:sldMk cId="3629079265" sldId="264"/>
            <ac:spMk id="163" creationId="{7026C649-A6E4-4A66-A19D-1BFF7C664A6D}"/>
          </ac:spMkLst>
        </pc:spChg>
        <pc:spChg chg="mod topLvl">
          <ac:chgData name="El Bakkouri, Manal" userId="8b130982-2e3f-4164-b881-fd3a2e4b2453" providerId="ADAL" clId="{4457FA57-250B-44AC-8655-05D46C5A3D8A}" dt="2023-05-18T11:06:16.952" v="3266" actId="164"/>
          <ac:spMkLst>
            <pc:docMk/>
            <pc:sldMk cId="3629079265" sldId="264"/>
            <ac:spMk id="164" creationId="{43CEE9E5-7FE3-45AC-B497-C35C9DC186B8}"/>
          </ac:spMkLst>
        </pc:spChg>
        <pc:spChg chg="mod topLvl">
          <ac:chgData name="El Bakkouri, Manal" userId="8b130982-2e3f-4164-b881-fd3a2e4b2453" providerId="ADAL" clId="{4457FA57-250B-44AC-8655-05D46C5A3D8A}" dt="2023-05-18T11:06:16.952" v="3266" actId="164"/>
          <ac:spMkLst>
            <pc:docMk/>
            <pc:sldMk cId="3629079265" sldId="264"/>
            <ac:spMk id="165" creationId="{1AC5E847-2CA6-4DF9-9C87-46EFC1493350}"/>
          </ac:spMkLst>
        </pc:spChg>
        <pc:spChg chg="mod topLvl">
          <ac:chgData name="El Bakkouri, Manal" userId="8b130982-2e3f-4164-b881-fd3a2e4b2453" providerId="ADAL" clId="{4457FA57-250B-44AC-8655-05D46C5A3D8A}" dt="2023-05-18T11:06:16.952" v="3266" actId="164"/>
          <ac:spMkLst>
            <pc:docMk/>
            <pc:sldMk cId="3629079265" sldId="264"/>
            <ac:spMk id="166" creationId="{6B820F5A-17E6-4272-86B5-666F4E088189}"/>
          </ac:spMkLst>
        </pc:spChg>
        <pc:spChg chg="mod topLvl">
          <ac:chgData name="El Bakkouri, Manal" userId="8b130982-2e3f-4164-b881-fd3a2e4b2453" providerId="ADAL" clId="{4457FA57-250B-44AC-8655-05D46C5A3D8A}" dt="2023-05-18T11:06:16.952" v="3266" actId="164"/>
          <ac:spMkLst>
            <pc:docMk/>
            <pc:sldMk cId="3629079265" sldId="264"/>
            <ac:spMk id="167" creationId="{0B44FD9A-D329-4F26-99B9-B137BC75655A}"/>
          </ac:spMkLst>
        </pc:spChg>
        <pc:spChg chg="mod topLvl">
          <ac:chgData name="El Bakkouri, Manal" userId="8b130982-2e3f-4164-b881-fd3a2e4b2453" providerId="ADAL" clId="{4457FA57-250B-44AC-8655-05D46C5A3D8A}" dt="2023-05-18T11:06:16.952" v="3266" actId="164"/>
          <ac:spMkLst>
            <pc:docMk/>
            <pc:sldMk cId="3629079265" sldId="264"/>
            <ac:spMk id="168" creationId="{B288F68F-06EE-4304-B0B5-016BFD0568C2}"/>
          </ac:spMkLst>
        </pc:spChg>
        <pc:spChg chg="mod topLvl">
          <ac:chgData name="El Bakkouri, Manal" userId="8b130982-2e3f-4164-b881-fd3a2e4b2453" providerId="ADAL" clId="{4457FA57-250B-44AC-8655-05D46C5A3D8A}" dt="2023-05-18T11:06:16.952" v="3266" actId="164"/>
          <ac:spMkLst>
            <pc:docMk/>
            <pc:sldMk cId="3629079265" sldId="264"/>
            <ac:spMk id="169" creationId="{527A12F7-6138-406A-A065-F738ABDFFD44}"/>
          </ac:spMkLst>
        </pc:spChg>
        <pc:spChg chg="mod topLvl">
          <ac:chgData name="El Bakkouri, Manal" userId="8b130982-2e3f-4164-b881-fd3a2e4b2453" providerId="ADAL" clId="{4457FA57-250B-44AC-8655-05D46C5A3D8A}" dt="2023-05-18T11:06:16.952" v="3266" actId="164"/>
          <ac:spMkLst>
            <pc:docMk/>
            <pc:sldMk cId="3629079265" sldId="264"/>
            <ac:spMk id="170" creationId="{99A674F7-FC43-41A8-942B-06E5AC3F0AA6}"/>
          </ac:spMkLst>
        </pc:spChg>
        <pc:spChg chg="mod topLvl">
          <ac:chgData name="El Bakkouri, Manal" userId="8b130982-2e3f-4164-b881-fd3a2e4b2453" providerId="ADAL" clId="{4457FA57-250B-44AC-8655-05D46C5A3D8A}" dt="2023-05-18T11:06:16.952" v="3266" actId="164"/>
          <ac:spMkLst>
            <pc:docMk/>
            <pc:sldMk cId="3629079265" sldId="264"/>
            <ac:spMk id="171" creationId="{D41DEB19-9595-47BD-9B8D-D769E51D603A}"/>
          </ac:spMkLst>
        </pc:spChg>
        <pc:spChg chg="mod topLvl">
          <ac:chgData name="El Bakkouri, Manal" userId="8b130982-2e3f-4164-b881-fd3a2e4b2453" providerId="ADAL" clId="{4457FA57-250B-44AC-8655-05D46C5A3D8A}" dt="2023-05-18T11:06:16.952" v="3266" actId="164"/>
          <ac:spMkLst>
            <pc:docMk/>
            <pc:sldMk cId="3629079265" sldId="264"/>
            <ac:spMk id="172" creationId="{89FAFC50-2651-4780-960E-7CE38FAD2CC5}"/>
          </ac:spMkLst>
        </pc:spChg>
        <pc:spChg chg="mod topLvl">
          <ac:chgData name="El Bakkouri, Manal" userId="8b130982-2e3f-4164-b881-fd3a2e4b2453" providerId="ADAL" clId="{4457FA57-250B-44AC-8655-05D46C5A3D8A}" dt="2023-05-18T11:06:16.952" v="3266" actId="164"/>
          <ac:spMkLst>
            <pc:docMk/>
            <pc:sldMk cId="3629079265" sldId="264"/>
            <ac:spMk id="173" creationId="{C4035ABC-A5C9-4E8D-9154-3C0A6B7C46D2}"/>
          </ac:spMkLst>
        </pc:spChg>
        <pc:spChg chg="mod topLvl">
          <ac:chgData name="El Bakkouri, Manal" userId="8b130982-2e3f-4164-b881-fd3a2e4b2453" providerId="ADAL" clId="{4457FA57-250B-44AC-8655-05D46C5A3D8A}" dt="2023-05-18T11:06:16.952" v="3266" actId="164"/>
          <ac:spMkLst>
            <pc:docMk/>
            <pc:sldMk cId="3629079265" sldId="264"/>
            <ac:spMk id="174" creationId="{CD666C26-13DE-462B-97A8-E82A28879163}"/>
          </ac:spMkLst>
        </pc:spChg>
        <pc:spChg chg="mod topLvl">
          <ac:chgData name="El Bakkouri, Manal" userId="8b130982-2e3f-4164-b881-fd3a2e4b2453" providerId="ADAL" clId="{4457FA57-250B-44AC-8655-05D46C5A3D8A}" dt="2023-05-18T11:06:16.952" v="3266" actId="164"/>
          <ac:spMkLst>
            <pc:docMk/>
            <pc:sldMk cId="3629079265" sldId="264"/>
            <ac:spMk id="175" creationId="{869CBFFB-ACDB-4A39-A8E7-FAB5D4E51BCF}"/>
          </ac:spMkLst>
        </pc:spChg>
        <pc:spChg chg="mod topLvl">
          <ac:chgData name="El Bakkouri, Manal" userId="8b130982-2e3f-4164-b881-fd3a2e4b2453" providerId="ADAL" clId="{4457FA57-250B-44AC-8655-05D46C5A3D8A}" dt="2023-05-18T11:06:16.952" v="3266" actId="164"/>
          <ac:spMkLst>
            <pc:docMk/>
            <pc:sldMk cId="3629079265" sldId="264"/>
            <ac:spMk id="176" creationId="{40C687A0-E9DB-4D56-BC8F-2E27D483AB92}"/>
          </ac:spMkLst>
        </pc:spChg>
        <pc:spChg chg="mod topLvl">
          <ac:chgData name="El Bakkouri, Manal" userId="8b130982-2e3f-4164-b881-fd3a2e4b2453" providerId="ADAL" clId="{4457FA57-250B-44AC-8655-05D46C5A3D8A}" dt="2023-05-18T11:06:16.952" v="3266" actId="164"/>
          <ac:spMkLst>
            <pc:docMk/>
            <pc:sldMk cId="3629079265" sldId="264"/>
            <ac:spMk id="177" creationId="{A587A919-9A0D-4160-BF9D-2A08400FD1A7}"/>
          </ac:spMkLst>
        </pc:spChg>
        <pc:spChg chg="mod topLvl">
          <ac:chgData name="El Bakkouri, Manal" userId="8b130982-2e3f-4164-b881-fd3a2e4b2453" providerId="ADAL" clId="{4457FA57-250B-44AC-8655-05D46C5A3D8A}" dt="2023-05-18T11:06:16.952" v="3266" actId="164"/>
          <ac:spMkLst>
            <pc:docMk/>
            <pc:sldMk cId="3629079265" sldId="264"/>
            <ac:spMk id="178" creationId="{1C23D830-780F-45FE-940F-F8209FA38A22}"/>
          </ac:spMkLst>
        </pc:spChg>
        <pc:spChg chg="mod topLvl">
          <ac:chgData name="El Bakkouri, Manal" userId="8b130982-2e3f-4164-b881-fd3a2e4b2453" providerId="ADAL" clId="{4457FA57-250B-44AC-8655-05D46C5A3D8A}" dt="2023-05-18T11:06:16.952" v="3266" actId="164"/>
          <ac:spMkLst>
            <pc:docMk/>
            <pc:sldMk cId="3629079265" sldId="264"/>
            <ac:spMk id="179" creationId="{77234F04-6D7C-495D-BE91-131E5BAED37B}"/>
          </ac:spMkLst>
        </pc:spChg>
        <pc:spChg chg="mod topLvl">
          <ac:chgData name="El Bakkouri, Manal" userId="8b130982-2e3f-4164-b881-fd3a2e4b2453" providerId="ADAL" clId="{4457FA57-250B-44AC-8655-05D46C5A3D8A}" dt="2023-05-18T11:06:16.952" v="3266" actId="164"/>
          <ac:spMkLst>
            <pc:docMk/>
            <pc:sldMk cId="3629079265" sldId="264"/>
            <ac:spMk id="180" creationId="{B723F45C-9977-45E5-939B-6E3E137BE6DA}"/>
          </ac:spMkLst>
        </pc:spChg>
        <pc:spChg chg="del mod topLvl">
          <ac:chgData name="El Bakkouri, Manal" userId="8b130982-2e3f-4164-b881-fd3a2e4b2453" providerId="ADAL" clId="{4457FA57-250B-44AC-8655-05D46C5A3D8A}" dt="2023-05-18T11:04:10.411" v="3129" actId="478"/>
          <ac:spMkLst>
            <pc:docMk/>
            <pc:sldMk cId="3629079265" sldId="264"/>
            <ac:spMk id="181" creationId="{25DE99E5-0616-4393-B143-A1CE4DD34397}"/>
          </ac:spMkLst>
        </pc:spChg>
        <pc:spChg chg="mod topLvl">
          <ac:chgData name="El Bakkouri, Manal" userId="8b130982-2e3f-4164-b881-fd3a2e4b2453" providerId="ADAL" clId="{4457FA57-250B-44AC-8655-05D46C5A3D8A}" dt="2023-05-18T11:06:16.952" v="3266" actId="164"/>
          <ac:spMkLst>
            <pc:docMk/>
            <pc:sldMk cId="3629079265" sldId="264"/>
            <ac:spMk id="182" creationId="{1B766B9E-B5B5-4415-BFB3-3D164BF60870}"/>
          </ac:spMkLst>
        </pc:spChg>
        <pc:spChg chg="mod topLvl">
          <ac:chgData name="El Bakkouri, Manal" userId="8b130982-2e3f-4164-b881-fd3a2e4b2453" providerId="ADAL" clId="{4457FA57-250B-44AC-8655-05D46C5A3D8A}" dt="2023-05-18T11:06:16.952" v="3266" actId="164"/>
          <ac:spMkLst>
            <pc:docMk/>
            <pc:sldMk cId="3629079265" sldId="264"/>
            <ac:spMk id="183" creationId="{FA9BB869-96D8-4BBE-9656-E70BB0F08A3B}"/>
          </ac:spMkLst>
        </pc:spChg>
        <pc:spChg chg="del mod topLvl">
          <ac:chgData name="El Bakkouri, Manal" userId="8b130982-2e3f-4164-b881-fd3a2e4b2453" providerId="ADAL" clId="{4457FA57-250B-44AC-8655-05D46C5A3D8A}" dt="2023-05-18T11:04:10.411" v="3129" actId="478"/>
          <ac:spMkLst>
            <pc:docMk/>
            <pc:sldMk cId="3629079265" sldId="264"/>
            <ac:spMk id="184" creationId="{51F32EDF-AEF0-4BDB-ABDA-5F8EE7EE978E}"/>
          </ac:spMkLst>
        </pc:spChg>
        <pc:spChg chg="mod topLvl">
          <ac:chgData name="El Bakkouri, Manal" userId="8b130982-2e3f-4164-b881-fd3a2e4b2453" providerId="ADAL" clId="{4457FA57-250B-44AC-8655-05D46C5A3D8A}" dt="2023-05-18T11:06:16.952" v="3266" actId="164"/>
          <ac:spMkLst>
            <pc:docMk/>
            <pc:sldMk cId="3629079265" sldId="264"/>
            <ac:spMk id="185" creationId="{CE4E7FB5-CB5B-457E-A407-7192A42D2A66}"/>
          </ac:spMkLst>
        </pc:spChg>
        <pc:spChg chg="del mod topLvl">
          <ac:chgData name="El Bakkouri, Manal" userId="8b130982-2e3f-4164-b881-fd3a2e4b2453" providerId="ADAL" clId="{4457FA57-250B-44AC-8655-05D46C5A3D8A}" dt="2023-05-18T11:04:10.411" v="3129" actId="478"/>
          <ac:spMkLst>
            <pc:docMk/>
            <pc:sldMk cId="3629079265" sldId="264"/>
            <ac:spMk id="186" creationId="{24CB38EB-2724-47CB-B7C1-67D852F40462}"/>
          </ac:spMkLst>
        </pc:spChg>
        <pc:spChg chg="mod topLvl">
          <ac:chgData name="El Bakkouri, Manal" userId="8b130982-2e3f-4164-b881-fd3a2e4b2453" providerId="ADAL" clId="{4457FA57-250B-44AC-8655-05D46C5A3D8A}" dt="2023-05-18T11:06:16.952" v="3266" actId="164"/>
          <ac:spMkLst>
            <pc:docMk/>
            <pc:sldMk cId="3629079265" sldId="264"/>
            <ac:spMk id="187" creationId="{453B57A6-50E6-42E0-B6A4-D3F4BD7D0A11}"/>
          </ac:spMkLst>
        </pc:spChg>
        <pc:spChg chg="mod topLvl">
          <ac:chgData name="El Bakkouri, Manal" userId="8b130982-2e3f-4164-b881-fd3a2e4b2453" providerId="ADAL" clId="{4457FA57-250B-44AC-8655-05D46C5A3D8A}" dt="2023-05-18T11:06:16.952" v="3266" actId="164"/>
          <ac:spMkLst>
            <pc:docMk/>
            <pc:sldMk cId="3629079265" sldId="264"/>
            <ac:spMk id="188" creationId="{74DA098C-D0AA-4788-BF1F-FCA5A9991333}"/>
          </ac:spMkLst>
        </pc:spChg>
        <pc:spChg chg="mod topLvl">
          <ac:chgData name="El Bakkouri, Manal" userId="8b130982-2e3f-4164-b881-fd3a2e4b2453" providerId="ADAL" clId="{4457FA57-250B-44AC-8655-05D46C5A3D8A}" dt="2023-05-18T11:06:16.952" v="3266" actId="164"/>
          <ac:spMkLst>
            <pc:docMk/>
            <pc:sldMk cId="3629079265" sldId="264"/>
            <ac:spMk id="189" creationId="{6DD60958-1C5E-4B19-B730-BDFC695687CF}"/>
          </ac:spMkLst>
        </pc:spChg>
        <pc:spChg chg="mod topLvl">
          <ac:chgData name="El Bakkouri, Manal" userId="8b130982-2e3f-4164-b881-fd3a2e4b2453" providerId="ADAL" clId="{4457FA57-250B-44AC-8655-05D46C5A3D8A}" dt="2023-05-18T11:06:16.952" v="3266" actId="164"/>
          <ac:spMkLst>
            <pc:docMk/>
            <pc:sldMk cId="3629079265" sldId="264"/>
            <ac:spMk id="190" creationId="{1A57FDE1-12F7-4FB3-A662-9D09AAFE8852}"/>
          </ac:spMkLst>
        </pc:spChg>
        <pc:spChg chg="mod topLvl">
          <ac:chgData name="El Bakkouri, Manal" userId="8b130982-2e3f-4164-b881-fd3a2e4b2453" providerId="ADAL" clId="{4457FA57-250B-44AC-8655-05D46C5A3D8A}" dt="2023-05-18T11:06:16.952" v="3266" actId="164"/>
          <ac:spMkLst>
            <pc:docMk/>
            <pc:sldMk cId="3629079265" sldId="264"/>
            <ac:spMk id="191" creationId="{9E586786-E281-4ADD-AB04-AE60E273AC84}"/>
          </ac:spMkLst>
        </pc:spChg>
        <pc:spChg chg="mod topLvl">
          <ac:chgData name="El Bakkouri, Manal" userId="8b130982-2e3f-4164-b881-fd3a2e4b2453" providerId="ADAL" clId="{4457FA57-250B-44AC-8655-05D46C5A3D8A}" dt="2023-05-18T11:06:16.952" v="3266" actId="164"/>
          <ac:spMkLst>
            <pc:docMk/>
            <pc:sldMk cId="3629079265" sldId="264"/>
            <ac:spMk id="192" creationId="{163DD74C-E38D-489C-92A7-A24738FD90B6}"/>
          </ac:spMkLst>
        </pc:spChg>
        <pc:spChg chg="mod topLvl">
          <ac:chgData name="El Bakkouri, Manal" userId="8b130982-2e3f-4164-b881-fd3a2e4b2453" providerId="ADAL" clId="{4457FA57-250B-44AC-8655-05D46C5A3D8A}" dt="2023-05-18T11:06:16.952" v="3266" actId="164"/>
          <ac:spMkLst>
            <pc:docMk/>
            <pc:sldMk cId="3629079265" sldId="264"/>
            <ac:spMk id="193" creationId="{8AC1A7B3-9EDC-4353-9CD9-5800F4591954}"/>
          </ac:spMkLst>
        </pc:spChg>
        <pc:spChg chg="mod topLvl">
          <ac:chgData name="El Bakkouri, Manal" userId="8b130982-2e3f-4164-b881-fd3a2e4b2453" providerId="ADAL" clId="{4457FA57-250B-44AC-8655-05D46C5A3D8A}" dt="2023-05-18T11:06:16.952" v="3266" actId="164"/>
          <ac:spMkLst>
            <pc:docMk/>
            <pc:sldMk cId="3629079265" sldId="264"/>
            <ac:spMk id="194" creationId="{A5313707-2708-4927-8755-AE87CD1DC120}"/>
          </ac:spMkLst>
        </pc:spChg>
        <pc:spChg chg="mod topLvl">
          <ac:chgData name="El Bakkouri, Manal" userId="8b130982-2e3f-4164-b881-fd3a2e4b2453" providerId="ADAL" clId="{4457FA57-250B-44AC-8655-05D46C5A3D8A}" dt="2023-05-18T11:06:16.952" v="3266" actId="164"/>
          <ac:spMkLst>
            <pc:docMk/>
            <pc:sldMk cId="3629079265" sldId="264"/>
            <ac:spMk id="195" creationId="{6F8F7CFF-BEA6-4468-B701-A787BACD99D1}"/>
          </ac:spMkLst>
        </pc:spChg>
        <pc:spChg chg="mod topLvl">
          <ac:chgData name="El Bakkouri, Manal" userId="8b130982-2e3f-4164-b881-fd3a2e4b2453" providerId="ADAL" clId="{4457FA57-250B-44AC-8655-05D46C5A3D8A}" dt="2023-05-18T11:06:16.952" v="3266" actId="164"/>
          <ac:spMkLst>
            <pc:docMk/>
            <pc:sldMk cId="3629079265" sldId="264"/>
            <ac:spMk id="196" creationId="{E0A1E140-FA94-4AB7-B846-5CF5AF096D73}"/>
          </ac:spMkLst>
        </pc:spChg>
        <pc:spChg chg="mod topLvl">
          <ac:chgData name="El Bakkouri, Manal" userId="8b130982-2e3f-4164-b881-fd3a2e4b2453" providerId="ADAL" clId="{4457FA57-250B-44AC-8655-05D46C5A3D8A}" dt="2023-05-18T11:06:16.952" v="3266" actId="164"/>
          <ac:spMkLst>
            <pc:docMk/>
            <pc:sldMk cId="3629079265" sldId="264"/>
            <ac:spMk id="197" creationId="{C0F81312-9EDD-4252-966D-5CCEBC0EFDA5}"/>
          </ac:spMkLst>
        </pc:spChg>
        <pc:spChg chg="mod topLvl">
          <ac:chgData name="El Bakkouri, Manal" userId="8b130982-2e3f-4164-b881-fd3a2e4b2453" providerId="ADAL" clId="{4457FA57-250B-44AC-8655-05D46C5A3D8A}" dt="2023-05-18T11:06:16.952" v="3266" actId="164"/>
          <ac:spMkLst>
            <pc:docMk/>
            <pc:sldMk cId="3629079265" sldId="264"/>
            <ac:spMk id="198" creationId="{FBCBADF5-42A3-40F8-9DA0-B5E64B899372}"/>
          </ac:spMkLst>
        </pc:spChg>
        <pc:spChg chg="mod topLvl">
          <ac:chgData name="El Bakkouri, Manal" userId="8b130982-2e3f-4164-b881-fd3a2e4b2453" providerId="ADAL" clId="{4457FA57-250B-44AC-8655-05D46C5A3D8A}" dt="2023-05-18T11:06:16.952" v="3266" actId="164"/>
          <ac:spMkLst>
            <pc:docMk/>
            <pc:sldMk cId="3629079265" sldId="264"/>
            <ac:spMk id="199" creationId="{F4C2648F-8B7B-474C-870C-A1A30E2615BE}"/>
          </ac:spMkLst>
        </pc:spChg>
        <pc:spChg chg="mod topLvl">
          <ac:chgData name="El Bakkouri, Manal" userId="8b130982-2e3f-4164-b881-fd3a2e4b2453" providerId="ADAL" clId="{4457FA57-250B-44AC-8655-05D46C5A3D8A}" dt="2023-05-18T11:06:16.952" v="3266" actId="164"/>
          <ac:spMkLst>
            <pc:docMk/>
            <pc:sldMk cId="3629079265" sldId="264"/>
            <ac:spMk id="200" creationId="{1840C143-6A12-4E6B-9E1E-A384D28A12A3}"/>
          </ac:spMkLst>
        </pc:spChg>
        <pc:spChg chg="mod topLvl">
          <ac:chgData name="El Bakkouri, Manal" userId="8b130982-2e3f-4164-b881-fd3a2e4b2453" providerId="ADAL" clId="{4457FA57-250B-44AC-8655-05D46C5A3D8A}" dt="2023-05-18T11:06:16.952" v="3266" actId="164"/>
          <ac:spMkLst>
            <pc:docMk/>
            <pc:sldMk cId="3629079265" sldId="264"/>
            <ac:spMk id="201" creationId="{E6325E3B-436F-4E6B-92BC-31E1F47AD25F}"/>
          </ac:spMkLst>
        </pc:spChg>
        <pc:spChg chg="mod topLvl">
          <ac:chgData name="El Bakkouri, Manal" userId="8b130982-2e3f-4164-b881-fd3a2e4b2453" providerId="ADAL" clId="{4457FA57-250B-44AC-8655-05D46C5A3D8A}" dt="2023-05-18T11:06:16.952" v="3266" actId="164"/>
          <ac:spMkLst>
            <pc:docMk/>
            <pc:sldMk cId="3629079265" sldId="264"/>
            <ac:spMk id="202" creationId="{B5DD9516-39B6-4EB9-AF62-975414734131}"/>
          </ac:spMkLst>
        </pc:spChg>
        <pc:spChg chg="mod topLvl">
          <ac:chgData name="El Bakkouri, Manal" userId="8b130982-2e3f-4164-b881-fd3a2e4b2453" providerId="ADAL" clId="{4457FA57-250B-44AC-8655-05D46C5A3D8A}" dt="2023-05-18T11:06:16.952" v="3266" actId="164"/>
          <ac:spMkLst>
            <pc:docMk/>
            <pc:sldMk cId="3629079265" sldId="264"/>
            <ac:spMk id="203" creationId="{EBC8138F-8530-462B-B686-86457126279E}"/>
          </ac:spMkLst>
        </pc:spChg>
        <pc:spChg chg="mod topLvl">
          <ac:chgData name="El Bakkouri, Manal" userId="8b130982-2e3f-4164-b881-fd3a2e4b2453" providerId="ADAL" clId="{4457FA57-250B-44AC-8655-05D46C5A3D8A}" dt="2023-05-18T11:06:16.952" v="3266" actId="164"/>
          <ac:spMkLst>
            <pc:docMk/>
            <pc:sldMk cId="3629079265" sldId="264"/>
            <ac:spMk id="204" creationId="{6BC699A6-19DB-46CF-9BAF-D107270B1488}"/>
          </ac:spMkLst>
        </pc:spChg>
        <pc:spChg chg="add mod">
          <ac:chgData name="El Bakkouri, Manal" userId="8b130982-2e3f-4164-b881-fd3a2e4b2453" providerId="ADAL" clId="{4457FA57-250B-44AC-8655-05D46C5A3D8A}" dt="2023-05-18T11:07:28.091" v="3291" actId="1036"/>
          <ac:spMkLst>
            <pc:docMk/>
            <pc:sldMk cId="3629079265" sldId="264"/>
            <ac:spMk id="205" creationId="{6B71771C-599B-43C6-9284-8756EA4C1F13}"/>
          </ac:spMkLst>
        </pc:spChg>
        <pc:spChg chg="del mod topLvl">
          <ac:chgData name="El Bakkouri, Manal" userId="8b130982-2e3f-4164-b881-fd3a2e4b2453" providerId="ADAL" clId="{4457FA57-250B-44AC-8655-05D46C5A3D8A}" dt="2023-05-16T17:35:23.293" v="1352" actId="478"/>
          <ac:spMkLst>
            <pc:docMk/>
            <pc:sldMk cId="3629079265" sldId="264"/>
            <ac:spMk id="205" creationId="{C209C0B9-057E-4931-ADAC-16FBA9F7AF0B}"/>
          </ac:spMkLst>
        </pc:spChg>
        <pc:spChg chg="mod topLvl">
          <ac:chgData name="El Bakkouri, Manal" userId="8b130982-2e3f-4164-b881-fd3a2e4b2453" providerId="ADAL" clId="{4457FA57-250B-44AC-8655-05D46C5A3D8A}" dt="2023-05-18T11:06:16.952" v="3266" actId="164"/>
          <ac:spMkLst>
            <pc:docMk/>
            <pc:sldMk cId="3629079265" sldId="264"/>
            <ac:spMk id="206" creationId="{CBA3886E-675D-4906-A796-F0E44A98074B}"/>
          </ac:spMkLst>
        </pc:spChg>
        <pc:spChg chg="mod topLvl">
          <ac:chgData name="El Bakkouri, Manal" userId="8b130982-2e3f-4164-b881-fd3a2e4b2453" providerId="ADAL" clId="{4457FA57-250B-44AC-8655-05D46C5A3D8A}" dt="2023-05-18T11:06:16.952" v="3266" actId="164"/>
          <ac:spMkLst>
            <pc:docMk/>
            <pc:sldMk cId="3629079265" sldId="264"/>
            <ac:spMk id="207" creationId="{D2438B99-C67A-4FE0-BC53-23DDDCBCE7D4}"/>
          </ac:spMkLst>
        </pc:spChg>
        <pc:spChg chg="mod topLvl">
          <ac:chgData name="El Bakkouri, Manal" userId="8b130982-2e3f-4164-b881-fd3a2e4b2453" providerId="ADAL" clId="{4457FA57-250B-44AC-8655-05D46C5A3D8A}" dt="2023-05-18T11:06:16.952" v="3266" actId="164"/>
          <ac:spMkLst>
            <pc:docMk/>
            <pc:sldMk cId="3629079265" sldId="264"/>
            <ac:spMk id="208" creationId="{5C4B08DA-A6FE-4857-92C7-C133509BBD8F}"/>
          </ac:spMkLst>
        </pc:spChg>
        <pc:spChg chg="mod topLvl">
          <ac:chgData name="El Bakkouri, Manal" userId="8b130982-2e3f-4164-b881-fd3a2e4b2453" providerId="ADAL" clId="{4457FA57-250B-44AC-8655-05D46C5A3D8A}" dt="2023-05-18T11:06:16.952" v="3266" actId="164"/>
          <ac:spMkLst>
            <pc:docMk/>
            <pc:sldMk cId="3629079265" sldId="264"/>
            <ac:spMk id="209" creationId="{DEA8FB9F-8C6D-4919-8B7D-AEEDFFC266D3}"/>
          </ac:spMkLst>
        </pc:spChg>
        <pc:spChg chg="mod topLvl">
          <ac:chgData name="El Bakkouri, Manal" userId="8b130982-2e3f-4164-b881-fd3a2e4b2453" providerId="ADAL" clId="{4457FA57-250B-44AC-8655-05D46C5A3D8A}" dt="2023-05-18T11:06:16.952" v="3266" actId="164"/>
          <ac:spMkLst>
            <pc:docMk/>
            <pc:sldMk cId="3629079265" sldId="264"/>
            <ac:spMk id="210" creationId="{52CE6608-466A-4442-9317-92C4B7432C26}"/>
          </ac:spMkLst>
        </pc:spChg>
        <pc:spChg chg="del mod topLvl">
          <ac:chgData name="El Bakkouri, Manal" userId="8b130982-2e3f-4164-b881-fd3a2e4b2453" providerId="ADAL" clId="{4457FA57-250B-44AC-8655-05D46C5A3D8A}" dt="2023-05-16T17:35:19.761" v="1350" actId="478"/>
          <ac:spMkLst>
            <pc:docMk/>
            <pc:sldMk cId="3629079265" sldId="264"/>
            <ac:spMk id="211" creationId="{679371AC-0F2E-40E7-B229-FC6BD241FA00}"/>
          </ac:spMkLst>
        </pc:spChg>
        <pc:spChg chg="add mod">
          <ac:chgData name="El Bakkouri, Manal" userId="8b130982-2e3f-4164-b881-fd3a2e4b2453" providerId="ADAL" clId="{4457FA57-250B-44AC-8655-05D46C5A3D8A}" dt="2023-05-18T11:05:12.162" v="3178"/>
          <ac:spMkLst>
            <pc:docMk/>
            <pc:sldMk cId="3629079265" sldId="264"/>
            <ac:spMk id="211" creationId="{6D531BC2-2CC5-4125-8E9F-094481C7BF2A}"/>
          </ac:spMkLst>
        </pc:spChg>
        <pc:spChg chg="add mod">
          <ac:chgData name="El Bakkouri, Manal" userId="8b130982-2e3f-4164-b881-fd3a2e4b2453" providerId="ADAL" clId="{4457FA57-250B-44AC-8655-05D46C5A3D8A}" dt="2023-05-18T11:05:12.162" v="3178"/>
          <ac:spMkLst>
            <pc:docMk/>
            <pc:sldMk cId="3629079265" sldId="264"/>
            <ac:spMk id="212" creationId="{5036E86C-2E29-4335-9BF8-30B9C6420A14}"/>
          </ac:spMkLst>
        </pc:spChg>
        <pc:spChg chg="del mod topLvl">
          <ac:chgData name="El Bakkouri, Manal" userId="8b130982-2e3f-4164-b881-fd3a2e4b2453" providerId="ADAL" clId="{4457FA57-250B-44AC-8655-05D46C5A3D8A}" dt="2023-05-16T17:35:17.873" v="1349" actId="478"/>
          <ac:spMkLst>
            <pc:docMk/>
            <pc:sldMk cId="3629079265" sldId="264"/>
            <ac:spMk id="212" creationId="{724F27F9-F41F-4954-998E-F49A3349D53C}"/>
          </ac:spMkLst>
        </pc:spChg>
        <pc:spChg chg="add del mod topLvl">
          <ac:chgData name="El Bakkouri, Manal" userId="8b130982-2e3f-4164-b881-fd3a2e4b2453" providerId="ADAL" clId="{4457FA57-250B-44AC-8655-05D46C5A3D8A}" dt="2023-05-17T10:34:46.644" v="1669" actId="164"/>
          <ac:spMkLst>
            <pc:docMk/>
            <pc:sldMk cId="3629079265" sldId="264"/>
            <ac:spMk id="213" creationId="{4CB888AB-33D1-404B-A5EA-F2C6C6327EFB}"/>
          </ac:spMkLst>
        </pc:spChg>
        <pc:spChg chg="mod topLvl">
          <ac:chgData name="El Bakkouri, Manal" userId="8b130982-2e3f-4164-b881-fd3a2e4b2453" providerId="ADAL" clId="{4457FA57-250B-44AC-8655-05D46C5A3D8A}" dt="2023-05-18T11:06:16.952" v="3266" actId="164"/>
          <ac:spMkLst>
            <pc:docMk/>
            <pc:sldMk cId="3629079265" sldId="264"/>
            <ac:spMk id="214" creationId="{15317B90-84D2-4E95-8133-6B00919A7674}"/>
          </ac:spMkLst>
        </pc:spChg>
        <pc:spChg chg="mod topLvl">
          <ac:chgData name="El Bakkouri, Manal" userId="8b130982-2e3f-4164-b881-fd3a2e4b2453" providerId="ADAL" clId="{4457FA57-250B-44AC-8655-05D46C5A3D8A}" dt="2023-05-18T11:06:16.952" v="3266" actId="164"/>
          <ac:spMkLst>
            <pc:docMk/>
            <pc:sldMk cId="3629079265" sldId="264"/>
            <ac:spMk id="215" creationId="{27FF436A-998E-4030-B7FD-A3C674558DFE}"/>
          </ac:spMkLst>
        </pc:spChg>
        <pc:spChg chg="del mod topLvl">
          <ac:chgData name="El Bakkouri, Manal" userId="8b130982-2e3f-4164-b881-fd3a2e4b2453" providerId="ADAL" clId="{4457FA57-250B-44AC-8655-05D46C5A3D8A}" dt="2023-05-16T17:35:21.044" v="1351" actId="478"/>
          <ac:spMkLst>
            <pc:docMk/>
            <pc:sldMk cId="3629079265" sldId="264"/>
            <ac:spMk id="216" creationId="{7DFDF39E-DDE3-488E-A552-C61EFA1EBEDE}"/>
          </ac:spMkLst>
        </pc:spChg>
        <pc:spChg chg="add mod">
          <ac:chgData name="El Bakkouri, Manal" userId="8b130982-2e3f-4164-b881-fd3a2e4b2453" providerId="ADAL" clId="{4457FA57-250B-44AC-8655-05D46C5A3D8A}" dt="2023-05-18T11:05:12.162" v="3178"/>
          <ac:spMkLst>
            <pc:docMk/>
            <pc:sldMk cId="3629079265" sldId="264"/>
            <ac:spMk id="216" creationId="{F632B6E7-E369-47D3-BE81-18498F18AD2C}"/>
          </ac:spMkLst>
        </pc:spChg>
        <pc:spChg chg="mod topLvl">
          <ac:chgData name="El Bakkouri, Manal" userId="8b130982-2e3f-4164-b881-fd3a2e4b2453" providerId="ADAL" clId="{4457FA57-250B-44AC-8655-05D46C5A3D8A}" dt="2023-05-17T10:34:46.644" v="1669" actId="164"/>
          <ac:spMkLst>
            <pc:docMk/>
            <pc:sldMk cId="3629079265" sldId="264"/>
            <ac:spMk id="217" creationId="{8162F9B5-AC20-490A-BD2B-0BA1762CC6FD}"/>
          </ac:spMkLst>
        </pc:spChg>
        <pc:spChg chg="add mod">
          <ac:chgData name="El Bakkouri, Manal" userId="8b130982-2e3f-4164-b881-fd3a2e4b2453" providerId="ADAL" clId="{4457FA57-250B-44AC-8655-05D46C5A3D8A}" dt="2023-05-18T11:05:12.162" v="3178"/>
          <ac:spMkLst>
            <pc:docMk/>
            <pc:sldMk cId="3629079265" sldId="264"/>
            <ac:spMk id="218" creationId="{D5277337-9A2A-405D-B7E6-565B36A2EB79}"/>
          </ac:spMkLst>
        </pc:spChg>
        <pc:spChg chg="add mod">
          <ac:chgData name="El Bakkouri, Manal" userId="8b130982-2e3f-4164-b881-fd3a2e4b2453" providerId="ADAL" clId="{4457FA57-250B-44AC-8655-05D46C5A3D8A}" dt="2023-05-18T11:05:12.162" v="3178"/>
          <ac:spMkLst>
            <pc:docMk/>
            <pc:sldMk cId="3629079265" sldId="264"/>
            <ac:spMk id="220" creationId="{670BD2D6-C0B1-4ADF-92B6-B7FA8F8FB45A}"/>
          </ac:spMkLst>
        </pc:spChg>
        <pc:spChg chg="add mod">
          <ac:chgData name="El Bakkouri, Manal" userId="8b130982-2e3f-4164-b881-fd3a2e4b2453" providerId="ADAL" clId="{4457FA57-250B-44AC-8655-05D46C5A3D8A}" dt="2023-05-18T11:05:12.162" v="3178"/>
          <ac:spMkLst>
            <pc:docMk/>
            <pc:sldMk cId="3629079265" sldId="264"/>
            <ac:spMk id="221" creationId="{819FCDBF-2B1F-4DCF-978E-1903108EA020}"/>
          </ac:spMkLst>
        </pc:spChg>
        <pc:spChg chg="add mod">
          <ac:chgData name="El Bakkouri, Manal" userId="8b130982-2e3f-4164-b881-fd3a2e4b2453" providerId="ADAL" clId="{4457FA57-250B-44AC-8655-05D46C5A3D8A}" dt="2023-05-18T11:05:12.162" v="3178"/>
          <ac:spMkLst>
            <pc:docMk/>
            <pc:sldMk cId="3629079265" sldId="264"/>
            <ac:spMk id="222" creationId="{5644CA3D-84F7-4F6D-87A2-C24884C8328B}"/>
          </ac:spMkLst>
        </pc:spChg>
        <pc:spChg chg="add del mod">
          <ac:chgData name="El Bakkouri, Manal" userId="8b130982-2e3f-4164-b881-fd3a2e4b2453" providerId="ADAL" clId="{4457FA57-250B-44AC-8655-05D46C5A3D8A}" dt="2023-05-18T11:05:23.027" v="3180" actId="21"/>
          <ac:spMkLst>
            <pc:docMk/>
            <pc:sldMk cId="3629079265" sldId="264"/>
            <ac:spMk id="228" creationId="{158842B6-1EC3-4795-9F7F-ADEF4E74C070}"/>
          </ac:spMkLst>
        </pc:spChg>
        <pc:spChg chg="add mod">
          <ac:chgData name="El Bakkouri, Manal" userId="8b130982-2e3f-4164-b881-fd3a2e4b2453" providerId="ADAL" clId="{4457FA57-250B-44AC-8655-05D46C5A3D8A}" dt="2023-05-18T11:05:12.162" v="3178"/>
          <ac:spMkLst>
            <pc:docMk/>
            <pc:sldMk cId="3629079265" sldId="264"/>
            <ac:spMk id="230" creationId="{287AE7B2-1276-455D-9605-BFE9497406F9}"/>
          </ac:spMkLst>
        </pc:spChg>
        <pc:spChg chg="add mod">
          <ac:chgData name="El Bakkouri, Manal" userId="8b130982-2e3f-4164-b881-fd3a2e4b2453" providerId="ADAL" clId="{4457FA57-250B-44AC-8655-05D46C5A3D8A}" dt="2023-05-18T11:05:12.162" v="3178"/>
          <ac:spMkLst>
            <pc:docMk/>
            <pc:sldMk cId="3629079265" sldId="264"/>
            <ac:spMk id="232" creationId="{B65DD59D-90E8-4682-AD87-DD3AD1E9D683}"/>
          </ac:spMkLst>
        </pc:spChg>
        <pc:spChg chg="add mod">
          <ac:chgData name="El Bakkouri, Manal" userId="8b130982-2e3f-4164-b881-fd3a2e4b2453" providerId="ADAL" clId="{4457FA57-250B-44AC-8655-05D46C5A3D8A}" dt="2023-05-18T11:05:12.162" v="3178"/>
          <ac:spMkLst>
            <pc:docMk/>
            <pc:sldMk cId="3629079265" sldId="264"/>
            <ac:spMk id="233" creationId="{717C4238-227A-4D8F-A4BA-A0B6AE804B05}"/>
          </ac:spMkLst>
        </pc:spChg>
        <pc:spChg chg="add mod">
          <ac:chgData name="El Bakkouri, Manal" userId="8b130982-2e3f-4164-b881-fd3a2e4b2453" providerId="ADAL" clId="{4457FA57-250B-44AC-8655-05D46C5A3D8A}" dt="2023-05-18T11:07:17.574" v="3276" actId="164"/>
          <ac:spMkLst>
            <pc:docMk/>
            <pc:sldMk cId="3629079265" sldId="264"/>
            <ac:spMk id="234" creationId="{9BAEB30A-81D3-47B4-B593-E45E092B7227}"/>
          </ac:spMkLst>
        </pc:spChg>
        <pc:spChg chg="mod">
          <ac:chgData name="El Bakkouri, Manal" userId="8b130982-2e3f-4164-b881-fd3a2e4b2453" providerId="ADAL" clId="{4457FA57-250B-44AC-8655-05D46C5A3D8A}" dt="2023-05-18T11:20:19.457" v="3609"/>
          <ac:spMkLst>
            <pc:docMk/>
            <pc:sldMk cId="3629079265" sldId="264"/>
            <ac:spMk id="237" creationId="{D674C8C3-0C57-4980-A8A4-0D94D469D8AB}"/>
          </ac:spMkLst>
        </pc:spChg>
        <pc:spChg chg="mod">
          <ac:chgData name="El Bakkouri, Manal" userId="8b130982-2e3f-4164-b881-fd3a2e4b2453" providerId="ADAL" clId="{4457FA57-250B-44AC-8655-05D46C5A3D8A}" dt="2023-05-18T11:20:19.457" v="3609"/>
          <ac:spMkLst>
            <pc:docMk/>
            <pc:sldMk cId="3629079265" sldId="264"/>
            <ac:spMk id="238" creationId="{7347472B-888F-471B-9153-01F9C428A173}"/>
          </ac:spMkLst>
        </pc:spChg>
        <pc:spChg chg="mod">
          <ac:chgData name="El Bakkouri, Manal" userId="8b130982-2e3f-4164-b881-fd3a2e4b2453" providerId="ADAL" clId="{4457FA57-250B-44AC-8655-05D46C5A3D8A}" dt="2023-05-18T11:20:19.457" v="3609"/>
          <ac:spMkLst>
            <pc:docMk/>
            <pc:sldMk cId="3629079265" sldId="264"/>
            <ac:spMk id="239" creationId="{DD545049-0AA5-4E68-82C6-43B20825B8CD}"/>
          </ac:spMkLst>
        </pc:spChg>
        <pc:spChg chg="mod">
          <ac:chgData name="El Bakkouri, Manal" userId="8b130982-2e3f-4164-b881-fd3a2e4b2453" providerId="ADAL" clId="{4457FA57-250B-44AC-8655-05D46C5A3D8A}" dt="2023-05-18T11:20:19.457" v="3609"/>
          <ac:spMkLst>
            <pc:docMk/>
            <pc:sldMk cId="3629079265" sldId="264"/>
            <ac:spMk id="240" creationId="{95C88838-AD2A-459B-B06B-B254834AAD51}"/>
          </ac:spMkLst>
        </pc:spChg>
        <pc:spChg chg="mod">
          <ac:chgData name="El Bakkouri, Manal" userId="8b130982-2e3f-4164-b881-fd3a2e4b2453" providerId="ADAL" clId="{4457FA57-250B-44AC-8655-05D46C5A3D8A}" dt="2023-05-18T11:20:19.457" v="3609"/>
          <ac:spMkLst>
            <pc:docMk/>
            <pc:sldMk cId="3629079265" sldId="264"/>
            <ac:spMk id="241" creationId="{B035C10F-0EFC-4243-9FB3-60FBCB20C9F0}"/>
          </ac:spMkLst>
        </pc:spChg>
        <pc:spChg chg="mod">
          <ac:chgData name="El Bakkouri, Manal" userId="8b130982-2e3f-4164-b881-fd3a2e4b2453" providerId="ADAL" clId="{4457FA57-250B-44AC-8655-05D46C5A3D8A}" dt="2023-05-18T11:20:19.457" v="3609"/>
          <ac:spMkLst>
            <pc:docMk/>
            <pc:sldMk cId="3629079265" sldId="264"/>
            <ac:spMk id="242" creationId="{6B700777-E6AB-4BF6-AB99-8CAAB3A23EE1}"/>
          </ac:spMkLst>
        </pc:spChg>
        <pc:spChg chg="mod">
          <ac:chgData name="El Bakkouri, Manal" userId="8b130982-2e3f-4164-b881-fd3a2e4b2453" providerId="ADAL" clId="{4457FA57-250B-44AC-8655-05D46C5A3D8A}" dt="2023-05-18T11:20:19.457" v="3609"/>
          <ac:spMkLst>
            <pc:docMk/>
            <pc:sldMk cId="3629079265" sldId="264"/>
            <ac:spMk id="243" creationId="{14FC1FED-CA8C-4D0B-BBF9-86C68F0416FE}"/>
          </ac:spMkLst>
        </pc:spChg>
        <pc:spChg chg="mod">
          <ac:chgData name="El Bakkouri, Manal" userId="8b130982-2e3f-4164-b881-fd3a2e4b2453" providerId="ADAL" clId="{4457FA57-250B-44AC-8655-05D46C5A3D8A}" dt="2023-05-18T11:20:19.457" v="3609"/>
          <ac:spMkLst>
            <pc:docMk/>
            <pc:sldMk cId="3629079265" sldId="264"/>
            <ac:spMk id="244" creationId="{C4A3ACD7-9E9A-4F44-B533-A756AA10D3DC}"/>
          </ac:spMkLst>
        </pc:spChg>
        <pc:spChg chg="mod">
          <ac:chgData name="El Bakkouri, Manal" userId="8b130982-2e3f-4164-b881-fd3a2e4b2453" providerId="ADAL" clId="{4457FA57-250B-44AC-8655-05D46C5A3D8A}" dt="2023-05-18T11:20:19.457" v="3609"/>
          <ac:spMkLst>
            <pc:docMk/>
            <pc:sldMk cId="3629079265" sldId="264"/>
            <ac:spMk id="245" creationId="{6B17AAD5-A5C7-4801-AB7A-8B6ECADC6DAE}"/>
          </ac:spMkLst>
        </pc:spChg>
        <pc:spChg chg="mod">
          <ac:chgData name="El Bakkouri, Manal" userId="8b130982-2e3f-4164-b881-fd3a2e4b2453" providerId="ADAL" clId="{4457FA57-250B-44AC-8655-05D46C5A3D8A}" dt="2023-05-18T11:20:19.457" v="3609"/>
          <ac:spMkLst>
            <pc:docMk/>
            <pc:sldMk cId="3629079265" sldId="264"/>
            <ac:spMk id="246" creationId="{4B2616EA-1FE8-46EF-8301-151BD2AFCFB2}"/>
          </ac:spMkLst>
        </pc:spChg>
        <pc:spChg chg="mod">
          <ac:chgData name="El Bakkouri, Manal" userId="8b130982-2e3f-4164-b881-fd3a2e4b2453" providerId="ADAL" clId="{4457FA57-250B-44AC-8655-05D46C5A3D8A}" dt="2023-05-18T11:20:19.457" v="3609"/>
          <ac:spMkLst>
            <pc:docMk/>
            <pc:sldMk cId="3629079265" sldId="264"/>
            <ac:spMk id="247" creationId="{BE63527F-7DA7-44BB-9159-C2F610634142}"/>
          </ac:spMkLst>
        </pc:spChg>
        <pc:spChg chg="mod">
          <ac:chgData name="El Bakkouri, Manal" userId="8b130982-2e3f-4164-b881-fd3a2e4b2453" providerId="ADAL" clId="{4457FA57-250B-44AC-8655-05D46C5A3D8A}" dt="2023-05-18T11:20:19.457" v="3609"/>
          <ac:spMkLst>
            <pc:docMk/>
            <pc:sldMk cId="3629079265" sldId="264"/>
            <ac:spMk id="248" creationId="{B505DE12-E266-4FC4-B663-67652CA76821}"/>
          </ac:spMkLst>
        </pc:spChg>
        <pc:spChg chg="mod">
          <ac:chgData name="El Bakkouri, Manal" userId="8b130982-2e3f-4164-b881-fd3a2e4b2453" providerId="ADAL" clId="{4457FA57-250B-44AC-8655-05D46C5A3D8A}" dt="2023-05-18T11:20:19.457" v="3609"/>
          <ac:spMkLst>
            <pc:docMk/>
            <pc:sldMk cId="3629079265" sldId="264"/>
            <ac:spMk id="249" creationId="{2F81FA3F-8BA2-418E-B5AC-651502D6D874}"/>
          </ac:spMkLst>
        </pc:spChg>
        <pc:spChg chg="mod">
          <ac:chgData name="El Bakkouri, Manal" userId="8b130982-2e3f-4164-b881-fd3a2e4b2453" providerId="ADAL" clId="{4457FA57-250B-44AC-8655-05D46C5A3D8A}" dt="2023-05-18T11:20:19.457" v="3609"/>
          <ac:spMkLst>
            <pc:docMk/>
            <pc:sldMk cId="3629079265" sldId="264"/>
            <ac:spMk id="250" creationId="{6931AABC-9606-49EA-9222-522D11B95EAB}"/>
          </ac:spMkLst>
        </pc:spChg>
        <pc:spChg chg="mod">
          <ac:chgData name="El Bakkouri, Manal" userId="8b130982-2e3f-4164-b881-fd3a2e4b2453" providerId="ADAL" clId="{4457FA57-250B-44AC-8655-05D46C5A3D8A}" dt="2023-05-18T11:20:19.457" v="3609"/>
          <ac:spMkLst>
            <pc:docMk/>
            <pc:sldMk cId="3629079265" sldId="264"/>
            <ac:spMk id="251" creationId="{7C714241-CB05-47EC-8588-C3F3126265B3}"/>
          </ac:spMkLst>
        </pc:spChg>
        <pc:spChg chg="mod">
          <ac:chgData name="El Bakkouri, Manal" userId="8b130982-2e3f-4164-b881-fd3a2e4b2453" providerId="ADAL" clId="{4457FA57-250B-44AC-8655-05D46C5A3D8A}" dt="2023-05-18T11:20:19.457" v="3609"/>
          <ac:spMkLst>
            <pc:docMk/>
            <pc:sldMk cId="3629079265" sldId="264"/>
            <ac:spMk id="252" creationId="{9703C270-F5AB-4E10-8465-3A8FD9E33E3E}"/>
          </ac:spMkLst>
        </pc:spChg>
        <pc:spChg chg="mod">
          <ac:chgData name="El Bakkouri, Manal" userId="8b130982-2e3f-4164-b881-fd3a2e4b2453" providerId="ADAL" clId="{4457FA57-250B-44AC-8655-05D46C5A3D8A}" dt="2023-05-18T11:20:19.457" v="3609"/>
          <ac:spMkLst>
            <pc:docMk/>
            <pc:sldMk cId="3629079265" sldId="264"/>
            <ac:spMk id="253" creationId="{3CD6BF8B-8566-4B86-9BBD-3DD29F715822}"/>
          </ac:spMkLst>
        </pc:spChg>
        <pc:spChg chg="mod">
          <ac:chgData name="El Bakkouri, Manal" userId="8b130982-2e3f-4164-b881-fd3a2e4b2453" providerId="ADAL" clId="{4457FA57-250B-44AC-8655-05D46C5A3D8A}" dt="2023-05-18T11:20:19.457" v="3609"/>
          <ac:spMkLst>
            <pc:docMk/>
            <pc:sldMk cId="3629079265" sldId="264"/>
            <ac:spMk id="254" creationId="{613CB760-8A3B-4B78-97D9-11E52C4C742A}"/>
          </ac:spMkLst>
        </pc:spChg>
        <pc:spChg chg="mod">
          <ac:chgData name="El Bakkouri, Manal" userId="8b130982-2e3f-4164-b881-fd3a2e4b2453" providerId="ADAL" clId="{4457FA57-250B-44AC-8655-05D46C5A3D8A}" dt="2023-05-18T11:20:19.457" v="3609"/>
          <ac:spMkLst>
            <pc:docMk/>
            <pc:sldMk cId="3629079265" sldId="264"/>
            <ac:spMk id="255" creationId="{9E4F3AD2-53CD-410A-9D85-CEAF1DE1492A}"/>
          </ac:spMkLst>
        </pc:spChg>
        <pc:spChg chg="mod">
          <ac:chgData name="El Bakkouri, Manal" userId="8b130982-2e3f-4164-b881-fd3a2e4b2453" providerId="ADAL" clId="{4457FA57-250B-44AC-8655-05D46C5A3D8A}" dt="2023-05-18T11:20:19.457" v="3609"/>
          <ac:spMkLst>
            <pc:docMk/>
            <pc:sldMk cId="3629079265" sldId="264"/>
            <ac:spMk id="256" creationId="{09CBCAD3-212F-4B68-8B0F-2AC3FD1FFE19}"/>
          </ac:spMkLst>
        </pc:spChg>
        <pc:spChg chg="mod">
          <ac:chgData name="El Bakkouri, Manal" userId="8b130982-2e3f-4164-b881-fd3a2e4b2453" providerId="ADAL" clId="{4457FA57-250B-44AC-8655-05D46C5A3D8A}" dt="2023-05-18T11:20:19.457" v="3609"/>
          <ac:spMkLst>
            <pc:docMk/>
            <pc:sldMk cId="3629079265" sldId="264"/>
            <ac:spMk id="257" creationId="{63F13EF5-7299-4C5F-9ACB-786DF7D329B0}"/>
          </ac:spMkLst>
        </pc:spChg>
        <pc:spChg chg="mod">
          <ac:chgData name="El Bakkouri, Manal" userId="8b130982-2e3f-4164-b881-fd3a2e4b2453" providerId="ADAL" clId="{4457FA57-250B-44AC-8655-05D46C5A3D8A}" dt="2023-05-18T11:20:19.457" v="3609"/>
          <ac:spMkLst>
            <pc:docMk/>
            <pc:sldMk cId="3629079265" sldId="264"/>
            <ac:spMk id="258" creationId="{BA823EF6-5DDF-40DC-A53A-DFAEA648A9D0}"/>
          </ac:spMkLst>
        </pc:spChg>
        <pc:spChg chg="mod">
          <ac:chgData name="El Bakkouri, Manal" userId="8b130982-2e3f-4164-b881-fd3a2e4b2453" providerId="ADAL" clId="{4457FA57-250B-44AC-8655-05D46C5A3D8A}" dt="2023-05-18T11:20:19.457" v="3609"/>
          <ac:spMkLst>
            <pc:docMk/>
            <pc:sldMk cId="3629079265" sldId="264"/>
            <ac:spMk id="259" creationId="{4147DB02-53F3-4486-BE0E-6634A3A86F9D}"/>
          </ac:spMkLst>
        </pc:spChg>
        <pc:spChg chg="mod">
          <ac:chgData name="El Bakkouri, Manal" userId="8b130982-2e3f-4164-b881-fd3a2e4b2453" providerId="ADAL" clId="{4457FA57-250B-44AC-8655-05D46C5A3D8A}" dt="2023-05-18T11:20:19.457" v="3609"/>
          <ac:spMkLst>
            <pc:docMk/>
            <pc:sldMk cId="3629079265" sldId="264"/>
            <ac:spMk id="260" creationId="{0E5C43A5-75A9-4219-893B-9A320E17ED7E}"/>
          </ac:spMkLst>
        </pc:spChg>
        <pc:spChg chg="mod">
          <ac:chgData name="El Bakkouri, Manal" userId="8b130982-2e3f-4164-b881-fd3a2e4b2453" providerId="ADAL" clId="{4457FA57-250B-44AC-8655-05D46C5A3D8A}" dt="2023-05-18T11:20:19.457" v="3609"/>
          <ac:spMkLst>
            <pc:docMk/>
            <pc:sldMk cId="3629079265" sldId="264"/>
            <ac:spMk id="261" creationId="{4B016B82-7BC1-4F94-83A8-E726204AA993}"/>
          </ac:spMkLst>
        </pc:spChg>
        <pc:spChg chg="mod">
          <ac:chgData name="El Bakkouri, Manal" userId="8b130982-2e3f-4164-b881-fd3a2e4b2453" providerId="ADAL" clId="{4457FA57-250B-44AC-8655-05D46C5A3D8A}" dt="2023-05-18T11:20:19.457" v="3609"/>
          <ac:spMkLst>
            <pc:docMk/>
            <pc:sldMk cId="3629079265" sldId="264"/>
            <ac:spMk id="262" creationId="{5CA16C3F-2BE9-449E-9501-8E89E9BFC0C3}"/>
          </ac:spMkLst>
        </pc:spChg>
        <pc:spChg chg="mod">
          <ac:chgData name="El Bakkouri, Manal" userId="8b130982-2e3f-4164-b881-fd3a2e4b2453" providerId="ADAL" clId="{4457FA57-250B-44AC-8655-05D46C5A3D8A}" dt="2023-05-18T11:20:19.457" v="3609"/>
          <ac:spMkLst>
            <pc:docMk/>
            <pc:sldMk cId="3629079265" sldId="264"/>
            <ac:spMk id="263" creationId="{31EBBA3C-B34C-4029-BBAA-598171A4EB30}"/>
          </ac:spMkLst>
        </pc:spChg>
        <pc:spChg chg="mod">
          <ac:chgData name="El Bakkouri, Manal" userId="8b130982-2e3f-4164-b881-fd3a2e4b2453" providerId="ADAL" clId="{4457FA57-250B-44AC-8655-05D46C5A3D8A}" dt="2023-05-18T11:20:19.457" v="3609"/>
          <ac:spMkLst>
            <pc:docMk/>
            <pc:sldMk cId="3629079265" sldId="264"/>
            <ac:spMk id="264" creationId="{1B1E5511-33E4-4F06-90B6-B2AE872AB859}"/>
          </ac:spMkLst>
        </pc:spChg>
        <pc:spChg chg="mod">
          <ac:chgData name="El Bakkouri, Manal" userId="8b130982-2e3f-4164-b881-fd3a2e4b2453" providerId="ADAL" clId="{4457FA57-250B-44AC-8655-05D46C5A3D8A}" dt="2023-05-18T11:20:19.457" v="3609"/>
          <ac:spMkLst>
            <pc:docMk/>
            <pc:sldMk cId="3629079265" sldId="264"/>
            <ac:spMk id="265" creationId="{3BD1DC30-E454-463A-BAD8-37080B9C8ED2}"/>
          </ac:spMkLst>
        </pc:spChg>
        <pc:spChg chg="mod">
          <ac:chgData name="El Bakkouri, Manal" userId="8b130982-2e3f-4164-b881-fd3a2e4b2453" providerId="ADAL" clId="{4457FA57-250B-44AC-8655-05D46C5A3D8A}" dt="2023-05-18T11:20:19.457" v="3609"/>
          <ac:spMkLst>
            <pc:docMk/>
            <pc:sldMk cId="3629079265" sldId="264"/>
            <ac:spMk id="266" creationId="{45398380-A45F-47BA-94AD-67457998E895}"/>
          </ac:spMkLst>
        </pc:spChg>
        <pc:spChg chg="mod">
          <ac:chgData name="El Bakkouri, Manal" userId="8b130982-2e3f-4164-b881-fd3a2e4b2453" providerId="ADAL" clId="{4457FA57-250B-44AC-8655-05D46C5A3D8A}" dt="2023-05-18T11:20:19.457" v="3609"/>
          <ac:spMkLst>
            <pc:docMk/>
            <pc:sldMk cId="3629079265" sldId="264"/>
            <ac:spMk id="267" creationId="{173352A5-1A9E-4152-AE74-BBD21F9CFF9E}"/>
          </ac:spMkLst>
        </pc:spChg>
        <pc:spChg chg="mod">
          <ac:chgData name="El Bakkouri, Manal" userId="8b130982-2e3f-4164-b881-fd3a2e4b2453" providerId="ADAL" clId="{4457FA57-250B-44AC-8655-05D46C5A3D8A}" dt="2023-05-18T11:20:19.457" v="3609"/>
          <ac:spMkLst>
            <pc:docMk/>
            <pc:sldMk cId="3629079265" sldId="264"/>
            <ac:spMk id="268" creationId="{FF46AF85-5DD1-43BB-88BE-27F44C573265}"/>
          </ac:spMkLst>
        </pc:spChg>
        <pc:spChg chg="mod">
          <ac:chgData name="El Bakkouri, Manal" userId="8b130982-2e3f-4164-b881-fd3a2e4b2453" providerId="ADAL" clId="{4457FA57-250B-44AC-8655-05D46C5A3D8A}" dt="2023-05-18T11:20:19.457" v="3609"/>
          <ac:spMkLst>
            <pc:docMk/>
            <pc:sldMk cId="3629079265" sldId="264"/>
            <ac:spMk id="269" creationId="{D55CC070-3BCE-4838-8049-7D8E236C2EA6}"/>
          </ac:spMkLst>
        </pc:spChg>
        <pc:spChg chg="mod">
          <ac:chgData name="El Bakkouri, Manal" userId="8b130982-2e3f-4164-b881-fd3a2e4b2453" providerId="ADAL" clId="{4457FA57-250B-44AC-8655-05D46C5A3D8A}" dt="2023-05-18T11:20:19.457" v="3609"/>
          <ac:spMkLst>
            <pc:docMk/>
            <pc:sldMk cId="3629079265" sldId="264"/>
            <ac:spMk id="270" creationId="{D3D759F0-6B06-4D19-94E8-C7A2A3367218}"/>
          </ac:spMkLst>
        </pc:spChg>
        <pc:spChg chg="mod">
          <ac:chgData name="El Bakkouri, Manal" userId="8b130982-2e3f-4164-b881-fd3a2e4b2453" providerId="ADAL" clId="{4457FA57-250B-44AC-8655-05D46C5A3D8A}" dt="2023-05-18T11:20:19.457" v="3609"/>
          <ac:spMkLst>
            <pc:docMk/>
            <pc:sldMk cId="3629079265" sldId="264"/>
            <ac:spMk id="271" creationId="{A766CCFC-BFE1-44FF-9E3F-050391083050}"/>
          </ac:spMkLst>
        </pc:spChg>
        <pc:spChg chg="mod">
          <ac:chgData name="El Bakkouri, Manal" userId="8b130982-2e3f-4164-b881-fd3a2e4b2453" providerId="ADAL" clId="{4457FA57-250B-44AC-8655-05D46C5A3D8A}" dt="2023-05-18T11:20:19.457" v="3609"/>
          <ac:spMkLst>
            <pc:docMk/>
            <pc:sldMk cId="3629079265" sldId="264"/>
            <ac:spMk id="272" creationId="{0139AA16-74C7-4380-AD0F-8C60CA110770}"/>
          </ac:spMkLst>
        </pc:spChg>
        <pc:spChg chg="mod">
          <ac:chgData name="El Bakkouri, Manal" userId="8b130982-2e3f-4164-b881-fd3a2e4b2453" providerId="ADAL" clId="{4457FA57-250B-44AC-8655-05D46C5A3D8A}" dt="2023-05-18T11:20:19.457" v="3609"/>
          <ac:spMkLst>
            <pc:docMk/>
            <pc:sldMk cId="3629079265" sldId="264"/>
            <ac:spMk id="273" creationId="{FD4C69DA-5ED8-420D-8DAA-C5232B9E2889}"/>
          </ac:spMkLst>
        </pc:spChg>
        <pc:spChg chg="mod">
          <ac:chgData name="El Bakkouri, Manal" userId="8b130982-2e3f-4164-b881-fd3a2e4b2453" providerId="ADAL" clId="{4457FA57-250B-44AC-8655-05D46C5A3D8A}" dt="2023-05-18T11:20:19.457" v="3609"/>
          <ac:spMkLst>
            <pc:docMk/>
            <pc:sldMk cId="3629079265" sldId="264"/>
            <ac:spMk id="274" creationId="{4D711A83-329E-4763-9555-1AE14F894512}"/>
          </ac:spMkLst>
        </pc:spChg>
        <pc:spChg chg="mod">
          <ac:chgData name="El Bakkouri, Manal" userId="8b130982-2e3f-4164-b881-fd3a2e4b2453" providerId="ADAL" clId="{4457FA57-250B-44AC-8655-05D46C5A3D8A}" dt="2023-05-18T11:20:19.457" v="3609"/>
          <ac:spMkLst>
            <pc:docMk/>
            <pc:sldMk cId="3629079265" sldId="264"/>
            <ac:spMk id="275" creationId="{F2B934E8-F813-483C-8896-D22BD6328113}"/>
          </ac:spMkLst>
        </pc:spChg>
        <pc:spChg chg="mod">
          <ac:chgData name="El Bakkouri, Manal" userId="8b130982-2e3f-4164-b881-fd3a2e4b2453" providerId="ADAL" clId="{4457FA57-250B-44AC-8655-05D46C5A3D8A}" dt="2023-05-18T11:20:19.457" v="3609"/>
          <ac:spMkLst>
            <pc:docMk/>
            <pc:sldMk cId="3629079265" sldId="264"/>
            <ac:spMk id="276" creationId="{1BD358F4-4F38-4579-9ADE-C275BFFF2F86}"/>
          </ac:spMkLst>
        </pc:spChg>
        <pc:spChg chg="mod">
          <ac:chgData name="El Bakkouri, Manal" userId="8b130982-2e3f-4164-b881-fd3a2e4b2453" providerId="ADAL" clId="{4457FA57-250B-44AC-8655-05D46C5A3D8A}" dt="2023-05-18T11:20:19.457" v="3609"/>
          <ac:spMkLst>
            <pc:docMk/>
            <pc:sldMk cId="3629079265" sldId="264"/>
            <ac:spMk id="277" creationId="{6BE29294-5BF2-4ED6-8098-06881EE8C104}"/>
          </ac:spMkLst>
        </pc:spChg>
        <pc:spChg chg="mod">
          <ac:chgData name="El Bakkouri, Manal" userId="8b130982-2e3f-4164-b881-fd3a2e4b2453" providerId="ADAL" clId="{4457FA57-250B-44AC-8655-05D46C5A3D8A}" dt="2023-05-18T11:20:19.457" v="3609"/>
          <ac:spMkLst>
            <pc:docMk/>
            <pc:sldMk cId="3629079265" sldId="264"/>
            <ac:spMk id="278" creationId="{205DEBD1-853B-41B3-9E0D-5353479E987D}"/>
          </ac:spMkLst>
        </pc:spChg>
        <pc:spChg chg="mod">
          <ac:chgData name="El Bakkouri, Manal" userId="8b130982-2e3f-4164-b881-fd3a2e4b2453" providerId="ADAL" clId="{4457FA57-250B-44AC-8655-05D46C5A3D8A}" dt="2023-05-18T11:20:19.457" v="3609"/>
          <ac:spMkLst>
            <pc:docMk/>
            <pc:sldMk cId="3629079265" sldId="264"/>
            <ac:spMk id="279" creationId="{53DEC73F-964B-4374-A5E4-A6C0F43FA057}"/>
          </ac:spMkLst>
        </pc:spChg>
        <pc:spChg chg="mod">
          <ac:chgData name="El Bakkouri, Manal" userId="8b130982-2e3f-4164-b881-fd3a2e4b2453" providerId="ADAL" clId="{4457FA57-250B-44AC-8655-05D46C5A3D8A}" dt="2023-05-18T11:20:19.457" v="3609"/>
          <ac:spMkLst>
            <pc:docMk/>
            <pc:sldMk cId="3629079265" sldId="264"/>
            <ac:spMk id="280" creationId="{ED73A65F-7ED2-41CD-96E6-A2DD7B7B929D}"/>
          </ac:spMkLst>
        </pc:spChg>
        <pc:spChg chg="mod">
          <ac:chgData name="El Bakkouri, Manal" userId="8b130982-2e3f-4164-b881-fd3a2e4b2453" providerId="ADAL" clId="{4457FA57-250B-44AC-8655-05D46C5A3D8A}" dt="2023-05-18T11:20:19.457" v="3609"/>
          <ac:spMkLst>
            <pc:docMk/>
            <pc:sldMk cId="3629079265" sldId="264"/>
            <ac:spMk id="281" creationId="{8AE137B7-51A4-41CA-8835-F6EE8B8F9C73}"/>
          </ac:spMkLst>
        </pc:spChg>
        <pc:spChg chg="mod">
          <ac:chgData name="El Bakkouri, Manal" userId="8b130982-2e3f-4164-b881-fd3a2e4b2453" providerId="ADAL" clId="{4457FA57-250B-44AC-8655-05D46C5A3D8A}" dt="2023-05-18T11:20:19.457" v="3609"/>
          <ac:spMkLst>
            <pc:docMk/>
            <pc:sldMk cId="3629079265" sldId="264"/>
            <ac:spMk id="282" creationId="{FBFFB4E2-BE04-41A3-B62E-B1B5D60DFF13}"/>
          </ac:spMkLst>
        </pc:spChg>
        <pc:spChg chg="mod">
          <ac:chgData name="El Bakkouri, Manal" userId="8b130982-2e3f-4164-b881-fd3a2e4b2453" providerId="ADAL" clId="{4457FA57-250B-44AC-8655-05D46C5A3D8A}" dt="2023-05-18T11:20:19.457" v="3609"/>
          <ac:spMkLst>
            <pc:docMk/>
            <pc:sldMk cId="3629079265" sldId="264"/>
            <ac:spMk id="283" creationId="{270E49E9-ECED-4FFE-9FF6-62C5D1D6215A}"/>
          </ac:spMkLst>
        </pc:spChg>
        <pc:spChg chg="mod">
          <ac:chgData name="El Bakkouri, Manal" userId="8b130982-2e3f-4164-b881-fd3a2e4b2453" providerId="ADAL" clId="{4457FA57-250B-44AC-8655-05D46C5A3D8A}" dt="2023-05-18T11:20:19.457" v="3609"/>
          <ac:spMkLst>
            <pc:docMk/>
            <pc:sldMk cId="3629079265" sldId="264"/>
            <ac:spMk id="284" creationId="{BC9C64DF-AE47-462D-A5CA-2167850B0AF7}"/>
          </ac:spMkLst>
        </pc:spChg>
        <pc:spChg chg="mod">
          <ac:chgData name="El Bakkouri, Manal" userId="8b130982-2e3f-4164-b881-fd3a2e4b2453" providerId="ADAL" clId="{4457FA57-250B-44AC-8655-05D46C5A3D8A}" dt="2023-05-18T11:20:19.457" v="3609"/>
          <ac:spMkLst>
            <pc:docMk/>
            <pc:sldMk cId="3629079265" sldId="264"/>
            <ac:spMk id="285" creationId="{0AAABFBB-7319-4428-A6B0-C5FFB511056A}"/>
          </ac:spMkLst>
        </pc:spChg>
        <pc:spChg chg="mod">
          <ac:chgData name="El Bakkouri, Manal" userId="8b130982-2e3f-4164-b881-fd3a2e4b2453" providerId="ADAL" clId="{4457FA57-250B-44AC-8655-05D46C5A3D8A}" dt="2023-05-18T11:20:19.457" v="3609"/>
          <ac:spMkLst>
            <pc:docMk/>
            <pc:sldMk cId="3629079265" sldId="264"/>
            <ac:spMk id="286" creationId="{2F407956-A61B-4C48-A803-A5DEB3B0B7A9}"/>
          </ac:spMkLst>
        </pc:spChg>
        <pc:spChg chg="mod">
          <ac:chgData name="El Bakkouri, Manal" userId="8b130982-2e3f-4164-b881-fd3a2e4b2453" providerId="ADAL" clId="{4457FA57-250B-44AC-8655-05D46C5A3D8A}" dt="2023-05-18T11:20:19.457" v="3609"/>
          <ac:spMkLst>
            <pc:docMk/>
            <pc:sldMk cId="3629079265" sldId="264"/>
            <ac:spMk id="287" creationId="{C1AD0B04-B4FC-4227-8DFA-BC3C38062EB7}"/>
          </ac:spMkLst>
        </pc:spChg>
        <pc:spChg chg="mod">
          <ac:chgData name="El Bakkouri, Manal" userId="8b130982-2e3f-4164-b881-fd3a2e4b2453" providerId="ADAL" clId="{4457FA57-250B-44AC-8655-05D46C5A3D8A}" dt="2023-05-18T11:20:19.457" v="3609"/>
          <ac:spMkLst>
            <pc:docMk/>
            <pc:sldMk cId="3629079265" sldId="264"/>
            <ac:spMk id="288" creationId="{2696FCBF-D795-4F93-AE45-EE704AF4F29D}"/>
          </ac:spMkLst>
        </pc:spChg>
        <pc:spChg chg="mod">
          <ac:chgData name="El Bakkouri, Manal" userId="8b130982-2e3f-4164-b881-fd3a2e4b2453" providerId="ADAL" clId="{4457FA57-250B-44AC-8655-05D46C5A3D8A}" dt="2023-05-18T11:20:19.457" v="3609"/>
          <ac:spMkLst>
            <pc:docMk/>
            <pc:sldMk cId="3629079265" sldId="264"/>
            <ac:spMk id="289" creationId="{C9124A70-D8B7-4C02-898D-1FB809A6E304}"/>
          </ac:spMkLst>
        </pc:spChg>
        <pc:spChg chg="mod">
          <ac:chgData name="El Bakkouri, Manal" userId="8b130982-2e3f-4164-b881-fd3a2e4b2453" providerId="ADAL" clId="{4457FA57-250B-44AC-8655-05D46C5A3D8A}" dt="2023-05-18T11:20:19.457" v="3609"/>
          <ac:spMkLst>
            <pc:docMk/>
            <pc:sldMk cId="3629079265" sldId="264"/>
            <ac:spMk id="290" creationId="{33519AEC-88CF-4B68-9CD3-3F5DF34F9375}"/>
          </ac:spMkLst>
        </pc:spChg>
        <pc:spChg chg="mod">
          <ac:chgData name="El Bakkouri, Manal" userId="8b130982-2e3f-4164-b881-fd3a2e4b2453" providerId="ADAL" clId="{4457FA57-250B-44AC-8655-05D46C5A3D8A}" dt="2023-05-18T11:20:19.457" v="3609"/>
          <ac:spMkLst>
            <pc:docMk/>
            <pc:sldMk cId="3629079265" sldId="264"/>
            <ac:spMk id="291" creationId="{0AB10EB5-82E6-4804-A24F-7B4F4F0CBA57}"/>
          </ac:spMkLst>
        </pc:spChg>
        <pc:spChg chg="mod">
          <ac:chgData name="El Bakkouri, Manal" userId="8b130982-2e3f-4164-b881-fd3a2e4b2453" providerId="ADAL" clId="{4457FA57-250B-44AC-8655-05D46C5A3D8A}" dt="2023-05-18T11:20:19.457" v="3609"/>
          <ac:spMkLst>
            <pc:docMk/>
            <pc:sldMk cId="3629079265" sldId="264"/>
            <ac:spMk id="292" creationId="{9401658C-D38E-4866-8D0D-EDC78256EE70}"/>
          </ac:spMkLst>
        </pc:spChg>
        <pc:spChg chg="mod">
          <ac:chgData name="El Bakkouri, Manal" userId="8b130982-2e3f-4164-b881-fd3a2e4b2453" providerId="ADAL" clId="{4457FA57-250B-44AC-8655-05D46C5A3D8A}" dt="2023-05-18T11:20:19.457" v="3609"/>
          <ac:spMkLst>
            <pc:docMk/>
            <pc:sldMk cId="3629079265" sldId="264"/>
            <ac:spMk id="293" creationId="{674CB660-31EB-4F88-821B-A729DF7FE7E6}"/>
          </ac:spMkLst>
        </pc:spChg>
        <pc:spChg chg="mod">
          <ac:chgData name="El Bakkouri, Manal" userId="8b130982-2e3f-4164-b881-fd3a2e4b2453" providerId="ADAL" clId="{4457FA57-250B-44AC-8655-05D46C5A3D8A}" dt="2023-05-18T11:20:19.457" v="3609"/>
          <ac:spMkLst>
            <pc:docMk/>
            <pc:sldMk cId="3629079265" sldId="264"/>
            <ac:spMk id="294" creationId="{578F7DA6-9032-49B6-A4E5-EC6894367D38}"/>
          </ac:spMkLst>
        </pc:spChg>
        <pc:spChg chg="mod">
          <ac:chgData name="El Bakkouri, Manal" userId="8b130982-2e3f-4164-b881-fd3a2e4b2453" providerId="ADAL" clId="{4457FA57-250B-44AC-8655-05D46C5A3D8A}" dt="2023-05-18T11:20:19.457" v="3609"/>
          <ac:spMkLst>
            <pc:docMk/>
            <pc:sldMk cId="3629079265" sldId="264"/>
            <ac:spMk id="295" creationId="{C673D102-7126-4119-9EE7-1869656B5CB9}"/>
          </ac:spMkLst>
        </pc:spChg>
        <pc:spChg chg="mod">
          <ac:chgData name="El Bakkouri, Manal" userId="8b130982-2e3f-4164-b881-fd3a2e4b2453" providerId="ADAL" clId="{4457FA57-250B-44AC-8655-05D46C5A3D8A}" dt="2023-05-18T11:20:19.457" v="3609"/>
          <ac:spMkLst>
            <pc:docMk/>
            <pc:sldMk cId="3629079265" sldId="264"/>
            <ac:spMk id="296" creationId="{5D52568C-24DA-4FFC-ABA7-DD0B8FE639ED}"/>
          </ac:spMkLst>
        </pc:spChg>
        <pc:spChg chg="mod">
          <ac:chgData name="El Bakkouri, Manal" userId="8b130982-2e3f-4164-b881-fd3a2e4b2453" providerId="ADAL" clId="{4457FA57-250B-44AC-8655-05D46C5A3D8A}" dt="2023-05-18T11:20:19.457" v="3609"/>
          <ac:spMkLst>
            <pc:docMk/>
            <pc:sldMk cId="3629079265" sldId="264"/>
            <ac:spMk id="297" creationId="{3BF877CC-EE81-49FE-8300-CC14FAECB75A}"/>
          </ac:spMkLst>
        </pc:spChg>
        <pc:spChg chg="mod">
          <ac:chgData name="El Bakkouri, Manal" userId="8b130982-2e3f-4164-b881-fd3a2e4b2453" providerId="ADAL" clId="{4457FA57-250B-44AC-8655-05D46C5A3D8A}" dt="2023-05-18T11:20:19.457" v="3609"/>
          <ac:spMkLst>
            <pc:docMk/>
            <pc:sldMk cId="3629079265" sldId="264"/>
            <ac:spMk id="298" creationId="{DF8BE45A-F118-4A16-9309-8827A6FD5749}"/>
          </ac:spMkLst>
        </pc:spChg>
        <pc:spChg chg="mod">
          <ac:chgData name="El Bakkouri, Manal" userId="8b130982-2e3f-4164-b881-fd3a2e4b2453" providerId="ADAL" clId="{4457FA57-250B-44AC-8655-05D46C5A3D8A}" dt="2023-05-18T11:20:19.457" v="3609"/>
          <ac:spMkLst>
            <pc:docMk/>
            <pc:sldMk cId="3629079265" sldId="264"/>
            <ac:spMk id="299" creationId="{0D6953D1-C903-4440-BDC9-B57F5E5E1EBC}"/>
          </ac:spMkLst>
        </pc:spChg>
        <pc:spChg chg="mod">
          <ac:chgData name="El Bakkouri, Manal" userId="8b130982-2e3f-4164-b881-fd3a2e4b2453" providerId="ADAL" clId="{4457FA57-250B-44AC-8655-05D46C5A3D8A}" dt="2023-05-18T11:20:19.457" v="3609"/>
          <ac:spMkLst>
            <pc:docMk/>
            <pc:sldMk cId="3629079265" sldId="264"/>
            <ac:spMk id="300" creationId="{724B0DC3-13F7-4963-95EC-3E5DEAD216DD}"/>
          </ac:spMkLst>
        </pc:spChg>
        <pc:spChg chg="mod">
          <ac:chgData name="El Bakkouri, Manal" userId="8b130982-2e3f-4164-b881-fd3a2e4b2453" providerId="ADAL" clId="{4457FA57-250B-44AC-8655-05D46C5A3D8A}" dt="2023-05-18T11:20:19.457" v="3609"/>
          <ac:spMkLst>
            <pc:docMk/>
            <pc:sldMk cId="3629079265" sldId="264"/>
            <ac:spMk id="301" creationId="{C2CE3142-EECD-489D-A47D-C256C57F8C19}"/>
          </ac:spMkLst>
        </pc:spChg>
        <pc:spChg chg="mod">
          <ac:chgData name="El Bakkouri, Manal" userId="8b130982-2e3f-4164-b881-fd3a2e4b2453" providerId="ADAL" clId="{4457FA57-250B-44AC-8655-05D46C5A3D8A}" dt="2023-05-18T11:20:19.457" v="3609"/>
          <ac:spMkLst>
            <pc:docMk/>
            <pc:sldMk cId="3629079265" sldId="264"/>
            <ac:spMk id="302" creationId="{D6A016DD-8952-4988-A87D-169E644EF2EB}"/>
          </ac:spMkLst>
        </pc:spChg>
        <pc:spChg chg="mod">
          <ac:chgData name="El Bakkouri, Manal" userId="8b130982-2e3f-4164-b881-fd3a2e4b2453" providerId="ADAL" clId="{4457FA57-250B-44AC-8655-05D46C5A3D8A}" dt="2023-05-18T11:20:19.457" v="3609"/>
          <ac:spMkLst>
            <pc:docMk/>
            <pc:sldMk cId="3629079265" sldId="264"/>
            <ac:spMk id="303" creationId="{5251084B-8A35-43F7-810E-ADBF1C4C7C94}"/>
          </ac:spMkLst>
        </pc:spChg>
        <pc:spChg chg="mod">
          <ac:chgData name="El Bakkouri, Manal" userId="8b130982-2e3f-4164-b881-fd3a2e4b2453" providerId="ADAL" clId="{4457FA57-250B-44AC-8655-05D46C5A3D8A}" dt="2023-05-18T11:20:19.457" v="3609"/>
          <ac:spMkLst>
            <pc:docMk/>
            <pc:sldMk cId="3629079265" sldId="264"/>
            <ac:spMk id="304" creationId="{7CE40CC3-9F59-4BC9-95DE-D34E11A77DD4}"/>
          </ac:spMkLst>
        </pc:spChg>
        <pc:spChg chg="mod">
          <ac:chgData name="El Bakkouri, Manal" userId="8b130982-2e3f-4164-b881-fd3a2e4b2453" providerId="ADAL" clId="{4457FA57-250B-44AC-8655-05D46C5A3D8A}" dt="2023-05-18T11:20:19.457" v="3609"/>
          <ac:spMkLst>
            <pc:docMk/>
            <pc:sldMk cId="3629079265" sldId="264"/>
            <ac:spMk id="305" creationId="{10B6B951-5C22-42D1-AE08-C62F1C1A8FD9}"/>
          </ac:spMkLst>
        </pc:spChg>
        <pc:spChg chg="mod">
          <ac:chgData name="El Bakkouri, Manal" userId="8b130982-2e3f-4164-b881-fd3a2e4b2453" providerId="ADAL" clId="{4457FA57-250B-44AC-8655-05D46C5A3D8A}" dt="2023-05-18T11:20:19.457" v="3609"/>
          <ac:spMkLst>
            <pc:docMk/>
            <pc:sldMk cId="3629079265" sldId="264"/>
            <ac:spMk id="306" creationId="{98B1D93D-AD90-4B47-A678-0994F3AC68F7}"/>
          </ac:spMkLst>
        </pc:spChg>
        <pc:spChg chg="mod">
          <ac:chgData name="El Bakkouri, Manal" userId="8b130982-2e3f-4164-b881-fd3a2e4b2453" providerId="ADAL" clId="{4457FA57-250B-44AC-8655-05D46C5A3D8A}" dt="2023-05-18T11:20:19.457" v="3609"/>
          <ac:spMkLst>
            <pc:docMk/>
            <pc:sldMk cId="3629079265" sldId="264"/>
            <ac:spMk id="307" creationId="{DF89B640-5D06-4286-B816-98746662FF92}"/>
          </ac:spMkLst>
        </pc:spChg>
        <pc:spChg chg="mod">
          <ac:chgData name="El Bakkouri, Manal" userId="8b130982-2e3f-4164-b881-fd3a2e4b2453" providerId="ADAL" clId="{4457FA57-250B-44AC-8655-05D46C5A3D8A}" dt="2023-05-18T11:20:19.457" v="3609"/>
          <ac:spMkLst>
            <pc:docMk/>
            <pc:sldMk cId="3629079265" sldId="264"/>
            <ac:spMk id="308" creationId="{CFD0C1CA-44BB-4E3F-A8DA-2AA84B825088}"/>
          </ac:spMkLst>
        </pc:spChg>
        <pc:spChg chg="mod">
          <ac:chgData name="El Bakkouri, Manal" userId="8b130982-2e3f-4164-b881-fd3a2e4b2453" providerId="ADAL" clId="{4457FA57-250B-44AC-8655-05D46C5A3D8A}" dt="2023-05-18T11:20:19.457" v="3609"/>
          <ac:spMkLst>
            <pc:docMk/>
            <pc:sldMk cId="3629079265" sldId="264"/>
            <ac:spMk id="309" creationId="{8B11859A-3C9D-46BA-A025-2695186E457B}"/>
          </ac:spMkLst>
        </pc:spChg>
        <pc:spChg chg="mod">
          <ac:chgData name="El Bakkouri, Manal" userId="8b130982-2e3f-4164-b881-fd3a2e4b2453" providerId="ADAL" clId="{4457FA57-250B-44AC-8655-05D46C5A3D8A}" dt="2023-05-18T11:20:19.457" v="3609"/>
          <ac:spMkLst>
            <pc:docMk/>
            <pc:sldMk cId="3629079265" sldId="264"/>
            <ac:spMk id="310" creationId="{23B7B523-A2B0-4AB2-AE17-19D88A874BE6}"/>
          </ac:spMkLst>
        </pc:spChg>
        <pc:spChg chg="mod">
          <ac:chgData name="El Bakkouri, Manal" userId="8b130982-2e3f-4164-b881-fd3a2e4b2453" providerId="ADAL" clId="{4457FA57-250B-44AC-8655-05D46C5A3D8A}" dt="2023-05-18T11:20:19.457" v="3609"/>
          <ac:spMkLst>
            <pc:docMk/>
            <pc:sldMk cId="3629079265" sldId="264"/>
            <ac:spMk id="311" creationId="{9CA793FF-CD7B-4F5F-A024-6225D96EE75A}"/>
          </ac:spMkLst>
        </pc:spChg>
        <pc:spChg chg="mod">
          <ac:chgData name="El Bakkouri, Manal" userId="8b130982-2e3f-4164-b881-fd3a2e4b2453" providerId="ADAL" clId="{4457FA57-250B-44AC-8655-05D46C5A3D8A}" dt="2023-05-18T11:20:19.457" v="3609"/>
          <ac:spMkLst>
            <pc:docMk/>
            <pc:sldMk cId="3629079265" sldId="264"/>
            <ac:spMk id="312" creationId="{010A95E3-E5D6-4661-ADB6-672532983A8D}"/>
          </ac:spMkLst>
        </pc:spChg>
        <pc:spChg chg="mod">
          <ac:chgData name="El Bakkouri, Manal" userId="8b130982-2e3f-4164-b881-fd3a2e4b2453" providerId="ADAL" clId="{4457FA57-250B-44AC-8655-05D46C5A3D8A}" dt="2023-05-18T11:20:19.457" v="3609"/>
          <ac:spMkLst>
            <pc:docMk/>
            <pc:sldMk cId="3629079265" sldId="264"/>
            <ac:spMk id="313" creationId="{59C8C1D2-361D-4607-8C6C-F330AFE76422}"/>
          </ac:spMkLst>
        </pc:spChg>
        <pc:spChg chg="mod">
          <ac:chgData name="El Bakkouri, Manal" userId="8b130982-2e3f-4164-b881-fd3a2e4b2453" providerId="ADAL" clId="{4457FA57-250B-44AC-8655-05D46C5A3D8A}" dt="2023-05-18T11:20:19.457" v="3609"/>
          <ac:spMkLst>
            <pc:docMk/>
            <pc:sldMk cId="3629079265" sldId="264"/>
            <ac:spMk id="314" creationId="{5C8C8F0E-7641-48D0-AE00-3F50DD1D31E0}"/>
          </ac:spMkLst>
        </pc:spChg>
        <pc:spChg chg="mod">
          <ac:chgData name="El Bakkouri, Manal" userId="8b130982-2e3f-4164-b881-fd3a2e4b2453" providerId="ADAL" clId="{4457FA57-250B-44AC-8655-05D46C5A3D8A}" dt="2023-05-18T11:20:19.457" v="3609"/>
          <ac:spMkLst>
            <pc:docMk/>
            <pc:sldMk cId="3629079265" sldId="264"/>
            <ac:spMk id="315" creationId="{48F39D73-BED5-4164-BA4A-FC07BB31AFDA}"/>
          </ac:spMkLst>
        </pc:spChg>
        <pc:spChg chg="mod">
          <ac:chgData name="El Bakkouri, Manal" userId="8b130982-2e3f-4164-b881-fd3a2e4b2453" providerId="ADAL" clId="{4457FA57-250B-44AC-8655-05D46C5A3D8A}" dt="2023-05-18T11:20:19.457" v="3609"/>
          <ac:spMkLst>
            <pc:docMk/>
            <pc:sldMk cId="3629079265" sldId="264"/>
            <ac:spMk id="316" creationId="{EE815221-7580-46F7-A2AF-88BDA76FDF4A}"/>
          </ac:spMkLst>
        </pc:spChg>
        <pc:spChg chg="mod">
          <ac:chgData name="El Bakkouri, Manal" userId="8b130982-2e3f-4164-b881-fd3a2e4b2453" providerId="ADAL" clId="{4457FA57-250B-44AC-8655-05D46C5A3D8A}" dt="2023-05-18T11:20:19.457" v="3609"/>
          <ac:spMkLst>
            <pc:docMk/>
            <pc:sldMk cId="3629079265" sldId="264"/>
            <ac:spMk id="317" creationId="{9D6AFA20-2724-42FE-AACB-7F8820CDB077}"/>
          </ac:spMkLst>
        </pc:spChg>
        <pc:spChg chg="mod">
          <ac:chgData name="El Bakkouri, Manal" userId="8b130982-2e3f-4164-b881-fd3a2e4b2453" providerId="ADAL" clId="{4457FA57-250B-44AC-8655-05D46C5A3D8A}" dt="2023-05-18T11:20:19.457" v="3609"/>
          <ac:spMkLst>
            <pc:docMk/>
            <pc:sldMk cId="3629079265" sldId="264"/>
            <ac:spMk id="318" creationId="{8F170147-E1D2-4E24-AA80-7B4C65F9EDBC}"/>
          </ac:spMkLst>
        </pc:spChg>
        <pc:spChg chg="mod">
          <ac:chgData name="El Bakkouri, Manal" userId="8b130982-2e3f-4164-b881-fd3a2e4b2453" providerId="ADAL" clId="{4457FA57-250B-44AC-8655-05D46C5A3D8A}" dt="2023-05-18T11:20:19.457" v="3609"/>
          <ac:spMkLst>
            <pc:docMk/>
            <pc:sldMk cId="3629079265" sldId="264"/>
            <ac:spMk id="319" creationId="{0AF89338-89F2-40AD-A2B7-92F7A0FEBC56}"/>
          </ac:spMkLst>
        </pc:spChg>
        <pc:spChg chg="mod">
          <ac:chgData name="El Bakkouri, Manal" userId="8b130982-2e3f-4164-b881-fd3a2e4b2453" providerId="ADAL" clId="{4457FA57-250B-44AC-8655-05D46C5A3D8A}" dt="2023-05-18T11:20:19.457" v="3609"/>
          <ac:spMkLst>
            <pc:docMk/>
            <pc:sldMk cId="3629079265" sldId="264"/>
            <ac:spMk id="320" creationId="{717573B3-553F-4CC0-8F87-21BEF1B4763F}"/>
          </ac:spMkLst>
        </pc:spChg>
        <pc:spChg chg="mod">
          <ac:chgData name="El Bakkouri, Manal" userId="8b130982-2e3f-4164-b881-fd3a2e4b2453" providerId="ADAL" clId="{4457FA57-250B-44AC-8655-05D46C5A3D8A}" dt="2023-05-18T11:20:19.457" v="3609"/>
          <ac:spMkLst>
            <pc:docMk/>
            <pc:sldMk cId="3629079265" sldId="264"/>
            <ac:spMk id="321" creationId="{6515F7A4-AD97-43EE-A344-47AFAD766C8F}"/>
          </ac:spMkLst>
        </pc:spChg>
        <pc:spChg chg="mod">
          <ac:chgData name="El Bakkouri, Manal" userId="8b130982-2e3f-4164-b881-fd3a2e4b2453" providerId="ADAL" clId="{4457FA57-250B-44AC-8655-05D46C5A3D8A}" dt="2023-05-18T11:20:19.457" v="3609"/>
          <ac:spMkLst>
            <pc:docMk/>
            <pc:sldMk cId="3629079265" sldId="264"/>
            <ac:spMk id="322" creationId="{2741DAD6-C95C-4E47-B51A-0CA3A872EEC0}"/>
          </ac:spMkLst>
        </pc:spChg>
        <pc:spChg chg="mod">
          <ac:chgData name="El Bakkouri, Manal" userId="8b130982-2e3f-4164-b881-fd3a2e4b2453" providerId="ADAL" clId="{4457FA57-250B-44AC-8655-05D46C5A3D8A}" dt="2023-05-18T11:20:19.457" v="3609"/>
          <ac:spMkLst>
            <pc:docMk/>
            <pc:sldMk cId="3629079265" sldId="264"/>
            <ac:spMk id="323" creationId="{591EE32D-E0E5-4205-A918-97640E9FAD4D}"/>
          </ac:spMkLst>
        </pc:spChg>
        <pc:spChg chg="mod">
          <ac:chgData name="El Bakkouri, Manal" userId="8b130982-2e3f-4164-b881-fd3a2e4b2453" providerId="ADAL" clId="{4457FA57-250B-44AC-8655-05D46C5A3D8A}" dt="2023-05-18T11:20:19.457" v="3609"/>
          <ac:spMkLst>
            <pc:docMk/>
            <pc:sldMk cId="3629079265" sldId="264"/>
            <ac:spMk id="324" creationId="{B7EFB1DB-6848-4146-AB8A-46CA323F2A1A}"/>
          </ac:spMkLst>
        </pc:spChg>
        <pc:spChg chg="mod">
          <ac:chgData name="El Bakkouri, Manal" userId="8b130982-2e3f-4164-b881-fd3a2e4b2453" providerId="ADAL" clId="{4457FA57-250B-44AC-8655-05D46C5A3D8A}" dt="2023-05-18T11:20:19.457" v="3609"/>
          <ac:spMkLst>
            <pc:docMk/>
            <pc:sldMk cId="3629079265" sldId="264"/>
            <ac:spMk id="325" creationId="{87A2B322-20D7-46F5-BAA5-D99959AB1446}"/>
          </ac:spMkLst>
        </pc:spChg>
        <pc:spChg chg="mod">
          <ac:chgData name="El Bakkouri, Manal" userId="8b130982-2e3f-4164-b881-fd3a2e4b2453" providerId="ADAL" clId="{4457FA57-250B-44AC-8655-05D46C5A3D8A}" dt="2023-05-18T11:20:19.457" v="3609"/>
          <ac:spMkLst>
            <pc:docMk/>
            <pc:sldMk cId="3629079265" sldId="264"/>
            <ac:spMk id="326" creationId="{2D43EAF7-8BF5-4CE9-8ACD-7C0D424855AA}"/>
          </ac:spMkLst>
        </pc:spChg>
        <pc:spChg chg="mod">
          <ac:chgData name="El Bakkouri, Manal" userId="8b130982-2e3f-4164-b881-fd3a2e4b2453" providerId="ADAL" clId="{4457FA57-250B-44AC-8655-05D46C5A3D8A}" dt="2023-05-18T11:20:19.457" v="3609"/>
          <ac:spMkLst>
            <pc:docMk/>
            <pc:sldMk cId="3629079265" sldId="264"/>
            <ac:spMk id="327" creationId="{6729B9FC-36F5-41A8-9DF2-1D3E0430A2F3}"/>
          </ac:spMkLst>
        </pc:spChg>
        <pc:spChg chg="mod">
          <ac:chgData name="El Bakkouri, Manal" userId="8b130982-2e3f-4164-b881-fd3a2e4b2453" providerId="ADAL" clId="{4457FA57-250B-44AC-8655-05D46C5A3D8A}" dt="2023-05-18T11:20:19.457" v="3609"/>
          <ac:spMkLst>
            <pc:docMk/>
            <pc:sldMk cId="3629079265" sldId="264"/>
            <ac:spMk id="328" creationId="{99E172D5-6345-4490-9AF1-E33F53A7BD48}"/>
          </ac:spMkLst>
        </pc:spChg>
        <pc:spChg chg="mod">
          <ac:chgData name="El Bakkouri, Manal" userId="8b130982-2e3f-4164-b881-fd3a2e4b2453" providerId="ADAL" clId="{4457FA57-250B-44AC-8655-05D46C5A3D8A}" dt="2023-05-18T11:20:19.457" v="3609"/>
          <ac:spMkLst>
            <pc:docMk/>
            <pc:sldMk cId="3629079265" sldId="264"/>
            <ac:spMk id="329" creationId="{7C25854D-01CA-4DC4-BC41-3172C2D4A3D2}"/>
          </ac:spMkLst>
        </pc:spChg>
        <pc:spChg chg="mod">
          <ac:chgData name="El Bakkouri, Manal" userId="8b130982-2e3f-4164-b881-fd3a2e4b2453" providerId="ADAL" clId="{4457FA57-250B-44AC-8655-05D46C5A3D8A}" dt="2023-05-18T11:20:19.457" v="3609"/>
          <ac:spMkLst>
            <pc:docMk/>
            <pc:sldMk cId="3629079265" sldId="264"/>
            <ac:spMk id="330" creationId="{DC57654C-CB9D-46C6-88EC-82313EB8B558}"/>
          </ac:spMkLst>
        </pc:spChg>
        <pc:spChg chg="mod">
          <ac:chgData name="El Bakkouri, Manal" userId="8b130982-2e3f-4164-b881-fd3a2e4b2453" providerId="ADAL" clId="{4457FA57-250B-44AC-8655-05D46C5A3D8A}" dt="2023-05-18T11:20:19.457" v="3609"/>
          <ac:spMkLst>
            <pc:docMk/>
            <pc:sldMk cId="3629079265" sldId="264"/>
            <ac:spMk id="331" creationId="{239F4A10-A124-4D8A-B1E9-23A3A73A2AA0}"/>
          </ac:spMkLst>
        </pc:spChg>
        <pc:spChg chg="mod">
          <ac:chgData name="El Bakkouri, Manal" userId="8b130982-2e3f-4164-b881-fd3a2e4b2453" providerId="ADAL" clId="{4457FA57-250B-44AC-8655-05D46C5A3D8A}" dt="2023-05-18T11:20:19.457" v="3609"/>
          <ac:spMkLst>
            <pc:docMk/>
            <pc:sldMk cId="3629079265" sldId="264"/>
            <ac:spMk id="332" creationId="{35EC5916-C5E2-4121-97D2-D4355E6750CB}"/>
          </ac:spMkLst>
        </pc:spChg>
        <pc:spChg chg="mod">
          <ac:chgData name="El Bakkouri, Manal" userId="8b130982-2e3f-4164-b881-fd3a2e4b2453" providerId="ADAL" clId="{4457FA57-250B-44AC-8655-05D46C5A3D8A}" dt="2023-05-18T11:20:19.457" v="3609"/>
          <ac:spMkLst>
            <pc:docMk/>
            <pc:sldMk cId="3629079265" sldId="264"/>
            <ac:spMk id="333" creationId="{B961D4E1-6A90-4C62-AE26-255F5F8930FE}"/>
          </ac:spMkLst>
        </pc:spChg>
        <pc:spChg chg="mod">
          <ac:chgData name="El Bakkouri, Manal" userId="8b130982-2e3f-4164-b881-fd3a2e4b2453" providerId="ADAL" clId="{4457FA57-250B-44AC-8655-05D46C5A3D8A}" dt="2023-05-18T11:20:19.457" v="3609"/>
          <ac:spMkLst>
            <pc:docMk/>
            <pc:sldMk cId="3629079265" sldId="264"/>
            <ac:spMk id="334" creationId="{8BCEEA63-4F51-42D3-92EF-0E23E5167328}"/>
          </ac:spMkLst>
        </pc:spChg>
        <pc:spChg chg="mod">
          <ac:chgData name="El Bakkouri, Manal" userId="8b130982-2e3f-4164-b881-fd3a2e4b2453" providerId="ADAL" clId="{4457FA57-250B-44AC-8655-05D46C5A3D8A}" dt="2023-05-18T11:20:19.457" v="3609"/>
          <ac:spMkLst>
            <pc:docMk/>
            <pc:sldMk cId="3629079265" sldId="264"/>
            <ac:spMk id="335" creationId="{D76FD045-FEA6-46D4-9735-20534CE81C20}"/>
          </ac:spMkLst>
        </pc:spChg>
        <pc:spChg chg="mod">
          <ac:chgData name="El Bakkouri, Manal" userId="8b130982-2e3f-4164-b881-fd3a2e4b2453" providerId="ADAL" clId="{4457FA57-250B-44AC-8655-05D46C5A3D8A}" dt="2023-05-18T11:20:19.457" v="3609"/>
          <ac:spMkLst>
            <pc:docMk/>
            <pc:sldMk cId="3629079265" sldId="264"/>
            <ac:spMk id="336" creationId="{9C8D3982-47C3-4EB0-88BD-A6E9F151C9C1}"/>
          </ac:spMkLst>
        </pc:spChg>
        <pc:spChg chg="mod">
          <ac:chgData name="El Bakkouri, Manal" userId="8b130982-2e3f-4164-b881-fd3a2e4b2453" providerId="ADAL" clId="{4457FA57-250B-44AC-8655-05D46C5A3D8A}" dt="2023-05-18T11:20:19.457" v="3609"/>
          <ac:spMkLst>
            <pc:docMk/>
            <pc:sldMk cId="3629079265" sldId="264"/>
            <ac:spMk id="337" creationId="{848276BD-0940-410D-85A9-EE407424EC3A}"/>
          </ac:spMkLst>
        </pc:spChg>
        <pc:spChg chg="mod">
          <ac:chgData name="El Bakkouri, Manal" userId="8b130982-2e3f-4164-b881-fd3a2e4b2453" providerId="ADAL" clId="{4457FA57-250B-44AC-8655-05D46C5A3D8A}" dt="2023-05-18T11:20:19.457" v="3609"/>
          <ac:spMkLst>
            <pc:docMk/>
            <pc:sldMk cId="3629079265" sldId="264"/>
            <ac:spMk id="338" creationId="{71F4286F-A148-48AF-BEF9-648FA0EF2C34}"/>
          </ac:spMkLst>
        </pc:spChg>
        <pc:spChg chg="mod">
          <ac:chgData name="El Bakkouri, Manal" userId="8b130982-2e3f-4164-b881-fd3a2e4b2453" providerId="ADAL" clId="{4457FA57-250B-44AC-8655-05D46C5A3D8A}" dt="2023-05-18T11:20:19.457" v="3609"/>
          <ac:spMkLst>
            <pc:docMk/>
            <pc:sldMk cId="3629079265" sldId="264"/>
            <ac:spMk id="340" creationId="{ECD9E5F1-089D-484D-8F7F-FE553EE32D2A}"/>
          </ac:spMkLst>
        </pc:spChg>
        <pc:spChg chg="mod">
          <ac:chgData name="El Bakkouri, Manal" userId="8b130982-2e3f-4164-b881-fd3a2e4b2453" providerId="ADAL" clId="{4457FA57-250B-44AC-8655-05D46C5A3D8A}" dt="2023-05-18T11:20:19.457" v="3609"/>
          <ac:spMkLst>
            <pc:docMk/>
            <pc:sldMk cId="3629079265" sldId="264"/>
            <ac:spMk id="341" creationId="{9DF616D4-CC23-4FC2-A06F-554A5123A39F}"/>
          </ac:spMkLst>
        </pc:spChg>
        <pc:grpChg chg="add del mod">
          <ac:chgData name="El Bakkouri, Manal" userId="8b130982-2e3f-4164-b881-fd3a2e4b2453" providerId="ADAL" clId="{4457FA57-250B-44AC-8655-05D46C5A3D8A}" dt="2023-05-18T11:06:59.886" v="3275" actId="21"/>
          <ac:grpSpMkLst>
            <pc:docMk/>
            <pc:sldMk cId="3629079265" sldId="264"/>
            <ac:grpSpMk id="5" creationId="{D406ADCC-84F7-48FA-B29D-4AF08B36FFB6}"/>
          </ac:grpSpMkLst>
        </pc:grpChg>
        <pc:grpChg chg="add mod">
          <ac:chgData name="El Bakkouri, Manal" userId="8b130982-2e3f-4164-b881-fd3a2e4b2453" providerId="ADAL" clId="{4457FA57-250B-44AC-8655-05D46C5A3D8A}" dt="2023-05-18T11:07:22.282" v="3277" actId="1076"/>
          <ac:grpSpMkLst>
            <pc:docMk/>
            <pc:sldMk cId="3629079265" sldId="264"/>
            <ac:grpSpMk id="6" creationId="{785CA3A5-1869-4DB3-BEF4-85FCB58A29BF}"/>
          </ac:grpSpMkLst>
        </pc:grpChg>
        <pc:grpChg chg="add del mod">
          <ac:chgData name="El Bakkouri, Manal" userId="8b130982-2e3f-4164-b881-fd3a2e4b2453" providerId="ADAL" clId="{4457FA57-250B-44AC-8655-05D46C5A3D8A}" dt="2023-05-16T17:13:24.987" v="1096" actId="478"/>
          <ac:grpSpMkLst>
            <pc:docMk/>
            <pc:sldMk cId="3629079265" sldId="264"/>
            <ac:grpSpMk id="24" creationId="{19C89CFD-1FC6-4446-B92C-70741D7AC08C}"/>
          </ac:grpSpMkLst>
        </pc:grpChg>
        <pc:grpChg chg="add mod">
          <ac:chgData name="El Bakkouri, Manal" userId="8b130982-2e3f-4164-b881-fd3a2e4b2453" providerId="ADAL" clId="{4457FA57-250B-44AC-8655-05D46C5A3D8A}" dt="2023-05-31T13:48:52.595" v="14824" actId="165"/>
          <ac:grpSpMkLst>
            <pc:docMk/>
            <pc:sldMk cId="3629079265" sldId="264"/>
            <ac:grpSpMk id="34" creationId="{3AFC308C-50EC-4AFE-8F4E-94461F7A93BB}"/>
          </ac:grpSpMkLst>
        </pc:grpChg>
        <pc:grpChg chg="add mod topLvl">
          <ac:chgData name="El Bakkouri, Manal" userId="8b130982-2e3f-4164-b881-fd3a2e4b2453" providerId="ADAL" clId="{4457FA57-250B-44AC-8655-05D46C5A3D8A}" dt="2023-05-31T13:50:41.036" v="14863" actId="1036"/>
          <ac:grpSpMkLst>
            <pc:docMk/>
            <pc:sldMk cId="3629079265" sldId="264"/>
            <ac:grpSpMk id="44" creationId="{0D169CCF-AEAA-44E1-AA5D-453CF60257D8}"/>
          </ac:grpSpMkLst>
        </pc:grpChg>
        <pc:grpChg chg="add del mod">
          <ac:chgData name="El Bakkouri, Manal" userId="8b130982-2e3f-4164-b881-fd3a2e4b2453" providerId="ADAL" clId="{4457FA57-250B-44AC-8655-05D46C5A3D8A}" dt="2023-05-16T17:17:57.219" v="1129" actId="165"/>
          <ac:grpSpMkLst>
            <pc:docMk/>
            <pc:sldMk cId="3629079265" sldId="264"/>
            <ac:grpSpMk id="60" creationId="{B495FECE-1692-4410-9F79-EEE539C40754}"/>
          </ac:grpSpMkLst>
        </pc:grpChg>
        <pc:grpChg chg="add mod topLvl">
          <ac:chgData name="El Bakkouri, Manal" userId="8b130982-2e3f-4164-b881-fd3a2e4b2453" providerId="ADAL" clId="{4457FA57-250B-44AC-8655-05D46C5A3D8A}" dt="2023-05-18T11:07:17.574" v="3276" actId="164"/>
          <ac:grpSpMkLst>
            <pc:docMk/>
            <pc:sldMk cId="3629079265" sldId="264"/>
            <ac:grpSpMk id="92" creationId="{DCBD3C9B-AE62-4FB7-B94D-CA0AB0AE1344}"/>
          </ac:grpSpMkLst>
        </pc:grpChg>
        <pc:grpChg chg="add del mod">
          <ac:chgData name="El Bakkouri, Manal" userId="8b130982-2e3f-4164-b881-fd3a2e4b2453" providerId="ADAL" clId="{4457FA57-250B-44AC-8655-05D46C5A3D8A}" dt="2023-05-17T10:31:51.909" v="1660" actId="165"/>
          <ac:grpSpMkLst>
            <pc:docMk/>
            <pc:sldMk cId="3629079265" sldId="264"/>
            <ac:grpSpMk id="96" creationId="{828B8ED9-7849-4541-8C6B-DCDCB59A844C}"/>
          </ac:grpSpMkLst>
        </pc:grpChg>
        <pc:grpChg chg="add del mod">
          <ac:chgData name="El Bakkouri, Manal" userId="8b130982-2e3f-4164-b881-fd3a2e4b2453" providerId="ADAL" clId="{4457FA57-250B-44AC-8655-05D46C5A3D8A}" dt="2023-05-16T17:31:32.681" v="1332" actId="165"/>
          <ac:grpSpMkLst>
            <pc:docMk/>
            <pc:sldMk cId="3629079265" sldId="264"/>
            <ac:grpSpMk id="97" creationId="{BF65F5AF-F4C3-4AAF-99D7-A3A6C16B2C34}"/>
          </ac:grpSpMkLst>
        </pc:grpChg>
        <pc:grpChg chg="add del mod ord">
          <ac:chgData name="El Bakkouri, Manal" userId="8b130982-2e3f-4164-b881-fd3a2e4b2453" providerId="ADAL" clId="{4457FA57-250B-44AC-8655-05D46C5A3D8A}" dt="2023-05-16T17:34:25.690" v="1344" actId="165"/>
          <ac:grpSpMkLst>
            <pc:docMk/>
            <pc:sldMk cId="3629079265" sldId="264"/>
            <ac:grpSpMk id="98" creationId="{A8B76CD3-8819-4852-B90B-904DA19E8F12}"/>
          </ac:grpSpMkLst>
        </pc:grpChg>
        <pc:grpChg chg="add del mod">
          <ac:chgData name="El Bakkouri, Manal" userId="8b130982-2e3f-4164-b881-fd3a2e4b2453" providerId="ADAL" clId="{4457FA57-250B-44AC-8655-05D46C5A3D8A}" dt="2023-05-17T10:11:08.395" v="1441" actId="165"/>
          <ac:grpSpMkLst>
            <pc:docMk/>
            <pc:sldMk cId="3629079265" sldId="264"/>
            <ac:grpSpMk id="220" creationId="{16DAB78E-A2B0-432B-A995-FD9FE2D5EE40}"/>
          </ac:grpSpMkLst>
        </pc:grpChg>
        <pc:grpChg chg="add del mod topLvl">
          <ac:chgData name="El Bakkouri, Manal" userId="8b130982-2e3f-4164-b881-fd3a2e4b2453" providerId="ADAL" clId="{4457FA57-250B-44AC-8655-05D46C5A3D8A}" dt="2023-05-17T10:34:13.541" v="1667" actId="165"/>
          <ac:grpSpMkLst>
            <pc:docMk/>
            <pc:sldMk cId="3629079265" sldId="264"/>
            <ac:grpSpMk id="221" creationId="{360769CE-5E83-4DEC-94EF-6E419F59BAC8}"/>
          </ac:grpSpMkLst>
        </pc:grpChg>
        <pc:grpChg chg="add del mod">
          <ac:chgData name="El Bakkouri, Manal" userId="8b130982-2e3f-4164-b881-fd3a2e4b2453" providerId="ADAL" clId="{4457FA57-250B-44AC-8655-05D46C5A3D8A}" dt="2023-05-17T10:33:03.412" v="1662" actId="165"/>
          <ac:grpSpMkLst>
            <pc:docMk/>
            <pc:sldMk cId="3629079265" sldId="264"/>
            <ac:grpSpMk id="222" creationId="{DD7EB739-3E01-4E39-B418-3239A937862F}"/>
          </ac:grpSpMkLst>
        </pc:grpChg>
        <pc:grpChg chg="add mod topLvl">
          <ac:chgData name="El Bakkouri, Manal" userId="8b130982-2e3f-4164-b881-fd3a2e4b2453" providerId="ADAL" clId="{4457FA57-250B-44AC-8655-05D46C5A3D8A}" dt="2023-05-31T13:50:47.592" v="14885" actId="1035"/>
          <ac:grpSpMkLst>
            <pc:docMk/>
            <pc:sldMk cId="3629079265" sldId="264"/>
            <ac:grpSpMk id="223" creationId="{2C0E759C-ED3B-450F-922E-81FC94A50BDC}"/>
          </ac:grpSpMkLst>
        </pc:grpChg>
        <pc:grpChg chg="add mod topLvl">
          <ac:chgData name="El Bakkouri, Manal" userId="8b130982-2e3f-4164-b881-fd3a2e4b2453" providerId="ADAL" clId="{4457FA57-250B-44AC-8655-05D46C5A3D8A}" dt="2023-05-31T13:50:47.592" v="14885" actId="1035"/>
          <ac:grpSpMkLst>
            <pc:docMk/>
            <pc:sldMk cId="3629079265" sldId="264"/>
            <ac:grpSpMk id="224" creationId="{7078C3DA-86FC-48A2-8233-DB526AB1C689}"/>
          </ac:grpSpMkLst>
        </pc:grpChg>
        <pc:grpChg chg="add mod topLvl">
          <ac:chgData name="El Bakkouri, Manal" userId="8b130982-2e3f-4164-b881-fd3a2e4b2453" providerId="ADAL" clId="{4457FA57-250B-44AC-8655-05D46C5A3D8A}" dt="2023-05-31T13:50:47.592" v="14885" actId="1035"/>
          <ac:grpSpMkLst>
            <pc:docMk/>
            <pc:sldMk cId="3629079265" sldId="264"/>
            <ac:grpSpMk id="225" creationId="{F517A6F1-4A33-4596-8782-1E657A21CD39}"/>
          </ac:grpSpMkLst>
        </pc:grpChg>
        <pc:grpChg chg="add mod topLvl">
          <ac:chgData name="El Bakkouri, Manal" userId="8b130982-2e3f-4164-b881-fd3a2e4b2453" providerId="ADAL" clId="{4457FA57-250B-44AC-8655-05D46C5A3D8A}" dt="2023-05-31T13:50:47.592" v="14885" actId="1035"/>
          <ac:grpSpMkLst>
            <pc:docMk/>
            <pc:sldMk cId="3629079265" sldId="264"/>
            <ac:grpSpMk id="226" creationId="{0DB58912-3F6D-45D0-B32B-3D61A8CF4183}"/>
          </ac:grpSpMkLst>
        </pc:grpChg>
        <pc:grpChg chg="add mod topLvl">
          <ac:chgData name="El Bakkouri, Manal" userId="8b130982-2e3f-4164-b881-fd3a2e4b2453" providerId="ADAL" clId="{4457FA57-250B-44AC-8655-05D46C5A3D8A}" dt="2023-05-31T13:50:47.592" v="14885" actId="1035"/>
          <ac:grpSpMkLst>
            <pc:docMk/>
            <pc:sldMk cId="3629079265" sldId="264"/>
            <ac:grpSpMk id="227" creationId="{3B83764E-4369-4767-AF91-33D11006F085}"/>
          </ac:grpSpMkLst>
        </pc:grpChg>
        <pc:grpChg chg="add del mod">
          <ac:chgData name="El Bakkouri, Manal" userId="8b130982-2e3f-4164-b881-fd3a2e4b2453" providerId="ADAL" clId="{4457FA57-250B-44AC-8655-05D46C5A3D8A}" dt="2023-05-31T13:48:52.595" v="14824" actId="165"/>
          <ac:grpSpMkLst>
            <pc:docMk/>
            <pc:sldMk cId="3629079265" sldId="264"/>
            <ac:grpSpMk id="231" creationId="{F84CCD02-0A95-4D77-888F-32EDF5ACC175}"/>
          </ac:grpSpMkLst>
        </pc:grpChg>
        <pc:grpChg chg="add mod">
          <ac:chgData name="El Bakkouri, Manal" userId="8b130982-2e3f-4164-b881-fd3a2e4b2453" providerId="ADAL" clId="{4457FA57-250B-44AC-8655-05D46C5A3D8A}" dt="2023-05-18T11:06:16.952" v="3266" actId="164"/>
          <ac:grpSpMkLst>
            <pc:docMk/>
            <pc:sldMk cId="3629079265" sldId="264"/>
            <ac:grpSpMk id="235" creationId="{AC0BA867-8D00-45A9-962B-F49587D47D10}"/>
          </ac:grpSpMkLst>
        </pc:grpChg>
        <pc:grpChg chg="add mod">
          <ac:chgData name="El Bakkouri, Manal" userId="8b130982-2e3f-4164-b881-fd3a2e4b2453" providerId="ADAL" clId="{4457FA57-250B-44AC-8655-05D46C5A3D8A}" dt="2023-05-18T11:20:25.187" v="3610" actId="1076"/>
          <ac:grpSpMkLst>
            <pc:docMk/>
            <pc:sldMk cId="3629079265" sldId="264"/>
            <ac:grpSpMk id="236" creationId="{C9CE6CF6-DFF1-45B6-AFDA-C3B4E5CEFA1B}"/>
          </ac:grpSpMkLst>
        </pc:grpChg>
        <pc:grpChg chg="mod">
          <ac:chgData name="El Bakkouri, Manal" userId="8b130982-2e3f-4164-b881-fd3a2e4b2453" providerId="ADAL" clId="{4457FA57-250B-44AC-8655-05D46C5A3D8A}" dt="2023-05-18T11:20:19.457" v="3609"/>
          <ac:grpSpMkLst>
            <pc:docMk/>
            <pc:sldMk cId="3629079265" sldId="264"/>
            <ac:grpSpMk id="339" creationId="{4F162C20-83F9-4F7E-B3D7-7418B85A9668}"/>
          </ac:grpSpMkLst>
        </pc:grpChg>
        <pc:picChg chg="add mod">
          <ac:chgData name="El Bakkouri, Manal" userId="8b130982-2e3f-4164-b881-fd3a2e4b2453" providerId="ADAL" clId="{4457FA57-250B-44AC-8655-05D46C5A3D8A}" dt="2023-05-18T11:07:28.091" v="3291" actId="1036"/>
          <ac:picMkLst>
            <pc:docMk/>
            <pc:sldMk cId="3629079265" sldId="264"/>
            <ac:picMk id="4" creationId="{4B59B698-8FD0-4574-A7F2-86213F718AED}"/>
          </ac:picMkLst>
        </pc:picChg>
        <pc:picChg chg="mod">
          <ac:chgData name="El Bakkouri, Manal" userId="8b130982-2e3f-4164-b881-fd3a2e4b2453" providerId="ADAL" clId="{4457FA57-250B-44AC-8655-05D46C5A3D8A}" dt="2023-05-17T10:31:51.909" v="1660" actId="165"/>
          <ac:picMkLst>
            <pc:docMk/>
            <pc:sldMk cId="3629079265" sldId="264"/>
            <ac:picMk id="93" creationId="{5BBA6724-0D65-451C-B65F-E8E7ED729C9D}"/>
          </ac:picMkLst>
        </pc:picChg>
        <pc:picChg chg="add del mod ord">
          <ac:chgData name="El Bakkouri, Manal" userId="8b130982-2e3f-4164-b881-fd3a2e4b2453" providerId="ADAL" clId="{4457FA57-250B-44AC-8655-05D46C5A3D8A}" dt="2023-05-17T10:30:58.801" v="1656" actId="478"/>
          <ac:picMkLst>
            <pc:docMk/>
            <pc:sldMk cId="3629079265" sldId="264"/>
            <ac:picMk id="234" creationId="{7BAD5829-AD17-4F7D-B8F4-7CCC95769593}"/>
          </ac:picMkLst>
        </pc:picChg>
        <pc:cxnChg chg="add mod">
          <ac:chgData name="El Bakkouri, Manal" userId="8b130982-2e3f-4164-b881-fd3a2e4b2453" providerId="ADAL" clId="{4457FA57-250B-44AC-8655-05D46C5A3D8A}" dt="2023-05-18T11:07:48.262" v="3365" actId="1036"/>
          <ac:cxnSpMkLst>
            <pc:docMk/>
            <pc:sldMk cId="3629079265" sldId="264"/>
            <ac:cxnSpMk id="219" creationId="{FC22B434-FE38-4E69-8120-61D80FAD6E91}"/>
          </ac:cxnSpMkLst>
        </pc:cxnChg>
        <pc:cxnChg chg="add mod">
          <ac:chgData name="El Bakkouri, Manal" userId="8b130982-2e3f-4164-b881-fd3a2e4b2453" providerId="ADAL" clId="{4457FA57-250B-44AC-8655-05D46C5A3D8A}" dt="2023-05-18T11:07:28.091" v="3291" actId="1036"/>
          <ac:cxnSpMkLst>
            <pc:docMk/>
            <pc:sldMk cId="3629079265" sldId="264"/>
            <ac:cxnSpMk id="229" creationId="{635B23EC-37F6-4B9F-96EC-61FD7CF34B59}"/>
          </ac:cxnSpMkLst>
        </pc:cxnChg>
      </pc:sldChg>
      <pc:sldChg chg="addSp delSp modSp new del mod">
        <pc:chgData name="El Bakkouri, Manal" userId="8b130982-2e3f-4164-b881-fd3a2e4b2453" providerId="ADAL" clId="{4457FA57-250B-44AC-8655-05D46C5A3D8A}" dt="2023-05-19T08:16:40.907" v="4646" actId="2696"/>
        <pc:sldMkLst>
          <pc:docMk/>
          <pc:sldMk cId="3503403913" sldId="265"/>
        </pc:sldMkLst>
        <pc:spChg chg="del">
          <ac:chgData name="El Bakkouri, Manal" userId="8b130982-2e3f-4164-b881-fd3a2e4b2453" providerId="ADAL" clId="{4457FA57-250B-44AC-8655-05D46C5A3D8A}" dt="2023-05-16T17:15:04.077" v="1106" actId="478"/>
          <ac:spMkLst>
            <pc:docMk/>
            <pc:sldMk cId="3503403913" sldId="265"/>
            <ac:spMk id="2" creationId="{D07BBAC7-0141-415C-B692-E9D9FBA5D2A0}"/>
          </ac:spMkLst>
        </pc:spChg>
        <pc:spChg chg="del">
          <ac:chgData name="El Bakkouri, Manal" userId="8b130982-2e3f-4164-b881-fd3a2e4b2453" providerId="ADAL" clId="{4457FA57-250B-44AC-8655-05D46C5A3D8A}" dt="2023-05-16T17:15:04.939" v="1107" actId="478"/>
          <ac:spMkLst>
            <pc:docMk/>
            <pc:sldMk cId="3503403913" sldId="265"/>
            <ac:spMk id="3" creationId="{9CEAE03C-77B2-48ED-8385-FF058F6A79F9}"/>
          </ac:spMkLst>
        </pc:spChg>
        <pc:spChg chg="del">
          <ac:chgData name="El Bakkouri, Manal" userId="8b130982-2e3f-4164-b881-fd3a2e4b2453" providerId="ADAL" clId="{4457FA57-250B-44AC-8655-05D46C5A3D8A}" dt="2023-05-16T17:15:06.465" v="1108" actId="478"/>
          <ac:spMkLst>
            <pc:docMk/>
            <pc:sldMk cId="3503403913" sldId="265"/>
            <ac:spMk id="4" creationId="{4F2B293E-9B00-4841-9B93-351E6C02E0EF}"/>
          </ac:spMkLst>
        </pc:spChg>
        <pc:spChg chg="add del mod">
          <ac:chgData name="El Bakkouri, Manal" userId="8b130982-2e3f-4164-b881-fd3a2e4b2453" providerId="ADAL" clId="{4457FA57-250B-44AC-8655-05D46C5A3D8A}" dt="2023-05-16T17:16:13.017" v="1112" actId="478"/>
          <ac:spMkLst>
            <pc:docMk/>
            <pc:sldMk cId="3503403913" sldId="265"/>
            <ac:spMk id="5" creationId="{E68AF944-8111-464F-9A8C-B3A7BADCBAA8}"/>
          </ac:spMkLst>
        </pc:spChg>
        <pc:spChg chg="mod">
          <ac:chgData name="El Bakkouri, Manal" userId="8b130982-2e3f-4164-b881-fd3a2e4b2453" providerId="ADAL" clId="{4457FA57-250B-44AC-8655-05D46C5A3D8A}" dt="2023-05-16T17:15:28.398" v="1111"/>
          <ac:spMkLst>
            <pc:docMk/>
            <pc:sldMk cId="3503403913" sldId="265"/>
            <ac:spMk id="7" creationId="{31F881CE-BFCA-48A1-9946-760C95BE83A8}"/>
          </ac:spMkLst>
        </pc:spChg>
        <pc:spChg chg="mod">
          <ac:chgData name="El Bakkouri, Manal" userId="8b130982-2e3f-4164-b881-fd3a2e4b2453" providerId="ADAL" clId="{4457FA57-250B-44AC-8655-05D46C5A3D8A}" dt="2023-05-16T17:15:28.398" v="1111"/>
          <ac:spMkLst>
            <pc:docMk/>
            <pc:sldMk cId="3503403913" sldId="265"/>
            <ac:spMk id="8" creationId="{36B690EC-AE91-4462-92A9-F9D676759A19}"/>
          </ac:spMkLst>
        </pc:spChg>
        <pc:spChg chg="mod">
          <ac:chgData name="El Bakkouri, Manal" userId="8b130982-2e3f-4164-b881-fd3a2e4b2453" providerId="ADAL" clId="{4457FA57-250B-44AC-8655-05D46C5A3D8A}" dt="2023-05-16T17:15:28.398" v="1111"/>
          <ac:spMkLst>
            <pc:docMk/>
            <pc:sldMk cId="3503403913" sldId="265"/>
            <ac:spMk id="9" creationId="{8C2E49AE-4AAC-4388-BBA4-CAA3A504603F}"/>
          </ac:spMkLst>
        </pc:spChg>
        <pc:spChg chg="mod">
          <ac:chgData name="El Bakkouri, Manal" userId="8b130982-2e3f-4164-b881-fd3a2e4b2453" providerId="ADAL" clId="{4457FA57-250B-44AC-8655-05D46C5A3D8A}" dt="2023-05-16T17:15:28.398" v="1111"/>
          <ac:spMkLst>
            <pc:docMk/>
            <pc:sldMk cId="3503403913" sldId="265"/>
            <ac:spMk id="10" creationId="{910DA193-7C26-4466-A07D-726741869AC4}"/>
          </ac:spMkLst>
        </pc:spChg>
        <pc:spChg chg="mod">
          <ac:chgData name="El Bakkouri, Manal" userId="8b130982-2e3f-4164-b881-fd3a2e4b2453" providerId="ADAL" clId="{4457FA57-250B-44AC-8655-05D46C5A3D8A}" dt="2023-05-16T17:15:28.398" v="1111"/>
          <ac:spMkLst>
            <pc:docMk/>
            <pc:sldMk cId="3503403913" sldId="265"/>
            <ac:spMk id="11" creationId="{D3C5C3F0-A41D-45B2-8310-BADE8F9B97FB}"/>
          </ac:spMkLst>
        </pc:spChg>
        <pc:spChg chg="mod">
          <ac:chgData name="El Bakkouri, Manal" userId="8b130982-2e3f-4164-b881-fd3a2e4b2453" providerId="ADAL" clId="{4457FA57-250B-44AC-8655-05D46C5A3D8A}" dt="2023-05-16T17:15:28.398" v="1111"/>
          <ac:spMkLst>
            <pc:docMk/>
            <pc:sldMk cId="3503403913" sldId="265"/>
            <ac:spMk id="12" creationId="{AE8D36BA-F6D9-4C03-AEF0-E1B3615B147C}"/>
          </ac:spMkLst>
        </pc:spChg>
        <pc:spChg chg="mod">
          <ac:chgData name="El Bakkouri, Manal" userId="8b130982-2e3f-4164-b881-fd3a2e4b2453" providerId="ADAL" clId="{4457FA57-250B-44AC-8655-05D46C5A3D8A}" dt="2023-05-16T17:15:28.398" v="1111"/>
          <ac:spMkLst>
            <pc:docMk/>
            <pc:sldMk cId="3503403913" sldId="265"/>
            <ac:spMk id="13" creationId="{DCD41A49-E729-4A39-9929-C1735278BBB9}"/>
          </ac:spMkLst>
        </pc:spChg>
        <pc:spChg chg="mod">
          <ac:chgData name="El Bakkouri, Manal" userId="8b130982-2e3f-4164-b881-fd3a2e4b2453" providerId="ADAL" clId="{4457FA57-250B-44AC-8655-05D46C5A3D8A}" dt="2023-05-16T17:15:28.398" v="1111"/>
          <ac:spMkLst>
            <pc:docMk/>
            <pc:sldMk cId="3503403913" sldId="265"/>
            <ac:spMk id="14" creationId="{484717EE-0136-4112-89E9-25A9A04D1F94}"/>
          </ac:spMkLst>
        </pc:spChg>
        <pc:grpChg chg="add del mod">
          <ac:chgData name="El Bakkouri, Manal" userId="8b130982-2e3f-4164-b881-fd3a2e4b2453" providerId="ADAL" clId="{4457FA57-250B-44AC-8655-05D46C5A3D8A}" dt="2023-05-16T17:16:14.631" v="1113" actId="478"/>
          <ac:grpSpMkLst>
            <pc:docMk/>
            <pc:sldMk cId="3503403913" sldId="265"/>
            <ac:grpSpMk id="6" creationId="{705706F5-1B70-4F7A-9316-FD075F5C6BBB}"/>
          </ac:grpSpMkLst>
        </pc:grpChg>
        <pc:picChg chg="add">
          <ac:chgData name="El Bakkouri, Manal" userId="8b130982-2e3f-4164-b881-fd3a2e4b2453" providerId="ADAL" clId="{4457FA57-250B-44AC-8655-05D46C5A3D8A}" dt="2023-05-16T17:16:15.680" v="1114" actId="22"/>
          <ac:picMkLst>
            <pc:docMk/>
            <pc:sldMk cId="3503403913" sldId="265"/>
            <ac:picMk id="16" creationId="{41033610-D337-4A88-A725-3F306B67FC31}"/>
          </ac:picMkLst>
        </pc:picChg>
      </pc:sldChg>
      <pc:sldChg chg="addSp delSp modSp new del mod">
        <pc:chgData name="El Bakkouri, Manal" userId="8b130982-2e3f-4164-b881-fd3a2e4b2453" providerId="ADAL" clId="{4457FA57-250B-44AC-8655-05D46C5A3D8A}" dt="2023-05-19T08:16:32.022" v="4644" actId="2696"/>
        <pc:sldMkLst>
          <pc:docMk/>
          <pc:sldMk cId="2286230808" sldId="266"/>
        </pc:sldMkLst>
        <pc:spChg chg="del">
          <ac:chgData name="El Bakkouri, Manal" userId="8b130982-2e3f-4164-b881-fd3a2e4b2453" providerId="ADAL" clId="{4457FA57-250B-44AC-8655-05D46C5A3D8A}" dt="2023-05-16T17:21:11.973" v="1152" actId="478"/>
          <ac:spMkLst>
            <pc:docMk/>
            <pc:sldMk cId="2286230808" sldId="266"/>
            <ac:spMk id="2" creationId="{25F40546-DC70-4DFA-AC68-2BDC64DC80D0}"/>
          </ac:spMkLst>
        </pc:spChg>
        <pc:spChg chg="del">
          <ac:chgData name="El Bakkouri, Manal" userId="8b130982-2e3f-4164-b881-fd3a2e4b2453" providerId="ADAL" clId="{4457FA57-250B-44AC-8655-05D46C5A3D8A}" dt="2023-05-16T17:21:13.516" v="1153" actId="478"/>
          <ac:spMkLst>
            <pc:docMk/>
            <pc:sldMk cId="2286230808" sldId="266"/>
            <ac:spMk id="3" creationId="{284EE788-0E2E-4A57-B6E3-2FC62A988B11}"/>
          </ac:spMkLst>
        </pc:spChg>
        <pc:spChg chg="add mod">
          <ac:chgData name="El Bakkouri, Manal" userId="8b130982-2e3f-4164-b881-fd3a2e4b2453" providerId="ADAL" clId="{4457FA57-250B-44AC-8655-05D46C5A3D8A}" dt="2023-05-16T17:21:44.709" v="1156" actId="207"/>
          <ac:spMkLst>
            <pc:docMk/>
            <pc:sldMk cId="2286230808" sldId="266"/>
            <ac:spMk id="5" creationId="{7204A0D6-DD5B-4E7E-BA10-DC052FF10204}"/>
          </ac:spMkLst>
        </pc:spChg>
        <pc:spChg chg="add mod">
          <ac:chgData name="El Bakkouri, Manal" userId="8b130982-2e3f-4164-b881-fd3a2e4b2453" providerId="ADAL" clId="{4457FA57-250B-44AC-8655-05D46C5A3D8A}" dt="2023-05-16T17:21:44.709" v="1156" actId="207"/>
          <ac:spMkLst>
            <pc:docMk/>
            <pc:sldMk cId="2286230808" sldId="266"/>
            <ac:spMk id="6" creationId="{6E28E8B6-6F1D-433E-BB9E-234DEAE2A368}"/>
          </ac:spMkLst>
        </pc:spChg>
        <pc:spChg chg="add mod">
          <ac:chgData name="El Bakkouri, Manal" userId="8b130982-2e3f-4164-b881-fd3a2e4b2453" providerId="ADAL" clId="{4457FA57-250B-44AC-8655-05D46C5A3D8A}" dt="2023-05-16T17:21:44.709" v="1156" actId="207"/>
          <ac:spMkLst>
            <pc:docMk/>
            <pc:sldMk cId="2286230808" sldId="266"/>
            <ac:spMk id="7" creationId="{564B326B-29D7-42A6-A3EF-2DE73F524A4C}"/>
          </ac:spMkLst>
        </pc:spChg>
        <pc:spChg chg="add mod">
          <ac:chgData name="El Bakkouri, Manal" userId="8b130982-2e3f-4164-b881-fd3a2e4b2453" providerId="ADAL" clId="{4457FA57-250B-44AC-8655-05D46C5A3D8A}" dt="2023-05-16T17:21:44.709" v="1156" actId="207"/>
          <ac:spMkLst>
            <pc:docMk/>
            <pc:sldMk cId="2286230808" sldId="266"/>
            <ac:spMk id="8" creationId="{46778DB8-8772-46D1-A27A-648D07493040}"/>
          </ac:spMkLst>
        </pc:spChg>
        <pc:spChg chg="add mod">
          <ac:chgData name="El Bakkouri, Manal" userId="8b130982-2e3f-4164-b881-fd3a2e4b2453" providerId="ADAL" clId="{4457FA57-250B-44AC-8655-05D46C5A3D8A}" dt="2023-05-16T17:21:44.709" v="1156" actId="207"/>
          <ac:spMkLst>
            <pc:docMk/>
            <pc:sldMk cId="2286230808" sldId="266"/>
            <ac:spMk id="9" creationId="{3EDCF1D9-B9FA-499E-AF0C-BEC038B2E678}"/>
          </ac:spMkLst>
        </pc:spChg>
        <pc:spChg chg="add mod">
          <ac:chgData name="El Bakkouri, Manal" userId="8b130982-2e3f-4164-b881-fd3a2e4b2453" providerId="ADAL" clId="{4457FA57-250B-44AC-8655-05D46C5A3D8A}" dt="2023-05-16T17:21:44.709" v="1156" actId="207"/>
          <ac:spMkLst>
            <pc:docMk/>
            <pc:sldMk cId="2286230808" sldId="266"/>
            <ac:spMk id="10" creationId="{52FB463D-8FDA-4977-A4BD-56722153EEBD}"/>
          </ac:spMkLst>
        </pc:spChg>
        <pc:spChg chg="add mod">
          <ac:chgData name="El Bakkouri, Manal" userId="8b130982-2e3f-4164-b881-fd3a2e4b2453" providerId="ADAL" clId="{4457FA57-250B-44AC-8655-05D46C5A3D8A}" dt="2023-05-16T17:21:44.709" v="1156" actId="207"/>
          <ac:spMkLst>
            <pc:docMk/>
            <pc:sldMk cId="2286230808" sldId="266"/>
            <ac:spMk id="11" creationId="{F104D434-A6B2-4EA0-AA08-01D15CE94DEB}"/>
          </ac:spMkLst>
        </pc:spChg>
        <pc:spChg chg="add mod">
          <ac:chgData name="El Bakkouri, Manal" userId="8b130982-2e3f-4164-b881-fd3a2e4b2453" providerId="ADAL" clId="{4457FA57-250B-44AC-8655-05D46C5A3D8A}" dt="2023-05-16T17:21:44.709" v="1156" actId="207"/>
          <ac:spMkLst>
            <pc:docMk/>
            <pc:sldMk cId="2286230808" sldId="266"/>
            <ac:spMk id="12" creationId="{E21091F9-2E43-4F55-879C-B9312F8208E7}"/>
          </ac:spMkLst>
        </pc:spChg>
        <pc:spChg chg="add mod">
          <ac:chgData name="El Bakkouri, Manal" userId="8b130982-2e3f-4164-b881-fd3a2e4b2453" providerId="ADAL" clId="{4457FA57-250B-44AC-8655-05D46C5A3D8A}" dt="2023-05-16T17:21:44.709" v="1156" actId="207"/>
          <ac:spMkLst>
            <pc:docMk/>
            <pc:sldMk cId="2286230808" sldId="266"/>
            <ac:spMk id="13" creationId="{F1670A44-B100-444E-975D-63A6C8096AF6}"/>
          </ac:spMkLst>
        </pc:spChg>
        <pc:spChg chg="add mod">
          <ac:chgData name="El Bakkouri, Manal" userId="8b130982-2e3f-4164-b881-fd3a2e4b2453" providerId="ADAL" clId="{4457FA57-250B-44AC-8655-05D46C5A3D8A}" dt="2023-05-16T17:21:44.709" v="1156" actId="207"/>
          <ac:spMkLst>
            <pc:docMk/>
            <pc:sldMk cId="2286230808" sldId="266"/>
            <ac:spMk id="14" creationId="{7B8734A8-BE06-44FA-8D6E-A2941CCC016A}"/>
          </ac:spMkLst>
        </pc:spChg>
        <pc:spChg chg="add mod">
          <ac:chgData name="El Bakkouri, Manal" userId="8b130982-2e3f-4164-b881-fd3a2e4b2453" providerId="ADAL" clId="{4457FA57-250B-44AC-8655-05D46C5A3D8A}" dt="2023-05-16T17:21:44.709" v="1156" actId="207"/>
          <ac:spMkLst>
            <pc:docMk/>
            <pc:sldMk cId="2286230808" sldId="266"/>
            <ac:spMk id="15" creationId="{15162D40-AAFC-4DAE-A909-AD456390EDF8}"/>
          </ac:spMkLst>
        </pc:spChg>
        <pc:spChg chg="add mod">
          <ac:chgData name="El Bakkouri, Manal" userId="8b130982-2e3f-4164-b881-fd3a2e4b2453" providerId="ADAL" clId="{4457FA57-250B-44AC-8655-05D46C5A3D8A}" dt="2023-05-16T17:21:44.709" v="1156" actId="207"/>
          <ac:spMkLst>
            <pc:docMk/>
            <pc:sldMk cId="2286230808" sldId="266"/>
            <ac:spMk id="16" creationId="{26CBD12D-5382-4DA9-B486-CE5B29825043}"/>
          </ac:spMkLst>
        </pc:spChg>
        <pc:spChg chg="add mod">
          <ac:chgData name="El Bakkouri, Manal" userId="8b130982-2e3f-4164-b881-fd3a2e4b2453" providerId="ADAL" clId="{4457FA57-250B-44AC-8655-05D46C5A3D8A}" dt="2023-05-16T17:21:44.709" v="1156" actId="207"/>
          <ac:spMkLst>
            <pc:docMk/>
            <pc:sldMk cId="2286230808" sldId="266"/>
            <ac:spMk id="17" creationId="{984FF8BC-22F3-49E4-A207-72B5B6545ABD}"/>
          </ac:spMkLst>
        </pc:spChg>
        <pc:spChg chg="add mod">
          <ac:chgData name="El Bakkouri, Manal" userId="8b130982-2e3f-4164-b881-fd3a2e4b2453" providerId="ADAL" clId="{4457FA57-250B-44AC-8655-05D46C5A3D8A}" dt="2023-05-16T17:21:44.709" v="1156" actId="207"/>
          <ac:spMkLst>
            <pc:docMk/>
            <pc:sldMk cId="2286230808" sldId="266"/>
            <ac:spMk id="18" creationId="{41F9B1FE-536C-41D3-BB2B-CAC28FF933A7}"/>
          </ac:spMkLst>
        </pc:spChg>
        <pc:spChg chg="add mod">
          <ac:chgData name="El Bakkouri, Manal" userId="8b130982-2e3f-4164-b881-fd3a2e4b2453" providerId="ADAL" clId="{4457FA57-250B-44AC-8655-05D46C5A3D8A}" dt="2023-05-16T17:21:44.709" v="1156" actId="207"/>
          <ac:spMkLst>
            <pc:docMk/>
            <pc:sldMk cId="2286230808" sldId="266"/>
            <ac:spMk id="19" creationId="{EFFB24E1-C777-4F1D-A76E-757E41E4ABB5}"/>
          </ac:spMkLst>
        </pc:spChg>
        <pc:spChg chg="add mod">
          <ac:chgData name="El Bakkouri, Manal" userId="8b130982-2e3f-4164-b881-fd3a2e4b2453" providerId="ADAL" clId="{4457FA57-250B-44AC-8655-05D46C5A3D8A}" dt="2023-05-16T17:21:44.709" v="1156" actId="207"/>
          <ac:spMkLst>
            <pc:docMk/>
            <pc:sldMk cId="2286230808" sldId="266"/>
            <ac:spMk id="20" creationId="{5F69CA29-01DF-4AAF-8F7B-3C02DFE32AF0}"/>
          </ac:spMkLst>
        </pc:spChg>
        <pc:spChg chg="add mod">
          <ac:chgData name="El Bakkouri, Manal" userId="8b130982-2e3f-4164-b881-fd3a2e4b2453" providerId="ADAL" clId="{4457FA57-250B-44AC-8655-05D46C5A3D8A}" dt="2023-05-16T17:21:44.709" v="1156" actId="207"/>
          <ac:spMkLst>
            <pc:docMk/>
            <pc:sldMk cId="2286230808" sldId="266"/>
            <ac:spMk id="21" creationId="{31367D81-600A-41F8-A054-E4D40B1F40DC}"/>
          </ac:spMkLst>
        </pc:spChg>
        <pc:spChg chg="add mod">
          <ac:chgData name="El Bakkouri, Manal" userId="8b130982-2e3f-4164-b881-fd3a2e4b2453" providerId="ADAL" clId="{4457FA57-250B-44AC-8655-05D46C5A3D8A}" dt="2023-05-16T17:21:44.709" v="1156" actId="207"/>
          <ac:spMkLst>
            <pc:docMk/>
            <pc:sldMk cId="2286230808" sldId="266"/>
            <ac:spMk id="22" creationId="{FACE2654-0F70-43EB-9D02-6BE6D5E57592}"/>
          </ac:spMkLst>
        </pc:spChg>
        <pc:spChg chg="add mod">
          <ac:chgData name="El Bakkouri, Manal" userId="8b130982-2e3f-4164-b881-fd3a2e4b2453" providerId="ADAL" clId="{4457FA57-250B-44AC-8655-05D46C5A3D8A}" dt="2023-05-16T17:21:44.709" v="1156" actId="207"/>
          <ac:spMkLst>
            <pc:docMk/>
            <pc:sldMk cId="2286230808" sldId="266"/>
            <ac:spMk id="23" creationId="{DB099848-6423-4B85-A4E8-0B9537833EDE}"/>
          </ac:spMkLst>
        </pc:spChg>
        <pc:spChg chg="add mod">
          <ac:chgData name="El Bakkouri, Manal" userId="8b130982-2e3f-4164-b881-fd3a2e4b2453" providerId="ADAL" clId="{4457FA57-250B-44AC-8655-05D46C5A3D8A}" dt="2023-05-16T17:21:44.709" v="1156" actId="207"/>
          <ac:spMkLst>
            <pc:docMk/>
            <pc:sldMk cId="2286230808" sldId="266"/>
            <ac:spMk id="24" creationId="{1A9B491D-707A-4697-80B8-5CD21C87DEA3}"/>
          </ac:spMkLst>
        </pc:spChg>
        <pc:spChg chg="add mod">
          <ac:chgData name="El Bakkouri, Manal" userId="8b130982-2e3f-4164-b881-fd3a2e4b2453" providerId="ADAL" clId="{4457FA57-250B-44AC-8655-05D46C5A3D8A}" dt="2023-05-16T17:22:11.282" v="1160" actId="207"/>
          <ac:spMkLst>
            <pc:docMk/>
            <pc:sldMk cId="2286230808" sldId="266"/>
            <ac:spMk id="25" creationId="{5BB34355-B197-4D74-A9EB-85A7330D0708}"/>
          </ac:spMkLst>
        </pc:spChg>
        <pc:spChg chg="add mod">
          <ac:chgData name="El Bakkouri, Manal" userId="8b130982-2e3f-4164-b881-fd3a2e4b2453" providerId="ADAL" clId="{4457FA57-250B-44AC-8655-05D46C5A3D8A}" dt="2023-05-16T17:21:44.709" v="1156" actId="207"/>
          <ac:spMkLst>
            <pc:docMk/>
            <pc:sldMk cId="2286230808" sldId="266"/>
            <ac:spMk id="26" creationId="{7C364D62-0770-4ADF-9DFE-7311B9610AC8}"/>
          </ac:spMkLst>
        </pc:spChg>
        <pc:spChg chg="add mod">
          <ac:chgData name="El Bakkouri, Manal" userId="8b130982-2e3f-4164-b881-fd3a2e4b2453" providerId="ADAL" clId="{4457FA57-250B-44AC-8655-05D46C5A3D8A}" dt="2023-05-16T17:21:44.709" v="1156" actId="207"/>
          <ac:spMkLst>
            <pc:docMk/>
            <pc:sldMk cId="2286230808" sldId="266"/>
            <ac:spMk id="27" creationId="{4C651D38-4A29-4769-8B90-56ADD59995D3}"/>
          </ac:spMkLst>
        </pc:spChg>
        <pc:spChg chg="add mod">
          <ac:chgData name="El Bakkouri, Manal" userId="8b130982-2e3f-4164-b881-fd3a2e4b2453" providerId="ADAL" clId="{4457FA57-250B-44AC-8655-05D46C5A3D8A}" dt="2023-05-16T17:21:44.709" v="1156" actId="207"/>
          <ac:spMkLst>
            <pc:docMk/>
            <pc:sldMk cId="2286230808" sldId="266"/>
            <ac:spMk id="28" creationId="{177EB0E6-6980-402F-9E4B-36D1DAF2725D}"/>
          </ac:spMkLst>
        </pc:spChg>
        <pc:spChg chg="add mod">
          <ac:chgData name="El Bakkouri, Manal" userId="8b130982-2e3f-4164-b881-fd3a2e4b2453" providerId="ADAL" clId="{4457FA57-250B-44AC-8655-05D46C5A3D8A}" dt="2023-05-16T17:21:44.709" v="1156" actId="207"/>
          <ac:spMkLst>
            <pc:docMk/>
            <pc:sldMk cId="2286230808" sldId="266"/>
            <ac:spMk id="29" creationId="{0CC53832-C0D7-479B-99B2-770AF287219A}"/>
          </ac:spMkLst>
        </pc:spChg>
        <pc:spChg chg="add mod">
          <ac:chgData name="El Bakkouri, Manal" userId="8b130982-2e3f-4164-b881-fd3a2e4b2453" providerId="ADAL" clId="{4457FA57-250B-44AC-8655-05D46C5A3D8A}" dt="2023-05-16T17:21:44.709" v="1156" actId="207"/>
          <ac:spMkLst>
            <pc:docMk/>
            <pc:sldMk cId="2286230808" sldId="266"/>
            <ac:spMk id="30" creationId="{69ECB41C-57A1-455C-9F52-3220F3460D96}"/>
          </ac:spMkLst>
        </pc:spChg>
        <pc:spChg chg="add mod">
          <ac:chgData name="El Bakkouri, Manal" userId="8b130982-2e3f-4164-b881-fd3a2e4b2453" providerId="ADAL" clId="{4457FA57-250B-44AC-8655-05D46C5A3D8A}" dt="2023-05-16T17:21:44.709" v="1156" actId="207"/>
          <ac:spMkLst>
            <pc:docMk/>
            <pc:sldMk cId="2286230808" sldId="266"/>
            <ac:spMk id="31" creationId="{9DF9A928-CE24-4A2D-BC70-FEF646315D2F}"/>
          </ac:spMkLst>
        </pc:spChg>
        <pc:spChg chg="add mod">
          <ac:chgData name="El Bakkouri, Manal" userId="8b130982-2e3f-4164-b881-fd3a2e4b2453" providerId="ADAL" clId="{4457FA57-250B-44AC-8655-05D46C5A3D8A}" dt="2023-05-16T17:21:44.709" v="1156" actId="207"/>
          <ac:spMkLst>
            <pc:docMk/>
            <pc:sldMk cId="2286230808" sldId="266"/>
            <ac:spMk id="32" creationId="{6FFAC625-FFC3-4EF3-AC61-F4BF9003E13F}"/>
          </ac:spMkLst>
        </pc:spChg>
        <pc:spChg chg="add mod">
          <ac:chgData name="El Bakkouri, Manal" userId="8b130982-2e3f-4164-b881-fd3a2e4b2453" providerId="ADAL" clId="{4457FA57-250B-44AC-8655-05D46C5A3D8A}" dt="2023-05-16T17:21:44.709" v="1156" actId="207"/>
          <ac:spMkLst>
            <pc:docMk/>
            <pc:sldMk cId="2286230808" sldId="266"/>
            <ac:spMk id="33" creationId="{A9040D16-F915-431B-9DF6-C5C44870A8AE}"/>
          </ac:spMkLst>
        </pc:spChg>
        <pc:spChg chg="add mod">
          <ac:chgData name="El Bakkouri, Manal" userId="8b130982-2e3f-4164-b881-fd3a2e4b2453" providerId="ADAL" clId="{4457FA57-250B-44AC-8655-05D46C5A3D8A}" dt="2023-05-16T17:21:44.709" v="1156" actId="207"/>
          <ac:spMkLst>
            <pc:docMk/>
            <pc:sldMk cId="2286230808" sldId="266"/>
            <ac:spMk id="34" creationId="{E9D346C6-675C-47DE-8EE2-F6466C7D4383}"/>
          </ac:spMkLst>
        </pc:spChg>
        <pc:spChg chg="add mod">
          <ac:chgData name="El Bakkouri, Manal" userId="8b130982-2e3f-4164-b881-fd3a2e4b2453" providerId="ADAL" clId="{4457FA57-250B-44AC-8655-05D46C5A3D8A}" dt="2023-05-16T17:21:44.709" v="1156" actId="207"/>
          <ac:spMkLst>
            <pc:docMk/>
            <pc:sldMk cId="2286230808" sldId="266"/>
            <ac:spMk id="35" creationId="{795DFCBA-22CE-4870-AA5C-597F4354CE3C}"/>
          </ac:spMkLst>
        </pc:spChg>
        <pc:spChg chg="add mod">
          <ac:chgData name="El Bakkouri, Manal" userId="8b130982-2e3f-4164-b881-fd3a2e4b2453" providerId="ADAL" clId="{4457FA57-250B-44AC-8655-05D46C5A3D8A}" dt="2023-05-16T17:21:44.709" v="1156" actId="207"/>
          <ac:spMkLst>
            <pc:docMk/>
            <pc:sldMk cId="2286230808" sldId="266"/>
            <ac:spMk id="36" creationId="{ED12E526-4A20-4F70-BC3F-3E8849D988BE}"/>
          </ac:spMkLst>
        </pc:spChg>
        <pc:spChg chg="add mod">
          <ac:chgData name="El Bakkouri, Manal" userId="8b130982-2e3f-4164-b881-fd3a2e4b2453" providerId="ADAL" clId="{4457FA57-250B-44AC-8655-05D46C5A3D8A}" dt="2023-05-16T17:21:44.709" v="1156" actId="207"/>
          <ac:spMkLst>
            <pc:docMk/>
            <pc:sldMk cId="2286230808" sldId="266"/>
            <ac:spMk id="37" creationId="{EB8A3DE6-8224-440A-9812-5A900BBFEC6C}"/>
          </ac:spMkLst>
        </pc:spChg>
        <pc:spChg chg="add mod">
          <ac:chgData name="El Bakkouri, Manal" userId="8b130982-2e3f-4164-b881-fd3a2e4b2453" providerId="ADAL" clId="{4457FA57-250B-44AC-8655-05D46C5A3D8A}" dt="2023-05-16T17:21:44.709" v="1156" actId="207"/>
          <ac:spMkLst>
            <pc:docMk/>
            <pc:sldMk cId="2286230808" sldId="266"/>
            <ac:spMk id="38" creationId="{98591652-628A-49B7-90A0-BCC2C482356F}"/>
          </ac:spMkLst>
        </pc:spChg>
        <pc:spChg chg="add mod">
          <ac:chgData name="El Bakkouri, Manal" userId="8b130982-2e3f-4164-b881-fd3a2e4b2453" providerId="ADAL" clId="{4457FA57-250B-44AC-8655-05D46C5A3D8A}" dt="2023-05-16T17:21:44.709" v="1156" actId="207"/>
          <ac:spMkLst>
            <pc:docMk/>
            <pc:sldMk cId="2286230808" sldId="266"/>
            <ac:spMk id="39" creationId="{1D364799-6E9F-4F5A-B3C1-B6667F8CBBBE}"/>
          </ac:spMkLst>
        </pc:spChg>
        <pc:spChg chg="add mod">
          <ac:chgData name="El Bakkouri, Manal" userId="8b130982-2e3f-4164-b881-fd3a2e4b2453" providerId="ADAL" clId="{4457FA57-250B-44AC-8655-05D46C5A3D8A}" dt="2023-05-16T17:21:44.709" v="1156" actId="207"/>
          <ac:spMkLst>
            <pc:docMk/>
            <pc:sldMk cId="2286230808" sldId="266"/>
            <ac:spMk id="40" creationId="{479C611A-EB63-4878-97F7-D23D0BD02B9F}"/>
          </ac:spMkLst>
        </pc:spChg>
        <pc:spChg chg="add mod">
          <ac:chgData name="El Bakkouri, Manal" userId="8b130982-2e3f-4164-b881-fd3a2e4b2453" providerId="ADAL" clId="{4457FA57-250B-44AC-8655-05D46C5A3D8A}" dt="2023-05-16T17:21:44.709" v="1156" actId="207"/>
          <ac:spMkLst>
            <pc:docMk/>
            <pc:sldMk cId="2286230808" sldId="266"/>
            <ac:spMk id="41" creationId="{96921802-3DFE-4BE1-9842-77C49996D9EA}"/>
          </ac:spMkLst>
        </pc:spChg>
        <pc:spChg chg="add mod">
          <ac:chgData name="El Bakkouri, Manal" userId="8b130982-2e3f-4164-b881-fd3a2e4b2453" providerId="ADAL" clId="{4457FA57-250B-44AC-8655-05D46C5A3D8A}" dt="2023-05-16T17:21:44.709" v="1156" actId="207"/>
          <ac:spMkLst>
            <pc:docMk/>
            <pc:sldMk cId="2286230808" sldId="266"/>
            <ac:spMk id="42" creationId="{416130C7-2C37-46A7-8E9B-AEB6D2FC5435}"/>
          </ac:spMkLst>
        </pc:spChg>
        <pc:spChg chg="add mod">
          <ac:chgData name="El Bakkouri, Manal" userId="8b130982-2e3f-4164-b881-fd3a2e4b2453" providerId="ADAL" clId="{4457FA57-250B-44AC-8655-05D46C5A3D8A}" dt="2023-05-16T17:21:44.709" v="1156" actId="207"/>
          <ac:spMkLst>
            <pc:docMk/>
            <pc:sldMk cId="2286230808" sldId="266"/>
            <ac:spMk id="43" creationId="{72229D79-8740-432B-8731-6F4C9A4BBBD2}"/>
          </ac:spMkLst>
        </pc:spChg>
        <pc:spChg chg="add mod">
          <ac:chgData name="El Bakkouri, Manal" userId="8b130982-2e3f-4164-b881-fd3a2e4b2453" providerId="ADAL" clId="{4457FA57-250B-44AC-8655-05D46C5A3D8A}" dt="2023-05-16T17:21:44.709" v="1156" actId="207"/>
          <ac:spMkLst>
            <pc:docMk/>
            <pc:sldMk cId="2286230808" sldId="266"/>
            <ac:spMk id="44" creationId="{1287C7A9-D7E2-4A5F-AE96-ACE8A435F02F}"/>
          </ac:spMkLst>
        </pc:spChg>
        <pc:spChg chg="add mod">
          <ac:chgData name="El Bakkouri, Manal" userId="8b130982-2e3f-4164-b881-fd3a2e4b2453" providerId="ADAL" clId="{4457FA57-250B-44AC-8655-05D46C5A3D8A}" dt="2023-05-16T17:21:44.709" v="1156" actId="207"/>
          <ac:spMkLst>
            <pc:docMk/>
            <pc:sldMk cId="2286230808" sldId="266"/>
            <ac:spMk id="45" creationId="{4FBE522E-5A41-456D-A217-086834FEC2CA}"/>
          </ac:spMkLst>
        </pc:spChg>
        <pc:spChg chg="add mod">
          <ac:chgData name="El Bakkouri, Manal" userId="8b130982-2e3f-4164-b881-fd3a2e4b2453" providerId="ADAL" clId="{4457FA57-250B-44AC-8655-05D46C5A3D8A}" dt="2023-05-16T17:21:44.709" v="1156" actId="207"/>
          <ac:spMkLst>
            <pc:docMk/>
            <pc:sldMk cId="2286230808" sldId="266"/>
            <ac:spMk id="46" creationId="{29187AF7-C193-455A-98BA-7E38A4D49C42}"/>
          </ac:spMkLst>
        </pc:spChg>
        <pc:spChg chg="add mod">
          <ac:chgData name="El Bakkouri, Manal" userId="8b130982-2e3f-4164-b881-fd3a2e4b2453" providerId="ADAL" clId="{4457FA57-250B-44AC-8655-05D46C5A3D8A}" dt="2023-05-16T17:21:44.709" v="1156" actId="207"/>
          <ac:spMkLst>
            <pc:docMk/>
            <pc:sldMk cId="2286230808" sldId="266"/>
            <ac:spMk id="47" creationId="{F009827D-5122-455E-A261-57B82B322C82}"/>
          </ac:spMkLst>
        </pc:spChg>
        <pc:spChg chg="add mod">
          <ac:chgData name="El Bakkouri, Manal" userId="8b130982-2e3f-4164-b881-fd3a2e4b2453" providerId="ADAL" clId="{4457FA57-250B-44AC-8655-05D46C5A3D8A}" dt="2023-05-16T17:21:44.709" v="1156" actId="207"/>
          <ac:spMkLst>
            <pc:docMk/>
            <pc:sldMk cId="2286230808" sldId="266"/>
            <ac:spMk id="48" creationId="{CEC1EBEF-C650-4108-BE1C-F8AC21088F3D}"/>
          </ac:spMkLst>
        </pc:spChg>
        <pc:spChg chg="add mod">
          <ac:chgData name="El Bakkouri, Manal" userId="8b130982-2e3f-4164-b881-fd3a2e4b2453" providerId="ADAL" clId="{4457FA57-250B-44AC-8655-05D46C5A3D8A}" dt="2023-05-16T17:21:44.709" v="1156" actId="207"/>
          <ac:spMkLst>
            <pc:docMk/>
            <pc:sldMk cId="2286230808" sldId="266"/>
            <ac:spMk id="49" creationId="{D33376F2-6E24-4E85-A910-DCAB1F967D97}"/>
          </ac:spMkLst>
        </pc:spChg>
        <pc:spChg chg="add mod">
          <ac:chgData name="El Bakkouri, Manal" userId="8b130982-2e3f-4164-b881-fd3a2e4b2453" providerId="ADAL" clId="{4457FA57-250B-44AC-8655-05D46C5A3D8A}" dt="2023-05-16T17:21:44.709" v="1156" actId="207"/>
          <ac:spMkLst>
            <pc:docMk/>
            <pc:sldMk cId="2286230808" sldId="266"/>
            <ac:spMk id="50" creationId="{F5DEACF4-FD8B-4B89-A009-E6FC3D4B3BF6}"/>
          </ac:spMkLst>
        </pc:spChg>
        <pc:spChg chg="add mod">
          <ac:chgData name="El Bakkouri, Manal" userId="8b130982-2e3f-4164-b881-fd3a2e4b2453" providerId="ADAL" clId="{4457FA57-250B-44AC-8655-05D46C5A3D8A}" dt="2023-05-16T17:21:44.709" v="1156" actId="207"/>
          <ac:spMkLst>
            <pc:docMk/>
            <pc:sldMk cId="2286230808" sldId="266"/>
            <ac:spMk id="51" creationId="{717A2E57-F7DA-464A-BC84-2FA4FC881BAA}"/>
          </ac:spMkLst>
        </pc:spChg>
        <pc:spChg chg="add mod">
          <ac:chgData name="El Bakkouri, Manal" userId="8b130982-2e3f-4164-b881-fd3a2e4b2453" providerId="ADAL" clId="{4457FA57-250B-44AC-8655-05D46C5A3D8A}" dt="2023-05-16T17:21:44.709" v="1156" actId="207"/>
          <ac:spMkLst>
            <pc:docMk/>
            <pc:sldMk cId="2286230808" sldId="266"/>
            <ac:spMk id="52" creationId="{30CA1D59-AC59-401D-B2DB-B50E4371F4D3}"/>
          </ac:spMkLst>
        </pc:spChg>
        <pc:spChg chg="add mod">
          <ac:chgData name="El Bakkouri, Manal" userId="8b130982-2e3f-4164-b881-fd3a2e4b2453" providerId="ADAL" clId="{4457FA57-250B-44AC-8655-05D46C5A3D8A}" dt="2023-05-16T17:21:44.709" v="1156" actId="207"/>
          <ac:spMkLst>
            <pc:docMk/>
            <pc:sldMk cId="2286230808" sldId="266"/>
            <ac:spMk id="53" creationId="{F05FC3B8-A424-47FA-BE1F-AB5E0D6FA083}"/>
          </ac:spMkLst>
        </pc:spChg>
        <pc:spChg chg="add mod">
          <ac:chgData name="El Bakkouri, Manal" userId="8b130982-2e3f-4164-b881-fd3a2e4b2453" providerId="ADAL" clId="{4457FA57-250B-44AC-8655-05D46C5A3D8A}" dt="2023-05-16T17:21:44.709" v="1156" actId="207"/>
          <ac:spMkLst>
            <pc:docMk/>
            <pc:sldMk cId="2286230808" sldId="266"/>
            <ac:spMk id="54" creationId="{6BAD7B20-0ADF-4C6C-B544-E3B37456E8B8}"/>
          </ac:spMkLst>
        </pc:spChg>
        <pc:spChg chg="add mod">
          <ac:chgData name="El Bakkouri, Manal" userId="8b130982-2e3f-4164-b881-fd3a2e4b2453" providerId="ADAL" clId="{4457FA57-250B-44AC-8655-05D46C5A3D8A}" dt="2023-05-16T17:21:44.709" v="1156" actId="207"/>
          <ac:spMkLst>
            <pc:docMk/>
            <pc:sldMk cId="2286230808" sldId="266"/>
            <ac:spMk id="55" creationId="{9A6D6B07-7E36-459B-8A9A-7C496DD1559A}"/>
          </ac:spMkLst>
        </pc:spChg>
        <pc:spChg chg="add mod">
          <ac:chgData name="El Bakkouri, Manal" userId="8b130982-2e3f-4164-b881-fd3a2e4b2453" providerId="ADAL" clId="{4457FA57-250B-44AC-8655-05D46C5A3D8A}" dt="2023-05-16T17:21:44.709" v="1156" actId="207"/>
          <ac:spMkLst>
            <pc:docMk/>
            <pc:sldMk cId="2286230808" sldId="266"/>
            <ac:spMk id="56" creationId="{2AA5978E-EDA3-45A4-B02F-28511B200CFB}"/>
          </ac:spMkLst>
        </pc:spChg>
        <pc:spChg chg="add mod">
          <ac:chgData name="El Bakkouri, Manal" userId="8b130982-2e3f-4164-b881-fd3a2e4b2453" providerId="ADAL" clId="{4457FA57-250B-44AC-8655-05D46C5A3D8A}" dt="2023-05-16T17:21:44.709" v="1156" actId="207"/>
          <ac:spMkLst>
            <pc:docMk/>
            <pc:sldMk cId="2286230808" sldId="266"/>
            <ac:spMk id="57" creationId="{D9B40E08-93FE-4C69-A9CF-7421C77200C0}"/>
          </ac:spMkLst>
        </pc:spChg>
        <pc:spChg chg="add mod">
          <ac:chgData name="El Bakkouri, Manal" userId="8b130982-2e3f-4164-b881-fd3a2e4b2453" providerId="ADAL" clId="{4457FA57-250B-44AC-8655-05D46C5A3D8A}" dt="2023-05-16T17:21:44.709" v="1156" actId="207"/>
          <ac:spMkLst>
            <pc:docMk/>
            <pc:sldMk cId="2286230808" sldId="266"/>
            <ac:spMk id="58" creationId="{1E45C255-B06E-4E83-9585-79F1AD8CB497}"/>
          </ac:spMkLst>
        </pc:spChg>
        <pc:spChg chg="add mod">
          <ac:chgData name="El Bakkouri, Manal" userId="8b130982-2e3f-4164-b881-fd3a2e4b2453" providerId="ADAL" clId="{4457FA57-250B-44AC-8655-05D46C5A3D8A}" dt="2023-05-16T17:21:44.709" v="1156" actId="207"/>
          <ac:spMkLst>
            <pc:docMk/>
            <pc:sldMk cId="2286230808" sldId="266"/>
            <ac:spMk id="59" creationId="{54FFC2AF-1161-473D-9207-2081F62A1392}"/>
          </ac:spMkLst>
        </pc:spChg>
        <pc:spChg chg="add mod">
          <ac:chgData name="El Bakkouri, Manal" userId="8b130982-2e3f-4164-b881-fd3a2e4b2453" providerId="ADAL" clId="{4457FA57-250B-44AC-8655-05D46C5A3D8A}" dt="2023-05-16T17:21:44.709" v="1156" actId="207"/>
          <ac:spMkLst>
            <pc:docMk/>
            <pc:sldMk cId="2286230808" sldId="266"/>
            <ac:spMk id="60" creationId="{8E1067D2-600D-458C-B26D-D192B3A71C8D}"/>
          </ac:spMkLst>
        </pc:spChg>
        <pc:spChg chg="add mod">
          <ac:chgData name="El Bakkouri, Manal" userId="8b130982-2e3f-4164-b881-fd3a2e4b2453" providerId="ADAL" clId="{4457FA57-250B-44AC-8655-05D46C5A3D8A}" dt="2023-05-16T17:21:44.709" v="1156" actId="207"/>
          <ac:spMkLst>
            <pc:docMk/>
            <pc:sldMk cId="2286230808" sldId="266"/>
            <ac:spMk id="61" creationId="{60A79687-8CC3-4437-8179-C5CD5740876B}"/>
          </ac:spMkLst>
        </pc:spChg>
        <pc:spChg chg="add mod">
          <ac:chgData name="El Bakkouri, Manal" userId="8b130982-2e3f-4164-b881-fd3a2e4b2453" providerId="ADAL" clId="{4457FA57-250B-44AC-8655-05D46C5A3D8A}" dt="2023-05-16T17:21:44.709" v="1156" actId="207"/>
          <ac:spMkLst>
            <pc:docMk/>
            <pc:sldMk cId="2286230808" sldId="266"/>
            <ac:spMk id="62" creationId="{BB29CEB4-70D4-4342-94F1-582F5ECCB6C6}"/>
          </ac:spMkLst>
        </pc:spChg>
        <pc:spChg chg="add mod">
          <ac:chgData name="El Bakkouri, Manal" userId="8b130982-2e3f-4164-b881-fd3a2e4b2453" providerId="ADAL" clId="{4457FA57-250B-44AC-8655-05D46C5A3D8A}" dt="2023-05-16T17:21:44.709" v="1156" actId="207"/>
          <ac:spMkLst>
            <pc:docMk/>
            <pc:sldMk cId="2286230808" sldId="266"/>
            <ac:spMk id="63" creationId="{A154F4AD-AD96-4210-8DF4-C7E4613193F1}"/>
          </ac:spMkLst>
        </pc:spChg>
        <pc:spChg chg="add mod">
          <ac:chgData name="El Bakkouri, Manal" userId="8b130982-2e3f-4164-b881-fd3a2e4b2453" providerId="ADAL" clId="{4457FA57-250B-44AC-8655-05D46C5A3D8A}" dt="2023-05-16T17:21:44.709" v="1156" actId="207"/>
          <ac:spMkLst>
            <pc:docMk/>
            <pc:sldMk cId="2286230808" sldId="266"/>
            <ac:spMk id="64" creationId="{CCD5E9D6-86D5-4590-9315-289C30E5A719}"/>
          </ac:spMkLst>
        </pc:spChg>
        <pc:spChg chg="add del mod">
          <ac:chgData name="El Bakkouri, Manal" userId="8b130982-2e3f-4164-b881-fd3a2e4b2453" providerId="ADAL" clId="{4457FA57-250B-44AC-8655-05D46C5A3D8A}" dt="2023-05-16T17:23:15.278" v="1177" actId="478"/>
          <ac:spMkLst>
            <pc:docMk/>
            <pc:sldMk cId="2286230808" sldId="266"/>
            <ac:spMk id="65" creationId="{92401A4B-6C7B-4989-B9A2-AE8671758ECD}"/>
          </ac:spMkLst>
        </pc:spChg>
        <pc:spChg chg="add mod">
          <ac:chgData name="El Bakkouri, Manal" userId="8b130982-2e3f-4164-b881-fd3a2e4b2453" providerId="ADAL" clId="{4457FA57-250B-44AC-8655-05D46C5A3D8A}" dt="2023-05-16T17:21:44.709" v="1156" actId="207"/>
          <ac:spMkLst>
            <pc:docMk/>
            <pc:sldMk cId="2286230808" sldId="266"/>
            <ac:spMk id="66" creationId="{C0E93B23-7F91-4BF9-B958-EB86BC8CB674}"/>
          </ac:spMkLst>
        </pc:spChg>
        <pc:spChg chg="add mod">
          <ac:chgData name="El Bakkouri, Manal" userId="8b130982-2e3f-4164-b881-fd3a2e4b2453" providerId="ADAL" clId="{4457FA57-250B-44AC-8655-05D46C5A3D8A}" dt="2023-05-16T17:21:44.709" v="1156" actId="207"/>
          <ac:spMkLst>
            <pc:docMk/>
            <pc:sldMk cId="2286230808" sldId="266"/>
            <ac:spMk id="67" creationId="{F7C0EA7E-4D9A-4D67-85AC-F44B56E03CEF}"/>
          </ac:spMkLst>
        </pc:spChg>
        <pc:spChg chg="add mod">
          <ac:chgData name="El Bakkouri, Manal" userId="8b130982-2e3f-4164-b881-fd3a2e4b2453" providerId="ADAL" clId="{4457FA57-250B-44AC-8655-05D46C5A3D8A}" dt="2023-05-16T17:21:44.709" v="1156" actId="207"/>
          <ac:spMkLst>
            <pc:docMk/>
            <pc:sldMk cId="2286230808" sldId="266"/>
            <ac:spMk id="68" creationId="{D820CAD9-5140-4EC0-91B8-09EDBD3A85D6}"/>
          </ac:spMkLst>
        </pc:spChg>
        <pc:spChg chg="add mod">
          <ac:chgData name="El Bakkouri, Manal" userId="8b130982-2e3f-4164-b881-fd3a2e4b2453" providerId="ADAL" clId="{4457FA57-250B-44AC-8655-05D46C5A3D8A}" dt="2023-05-16T17:21:44.709" v="1156" actId="207"/>
          <ac:spMkLst>
            <pc:docMk/>
            <pc:sldMk cId="2286230808" sldId="266"/>
            <ac:spMk id="69" creationId="{71F73E95-1120-4756-8BA0-424F3B55B421}"/>
          </ac:spMkLst>
        </pc:spChg>
        <pc:spChg chg="add mod">
          <ac:chgData name="El Bakkouri, Manal" userId="8b130982-2e3f-4164-b881-fd3a2e4b2453" providerId="ADAL" clId="{4457FA57-250B-44AC-8655-05D46C5A3D8A}" dt="2023-05-16T17:21:44.709" v="1156" actId="207"/>
          <ac:spMkLst>
            <pc:docMk/>
            <pc:sldMk cId="2286230808" sldId="266"/>
            <ac:spMk id="70" creationId="{DE0645B9-342B-4C67-892D-A0F222FC5416}"/>
          </ac:spMkLst>
        </pc:spChg>
        <pc:spChg chg="add mod">
          <ac:chgData name="El Bakkouri, Manal" userId="8b130982-2e3f-4164-b881-fd3a2e4b2453" providerId="ADAL" clId="{4457FA57-250B-44AC-8655-05D46C5A3D8A}" dt="2023-05-16T17:22:11.282" v="1160" actId="207"/>
          <ac:spMkLst>
            <pc:docMk/>
            <pc:sldMk cId="2286230808" sldId="266"/>
            <ac:spMk id="71" creationId="{F39D5D67-5505-423E-826A-0887C2C8AA77}"/>
          </ac:spMkLst>
        </pc:spChg>
        <pc:spChg chg="add mod">
          <ac:chgData name="El Bakkouri, Manal" userId="8b130982-2e3f-4164-b881-fd3a2e4b2453" providerId="ADAL" clId="{4457FA57-250B-44AC-8655-05D46C5A3D8A}" dt="2023-05-16T17:21:44.709" v="1156" actId="207"/>
          <ac:spMkLst>
            <pc:docMk/>
            <pc:sldMk cId="2286230808" sldId="266"/>
            <ac:spMk id="72" creationId="{AE71AA98-D82C-48A7-A331-266983074EB9}"/>
          </ac:spMkLst>
        </pc:spChg>
        <pc:spChg chg="add mod">
          <ac:chgData name="El Bakkouri, Manal" userId="8b130982-2e3f-4164-b881-fd3a2e4b2453" providerId="ADAL" clId="{4457FA57-250B-44AC-8655-05D46C5A3D8A}" dt="2023-05-16T17:21:44.709" v="1156" actId="207"/>
          <ac:spMkLst>
            <pc:docMk/>
            <pc:sldMk cId="2286230808" sldId="266"/>
            <ac:spMk id="73" creationId="{48EABF67-0611-4D2E-8E21-372C136C7634}"/>
          </ac:spMkLst>
        </pc:spChg>
        <pc:spChg chg="add mod">
          <ac:chgData name="El Bakkouri, Manal" userId="8b130982-2e3f-4164-b881-fd3a2e4b2453" providerId="ADAL" clId="{4457FA57-250B-44AC-8655-05D46C5A3D8A}" dt="2023-05-16T17:21:44.709" v="1156" actId="207"/>
          <ac:spMkLst>
            <pc:docMk/>
            <pc:sldMk cId="2286230808" sldId="266"/>
            <ac:spMk id="74" creationId="{191979F8-98C6-4F57-8DEE-206BDB6B9E28}"/>
          </ac:spMkLst>
        </pc:spChg>
        <pc:spChg chg="add mod">
          <ac:chgData name="El Bakkouri, Manal" userId="8b130982-2e3f-4164-b881-fd3a2e4b2453" providerId="ADAL" clId="{4457FA57-250B-44AC-8655-05D46C5A3D8A}" dt="2023-05-16T17:21:44.709" v="1156" actId="207"/>
          <ac:spMkLst>
            <pc:docMk/>
            <pc:sldMk cId="2286230808" sldId="266"/>
            <ac:spMk id="75" creationId="{EA806F88-FC18-4819-AF3A-13D6F75325E6}"/>
          </ac:spMkLst>
        </pc:spChg>
        <pc:spChg chg="add mod">
          <ac:chgData name="El Bakkouri, Manal" userId="8b130982-2e3f-4164-b881-fd3a2e4b2453" providerId="ADAL" clId="{4457FA57-250B-44AC-8655-05D46C5A3D8A}" dt="2023-05-16T17:21:44.709" v="1156" actId="207"/>
          <ac:spMkLst>
            <pc:docMk/>
            <pc:sldMk cId="2286230808" sldId="266"/>
            <ac:spMk id="76" creationId="{7896B3D3-6F69-477B-BAF6-CF6621D6C2B7}"/>
          </ac:spMkLst>
        </pc:spChg>
        <pc:spChg chg="add mod">
          <ac:chgData name="El Bakkouri, Manal" userId="8b130982-2e3f-4164-b881-fd3a2e4b2453" providerId="ADAL" clId="{4457FA57-250B-44AC-8655-05D46C5A3D8A}" dt="2023-05-16T17:21:44.709" v="1156" actId="207"/>
          <ac:spMkLst>
            <pc:docMk/>
            <pc:sldMk cId="2286230808" sldId="266"/>
            <ac:spMk id="77" creationId="{C6429FF5-888B-4399-B770-8F02CE811676}"/>
          </ac:spMkLst>
        </pc:spChg>
        <pc:spChg chg="add mod">
          <ac:chgData name="El Bakkouri, Manal" userId="8b130982-2e3f-4164-b881-fd3a2e4b2453" providerId="ADAL" clId="{4457FA57-250B-44AC-8655-05D46C5A3D8A}" dt="2023-05-16T17:21:44.709" v="1156" actId="207"/>
          <ac:spMkLst>
            <pc:docMk/>
            <pc:sldMk cId="2286230808" sldId="266"/>
            <ac:spMk id="78" creationId="{76AD51E1-9EB8-4025-A34A-FB39C01A3C06}"/>
          </ac:spMkLst>
        </pc:spChg>
        <pc:spChg chg="add mod">
          <ac:chgData name="El Bakkouri, Manal" userId="8b130982-2e3f-4164-b881-fd3a2e4b2453" providerId="ADAL" clId="{4457FA57-250B-44AC-8655-05D46C5A3D8A}" dt="2023-05-16T17:21:44.709" v="1156" actId="207"/>
          <ac:spMkLst>
            <pc:docMk/>
            <pc:sldMk cId="2286230808" sldId="266"/>
            <ac:spMk id="79" creationId="{DB7AB223-26E9-436F-B552-23CF1C075003}"/>
          </ac:spMkLst>
        </pc:spChg>
        <pc:spChg chg="add mod">
          <ac:chgData name="El Bakkouri, Manal" userId="8b130982-2e3f-4164-b881-fd3a2e4b2453" providerId="ADAL" clId="{4457FA57-250B-44AC-8655-05D46C5A3D8A}" dt="2023-05-16T17:21:44.709" v="1156" actId="207"/>
          <ac:spMkLst>
            <pc:docMk/>
            <pc:sldMk cId="2286230808" sldId="266"/>
            <ac:spMk id="80" creationId="{AA1C96F6-2D02-4152-AAEB-EAF4CEB91948}"/>
          </ac:spMkLst>
        </pc:spChg>
        <pc:spChg chg="add mod">
          <ac:chgData name="El Bakkouri, Manal" userId="8b130982-2e3f-4164-b881-fd3a2e4b2453" providerId="ADAL" clId="{4457FA57-250B-44AC-8655-05D46C5A3D8A}" dt="2023-05-16T17:21:44.709" v="1156" actId="207"/>
          <ac:spMkLst>
            <pc:docMk/>
            <pc:sldMk cId="2286230808" sldId="266"/>
            <ac:spMk id="81" creationId="{F01A037F-8E8E-4A75-8EB7-E6CC984C3701}"/>
          </ac:spMkLst>
        </pc:spChg>
        <pc:spChg chg="add mod">
          <ac:chgData name="El Bakkouri, Manal" userId="8b130982-2e3f-4164-b881-fd3a2e4b2453" providerId="ADAL" clId="{4457FA57-250B-44AC-8655-05D46C5A3D8A}" dt="2023-05-16T17:21:44.709" v="1156" actId="207"/>
          <ac:spMkLst>
            <pc:docMk/>
            <pc:sldMk cId="2286230808" sldId="266"/>
            <ac:spMk id="82" creationId="{9E888D3F-EC4D-4115-B246-03181FCC4B0B}"/>
          </ac:spMkLst>
        </pc:spChg>
        <pc:spChg chg="add mod">
          <ac:chgData name="El Bakkouri, Manal" userId="8b130982-2e3f-4164-b881-fd3a2e4b2453" providerId="ADAL" clId="{4457FA57-250B-44AC-8655-05D46C5A3D8A}" dt="2023-05-16T17:21:44.709" v="1156" actId="207"/>
          <ac:spMkLst>
            <pc:docMk/>
            <pc:sldMk cId="2286230808" sldId="266"/>
            <ac:spMk id="83" creationId="{4CD8B5DB-A163-4604-9D22-C01BB0E20C07}"/>
          </ac:spMkLst>
        </pc:spChg>
        <pc:spChg chg="add mod">
          <ac:chgData name="El Bakkouri, Manal" userId="8b130982-2e3f-4164-b881-fd3a2e4b2453" providerId="ADAL" clId="{4457FA57-250B-44AC-8655-05D46C5A3D8A}" dt="2023-05-16T17:21:44.709" v="1156" actId="207"/>
          <ac:spMkLst>
            <pc:docMk/>
            <pc:sldMk cId="2286230808" sldId="266"/>
            <ac:spMk id="84" creationId="{FAC8FAEB-1794-415D-8062-0479A04FF939}"/>
          </ac:spMkLst>
        </pc:spChg>
        <pc:spChg chg="add mod">
          <ac:chgData name="El Bakkouri, Manal" userId="8b130982-2e3f-4164-b881-fd3a2e4b2453" providerId="ADAL" clId="{4457FA57-250B-44AC-8655-05D46C5A3D8A}" dt="2023-05-16T17:21:44.709" v="1156" actId="207"/>
          <ac:spMkLst>
            <pc:docMk/>
            <pc:sldMk cId="2286230808" sldId="266"/>
            <ac:spMk id="85" creationId="{6011D30A-004E-46A6-9C63-3255CC63DAB1}"/>
          </ac:spMkLst>
        </pc:spChg>
        <pc:spChg chg="add mod">
          <ac:chgData name="El Bakkouri, Manal" userId="8b130982-2e3f-4164-b881-fd3a2e4b2453" providerId="ADAL" clId="{4457FA57-250B-44AC-8655-05D46C5A3D8A}" dt="2023-05-16T17:21:44.709" v="1156" actId="207"/>
          <ac:spMkLst>
            <pc:docMk/>
            <pc:sldMk cId="2286230808" sldId="266"/>
            <ac:spMk id="86" creationId="{EAB26E8C-9DA7-4217-8BAC-91FF3682C23E}"/>
          </ac:spMkLst>
        </pc:spChg>
        <pc:spChg chg="add mod">
          <ac:chgData name="El Bakkouri, Manal" userId="8b130982-2e3f-4164-b881-fd3a2e4b2453" providerId="ADAL" clId="{4457FA57-250B-44AC-8655-05D46C5A3D8A}" dt="2023-05-16T17:21:44.709" v="1156" actId="207"/>
          <ac:spMkLst>
            <pc:docMk/>
            <pc:sldMk cId="2286230808" sldId="266"/>
            <ac:spMk id="87" creationId="{58373644-421E-456C-8AAF-9447533B00A9}"/>
          </ac:spMkLst>
        </pc:spChg>
        <pc:spChg chg="add mod">
          <ac:chgData name="El Bakkouri, Manal" userId="8b130982-2e3f-4164-b881-fd3a2e4b2453" providerId="ADAL" clId="{4457FA57-250B-44AC-8655-05D46C5A3D8A}" dt="2023-05-16T17:21:44.709" v="1156" actId="207"/>
          <ac:spMkLst>
            <pc:docMk/>
            <pc:sldMk cId="2286230808" sldId="266"/>
            <ac:spMk id="88" creationId="{CCD9DFDC-BDE2-4345-ADFA-466ED2561F66}"/>
          </ac:spMkLst>
        </pc:spChg>
        <pc:spChg chg="add mod">
          <ac:chgData name="El Bakkouri, Manal" userId="8b130982-2e3f-4164-b881-fd3a2e4b2453" providerId="ADAL" clId="{4457FA57-250B-44AC-8655-05D46C5A3D8A}" dt="2023-05-16T17:21:44.709" v="1156" actId="207"/>
          <ac:spMkLst>
            <pc:docMk/>
            <pc:sldMk cId="2286230808" sldId="266"/>
            <ac:spMk id="89" creationId="{1169300A-A00D-49C0-9A23-126CE7B94F6C}"/>
          </ac:spMkLst>
        </pc:spChg>
        <pc:spChg chg="add mod">
          <ac:chgData name="El Bakkouri, Manal" userId="8b130982-2e3f-4164-b881-fd3a2e4b2453" providerId="ADAL" clId="{4457FA57-250B-44AC-8655-05D46C5A3D8A}" dt="2023-05-16T17:21:44.709" v="1156" actId="207"/>
          <ac:spMkLst>
            <pc:docMk/>
            <pc:sldMk cId="2286230808" sldId="266"/>
            <ac:spMk id="90" creationId="{1A337E3D-D031-4B38-8D1C-8BE619A9FB53}"/>
          </ac:spMkLst>
        </pc:spChg>
        <pc:spChg chg="add mod">
          <ac:chgData name="El Bakkouri, Manal" userId="8b130982-2e3f-4164-b881-fd3a2e4b2453" providerId="ADAL" clId="{4457FA57-250B-44AC-8655-05D46C5A3D8A}" dt="2023-05-16T17:21:44.709" v="1156" actId="207"/>
          <ac:spMkLst>
            <pc:docMk/>
            <pc:sldMk cId="2286230808" sldId="266"/>
            <ac:spMk id="91" creationId="{36CBEFAA-10EB-47FC-AFAF-6F7DA503C412}"/>
          </ac:spMkLst>
        </pc:spChg>
        <pc:spChg chg="add mod">
          <ac:chgData name="El Bakkouri, Manal" userId="8b130982-2e3f-4164-b881-fd3a2e4b2453" providerId="ADAL" clId="{4457FA57-250B-44AC-8655-05D46C5A3D8A}" dt="2023-05-16T17:21:44.709" v="1156" actId="207"/>
          <ac:spMkLst>
            <pc:docMk/>
            <pc:sldMk cId="2286230808" sldId="266"/>
            <ac:spMk id="92" creationId="{3D3FFEAD-6C4C-4A5A-A3AE-50E88C9F44D0}"/>
          </ac:spMkLst>
        </pc:spChg>
        <pc:spChg chg="add mod">
          <ac:chgData name="El Bakkouri, Manal" userId="8b130982-2e3f-4164-b881-fd3a2e4b2453" providerId="ADAL" clId="{4457FA57-250B-44AC-8655-05D46C5A3D8A}" dt="2023-05-16T17:21:44.709" v="1156" actId="207"/>
          <ac:spMkLst>
            <pc:docMk/>
            <pc:sldMk cId="2286230808" sldId="266"/>
            <ac:spMk id="93" creationId="{1E8129D1-68BE-4C9F-A58E-3069491F0BF2}"/>
          </ac:spMkLst>
        </pc:spChg>
        <pc:spChg chg="add mod">
          <ac:chgData name="El Bakkouri, Manal" userId="8b130982-2e3f-4164-b881-fd3a2e4b2453" providerId="ADAL" clId="{4457FA57-250B-44AC-8655-05D46C5A3D8A}" dt="2023-05-16T17:21:44.709" v="1156" actId="207"/>
          <ac:spMkLst>
            <pc:docMk/>
            <pc:sldMk cId="2286230808" sldId="266"/>
            <ac:spMk id="94" creationId="{5EC733AB-C1DB-4199-803E-F9B7498D2087}"/>
          </ac:spMkLst>
        </pc:spChg>
        <pc:spChg chg="add mod">
          <ac:chgData name="El Bakkouri, Manal" userId="8b130982-2e3f-4164-b881-fd3a2e4b2453" providerId="ADAL" clId="{4457FA57-250B-44AC-8655-05D46C5A3D8A}" dt="2023-05-16T17:21:44.709" v="1156" actId="207"/>
          <ac:spMkLst>
            <pc:docMk/>
            <pc:sldMk cId="2286230808" sldId="266"/>
            <ac:spMk id="95" creationId="{68B24B18-E4B1-41DC-B905-227F8337C319}"/>
          </ac:spMkLst>
        </pc:spChg>
        <pc:spChg chg="add mod">
          <ac:chgData name="El Bakkouri, Manal" userId="8b130982-2e3f-4164-b881-fd3a2e4b2453" providerId="ADAL" clId="{4457FA57-250B-44AC-8655-05D46C5A3D8A}" dt="2023-05-16T17:21:44.709" v="1156" actId="207"/>
          <ac:spMkLst>
            <pc:docMk/>
            <pc:sldMk cId="2286230808" sldId="266"/>
            <ac:spMk id="96" creationId="{EC5C6445-E1B1-4B67-BB00-79367F435C80}"/>
          </ac:spMkLst>
        </pc:spChg>
        <pc:spChg chg="add mod">
          <ac:chgData name="El Bakkouri, Manal" userId="8b130982-2e3f-4164-b881-fd3a2e4b2453" providerId="ADAL" clId="{4457FA57-250B-44AC-8655-05D46C5A3D8A}" dt="2023-05-16T17:21:44.709" v="1156" actId="207"/>
          <ac:spMkLst>
            <pc:docMk/>
            <pc:sldMk cId="2286230808" sldId="266"/>
            <ac:spMk id="97" creationId="{1313CC60-EFFC-4B62-8E9B-F067DECC2570}"/>
          </ac:spMkLst>
        </pc:spChg>
        <pc:spChg chg="add mod">
          <ac:chgData name="El Bakkouri, Manal" userId="8b130982-2e3f-4164-b881-fd3a2e4b2453" providerId="ADAL" clId="{4457FA57-250B-44AC-8655-05D46C5A3D8A}" dt="2023-05-16T17:21:44.709" v="1156" actId="207"/>
          <ac:spMkLst>
            <pc:docMk/>
            <pc:sldMk cId="2286230808" sldId="266"/>
            <ac:spMk id="98" creationId="{9FC5CCFD-44F1-4764-8850-552767903307}"/>
          </ac:spMkLst>
        </pc:spChg>
        <pc:spChg chg="add mod">
          <ac:chgData name="El Bakkouri, Manal" userId="8b130982-2e3f-4164-b881-fd3a2e4b2453" providerId="ADAL" clId="{4457FA57-250B-44AC-8655-05D46C5A3D8A}" dt="2023-05-16T17:21:44.709" v="1156" actId="207"/>
          <ac:spMkLst>
            <pc:docMk/>
            <pc:sldMk cId="2286230808" sldId="266"/>
            <ac:spMk id="99" creationId="{CA5F048A-DA3B-454B-AA9D-9981F4CE684E}"/>
          </ac:spMkLst>
        </pc:spChg>
        <pc:spChg chg="add mod">
          <ac:chgData name="El Bakkouri, Manal" userId="8b130982-2e3f-4164-b881-fd3a2e4b2453" providerId="ADAL" clId="{4457FA57-250B-44AC-8655-05D46C5A3D8A}" dt="2023-05-16T17:21:44.709" v="1156" actId="207"/>
          <ac:spMkLst>
            <pc:docMk/>
            <pc:sldMk cId="2286230808" sldId="266"/>
            <ac:spMk id="100" creationId="{F55A5952-BB89-41AA-A1F4-8EF9FF6C3298}"/>
          </ac:spMkLst>
        </pc:spChg>
        <pc:spChg chg="add mod">
          <ac:chgData name="El Bakkouri, Manal" userId="8b130982-2e3f-4164-b881-fd3a2e4b2453" providerId="ADAL" clId="{4457FA57-250B-44AC-8655-05D46C5A3D8A}" dt="2023-05-16T17:21:44.709" v="1156" actId="207"/>
          <ac:spMkLst>
            <pc:docMk/>
            <pc:sldMk cId="2286230808" sldId="266"/>
            <ac:spMk id="101" creationId="{218EDE2F-E6B1-4952-8B29-BA9D4289407D}"/>
          </ac:spMkLst>
        </pc:spChg>
        <pc:spChg chg="add mod">
          <ac:chgData name="El Bakkouri, Manal" userId="8b130982-2e3f-4164-b881-fd3a2e4b2453" providerId="ADAL" clId="{4457FA57-250B-44AC-8655-05D46C5A3D8A}" dt="2023-05-16T17:21:44.709" v="1156" actId="207"/>
          <ac:spMkLst>
            <pc:docMk/>
            <pc:sldMk cId="2286230808" sldId="266"/>
            <ac:spMk id="102" creationId="{FB1FB3B0-3279-48E3-BD25-0BFFAED7A98A}"/>
          </ac:spMkLst>
        </pc:spChg>
        <pc:spChg chg="add mod">
          <ac:chgData name="El Bakkouri, Manal" userId="8b130982-2e3f-4164-b881-fd3a2e4b2453" providerId="ADAL" clId="{4457FA57-250B-44AC-8655-05D46C5A3D8A}" dt="2023-05-16T17:21:44.709" v="1156" actId="207"/>
          <ac:spMkLst>
            <pc:docMk/>
            <pc:sldMk cId="2286230808" sldId="266"/>
            <ac:spMk id="103" creationId="{6324A523-02AD-423A-913D-48D49BAE72EC}"/>
          </ac:spMkLst>
        </pc:spChg>
        <pc:spChg chg="add mod">
          <ac:chgData name="El Bakkouri, Manal" userId="8b130982-2e3f-4164-b881-fd3a2e4b2453" providerId="ADAL" clId="{4457FA57-250B-44AC-8655-05D46C5A3D8A}" dt="2023-05-16T17:21:44.709" v="1156" actId="207"/>
          <ac:spMkLst>
            <pc:docMk/>
            <pc:sldMk cId="2286230808" sldId="266"/>
            <ac:spMk id="104" creationId="{643A6560-F2A5-4BE4-98B6-C0815D823791}"/>
          </ac:spMkLst>
        </pc:spChg>
        <pc:spChg chg="add mod">
          <ac:chgData name="El Bakkouri, Manal" userId="8b130982-2e3f-4164-b881-fd3a2e4b2453" providerId="ADAL" clId="{4457FA57-250B-44AC-8655-05D46C5A3D8A}" dt="2023-05-16T17:21:44.709" v="1156" actId="207"/>
          <ac:spMkLst>
            <pc:docMk/>
            <pc:sldMk cId="2286230808" sldId="266"/>
            <ac:spMk id="105" creationId="{A08E93D1-F2AD-488B-99C4-663FB4DA8741}"/>
          </ac:spMkLst>
        </pc:spChg>
        <pc:spChg chg="add mod">
          <ac:chgData name="El Bakkouri, Manal" userId="8b130982-2e3f-4164-b881-fd3a2e4b2453" providerId="ADAL" clId="{4457FA57-250B-44AC-8655-05D46C5A3D8A}" dt="2023-05-16T17:21:44.709" v="1156" actId="207"/>
          <ac:spMkLst>
            <pc:docMk/>
            <pc:sldMk cId="2286230808" sldId="266"/>
            <ac:spMk id="106" creationId="{6EEE9987-4695-4707-B721-7F797AC74885}"/>
          </ac:spMkLst>
        </pc:spChg>
        <pc:spChg chg="add mod">
          <ac:chgData name="El Bakkouri, Manal" userId="8b130982-2e3f-4164-b881-fd3a2e4b2453" providerId="ADAL" clId="{4457FA57-250B-44AC-8655-05D46C5A3D8A}" dt="2023-05-16T17:21:44.709" v="1156" actId="207"/>
          <ac:spMkLst>
            <pc:docMk/>
            <pc:sldMk cId="2286230808" sldId="266"/>
            <ac:spMk id="107" creationId="{69E33EE0-8EFB-41CB-85AA-4658B6178E86}"/>
          </ac:spMkLst>
        </pc:spChg>
        <pc:spChg chg="add mod">
          <ac:chgData name="El Bakkouri, Manal" userId="8b130982-2e3f-4164-b881-fd3a2e4b2453" providerId="ADAL" clId="{4457FA57-250B-44AC-8655-05D46C5A3D8A}" dt="2023-05-16T17:21:44.709" v="1156" actId="207"/>
          <ac:spMkLst>
            <pc:docMk/>
            <pc:sldMk cId="2286230808" sldId="266"/>
            <ac:spMk id="108" creationId="{D66AA6CE-9F24-4265-ADD0-4B4D8CAF8528}"/>
          </ac:spMkLst>
        </pc:spChg>
        <pc:spChg chg="add mod">
          <ac:chgData name="El Bakkouri, Manal" userId="8b130982-2e3f-4164-b881-fd3a2e4b2453" providerId="ADAL" clId="{4457FA57-250B-44AC-8655-05D46C5A3D8A}" dt="2023-05-16T17:21:44.709" v="1156" actId="207"/>
          <ac:spMkLst>
            <pc:docMk/>
            <pc:sldMk cId="2286230808" sldId="266"/>
            <ac:spMk id="109" creationId="{BBB55B0D-D2B2-4608-89DC-B01DC98D435E}"/>
          </ac:spMkLst>
        </pc:spChg>
        <pc:spChg chg="add mod">
          <ac:chgData name="El Bakkouri, Manal" userId="8b130982-2e3f-4164-b881-fd3a2e4b2453" providerId="ADAL" clId="{4457FA57-250B-44AC-8655-05D46C5A3D8A}" dt="2023-05-16T17:21:44.709" v="1156" actId="207"/>
          <ac:spMkLst>
            <pc:docMk/>
            <pc:sldMk cId="2286230808" sldId="266"/>
            <ac:spMk id="110" creationId="{74636515-FA99-4DEC-A261-44B06D71C7E9}"/>
          </ac:spMkLst>
        </pc:spChg>
        <pc:spChg chg="add mod">
          <ac:chgData name="El Bakkouri, Manal" userId="8b130982-2e3f-4164-b881-fd3a2e4b2453" providerId="ADAL" clId="{4457FA57-250B-44AC-8655-05D46C5A3D8A}" dt="2023-05-16T17:21:44.709" v="1156" actId="207"/>
          <ac:spMkLst>
            <pc:docMk/>
            <pc:sldMk cId="2286230808" sldId="266"/>
            <ac:spMk id="111" creationId="{1A79B11F-C7B5-4173-BE29-7F34F174F175}"/>
          </ac:spMkLst>
        </pc:spChg>
        <pc:spChg chg="add mod">
          <ac:chgData name="El Bakkouri, Manal" userId="8b130982-2e3f-4164-b881-fd3a2e4b2453" providerId="ADAL" clId="{4457FA57-250B-44AC-8655-05D46C5A3D8A}" dt="2023-05-16T17:21:44.709" v="1156" actId="207"/>
          <ac:spMkLst>
            <pc:docMk/>
            <pc:sldMk cId="2286230808" sldId="266"/>
            <ac:spMk id="112" creationId="{38211399-3AAD-4F13-B661-BB8055F37DE6}"/>
          </ac:spMkLst>
        </pc:spChg>
        <pc:spChg chg="add mod">
          <ac:chgData name="El Bakkouri, Manal" userId="8b130982-2e3f-4164-b881-fd3a2e4b2453" providerId="ADAL" clId="{4457FA57-250B-44AC-8655-05D46C5A3D8A}" dt="2023-05-16T17:21:44.709" v="1156" actId="207"/>
          <ac:spMkLst>
            <pc:docMk/>
            <pc:sldMk cId="2286230808" sldId="266"/>
            <ac:spMk id="113" creationId="{994A8CB4-94D6-4F59-A2FB-B378F4249110}"/>
          </ac:spMkLst>
        </pc:spChg>
        <pc:spChg chg="add mod">
          <ac:chgData name="El Bakkouri, Manal" userId="8b130982-2e3f-4164-b881-fd3a2e4b2453" providerId="ADAL" clId="{4457FA57-250B-44AC-8655-05D46C5A3D8A}" dt="2023-05-16T17:21:44.709" v="1156" actId="207"/>
          <ac:spMkLst>
            <pc:docMk/>
            <pc:sldMk cId="2286230808" sldId="266"/>
            <ac:spMk id="114" creationId="{30EDBC0D-BC08-4028-8A54-53A1D638EEC5}"/>
          </ac:spMkLst>
        </pc:spChg>
        <pc:spChg chg="add mod">
          <ac:chgData name="El Bakkouri, Manal" userId="8b130982-2e3f-4164-b881-fd3a2e4b2453" providerId="ADAL" clId="{4457FA57-250B-44AC-8655-05D46C5A3D8A}" dt="2023-05-16T17:21:44.709" v="1156" actId="207"/>
          <ac:spMkLst>
            <pc:docMk/>
            <pc:sldMk cId="2286230808" sldId="266"/>
            <ac:spMk id="115" creationId="{5303412E-82AB-4352-8BA3-C338BD7F0B02}"/>
          </ac:spMkLst>
        </pc:spChg>
        <pc:spChg chg="add mod">
          <ac:chgData name="El Bakkouri, Manal" userId="8b130982-2e3f-4164-b881-fd3a2e4b2453" providerId="ADAL" clId="{4457FA57-250B-44AC-8655-05D46C5A3D8A}" dt="2023-05-16T17:21:44.709" v="1156" actId="207"/>
          <ac:spMkLst>
            <pc:docMk/>
            <pc:sldMk cId="2286230808" sldId="266"/>
            <ac:spMk id="116" creationId="{7CF34F46-457B-4BB0-A965-11A377747878}"/>
          </ac:spMkLst>
        </pc:spChg>
        <pc:spChg chg="add mod">
          <ac:chgData name="El Bakkouri, Manal" userId="8b130982-2e3f-4164-b881-fd3a2e4b2453" providerId="ADAL" clId="{4457FA57-250B-44AC-8655-05D46C5A3D8A}" dt="2023-05-16T17:21:44.709" v="1156" actId="207"/>
          <ac:spMkLst>
            <pc:docMk/>
            <pc:sldMk cId="2286230808" sldId="266"/>
            <ac:spMk id="117" creationId="{8A842F2B-5D92-4F47-96DC-76D384872AED}"/>
          </ac:spMkLst>
        </pc:spChg>
        <pc:spChg chg="add mod">
          <ac:chgData name="El Bakkouri, Manal" userId="8b130982-2e3f-4164-b881-fd3a2e4b2453" providerId="ADAL" clId="{4457FA57-250B-44AC-8655-05D46C5A3D8A}" dt="2023-05-16T17:21:44.709" v="1156" actId="207"/>
          <ac:spMkLst>
            <pc:docMk/>
            <pc:sldMk cId="2286230808" sldId="266"/>
            <ac:spMk id="118" creationId="{ADA6DE55-34CE-48A1-8C2E-E0328D4CE742}"/>
          </ac:spMkLst>
        </pc:spChg>
        <pc:spChg chg="add mod">
          <ac:chgData name="El Bakkouri, Manal" userId="8b130982-2e3f-4164-b881-fd3a2e4b2453" providerId="ADAL" clId="{4457FA57-250B-44AC-8655-05D46C5A3D8A}" dt="2023-05-16T17:21:44.709" v="1156" actId="207"/>
          <ac:spMkLst>
            <pc:docMk/>
            <pc:sldMk cId="2286230808" sldId="266"/>
            <ac:spMk id="119" creationId="{E3F294FF-A466-4C2E-B8CE-E5409FD544C1}"/>
          </ac:spMkLst>
        </pc:spChg>
        <pc:spChg chg="add del mod">
          <ac:chgData name="El Bakkouri, Manal" userId="8b130982-2e3f-4164-b881-fd3a2e4b2453" providerId="ADAL" clId="{4457FA57-250B-44AC-8655-05D46C5A3D8A}" dt="2023-05-16T17:23:17.166" v="1178" actId="478"/>
          <ac:spMkLst>
            <pc:docMk/>
            <pc:sldMk cId="2286230808" sldId="266"/>
            <ac:spMk id="120" creationId="{A0F524B5-2D2A-48DD-8920-9B61C70E6A9C}"/>
          </ac:spMkLst>
        </pc:spChg>
        <pc:spChg chg="add mod">
          <ac:chgData name="El Bakkouri, Manal" userId="8b130982-2e3f-4164-b881-fd3a2e4b2453" providerId="ADAL" clId="{4457FA57-250B-44AC-8655-05D46C5A3D8A}" dt="2023-05-16T17:23:09.609" v="1175" actId="1076"/>
          <ac:spMkLst>
            <pc:docMk/>
            <pc:sldMk cId="2286230808" sldId="266"/>
            <ac:spMk id="121" creationId="{981E0356-FC1A-4ACB-A7A4-BD6AA88864C9}"/>
          </ac:spMkLst>
        </pc:spChg>
        <pc:spChg chg="add mod ord">
          <ac:chgData name="El Bakkouri, Manal" userId="8b130982-2e3f-4164-b881-fd3a2e4b2453" providerId="ADAL" clId="{4457FA57-250B-44AC-8655-05D46C5A3D8A}" dt="2023-05-16T17:22:52.532" v="1171" actId="208"/>
          <ac:spMkLst>
            <pc:docMk/>
            <pc:sldMk cId="2286230808" sldId="266"/>
            <ac:spMk id="122" creationId="{137C1099-4C7C-4DFE-94A8-7D9EFB17CAB6}"/>
          </ac:spMkLst>
        </pc:spChg>
        <pc:spChg chg="add del mod">
          <ac:chgData name="El Bakkouri, Manal" userId="8b130982-2e3f-4164-b881-fd3a2e4b2453" providerId="ADAL" clId="{4457FA57-250B-44AC-8655-05D46C5A3D8A}" dt="2023-05-16T17:23:13.162" v="1176" actId="478"/>
          <ac:spMkLst>
            <pc:docMk/>
            <pc:sldMk cId="2286230808" sldId="266"/>
            <ac:spMk id="123" creationId="{05F45C56-BE0B-43A4-B693-7A1BDBEC1D0E}"/>
          </ac:spMkLst>
        </pc:spChg>
        <pc:spChg chg="add mod">
          <ac:chgData name="El Bakkouri, Manal" userId="8b130982-2e3f-4164-b881-fd3a2e4b2453" providerId="ADAL" clId="{4457FA57-250B-44AC-8655-05D46C5A3D8A}" dt="2023-05-16T17:21:44.709" v="1156" actId="207"/>
          <ac:spMkLst>
            <pc:docMk/>
            <pc:sldMk cId="2286230808" sldId="266"/>
            <ac:spMk id="124" creationId="{5202294D-00E1-4A05-8B69-E7E490C2BE3D}"/>
          </ac:spMkLst>
        </pc:spChg>
        <pc:spChg chg="add mod">
          <ac:chgData name="El Bakkouri, Manal" userId="8b130982-2e3f-4164-b881-fd3a2e4b2453" providerId="ADAL" clId="{4457FA57-250B-44AC-8655-05D46C5A3D8A}" dt="2023-05-16T17:22:41.850" v="1166" actId="207"/>
          <ac:spMkLst>
            <pc:docMk/>
            <pc:sldMk cId="2286230808" sldId="266"/>
            <ac:spMk id="125" creationId="{D725FD88-B532-4DA4-ABA9-974F9BDEBB8D}"/>
          </ac:spMkLst>
        </pc:spChg>
        <pc:spChg chg="add mod">
          <ac:chgData name="El Bakkouri, Manal" userId="8b130982-2e3f-4164-b881-fd3a2e4b2453" providerId="ADAL" clId="{4457FA57-250B-44AC-8655-05D46C5A3D8A}" dt="2023-05-16T17:21:44.709" v="1156" actId="207"/>
          <ac:spMkLst>
            <pc:docMk/>
            <pc:sldMk cId="2286230808" sldId="266"/>
            <ac:spMk id="126" creationId="{22DE63B9-39D0-4D52-86BC-50E1C00159E0}"/>
          </ac:spMkLst>
        </pc:spChg>
        <pc:spChg chg="add mod">
          <ac:chgData name="El Bakkouri, Manal" userId="8b130982-2e3f-4164-b881-fd3a2e4b2453" providerId="ADAL" clId="{4457FA57-250B-44AC-8655-05D46C5A3D8A}" dt="2023-05-16T17:21:57.663" v="1158" actId="1076"/>
          <ac:spMkLst>
            <pc:docMk/>
            <pc:sldMk cId="2286230808" sldId="266"/>
            <ac:spMk id="128" creationId="{F8BC9C9A-5081-460F-A94D-BBB522A95838}"/>
          </ac:spMkLst>
        </pc:spChg>
        <pc:spChg chg="add mod">
          <ac:chgData name="El Bakkouri, Manal" userId="8b130982-2e3f-4164-b881-fd3a2e4b2453" providerId="ADAL" clId="{4457FA57-250B-44AC-8655-05D46C5A3D8A}" dt="2023-05-16T17:21:57.663" v="1158" actId="1076"/>
          <ac:spMkLst>
            <pc:docMk/>
            <pc:sldMk cId="2286230808" sldId="266"/>
            <ac:spMk id="129" creationId="{6419A2BC-2512-4FB3-84D8-6B50BA66B22A}"/>
          </ac:spMkLst>
        </pc:spChg>
        <pc:spChg chg="add mod">
          <ac:chgData name="El Bakkouri, Manal" userId="8b130982-2e3f-4164-b881-fd3a2e4b2453" providerId="ADAL" clId="{4457FA57-250B-44AC-8655-05D46C5A3D8A}" dt="2023-05-16T17:21:57.663" v="1158" actId="1076"/>
          <ac:spMkLst>
            <pc:docMk/>
            <pc:sldMk cId="2286230808" sldId="266"/>
            <ac:spMk id="130" creationId="{BE64E24E-EC78-459D-843E-C7A2CC82BE8F}"/>
          </ac:spMkLst>
        </pc:spChg>
        <pc:spChg chg="add mod">
          <ac:chgData name="El Bakkouri, Manal" userId="8b130982-2e3f-4164-b881-fd3a2e4b2453" providerId="ADAL" clId="{4457FA57-250B-44AC-8655-05D46C5A3D8A}" dt="2023-05-16T17:21:57.663" v="1158" actId="1076"/>
          <ac:spMkLst>
            <pc:docMk/>
            <pc:sldMk cId="2286230808" sldId="266"/>
            <ac:spMk id="131" creationId="{60CC40D2-7AA0-401A-8CD4-0CF07A2F4B85}"/>
          </ac:spMkLst>
        </pc:spChg>
        <pc:spChg chg="add mod">
          <ac:chgData name="El Bakkouri, Manal" userId="8b130982-2e3f-4164-b881-fd3a2e4b2453" providerId="ADAL" clId="{4457FA57-250B-44AC-8655-05D46C5A3D8A}" dt="2023-05-16T17:21:57.663" v="1158" actId="1076"/>
          <ac:spMkLst>
            <pc:docMk/>
            <pc:sldMk cId="2286230808" sldId="266"/>
            <ac:spMk id="132" creationId="{9929842E-30D7-486E-98C6-4A6EFD398776}"/>
          </ac:spMkLst>
        </pc:spChg>
        <pc:spChg chg="add mod">
          <ac:chgData name="El Bakkouri, Manal" userId="8b130982-2e3f-4164-b881-fd3a2e4b2453" providerId="ADAL" clId="{4457FA57-250B-44AC-8655-05D46C5A3D8A}" dt="2023-05-16T17:21:57.663" v="1158" actId="1076"/>
          <ac:spMkLst>
            <pc:docMk/>
            <pc:sldMk cId="2286230808" sldId="266"/>
            <ac:spMk id="133" creationId="{DFE42F02-2BD0-4374-BA59-CF28ACA70889}"/>
          </ac:spMkLst>
        </pc:spChg>
        <pc:spChg chg="add mod">
          <ac:chgData name="El Bakkouri, Manal" userId="8b130982-2e3f-4164-b881-fd3a2e4b2453" providerId="ADAL" clId="{4457FA57-250B-44AC-8655-05D46C5A3D8A}" dt="2023-05-16T17:21:57.663" v="1158" actId="1076"/>
          <ac:spMkLst>
            <pc:docMk/>
            <pc:sldMk cId="2286230808" sldId="266"/>
            <ac:spMk id="134" creationId="{FFC302CF-2148-4A81-93CA-56AFA0EC15CA}"/>
          </ac:spMkLst>
        </pc:spChg>
        <pc:spChg chg="add mod">
          <ac:chgData name="El Bakkouri, Manal" userId="8b130982-2e3f-4164-b881-fd3a2e4b2453" providerId="ADAL" clId="{4457FA57-250B-44AC-8655-05D46C5A3D8A}" dt="2023-05-16T17:21:57.663" v="1158" actId="1076"/>
          <ac:spMkLst>
            <pc:docMk/>
            <pc:sldMk cId="2286230808" sldId="266"/>
            <ac:spMk id="135" creationId="{F335CE3F-C710-416B-AF26-905610D478B1}"/>
          </ac:spMkLst>
        </pc:spChg>
        <pc:spChg chg="add mod">
          <ac:chgData name="El Bakkouri, Manal" userId="8b130982-2e3f-4164-b881-fd3a2e4b2453" providerId="ADAL" clId="{4457FA57-250B-44AC-8655-05D46C5A3D8A}" dt="2023-05-16T17:21:57.663" v="1158" actId="1076"/>
          <ac:spMkLst>
            <pc:docMk/>
            <pc:sldMk cId="2286230808" sldId="266"/>
            <ac:spMk id="136" creationId="{1B8E0AD7-7A0E-4AF8-BBFD-5A2FCB21D74B}"/>
          </ac:spMkLst>
        </pc:spChg>
        <pc:spChg chg="add mod">
          <ac:chgData name="El Bakkouri, Manal" userId="8b130982-2e3f-4164-b881-fd3a2e4b2453" providerId="ADAL" clId="{4457FA57-250B-44AC-8655-05D46C5A3D8A}" dt="2023-05-16T17:21:57.663" v="1158" actId="1076"/>
          <ac:spMkLst>
            <pc:docMk/>
            <pc:sldMk cId="2286230808" sldId="266"/>
            <ac:spMk id="137" creationId="{0C1803D4-2CFE-4AC8-B03D-44240B24889B}"/>
          </ac:spMkLst>
        </pc:spChg>
        <pc:spChg chg="add mod">
          <ac:chgData name="El Bakkouri, Manal" userId="8b130982-2e3f-4164-b881-fd3a2e4b2453" providerId="ADAL" clId="{4457FA57-250B-44AC-8655-05D46C5A3D8A}" dt="2023-05-16T17:21:57.663" v="1158" actId="1076"/>
          <ac:spMkLst>
            <pc:docMk/>
            <pc:sldMk cId="2286230808" sldId="266"/>
            <ac:spMk id="138" creationId="{270F6BEA-D18F-415A-8993-2A0D905F8E38}"/>
          </ac:spMkLst>
        </pc:spChg>
        <pc:spChg chg="add mod">
          <ac:chgData name="El Bakkouri, Manal" userId="8b130982-2e3f-4164-b881-fd3a2e4b2453" providerId="ADAL" clId="{4457FA57-250B-44AC-8655-05D46C5A3D8A}" dt="2023-05-16T17:21:57.663" v="1158" actId="1076"/>
          <ac:spMkLst>
            <pc:docMk/>
            <pc:sldMk cId="2286230808" sldId="266"/>
            <ac:spMk id="139" creationId="{EF322290-E86F-479C-B200-C0AF537F71B2}"/>
          </ac:spMkLst>
        </pc:spChg>
        <pc:spChg chg="add mod">
          <ac:chgData name="El Bakkouri, Manal" userId="8b130982-2e3f-4164-b881-fd3a2e4b2453" providerId="ADAL" clId="{4457FA57-250B-44AC-8655-05D46C5A3D8A}" dt="2023-05-16T17:21:57.663" v="1158" actId="1076"/>
          <ac:spMkLst>
            <pc:docMk/>
            <pc:sldMk cId="2286230808" sldId="266"/>
            <ac:spMk id="140" creationId="{9F113C1F-2078-4B0E-B0F9-63C3775D4F40}"/>
          </ac:spMkLst>
        </pc:spChg>
        <pc:spChg chg="add mod">
          <ac:chgData name="El Bakkouri, Manal" userId="8b130982-2e3f-4164-b881-fd3a2e4b2453" providerId="ADAL" clId="{4457FA57-250B-44AC-8655-05D46C5A3D8A}" dt="2023-05-16T17:21:57.663" v="1158" actId="1076"/>
          <ac:spMkLst>
            <pc:docMk/>
            <pc:sldMk cId="2286230808" sldId="266"/>
            <ac:spMk id="141" creationId="{180CE792-A39D-4714-9689-E14520BB75FA}"/>
          </ac:spMkLst>
        </pc:spChg>
        <pc:spChg chg="add mod">
          <ac:chgData name="El Bakkouri, Manal" userId="8b130982-2e3f-4164-b881-fd3a2e4b2453" providerId="ADAL" clId="{4457FA57-250B-44AC-8655-05D46C5A3D8A}" dt="2023-05-16T17:21:57.663" v="1158" actId="1076"/>
          <ac:spMkLst>
            <pc:docMk/>
            <pc:sldMk cId="2286230808" sldId="266"/>
            <ac:spMk id="142" creationId="{65D16D8B-48C6-4669-9554-00DE4C2ECB51}"/>
          </ac:spMkLst>
        </pc:spChg>
        <pc:spChg chg="add mod">
          <ac:chgData name="El Bakkouri, Manal" userId="8b130982-2e3f-4164-b881-fd3a2e4b2453" providerId="ADAL" clId="{4457FA57-250B-44AC-8655-05D46C5A3D8A}" dt="2023-05-16T17:21:57.663" v="1158" actId="1076"/>
          <ac:spMkLst>
            <pc:docMk/>
            <pc:sldMk cId="2286230808" sldId="266"/>
            <ac:spMk id="143" creationId="{F7712620-6EC9-4B09-BF3D-0ADBFEFA336F}"/>
          </ac:spMkLst>
        </pc:spChg>
        <pc:spChg chg="add mod">
          <ac:chgData name="El Bakkouri, Manal" userId="8b130982-2e3f-4164-b881-fd3a2e4b2453" providerId="ADAL" clId="{4457FA57-250B-44AC-8655-05D46C5A3D8A}" dt="2023-05-16T17:21:57.663" v="1158" actId="1076"/>
          <ac:spMkLst>
            <pc:docMk/>
            <pc:sldMk cId="2286230808" sldId="266"/>
            <ac:spMk id="144" creationId="{FC21FCAF-69C7-4BA0-B4E0-5D6D0C096972}"/>
          </ac:spMkLst>
        </pc:spChg>
        <pc:spChg chg="add mod">
          <ac:chgData name="El Bakkouri, Manal" userId="8b130982-2e3f-4164-b881-fd3a2e4b2453" providerId="ADAL" clId="{4457FA57-250B-44AC-8655-05D46C5A3D8A}" dt="2023-05-16T17:21:57.663" v="1158" actId="1076"/>
          <ac:spMkLst>
            <pc:docMk/>
            <pc:sldMk cId="2286230808" sldId="266"/>
            <ac:spMk id="145" creationId="{398C52E3-7213-4379-9957-58B2EF2AFC57}"/>
          </ac:spMkLst>
        </pc:spChg>
        <pc:spChg chg="add mod">
          <ac:chgData name="El Bakkouri, Manal" userId="8b130982-2e3f-4164-b881-fd3a2e4b2453" providerId="ADAL" clId="{4457FA57-250B-44AC-8655-05D46C5A3D8A}" dt="2023-05-16T17:21:57.663" v="1158" actId="1076"/>
          <ac:spMkLst>
            <pc:docMk/>
            <pc:sldMk cId="2286230808" sldId="266"/>
            <ac:spMk id="146" creationId="{131C3EDB-A0DC-42CD-A447-235C208EF450}"/>
          </ac:spMkLst>
        </pc:spChg>
        <pc:spChg chg="add mod">
          <ac:chgData name="El Bakkouri, Manal" userId="8b130982-2e3f-4164-b881-fd3a2e4b2453" providerId="ADAL" clId="{4457FA57-250B-44AC-8655-05D46C5A3D8A}" dt="2023-05-16T17:21:57.663" v="1158" actId="1076"/>
          <ac:spMkLst>
            <pc:docMk/>
            <pc:sldMk cId="2286230808" sldId="266"/>
            <ac:spMk id="147" creationId="{DE3759DF-94C1-46CC-9B21-9241ACA5103B}"/>
          </ac:spMkLst>
        </pc:spChg>
        <pc:spChg chg="add mod">
          <ac:chgData name="El Bakkouri, Manal" userId="8b130982-2e3f-4164-b881-fd3a2e4b2453" providerId="ADAL" clId="{4457FA57-250B-44AC-8655-05D46C5A3D8A}" dt="2023-05-16T17:21:57.663" v="1158" actId="1076"/>
          <ac:spMkLst>
            <pc:docMk/>
            <pc:sldMk cId="2286230808" sldId="266"/>
            <ac:spMk id="148" creationId="{50415052-F559-4796-A6B1-3889A8302605}"/>
          </ac:spMkLst>
        </pc:spChg>
        <pc:spChg chg="add mod">
          <ac:chgData name="El Bakkouri, Manal" userId="8b130982-2e3f-4164-b881-fd3a2e4b2453" providerId="ADAL" clId="{4457FA57-250B-44AC-8655-05D46C5A3D8A}" dt="2023-05-16T17:21:57.663" v="1158" actId="1076"/>
          <ac:spMkLst>
            <pc:docMk/>
            <pc:sldMk cId="2286230808" sldId="266"/>
            <ac:spMk id="149" creationId="{B52B78CF-975D-429D-97EC-ABD74D6EEDCB}"/>
          </ac:spMkLst>
        </pc:spChg>
        <pc:spChg chg="add mod">
          <ac:chgData name="El Bakkouri, Manal" userId="8b130982-2e3f-4164-b881-fd3a2e4b2453" providerId="ADAL" clId="{4457FA57-250B-44AC-8655-05D46C5A3D8A}" dt="2023-05-16T17:21:57.663" v="1158" actId="1076"/>
          <ac:spMkLst>
            <pc:docMk/>
            <pc:sldMk cId="2286230808" sldId="266"/>
            <ac:spMk id="150" creationId="{E7B954FE-6827-402A-849D-6E6BF9034B8F}"/>
          </ac:spMkLst>
        </pc:spChg>
        <pc:spChg chg="add mod">
          <ac:chgData name="El Bakkouri, Manal" userId="8b130982-2e3f-4164-b881-fd3a2e4b2453" providerId="ADAL" clId="{4457FA57-250B-44AC-8655-05D46C5A3D8A}" dt="2023-05-16T17:21:57.663" v="1158" actId="1076"/>
          <ac:spMkLst>
            <pc:docMk/>
            <pc:sldMk cId="2286230808" sldId="266"/>
            <ac:spMk id="151" creationId="{A0E9D2DA-D5C1-4AB7-9C8C-4356221DA4AF}"/>
          </ac:spMkLst>
        </pc:spChg>
        <pc:spChg chg="add mod">
          <ac:chgData name="El Bakkouri, Manal" userId="8b130982-2e3f-4164-b881-fd3a2e4b2453" providerId="ADAL" clId="{4457FA57-250B-44AC-8655-05D46C5A3D8A}" dt="2023-05-16T17:21:57.663" v="1158" actId="1076"/>
          <ac:spMkLst>
            <pc:docMk/>
            <pc:sldMk cId="2286230808" sldId="266"/>
            <ac:spMk id="152" creationId="{4D5902B3-58D5-46EE-983A-6FF05E356731}"/>
          </ac:spMkLst>
        </pc:spChg>
        <pc:spChg chg="add mod">
          <ac:chgData name="El Bakkouri, Manal" userId="8b130982-2e3f-4164-b881-fd3a2e4b2453" providerId="ADAL" clId="{4457FA57-250B-44AC-8655-05D46C5A3D8A}" dt="2023-05-16T17:21:57.663" v="1158" actId="1076"/>
          <ac:spMkLst>
            <pc:docMk/>
            <pc:sldMk cId="2286230808" sldId="266"/>
            <ac:spMk id="153" creationId="{AAD25E38-E477-414B-9973-6E0742146326}"/>
          </ac:spMkLst>
        </pc:spChg>
        <pc:spChg chg="add mod">
          <ac:chgData name="El Bakkouri, Manal" userId="8b130982-2e3f-4164-b881-fd3a2e4b2453" providerId="ADAL" clId="{4457FA57-250B-44AC-8655-05D46C5A3D8A}" dt="2023-05-16T17:21:57.663" v="1158" actId="1076"/>
          <ac:spMkLst>
            <pc:docMk/>
            <pc:sldMk cId="2286230808" sldId="266"/>
            <ac:spMk id="154" creationId="{9C704322-5894-4DF5-B454-9BE4C2954F8B}"/>
          </ac:spMkLst>
        </pc:spChg>
        <pc:spChg chg="add mod">
          <ac:chgData name="El Bakkouri, Manal" userId="8b130982-2e3f-4164-b881-fd3a2e4b2453" providerId="ADAL" clId="{4457FA57-250B-44AC-8655-05D46C5A3D8A}" dt="2023-05-16T17:21:57.663" v="1158" actId="1076"/>
          <ac:spMkLst>
            <pc:docMk/>
            <pc:sldMk cId="2286230808" sldId="266"/>
            <ac:spMk id="155" creationId="{F13234AF-9514-4675-A171-BCE62E7BD508}"/>
          </ac:spMkLst>
        </pc:spChg>
        <pc:spChg chg="add mod">
          <ac:chgData name="El Bakkouri, Manal" userId="8b130982-2e3f-4164-b881-fd3a2e4b2453" providerId="ADAL" clId="{4457FA57-250B-44AC-8655-05D46C5A3D8A}" dt="2023-05-16T17:21:57.663" v="1158" actId="1076"/>
          <ac:spMkLst>
            <pc:docMk/>
            <pc:sldMk cId="2286230808" sldId="266"/>
            <ac:spMk id="156" creationId="{26FB3520-5A66-42C0-86B7-B2ED630BC3C8}"/>
          </ac:spMkLst>
        </pc:spChg>
        <pc:spChg chg="add mod">
          <ac:chgData name="El Bakkouri, Manal" userId="8b130982-2e3f-4164-b881-fd3a2e4b2453" providerId="ADAL" clId="{4457FA57-250B-44AC-8655-05D46C5A3D8A}" dt="2023-05-16T17:21:57.663" v="1158" actId="1076"/>
          <ac:spMkLst>
            <pc:docMk/>
            <pc:sldMk cId="2286230808" sldId="266"/>
            <ac:spMk id="157" creationId="{0EA9BA3D-4E99-47A0-A3F7-A27D2645EC47}"/>
          </ac:spMkLst>
        </pc:spChg>
        <pc:spChg chg="add mod">
          <ac:chgData name="El Bakkouri, Manal" userId="8b130982-2e3f-4164-b881-fd3a2e4b2453" providerId="ADAL" clId="{4457FA57-250B-44AC-8655-05D46C5A3D8A}" dt="2023-05-16T17:21:57.663" v="1158" actId="1076"/>
          <ac:spMkLst>
            <pc:docMk/>
            <pc:sldMk cId="2286230808" sldId="266"/>
            <ac:spMk id="158" creationId="{1D90EAD1-A126-41CB-B013-DD64D5094506}"/>
          </ac:spMkLst>
        </pc:spChg>
        <pc:spChg chg="add mod">
          <ac:chgData name="El Bakkouri, Manal" userId="8b130982-2e3f-4164-b881-fd3a2e4b2453" providerId="ADAL" clId="{4457FA57-250B-44AC-8655-05D46C5A3D8A}" dt="2023-05-16T17:21:57.663" v="1158" actId="1076"/>
          <ac:spMkLst>
            <pc:docMk/>
            <pc:sldMk cId="2286230808" sldId="266"/>
            <ac:spMk id="159" creationId="{466387F6-DBFD-42D6-A61C-C4AFAF8212BE}"/>
          </ac:spMkLst>
        </pc:spChg>
        <pc:spChg chg="add mod">
          <ac:chgData name="El Bakkouri, Manal" userId="8b130982-2e3f-4164-b881-fd3a2e4b2453" providerId="ADAL" clId="{4457FA57-250B-44AC-8655-05D46C5A3D8A}" dt="2023-05-16T17:21:57.663" v="1158" actId="1076"/>
          <ac:spMkLst>
            <pc:docMk/>
            <pc:sldMk cId="2286230808" sldId="266"/>
            <ac:spMk id="160" creationId="{00FE8685-17B8-47F5-82CC-39D1D19459CD}"/>
          </ac:spMkLst>
        </pc:spChg>
        <pc:spChg chg="add mod">
          <ac:chgData name="El Bakkouri, Manal" userId="8b130982-2e3f-4164-b881-fd3a2e4b2453" providerId="ADAL" clId="{4457FA57-250B-44AC-8655-05D46C5A3D8A}" dt="2023-05-16T17:21:57.663" v="1158" actId="1076"/>
          <ac:spMkLst>
            <pc:docMk/>
            <pc:sldMk cId="2286230808" sldId="266"/>
            <ac:spMk id="161" creationId="{FBA78090-C767-4557-96B9-1E8CCF9F2271}"/>
          </ac:spMkLst>
        </pc:spChg>
        <pc:spChg chg="add mod">
          <ac:chgData name="El Bakkouri, Manal" userId="8b130982-2e3f-4164-b881-fd3a2e4b2453" providerId="ADAL" clId="{4457FA57-250B-44AC-8655-05D46C5A3D8A}" dt="2023-05-16T17:21:57.663" v="1158" actId="1076"/>
          <ac:spMkLst>
            <pc:docMk/>
            <pc:sldMk cId="2286230808" sldId="266"/>
            <ac:spMk id="162" creationId="{ED12D6B3-AF0B-4C2D-8618-512D3C932E52}"/>
          </ac:spMkLst>
        </pc:spChg>
        <pc:spChg chg="add mod">
          <ac:chgData name="El Bakkouri, Manal" userId="8b130982-2e3f-4164-b881-fd3a2e4b2453" providerId="ADAL" clId="{4457FA57-250B-44AC-8655-05D46C5A3D8A}" dt="2023-05-16T17:21:57.663" v="1158" actId="1076"/>
          <ac:spMkLst>
            <pc:docMk/>
            <pc:sldMk cId="2286230808" sldId="266"/>
            <ac:spMk id="163" creationId="{6EFDF133-A7B0-4D9F-B9FF-B041C7A50800}"/>
          </ac:spMkLst>
        </pc:spChg>
        <pc:spChg chg="add mod">
          <ac:chgData name="El Bakkouri, Manal" userId="8b130982-2e3f-4164-b881-fd3a2e4b2453" providerId="ADAL" clId="{4457FA57-250B-44AC-8655-05D46C5A3D8A}" dt="2023-05-16T17:21:57.663" v="1158" actId="1076"/>
          <ac:spMkLst>
            <pc:docMk/>
            <pc:sldMk cId="2286230808" sldId="266"/>
            <ac:spMk id="164" creationId="{D165964D-8D26-448F-B32D-FBDC02A62F05}"/>
          </ac:spMkLst>
        </pc:spChg>
        <pc:spChg chg="add mod">
          <ac:chgData name="El Bakkouri, Manal" userId="8b130982-2e3f-4164-b881-fd3a2e4b2453" providerId="ADAL" clId="{4457FA57-250B-44AC-8655-05D46C5A3D8A}" dt="2023-05-16T17:21:57.663" v="1158" actId="1076"/>
          <ac:spMkLst>
            <pc:docMk/>
            <pc:sldMk cId="2286230808" sldId="266"/>
            <ac:spMk id="165" creationId="{931BE455-BBEE-45DA-A6B5-C774DE2B35CD}"/>
          </ac:spMkLst>
        </pc:spChg>
        <pc:spChg chg="add mod">
          <ac:chgData name="El Bakkouri, Manal" userId="8b130982-2e3f-4164-b881-fd3a2e4b2453" providerId="ADAL" clId="{4457FA57-250B-44AC-8655-05D46C5A3D8A}" dt="2023-05-16T17:21:57.663" v="1158" actId="1076"/>
          <ac:spMkLst>
            <pc:docMk/>
            <pc:sldMk cId="2286230808" sldId="266"/>
            <ac:spMk id="166" creationId="{B4513D00-B30C-4996-9C36-35F5540D5813}"/>
          </ac:spMkLst>
        </pc:spChg>
        <pc:spChg chg="add mod">
          <ac:chgData name="El Bakkouri, Manal" userId="8b130982-2e3f-4164-b881-fd3a2e4b2453" providerId="ADAL" clId="{4457FA57-250B-44AC-8655-05D46C5A3D8A}" dt="2023-05-16T17:21:57.663" v="1158" actId="1076"/>
          <ac:spMkLst>
            <pc:docMk/>
            <pc:sldMk cId="2286230808" sldId="266"/>
            <ac:spMk id="167" creationId="{8A7C88D3-B7C7-406B-9612-39BB0D8B31E6}"/>
          </ac:spMkLst>
        </pc:spChg>
        <pc:spChg chg="add mod">
          <ac:chgData name="El Bakkouri, Manal" userId="8b130982-2e3f-4164-b881-fd3a2e4b2453" providerId="ADAL" clId="{4457FA57-250B-44AC-8655-05D46C5A3D8A}" dt="2023-05-16T17:21:57.663" v="1158" actId="1076"/>
          <ac:spMkLst>
            <pc:docMk/>
            <pc:sldMk cId="2286230808" sldId="266"/>
            <ac:spMk id="168" creationId="{C2C3B5F7-B316-46A3-9B71-B183D4EDDEAA}"/>
          </ac:spMkLst>
        </pc:spChg>
        <pc:spChg chg="add mod">
          <ac:chgData name="El Bakkouri, Manal" userId="8b130982-2e3f-4164-b881-fd3a2e4b2453" providerId="ADAL" clId="{4457FA57-250B-44AC-8655-05D46C5A3D8A}" dt="2023-05-16T17:21:57.663" v="1158" actId="1076"/>
          <ac:spMkLst>
            <pc:docMk/>
            <pc:sldMk cId="2286230808" sldId="266"/>
            <ac:spMk id="169" creationId="{5E678402-626E-42AE-9E3C-DC56E2A62C15}"/>
          </ac:spMkLst>
        </pc:spChg>
        <pc:spChg chg="add mod">
          <ac:chgData name="El Bakkouri, Manal" userId="8b130982-2e3f-4164-b881-fd3a2e4b2453" providerId="ADAL" clId="{4457FA57-250B-44AC-8655-05D46C5A3D8A}" dt="2023-05-16T17:21:57.663" v="1158" actId="1076"/>
          <ac:spMkLst>
            <pc:docMk/>
            <pc:sldMk cId="2286230808" sldId="266"/>
            <ac:spMk id="170" creationId="{24357EC9-606A-4282-8814-D54E63882C50}"/>
          </ac:spMkLst>
        </pc:spChg>
        <pc:spChg chg="add mod">
          <ac:chgData name="El Bakkouri, Manal" userId="8b130982-2e3f-4164-b881-fd3a2e4b2453" providerId="ADAL" clId="{4457FA57-250B-44AC-8655-05D46C5A3D8A}" dt="2023-05-16T17:21:57.663" v="1158" actId="1076"/>
          <ac:spMkLst>
            <pc:docMk/>
            <pc:sldMk cId="2286230808" sldId="266"/>
            <ac:spMk id="171" creationId="{C69EC094-75F9-4436-9757-69896DCE4E2A}"/>
          </ac:spMkLst>
        </pc:spChg>
        <pc:spChg chg="add mod">
          <ac:chgData name="El Bakkouri, Manal" userId="8b130982-2e3f-4164-b881-fd3a2e4b2453" providerId="ADAL" clId="{4457FA57-250B-44AC-8655-05D46C5A3D8A}" dt="2023-05-16T17:21:57.663" v="1158" actId="1076"/>
          <ac:spMkLst>
            <pc:docMk/>
            <pc:sldMk cId="2286230808" sldId="266"/>
            <ac:spMk id="172" creationId="{163CA7CA-7C17-41C9-A027-715C514DDD8F}"/>
          </ac:spMkLst>
        </pc:spChg>
        <pc:spChg chg="add mod">
          <ac:chgData name="El Bakkouri, Manal" userId="8b130982-2e3f-4164-b881-fd3a2e4b2453" providerId="ADAL" clId="{4457FA57-250B-44AC-8655-05D46C5A3D8A}" dt="2023-05-16T17:21:57.663" v="1158" actId="1076"/>
          <ac:spMkLst>
            <pc:docMk/>
            <pc:sldMk cId="2286230808" sldId="266"/>
            <ac:spMk id="173" creationId="{F5A0572A-14A2-4338-AC2B-3F81BEA2C3F9}"/>
          </ac:spMkLst>
        </pc:spChg>
        <pc:spChg chg="add mod">
          <ac:chgData name="El Bakkouri, Manal" userId="8b130982-2e3f-4164-b881-fd3a2e4b2453" providerId="ADAL" clId="{4457FA57-250B-44AC-8655-05D46C5A3D8A}" dt="2023-05-16T17:21:57.663" v="1158" actId="1076"/>
          <ac:spMkLst>
            <pc:docMk/>
            <pc:sldMk cId="2286230808" sldId="266"/>
            <ac:spMk id="174" creationId="{0239613D-C1AF-43E4-BA4B-D3B19DA98C11}"/>
          </ac:spMkLst>
        </pc:spChg>
        <pc:spChg chg="add mod">
          <ac:chgData name="El Bakkouri, Manal" userId="8b130982-2e3f-4164-b881-fd3a2e4b2453" providerId="ADAL" clId="{4457FA57-250B-44AC-8655-05D46C5A3D8A}" dt="2023-05-16T17:21:57.663" v="1158" actId="1076"/>
          <ac:spMkLst>
            <pc:docMk/>
            <pc:sldMk cId="2286230808" sldId="266"/>
            <ac:spMk id="175" creationId="{5116323F-E1D4-4019-A45F-8D7FDA512E85}"/>
          </ac:spMkLst>
        </pc:spChg>
        <pc:spChg chg="add mod">
          <ac:chgData name="El Bakkouri, Manal" userId="8b130982-2e3f-4164-b881-fd3a2e4b2453" providerId="ADAL" clId="{4457FA57-250B-44AC-8655-05D46C5A3D8A}" dt="2023-05-16T17:21:57.663" v="1158" actId="1076"/>
          <ac:spMkLst>
            <pc:docMk/>
            <pc:sldMk cId="2286230808" sldId="266"/>
            <ac:spMk id="176" creationId="{788203F9-5AAA-40EB-BECF-AACCD3A4E0BE}"/>
          </ac:spMkLst>
        </pc:spChg>
        <pc:spChg chg="add mod">
          <ac:chgData name="El Bakkouri, Manal" userId="8b130982-2e3f-4164-b881-fd3a2e4b2453" providerId="ADAL" clId="{4457FA57-250B-44AC-8655-05D46C5A3D8A}" dt="2023-05-16T17:21:57.663" v="1158" actId="1076"/>
          <ac:spMkLst>
            <pc:docMk/>
            <pc:sldMk cId="2286230808" sldId="266"/>
            <ac:spMk id="177" creationId="{558612F4-C3AE-47D0-9F5D-1AAE3E9E3CC4}"/>
          </ac:spMkLst>
        </pc:spChg>
        <pc:spChg chg="add mod">
          <ac:chgData name="El Bakkouri, Manal" userId="8b130982-2e3f-4164-b881-fd3a2e4b2453" providerId="ADAL" clId="{4457FA57-250B-44AC-8655-05D46C5A3D8A}" dt="2023-05-16T17:21:57.663" v="1158" actId="1076"/>
          <ac:spMkLst>
            <pc:docMk/>
            <pc:sldMk cId="2286230808" sldId="266"/>
            <ac:spMk id="178" creationId="{720C80A9-2AC8-46F9-A989-F8FBA717579D}"/>
          </ac:spMkLst>
        </pc:spChg>
        <pc:spChg chg="add mod">
          <ac:chgData name="El Bakkouri, Manal" userId="8b130982-2e3f-4164-b881-fd3a2e4b2453" providerId="ADAL" clId="{4457FA57-250B-44AC-8655-05D46C5A3D8A}" dt="2023-05-16T17:21:57.663" v="1158" actId="1076"/>
          <ac:spMkLst>
            <pc:docMk/>
            <pc:sldMk cId="2286230808" sldId="266"/>
            <ac:spMk id="179" creationId="{AC287BFF-34DE-4FDF-84D8-BCCEEBDD8279}"/>
          </ac:spMkLst>
        </pc:spChg>
        <pc:spChg chg="add mod">
          <ac:chgData name="El Bakkouri, Manal" userId="8b130982-2e3f-4164-b881-fd3a2e4b2453" providerId="ADAL" clId="{4457FA57-250B-44AC-8655-05D46C5A3D8A}" dt="2023-05-16T17:21:57.663" v="1158" actId="1076"/>
          <ac:spMkLst>
            <pc:docMk/>
            <pc:sldMk cId="2286230808" sldId="266"/>
            <ac:spMk id="180" creationId="{BCF07279-4A0C-4E4C-BD23-4E0E846CDD2F}"/>
          </ac:spMkLst>
        </pc:spChg>
        <pc:spChg chg="add mod">
          <ac:chgData name="El Bakkouri, Manal" userId="8b130982-2e3f-4164-b881-fd3a2e4b2453" providerId="ADAL" clId="{4457FA57-250B-44AC-8655-05D46C5A3D8A}" dt="2023-05-16T17:21:57.663" v="1158" actId="1076"/>
          <ac:spMkLst>
            <pc:docMk/>
            <pc:sldMk cId="2286230808" sldId="266"/>
            <ac:spMk id="181" creationId="{E44FAAB7-2A5F-442D-BB0F-D140267384F6}"/>
          </ac:spMkLst>
        </pc:spChg>
        <pc:spChg chg="add mod">
          <ac:chgData name="El Bakkouri, Manal" userId="8b130982-2e3f-4164-b881-fd3a2e4b2453" providerId="ADAL" clId="{4457FA57-250B-44AC-8655-05D46C5A3D8A}" dt="2023-05-16T17:21:57.663" v="1158" actId="1076"/>
          <ac:spMkLst>
            <pc:docMk/>
            <pc:sldMk cId="2286230808" sldId="266"/>
            <ac:spMk id="182" creationId="{84D2DF28-B5BB-4376-AE75-E341E40FA18C}"/>
          </ac:spMkLst>
        </pc:spChg>
        <pc:spChg chg="add mod">
          <ac:chgData name="El Bakkouri, Manal" userId="8b130982-2e3f-4164-b881-fd3a2e4b2453" providerId="ADAL" clId="{4457FA57-250B-44AC-8655-05D46C5A3D8A}" dt="2023-05-16T17:21:57.663" v="1158" actId="1076"/>
          <ac:spMkLst>
            <pc:docMk/>
            <pc:sldMk cId="2286230808" sldId="266"/>
            <ac:spMk id="183" creationId="{B195FCD6-3B61-4EBB-97DD-35A9BD98C052}"/>
          </ac:spMkLst>
        </pc:spChg>
        <pc:spChg chg="add mod">
          <ac:chgData name="El Bakkouri, Manal" userId="8b130982-2e3f-4164-b881-fd3a2e4b2453" providerId="ADAL" clId="{4457FA57-250B-44AC-8655-05D46C5A3D8A}" dt="2023-05-16T17:21:57.663" v="1158" actId="1076"/>
          <ac:spMkLst>
            <pc:docMk/>
            <pc:sldMk cId="2286230808" sldId="266"/>
            <ac:spMk id="184" creationId="{BA993AB4-01D1-4F6B-9836-CF3E61F61299}"/>
          </ac:spMkLst>
        </pc:spChg>
        <pc:spChg chg="add mod">
          <ac:chgData name="El Bakkouri, Manal" userId="8b130982-2e3f-4164-b881-fd3a2e4b2453" providerId="ADAL" clId="{4457FA57-250B-44AC-8655-05D46C5A3D8A}" dt="2023-05-16T17:21:57.663" v="1158" actId="1076"/>
          <ac:spMkLst>
            <pc:docMk/>
            <pc:sldMk cId="2286230808" sldId="266"/>
            <ac:spMk id="185" creationId="{B8F0444C-CB33-4DAF-ACDC-DECCCA1DD00A}"/>
          </ac:spMkLst>
        </pc:spChg>
        <pc:spChg chg="add mod">
          <ac:chgData name="El Bakkouri, Manal" userId="8b130982-2e3f-4164-b881-fd3a2e4b2453" providerId="ADAL" clId="{4457FA57-250B-44AC-8655-05D46C5A3D8A}" dt="2023-05-16T17:21:57.663" v="1158" actId="1076"/>
          <ac:spMkLst>
            <pc:docMk/>
            <pc:sldMk cId="2286230808" sldId="266"/>
            <ac:spMk id="186" creationId="{FCDEB887-B84C-4FEA-AE72-C48FEFCAC14D}"/>
          </ac:spMkLst>
        </pc:spChg>
        <pc:spChg chg="add mod">
          <ac:chgData name="El Bakkouri, Manal" userId="8b130982-2e3f-4164-b881-fd3a2e4b2453" providerId="ADAL" clId="{4457FA57-250B-44AC-8655-05D46C5A3D8A}" dt="2023-05-16T17:21:57.663" v="1158" actId="1076"/>
          <ac:spMkLst>
            <pc:docMk/>
            <pc:sldMk cId="2286230808" sldId="266"/>
            <ac:spMk id="187" creationId="{00235462-41E4-45F3-9CEE-D35956C68E30}"/>
          </ac:spMkLst>
        </pc:spChg>
        <pc:spChg chg="add mod">
          <ac:chgData name="El Bakkouri, Manal" userId="8b130982-2e3f-4164-b881-fd3a2e4b2453" providerId="ADAL" clId="{4457FA57-250B-44AC-8655-05D46C5A3D8A}" dt="2023-05-16T17:21:57.663" v="1158" actId="1076"/>
          <ac:spMkLst>
            <pc:docMk/>
            <pc:sldMk cId="2286230808" sldId="266"/>
            <ac:spMk id="188" creationId="{B2F253B5-EFD7-41DE-B380-B2B7C51E56C3}"/>
          </ac:spMkLst>
        </pc:spChg>
        <pc:spChg chg="add mod">
          <ac:chgData name="El Bakkouri, Manal" userId="8b130982-2e3f-4164-b881-fd3a2e4b2453" providerId="ADAL" clId="{4457FA57-250B-44AC-8655-05D46C5A3D8A}" dt="2023-05-16T17:21:57.663" v="1158" actId="1076"/>
          <ac:spMkLst>
            <pc:docMk/>
            <pc:sldMk cId="2286230808" sldId="266"/>
            <ac:spMk id="189" creationId="{73D1609D-792E-435A-B61D-82AF460582B1}"/>
          </ac:spMkLst>
        </pc:spChg>
        <pc:spChg chg="add mod">
          <ac:chgData name="El Bakkouri, Manal" userId="8b130982-2e3f-4164-b881-fd3a2e4b2453" providerId="ADAL" clId="{4457FA57-250B-44AC-8655-05D46C5A3D8A}" dt="2023-05-16T17:21:57.663" v="1158" actId="1076"/>
          <ac:spMkLst>
            <pc:docMk/>
            <pc:sldMk cId="2286230808" sldId="266"/>
            <ac:spMk id="190" creationId="{99575150-4F35-485F-89D5-98D13E26B0DA}"/>
          </ac:spMkLst>
        </pc:spChg>
        <pc:spChg chg="add mod">
          <ac:chgData name="El Bakkouri, Manal" userId="8b130982-2e3f-4164-b881-fd3a2e4b2453" providerId="ADAL" clId="{4457FA57-250B-44AC-8655-05D46C5A3D8A}" dt="2023-05-16T17:21:57.663" v="1158" actId="1076"/>
          <ac:spMkLst>
            <pc:docMk/>
            <pc:sldMk cId="2286230808" sldId="266"/>
            <ac:spMk id="191" creationId="{ECEDA93B-C38E-44F0-AB15-FF3B83B1E0C0}"/>
          </ac:spMkLst>
        </pc:spChg>
        <pc:spChg chg="add mod">
          <ac:chgData name="El Bakkouri, Manal" userId="8b130982-2e3f-4164-b881-fd3a2e4b2453" providerId="ADAL" clId="{4457FA57-250B-44AC-8655-05D46C5A3D8A}" dt="2023-05-16T17:21:57.663" v="1158" actId="1076"/>
          <ac:spMkLst>
            <pc:docMk/>
            <pc:sldMk cId="2286230808" sldId="266"/>
            <ac:spMk id="192" creationId="{2A22CF2F-DCB7-46D6-A22C-B9B598E3811B}"/>
          </ac:spMkLst>
        </pc:spChg>
        <pc:spChg chg="add mod">
          <ac:chgData name="El Bakkouri, Manal" userId="8b130982-2e3f-4164-b881-fd3a2e4b2453" providerId="ADAL" clId="{4457FA57-250B-44AC-8655-05D46C5A3D8A}" dt="2023-05-16T17:21:57.663" v="1158" actId="1076"/>
          <ac:spMkLst>
            <pc:docMk/>
            <pc:sldMk cId="2286230808" sldId="266"/>
            <ac:spMk id="193" creationId="{CE2D86A8-3848-48D8-BDB5-E69B7A1B02B2}"/>
          </ac:spMkLst>
        </pc:spChg>
        <pc:spChg chg="add mod">
          <ac:chgData name="El Bakkouri, Manal" userId="8b130982-2e3f-4164-b881-fd3a2e4b2453" providerId="ADAL" clId="{4457FA57-250B-44AC-8655-05D46C5A3D8A}" dt="2023-05-16T17:21:57.663" v="1158" actId="1076"/>
          <ac:spMkLst>
            <pc:docMk/>
            <pc:sldMk cId="2286230808" sldId="266"/>
            <ac:spMk id="194" creationId="{47F26BE6-625F-48B1-A163-8BCD0BBD90C9}"/>
          </ac:spMkLst>
        </pc:spChg>
        <pc:spChg chg="add mod">
          <ac:chgData name="El Bakkouri, Manal" userId="8b130982-2e3f-4164-b881-fd3a2e4b2453" providerId="ADAL" clId="{4457FA57-250B-44AC-8655-05D46C5A3D8A}" dt="2023-05-16T17:21:57.663" v="1158" actId="1076"/>
          <ac:spMkLst>
            <pc:docMk/>
            <pc:sldMk cId="2286230808" sldId="266"/>
            <ac:spMk id="195" creationId="{04E50AA2-1DC9-4CC5-B08E-0D73A6DAEC21}"/>
          </ac:spMkLst>
        </pc:spChg>
        <pc:spChg chg="add mod">
          <ac:chgData name="El Bakkouri, Manal" userId="8b130982-2e3f-4164-b881-fd3a2e4b2453" providerId="ADAL" clId="{4457FA57-250B-44AC-8655-05D46C5A3D8A}" dt="2023-05-16T17:21:57.663" v="1158" actId="1076"/>
          <ac:spMkLst>
            <pc:docMk/>
            <pc:sldMk cId="2286230808" sldId="266"/>
            <ac:spMk id="196" creationId="{4ED5BE2E-8D75-4676-B4FB-8E819A14EAC6}"/>
          </ac:spMkLst>
        </pc:spChg>
        <pc:spChg chg="add mod">
          <ac:chgData name="El Bakkouri, Manal" userId="8b130982-2e3f-4164-b881-fd3a2e4b2453" providerId="ADAL" clId="{4457FA57-250B-44AC-8655-05D46C5A3D8A}" dt="2023-05-16T17:21:57.663" v="1158" actId="1076"/>
          <ac:spMkLst>
            <pc:docMk/>
            <pc:sldMk cId="2286230808" sldId="266"/>
            <ac:spMk id="197" creationId="{47FE0EAD-68C5-444C-9580-41BE3401ECC3}"/>
          </ac:spMkLst>
        </pc:spChg>
        <pc:spChg chg="add mod">
          <ac:chgData name="El Bakkouri, Manal" userId="8b130982-2e3f-4164-b881-fd3a2e4b2453" providerId="ADAL" clId="{4457FA57-250B-44AC-8655-05D46C5A3D8A}" dt="2023-05-16T17:21:57.663" v="1158" actId="1076"/>
          <ac:spMkLst>
            <pc:docMk/>
            <pc:sldMk cId="2286230808" sldId="266"/>
            <ac:spMk id="198" creationId="{10F2ABAD-1BCB-4F76-9CF1-DCBE85844204}"/>
          </ac:spMkLst>
        </pc:spChg>
        <pc:spChg chg="add mod">
          <ac:chgData name="El Bakkouri, Manal" userId="8b130982-2e3f-4164-b881-fd3a2e4b2453" providerId="ADAL" clId="{4457FA57-250B-44AC-8655-05D46C5A3D8A}" dt="2023-05-16T17:21:57.663" v="1158" actId="1076"/>
          <ac:spMkLst>
            <pc:docMk/>
            <pc:sldMk cId="2286230808" sldId="266"/>
            <ac:spMk id="199" creationId="{6DF26E05-8651-4ECC-8310-AA40FCAB1CFB}"/>
          </ac:spMkLst>
        </pc:spChg>
        <pc:spChg chg="add mod">
          <ac:chgData name="El Bakkouri, Manal" userId="8b130982-2e3f-4164-b881-fd3a2e4b2453" providerId="ADAL" clId="{4457FA57-250B-44AC-8655-05D46C5A3D8A}" dt="2023-05-16T17:21:57.663" v="1158" actId="1076"/>
          <ac:spMkLst>
            <pc:docMk/>
            <pc:sldMk cId="2286230808" sldId="266"/>
            <ac:spMk id="200" creationId="{19E2B84B-855B-48A1-9636-58C948F2BC9C}"/>
          </ac:spMkLst>
        </pc:spChg>
        <pc:spChg chg="add mod">
          <ac:chgData name="El Bakkouri, Manal" userId="8b130982-2e3f-4164-b881-fd3a2e4b2453" providerId="ADAL" clId="{4457FA57-250B-44AC-8655-05D46C5A3D8A}" dt="2023-05-16T17:21:57.663" v="1158" actId="1076"/>
          <ac:spMkLst>
            <pc:docMk/>
            <pc:sldMk cId="2286230808" sldId="266"/>
            <ac:spMk id="201" creationId="{AF2B2C20-30AA-474D-A593-A7D50B476609}"/>
          </ac:spMkLst>
        </pc:spChg>
        <pc:spChg chg="add mod">
          <ac:chgData name="El Bakkouri, Manal" userId="8b130982-2e3f-4164-b881-fd3a2e4b2453" providerId="ADAL" clId="{4457FA57-250B-44AC-8655-05D46C5A3D8A}" dt="2023-05-16T17:21:57.663" v="1158" actId="1076"/>
          <ac:spMkLst>
            <pc:docMk/>
            <pc:sldMk cId="2286230808" sldId="266"/>
            <ac:spMk id="202" creationId="{D5B83E9A-366D-43BD-B420-854030287989}"/>
          </ac:spMkLst>
        </pc:spChg>
        <pc:spChg chg="add mod">
          <ac:chgData name="El Bakkouri, Manal" userId="8b130982-2e3f-4164-b881-fd3a2e4b2453" providerId="ADAL" clId="{4457FA57-250B-44AC-8655-05D46C5A3D8A}" dt="2023-05-16T17:21:57.663" v="1158" actId="1076"/>
          <ac:spMkLst>
            <pc:docMk/>
            <pc:sldMk cId="2286230808" sldId="266"/>
            <ac:spMk id="203" creationId="{80817A14-25D7-4D12-A09D-ED74854CB8CE}"/>
          </ac:spMkLst>
        </pc:spChg>
        <pc:spChg chg="add mod">
          <ac:chgData name="El Bakkouri, Manal" userId="8b130982-2e3f-4164-b881-fd3a2e4b2453" providerId="ADAL" clId="{4457FA57-250B-44AC-8655-05D46C5A3D8A}" dt="2023-05-16T17:21:57.663" v="1158" actId="1076"/>
          <ac:spMkLst>
            <pc:docMk/>
            <pc:sldMk cId="2286230808" sldId="266"/>
            <ac:spMk id="204" creationId="{7ABD039D-8F88-4C6E-9FCD-71376C955330}"/>
          </ac:spMkLst>
        </pc:spChg>
        <pc:spChg chg="add mod">
          <ac:chgData name="El Bakkouri, Manal" userId="8b130982-2e3f-4164-b881-fd3a2e4b2453" providerId="ADAL" clId="{4457FA57-250B-44AC-8655-05D46C5A3D8A}" dt="2023-05-16T17:21:57.663" v="1158" actId="1076"/>
          <ac:spMkLst>
            <pc:docMk/>
            <pc:sldMk cId="2286230808" sldId="266"/>
            <ac:spMk id="205" creationId="{FC405034-65AE-4944-B7B9-ACDB530F0563}"/>
          </ac:spMkLst>
        </pc:spChg>
        <pc:spChg chg="add mod">
          <ac:chgData name="El Bakkouri, Manal" userId="8b130982-2e3f-4164-b881-fd3a2e4b2453" providerId="ADAL" clId="{4457FA57-250B-44AC-8655-05D46C5A3D8A}" dt="2023-05-16T17:21:57.663" v="1158" actId="1076"/>
          <ac:spMkLst>
            <pc:docMk/>
            <pc:sldMk cId="2286230808" sldId="266"/>
            <ac:spMk id="206" creationId="{FB2835BB-4B28-48C5-8D05-26FD959C028F}"/>
          </ac:spMkLst>
        </pc:spChg>
        <pc:spChg chg="add mod">
          <ac:chgData name="El Bakkouri, Manal" userId="8b130982-2e3f-4164-b881-fd3a2e4b2453" providerId="ADAL" clId="{4457FA57-250B-44AC-8655-05D46C5A3D8A}" dt="2023-05-16T17:21:57.663" v="1158" actId="1076"/>
          <ac:spMkLst>
            <pc:docMk/>
            <pc:sldMk cId="2286230808" sldId="266"/>
            <ac:spMk id="207" creationId="{166917FB-88DA-4B1F-9672-53446DDC4504}"/>
          </ac:spMkLst>
        </pc:spChg>
        <pc:spChg chg="add mod">
          <ac:chgData name="El Bakkouri, Manal" userId="8b130982-2e3f-4164-b881-fd3a2e4b2453" providerId="ADAL" clId="{4457FA57-250B-44AC-8655-05D46C5A3D8A}" dt="2023-05-16T17:21:57.663" v="1158" actId="1076"/>
          <ac:spMkLst>
            <pc:docMk/>
            <pc:sldMk cId="2286230808" sldId="266"/>
            <ac:spMk id="208" creationId="{C58863AA-B31A-449E-B419-DC1D855E6B3B}"/>
          </ac:spMkLst>
        </pc:spChg>
        <pc:spChg chg="add mod">
          <ac:chgData name="El Bakkouri, Manal" userId="8b130982-2e3f-4164-b881-fd3a2e4b2453" providerId="ADAL" clId="{4457FA57-250B-44AC-8655-05D46C5A3D8A}" dt="2023-05-16T17:21:57.663" v="1158" actId="1076"/>
          <ac:spMkLst>
            <pc:docMk/>
            <pc:sldMk cId="2286230808" sldId="266"/>
            <ac:spMk id="209" creationId="{86098D2A-659C-4B08-9222-A28F8F581485}"/>
          </ac:spMkLst>
        </pc:spChg>
        <pc:spChg chg="add mod">
          <ac:chgData name="El Bakkouri, Manal" userId="8b130982-2e3f-4164-b881-fd3a2e4b2453" providerId="ADAL" clId="{4457FA57-250B-44AC-8655-05D46C5A3D8A}" dt="2023-05-16T17:21:57.663" v="1158" actId="1076"/>
          <ac:spMkLst>
            <pc:docMk/>
            <pc:sldMk cId="2286230808" sldId="266"/>
            <ac:spMk id="210" creationId="{3BABECE0-7B0E-4D0E-B6A2-36555E0C1FC1}"/>
          </ac:spMkLst>
        </pc:spChg>
        <pc:spChg chg="add mod">
          <ac:chgData name="El Bakkouri, Manal" userId="8b130982-2e3f-4164-b881-fd3a2e4b2453" providerId="ADAL" clId="{4457FA57-250B-44AC-8655-05D46C5A3D8A}" dt="2023-05-16T17:21:57.663" v="1158" actId="1076"/>
          <ac:spMkLst>
            <pc:docMk/>
            <pc:sldMk cId="2286230808" sldId="266"/>
            <ac:spMk id="211" creationId="{B62F4AF8-5FC9-476A-896E-43DF422196FF}"/>
          </ac:spMkLst>
        </pc:spChg>
        <pc:spChg chg="add mod">
          <ac:chgData name="El Bakkouri, Manal" userId="8b130982-2e3f-4164-b881-fd3a2e4b2453" providerId="ADAL" clId="{4457FA57-250B-44AC-8655-05D46C5A3D8A}" dt="2023-05-16T17:21:57.663" v="1158" actId="1076"/>
          <ac:spMkLst>
            <pc:docMk/>
            <pc:sldMk cId="2286230808" sldId="266"/>
            <ac:spMk id="212" creationId="{BB48D6D0-ADF8-4434-B9C9-1DEF90D37EBC}"/>
          </ac:spMkLst>
        </pc:spChg>
        <pc:spChg chg="add mod">
          <ac:chgData name="El Bakkouri, Manal" userId="8b130982-2e3f-4164-b881-fd3a2e4b2453" providerId="ADAL" clId="{4457FA57-250B-44AC-8655-05D46C5A3D8A}" dt="2023-05-16T17:21:57.663" v="1158" actId="1076"/>
          <ac:spMkLst>
            <pc:docMk/>
            <pc:sldMk cId="2286230808" sldId="266"/>
            <ac:spMk id="213" creationId="{D0672E61-460A-4BE9-9119-AFAAD2A4F35F}"/>
          </ac:spMkLst>
        </pc:spChg>
        <pc:spChg chg="add mod">
          <ac:chgData name="El Bakkouri, Manal" userId="8b130982-2e3f-4164-b881-fd3a2e4b2453" providerId="ADAL" clId="{4457FA57-250B-44AC-8655-05D46C5A3D8A}" dt="2023-05-16T17:21:57.663" v="1158" actId="1076"/>
          <ac:spMkLst>
            <pc:docMk/>
            <pc:sldMk cId="2286230808" sldId="266"/>
            <ac:spMk id="214" creationId="{DB52E4E8-8BD2-40C3-9986-022E40828DD4}"/>
          </ac:spMkLst>
        </pc:spChg>
        <pc:spChg chg="add mod">
          <ac:chgData name="El Bakkouri, Manal" userId="8b130982-2e3f-4164-b881-fd3a2e4b2453" providerId="ADAL" clId="{4457FA57-250B-44AC-8655-05D46C5A3D8A}" dt="2023-05-16T17:21:57.663" v="1158" actId="1076"/>
          <ac:spMkLst>
            <pc:docMk/>
            <pc:sldMk cId="2286230808" sldId="266"/>
            <ac:spMk id="215" creationId="{607ABF09-E1B2-41C8-BBBB-ACAB2974773C}"/>
          </ac:spMkLst>
        </pc:spChg>
        <pc:spChg chg="add mod">
          <ac:chgData name="El Bakkouri, Manal" userId="8b130982-2e3f-4164-b881-fd3a2e4b2453" providerId="ADAL" clId="{4457FA57-250B-44AC-8655-05D46C5A3D8A}" dt="2023-05-16T17:21:57.663" v="1158" actId="1076"/>
          <ac:spMkLst>
            <pc:docMk/>
            <pc:sldMk cId="2286230808" sldId="266"/>
            <ac:spMk id="216" creationId="{1BE64C27-84EC-43E7-98C8-9E2D081CB65E}"/>
          </ac:spMkLst>
        </pc:spChg>
        <pc:spChg chg="add mod">
          <ac:chgData name="El Bakkouri, Manal" userId="8b130982-2e3f-4164-b881-fd3a2e4b2453" providerId="ADAL" clId="{4457FA57-250B-44AC-8655-05D46C5A3D8A}" dt="2023-05-16T17:21:57.663" v="1158" actId="1076"/>
          <ac:spMkLst>
            <pc:docMk/>
            <pc:sldMk cId="2286230808" sldId="266"/>
            <ac:spMk id="217" creationId="{B3F94EDA-2AE2-4355-820E-ED9B9EE8D79A}"/>
          </ac:spMkLst>
        </pc:spChg>
        <pc:spChg chg="add mod">
          <ac:chgData name="El Bakkouri, Manal" userId="8b130982-2e3f-4164-b881-fd3a2e4b2453" providerId="ADAL" clId="{4457FA57-250B-44AC-8655-05D46C5A3D8A}" dt="2023-05-16T17:21:57.663" v="1158" actId="1076"/>
          <ac:spMkLst>
            <pc:docMk/>
            <pc:sldMk cId="2286230808" sldId="266"/>
            <ac:spMk id="218" creationId="{B6353A83-00A0-4CD5-8149-89D4D5A81CD6}"/>
          </ac:spMkLst>
        </pc:spChg>
        <pc:spChg chg="add mod">
          <ac:chgData name="El Bakkouri, Manal" userId="8b130982-2e3f-4164-b881-fd3a2e4b2453" providerId="ADAL" clId="{4457FA57-250B-44AC-8655-05D46C5A3D8A}" dt="2023-05-16T17:21:57.663" v="1158" actId="1076"/>
          <ac:spMkLst>
            <pc:docMk/>
            <pc:sldMk cId="2286230808" sldId="266"/>
            <ac:spMk id="219" creationId="{84621736-EDA2-4425-85A7-BF9D368B822F}"/>
          </ac:spMkLst>
        </pc:spChg>
        <pc:spChg chg="add mod">
          <ac:chgData name="El Bakkouri, Manal" userId="8b130982-2e3f-4164-b881-fd3a2e4b2453" providerId="ADAL" clId="{4457FA57-250B-44AC-8655-05D46C5A3D8A}" dt="2023-05-16T17:21:57.663" v="1158" actId="1076"/>
          <ac:spMkLst>
            <pc:docMk/>
            <pc:sldMk cId="2286230808" sldId="266"/>
            <ac:spMk id="220" creationId="{BBF2A3B4-F444-446F-9057-ECB22229B17F}"/>
          </ac:spMkLst>
        </pc:spChg>
        <pc:spChg chg="add mod">
          <ac:chgData name="El Bakkouri, Manal" userId="8b130982-2e3f-4164-b881-fd3a2e4b2453" providerId="ADAL" clId="{4457FA57-250B-44AC-8655-05D46C5A3D8A}" dt="2023-05-16T17:21:57.663" v="1158" actId="1076"/>
          <ac:spMkLst>
            <pc:docMk/>
            <pc:sldMk cId="2286230808" sldId="266"/>
            <ac:spMk id="221" creationId="{9A7E8880-9217-4FF4-B22B-EF52F463FF54}"/>
          </ac:spMkLst>
        </pc:spChg>
        <pc:spChg chg="add mod">
          <ac:chgData name="El Bakkouri, Manal" userId="8b130982-2e3f-4164-b881-fd3a2e4b2453" providerId="ADAL" clId="{4457FA57-250B-44AC-8655-05D46C5A3D8A}" dt="2023-05-16T17:21:57.663" v="1158" actId="1076"/>
          <ac:spMkLst>
            <pc:docMk/>
            <pc:sldMk cId="2286230808" sldId="266"/>
            <ac:spMk id="222" creationId="{B420B618-5D9D-4544-9669-23B71706F4E0}"/>
          </ac:spMkLst>
        </pc:spChg>
        <pc:spChg chg="add mod">
          <ac:chgData name="El Bakkouri, Manal" userId="8b130982-2e3f-4164-b881-fd3a2e4b2453" providerId="ADAL" clId="{4457FA57-250B-44AC-8655-05D46C5A3D8A}" dt="2023-05-16T17:21:57.663" v="1158" actId="1076"/>
          <ac:spMkLst>
            <pc:docMk/>
            <pc:sldMk cId="2286230808" sldId="266"/>
            <ac:spMk id="223" creationId="{280506C6-3071-4AE5-B3E5-CBCF65A1D8C9}"/>
          </ac:spMkLst>
        </pc:spChg>
        <pc:spChg chg="add mod">
          <ac:chgData name="El Bakkouri, Manal" userId="8b130982-2e3f-4164-b881-fd3a2e4b2453" providerId="ADAL" clId="{4457FA57-250B-44AC-8655-05D46C5A3D8A}" dt="2023-05-16T17:21:57.663" v="1158" actId="1076"/>
          <ac:spMkLst>
            <pc:docMk/>
            <pc:sldMk cId="2286230808" sldId="266"/>
            <ac:spMk id="224" creationId="{5A8B468A-E507-4464-97BD-CAC2407A484A}"/>
          </ac:spMkLst>
        </pc:spChg>
        <pc:spChg chg="add mod">
          <ac:chgData name="El Bakkouri, Manal" userId="8b130982-2e3f-4164-b881-fd3a2e4b2453" providerId="ADAL" clId="{4457FA57-250B-44AC-8655-05D46C5A3D8A}" dt="2023-05-16T17:21:57.663" v="1158" actId="1076"/>
          <ac:spMkLst>
            <pc:docMk/>
            <pc:sldMk cId="2286230808" sldId="266"/>
            <ac:spMk id="225" creationId="{4160F044-F14F-4763-A5F2-80E1482A72EE}"/>
          </ac:spMkLst>
        </pc:spChg>
        <pc:spChg chg="add mod">
          <ac:chgData name="El Bakkouri, Manal" userId="8b130982-2e3f-4164-b881-fd3a2e4b2453" providerId="ADAL" clId="{4457FA57-250B-44AC-8655-05D46C5A3D8A}" dt="2023-05-16T17:21:57.663" v="1158" actId="1076"/>
          <ac:spMkLst>
            <pc:docMk/>
            <pc:sldMk cId="2286230808" sldId="266"/>
            <ac:spMk id="226" creationId="{E20F6AEB-8699-49CC-8E7B-1696AB3026E0}"/>
          </ac:spMkLst>
        </pc:spChg>
        <pc:spChg chg="add mod">
          <ac:chgData name="El Bakkouri, Manal" userId="8b130982-2e3f-4164-b881-fd3a2e4b2453" providerId="ADAL" clId="{4457FA57-250B-44AC-8655-05D46C5A3D8A}" dt="2023-05-16T17:21:57.663" v="1158" actId="1076"/>
          <ac:spMkLst>
            <pc:docMk/>
            <pc:sldMk cId="2286230808" sldId="266"/>
            <ac:spMk id="227" creationId="{3DE531B8-967E-46F0-A7D9-070303ADC4A2}"/>
          </ac:spMkLst>
        </pc:spChg>
        <pc:spChg chg="add mod">
          <ac:chgData name="El Bakkouri, Manal" userId="8b130982-2e3f-4164-b881-fd3a2e4b2453" providerId="ADAL" clId="{4457FA57-250B-44AC-8655-05D46C5A3D8A}" dt="2023-05-16T17:21:57.663" v="1158" actId="1076"/>
          <ac:spMkLst>
            <pc:docMk/>
            <pc:sldMk cId="2286230808" sldId="266"/>
            <ac:spMk id="228" creationId="{457A56E8-13DE-40F5-A32B-2B73CCFE37AF}"/>
          </ac:spMkLst>
        </pc:spChg>
        <pc:spChg chg="add mod">
          <ac:chgData name="El Bakkouri, Manal" userId="8b130982-2e3f-4164-b881-fd3a2e4b2453" providerId="ADAL" clId="{4457FA57-250B-44AC-8655-05D46C5A3D8A}" dt="2023-05-16T17:21:57.663" v="1158" actId="1076"/>
          <ac:spMkLst>
            <pc:docMk/>
            <pc:sldMk cId="2286230808" sldId="266"/>
            <ac:spMk id="229" creationId="{0935BEB4-B98D-4E95-A397-A05EA558CBFA}"/>
          </ac:spMkLst>
        </pc:spChg>
        <pc:spChg chg="add mod">
          <ac:chgData name="El Bakkouri, Manal" userId="8b130982-2e3f-4164-b881-fd3a2e4b2453" providerId="ADAL" clId="{4457FA57-250B-44AC-8655-05D46C5A3D8A}" dt="2023-05-16T17:21:57.663" v="1158" actId="1076"/>
          <ac:spMkLst>
            <pc:docMk/>
            <pc:sldMk cId="2286230808" sldId="266"/>
            <ac:spMk id="230" creationId="{F810B1D3-982A-42E9-B5CE-BFCA3D1572A8}"/>
          </ac:spMkLst>
        </pc:spChg>
        <pc:spChg chg="add mod">
          <ac:chgData name="El Bakkouri, Manal" userId="8b130982-2e3f-4164-b881-fd3a2e4b2453" providerId="ADAL" clId="{4457FA57-250B-44AC-8655-05D46C5A3D8A}" dt="2023-05-16T17:21:57.663" v="1158" actId="1076"/>
          <ac:spMkLst>
            <pc:docMk/>
            <pc:sldMk cId="2286230808" sldId="266"/>
            <ac:spMk id="231" creationId="{7FAC24B7-5C71-46D8-9E56-64C70C511594}"/>
          </ac:spMkLst>
        </pc:spChg>
        <pc:spChg chg="add mod">
          <ac:chgData name="El Bakkouri, Manal" userId="8b130982-2e3f-4164-b881-fd3a2e4b2453" providerId="ADAL" clId="{4457FA57-250B-44AC-8655-05D46C5A3D8A}" dt="2023-05-16T17:21:57.663" v="1158" actId="1076"/>
          <ac:spMkLst>
            <pc:docMk/>
            <pc:sldMk cId="2286230808" sldId="266"/>
            <ac:spMk id="232" creationId="{BA571B86-1C91-46CF-B971-DD1CD652D426}"/>
          </ac:spMkLst>
        </pc:spChg>
        <pc:spChg chg="add mod">
          <ac:chgData name="El Bakkouri, Manal" userId="8b130982-2e3f-4164-b881-fd3a2e4b2453" providerId="ADAL" clId="{4457FA57-250B-44AC-8655-05D46C5A3D8A}" dt="2023-05-16T17:21:57.663" v="1158" actId="1076"/>
          <ac:spMkLst>
            <pc:docMk/>
            <pc:sldMk cId="2286230808" sldId="266"/>
            <ac:spMk id="233" creationId="{8C79CDAA-47D5-491F-8661-BFCFE00797ED}"/>
          </ac:spMkLst>
        </pc:spChg>
        <pc:spChg chg="add mod">
          <ac:chgData name="El Bakkouri, Manal" userId="8b130982-2e3f-4164-b881-fd3a2e4b2453" providerId="ADAL" clId="{4457FA57-250B-44AC-8655-05D46C5A3D8A}" dt="2023-05-16T17:21:57.663" v="1158" actId="1076"/>
          <ac:spMkLst>
            <pc:docMk/>
            <pc:sldMk cId="2286230808" sldId="266"/>
            <ac:spMk id="234" creationId="{9BA0B372-4D39-4B00-8DC0-26AD9E82A0EE}"/>
          </ac:spMkLst>
        </pc:spChg>
        <pc:spChg chg="add mod">
          <ac:chgData name="El Bakkouri, Manal" userId="8b130982-2e3f-4164-b881-fd3a2e4b2453" providerId="ADAL" clId="{4457FA57-250B-44AC-8655-05D46C5A3D8A}" dt="2023-05-16T17:21:57.663" v="1158" actId="1076"/>
          <ac:spMkLst>
            <pc:docMk/>
            <pc:sldMk cId="2286230808" sldId="266"/>
            <ac:spMk id="235" creationId="{C7EC7CE0-53B0-4DC0-899A-BE98FC128C52}"/>
          </ac:spMkLst>
        </pc:spChg>
        <pc:spChg chg="add mod">
          <ac:chgData name="El Bakkouri, Manal" userId="8b130982-2e3f-4164-b881-fd3a2e4b2453" providerId="ADAL" clId="{4457FA57-250B-44AC-8655-05D46C5A3D8A}" dt="2023-05-16T17:21:57.663" v="1158" actId="1076"/>
          <ac:spMkLst>
            <pc:docMk/>
            <pc:sldMk cId="2286230808" sldId="266"/>
            <ac:spMk id="236" creationId="{2AD97F16-390C-4707-AE29-50D8E97499C5}"/>
          </ac:spMkLst>
        </pc:spChg>
        <pc:spChg chg="add mod">
          <ac:chgData name="El Bakkouri, Manal" userId="8b130982-2e3f-4164-b881-fd3a2e4b2453" providerId="ADAL" clId="{4457FA57-250B-44AC-8655-05D46C5A3D8A}" dt="2023-05-16T17:21:57.663" v="1158" actId="1076"/>
          <ac:spMkLst>
            <pc:docMk/>
            <pc:sldMk cId="2286230808" sldId="266"/>
            <ac:spMk id="237" creationId="{70AD5929-9773-4468-B390-45B30D44984E}"/>
          </ac:spMkLst>
        </pc:spChg>
        <pc:spChg chg="add mod">
          <ac:chgData name="El Bakkouri, Manal" userId="8b130982-2e3f-4164-b881-fd3a2e4b2453" providerId="ADAL" clId="{4457FA57-250B-44AC-8655-05D46C5A3D8A}" dt="2023-05-16T17:21:57.663" v="1158" actId="1076"/>
          <ac:spMkLst>
            <pc:docMk/>
            <pc:sldMk cId="2286230808" sldId="266"/>
            <ac:spMk id="238" creationId="{D2F83470-2EF0-48D7-AD40-824ADECEA3F5}"/>
          </ac:spMkLst>
        </pc:spChg>
        <pc:spChg chg="add mod">
          <ac:chgData name="El Bakkouri, Manal" userId="8b130982-2e3f-4164-b881-fd3a2e4b2453" providerId="ADAL" clId="{4457FA57-250B-44AC-8655-05D46C5A3D8A}" dt="2023-05-16T17:21:57.663" v="1158" actId="1076"/>
          <ac:spMkLst>
            <pc:docMk/>
            <pc:sldMk cId="2286230808" sldId="266"/>
            <ac:spMk id="239" creationId="{DF60F6EC-82B4-47A2-B03F-DEAC520C8B70}"/>
          </ac:spMkLst>
        </pc:spChg>
        <pc:spChg chg="add mod">
          <ac:chgData name="El Bakkouri, Manal" userId="8b130982-2e3f-4164-b881-fd3a2e4b2453" providerId="ADAL" clId="{4457FA57-250B-44AC-8655-05D46C5A3D8A}" dt="2023-05-16T17:21:57.663" v="1158" actId="1076"/>
          <ac:spMkLst>
            <pc:docMk/>
            <pc:sldMk cId="2286230808" sldId="266"/>
            <ac:spMk id="240" creationId="{27E32A1D-D525-49B4-8758-371FABE283F4}"/>
          </ac:spMkLst>
        </pc:spChg>
        <pc:spChg chg="add mod">
          <ac:chgData name="El Bakkouri, Manal" userId="8b130982-2e3f-4164-b881-fd3a2e4b2453" providerId="ADAL" clId="{4457FA57-250B-44AC-8655-05D46C5A3D8A}" dt="2023-05-16T17:21:57.663" v="1158" actId="1076"/>
          <ac:spMkLst>
            <pc:docMk/>
            <pc:sldMk cId="2286230808" sldId="266"/>
            <ac:spMk id="241" creationId="{098BB4CC-311D-4702-B5AF-E01C65E1665B}"/>
          </ac:spMkLst>
        </pc:spChg>
        <pc:spChg chg="add mod">
          <ac:chgData name="El Bakkouri, Manal" userId="8b130982-2e3f-4164-b881-fd3a2e4b2453" providerId="ADAL" clId="{4457FA57-250B-44AC-8655-05D46C5A3D8A}" dt="2023-05-16T17:21:57.663" v="1158" actId="1076"/>
          <ac:spMkLst>
            <pc:docMk/>
            <pc:sldMk cId="2286230808" sldId="266"/>
            <ac:spMk id="242" creationId="{797F68AB-D6EB-4E11-89D7-B52CFF5111E6}"/>
          </ac:spMkLst>
        </pc:spChg>
        <pc:spChg chg="add mod">
          <ac:chgData name="El Bakkouri, Manal" userId="8b130982-2e3f-4164-b881-fd3a2e4b2453" providerId="ADAL" clId="{4457FA57-250B-44AC-8655-05D46C5A3D8A}" dt="2023-05-16T17:21:57.663" v="1158" actId="1076"/>
          <ac:spMkLst>
            <pc:docMk/>
            <pc:sldMk cId="2286230808" sldId="266"/>
            <ac:spMk id="243" creationId="{239210CB-5A97-4AA8-8B25-F332848433D2}"/>
          </ac:spMkLst>
        </pc:spChg>
        <pc:spChg chg="add mod">
          <ac:chgData name="El Bakkouri, Manal" userId="8b130982-2e3f-4164-b881-fd3a2e4b2453" providerId="ADAL" clId="{4457FA57-250B-44AC-8655-05D46C5A3D8A}" dt="2023-05-16T17:21:57.663" v="1158" actId="1076"/>
          <ac:spMkLst>
            <pc:docMk/>
            <pc:sldMk cId="2286230808" sldId="266"/>
            <ac:spMk id="244" creationId="{0D632F26-0CB9-4A90-9C12-834B374D55F5}"/>
          </ac:spMkLst>
        </pc:spChg>
        <pc:spChg chg="add mod">
          <ac:chgData name="El Bakkouri, Manal" userId="8b130982-2e3f-4164-b881-fd3a2e4b2453" providerId="ADAL" clId="{4457FA57-250B-44AC-8655-05D46C5A3D8A}" dt="2023-05-16T17:21:57.663" v="1158" actId="1076"/>
          <ac:spMkLst>
            <pc:docMk/>
            <pc:sldMk cId="2286230808" sldId="266"/>
            <ac:spMk id="245" creationId="{5C1A86F5-9F08-4498-B561-241F447F0ABC}"/>
          </ac:spMkLst>
        </pc:spChg>
        <pc:spChg chg="add mod">
          <ac:chgData name="El Bakkouri, Manal" userId="8b130982-2e3f-4164-b881-fd3a2e4b2453" providerId="ADAL" clId="{4457FA57-250B-44AC-8655-05D46C5A3D8A}" dt="2023-05-16T17:21:57.663" v="1158" actId="1076"/>
          <ac:spMkLst>
            <pc:docMk/>
            <pc:sldMk cId="2286230808" sldId="266"/>
            <ac:spMk id="246" creationId="{7C413453-E83E-49C6-B4AC-040359EB1F64}"/>
          </ac:spMkLst>
        </pc:spChg>
        <pc:spChg chg="add mod">
          <ac:chgData name="El Bakkouri, Manal" userId="8b130982-2e3f-4164-b881-fd3a2e4b2453" providerId="ADAL" clId="{4457FA57-250B-44AC-8655-05D46C5A3D8A}" dt="2023-05-16T17:21:57.663" v="1158" actId="1076"/>
          <ac:spMkLst>
            <pc:docMk/>
            <pc:sldMk cId="2286230808" sldId="266"/>
            <ac:spMk id="247" creationId="{41D0B541-68BC-4BA6-B95B-70DA44EC05B5}"/>
          </ac:spMkLst>
        </pc:spChg>
        <pc:spChg chg="add mod">
          <ac:chgData name="El Bakkouri, Manal" userId="8b130982-2e3f-4164-b881-fd3a2e4b2453" providerId="ADAL" clId="{4457FA57-250B-44AC-8655-05D46C5A3D8A}" dt="2023-05-16T17:21:57.663" v="1158" actId="1076"/>
          <ac:spMkLst>
            <pc:docMk/>
            <pc:sldMk cId="2286230808" sldId="266"/>
            <ac:spMk id="248" creationId="{6AAA0196-CA5A-4343-A8D2-7F97C85BADE2}"/>
          </ac:spMkLst>
        </pc:spChg>
        <pc:spChg chg="add mod">
          <ac:chgData name="El Bakkouri, Manal" userId="8b130982-2e3f-4164-b881-fd3a2e4b2453" providerId="ADAL" clId="{4457FA57-250B-44AC-8655-05D46C5A3D8A}" dt="2023-05-16T17:21:57.663" v="1158" actId="1076"/>
          <ac:spMkLst>
            <pc:docMk/>
            <pc:sldMk cId="2286230808" sldId="266"/>
            <ac:spMk id="249" creationId="{5823B1A5-DAA9-42EE-9231-AAF74649AFAA}"/>
          </ac:spMkLst>
        </pc:spChg>
        <pc:grpChg chg="add mod">
          <ac:chgData name="El Bakkouri, Manal" userId="8b130982-2e3f-4164-b881-fd3a2e4b2453" providerId="ADAL" clId="{4457FA57-250B-44AC-8655-05D46C5A3D8A}" dt="2023-05-16T17:22:01.645" v="1159" actId="1076"/>
          <ac:grpSpMkLst>
            <pc:docMk/>
            <pc:sldMk cId="2286230808" sldId="266"/>
            <ac:grpSpMk id="127" creationId="{BF42D095-C7E8-4F7D-A602-053D9C8D1A5E}"/>
          </ac:grpSpMkLst>
        </pc:grpChg>
      </pc:sldChg>
      <pc:sldChg chg="del ord">
        <pc:chgData name="El Bakkouri, Manal" userId="8b130982-2e3f-4164-b881-fd3a2e4b2453" providerId="ADAL" clId="{4457FA57-250B-44AC-8655-05D46C5A3D8A}" dt="2023-05-19T08:16:29.417" v="4643" actId="2696"/>
        <pc:sldMkLst>
          <pc:docMk/>
          <pc:sldMk cId="327435205" sldId="230717611"/>
        </pc:sldMkLst>
      </pc:sldChg>
      <pc:sldChg chg="addSp delSp modSp new del mod ord modTransition delAnim modAnim modNotesTx">
        <pc:chgData name="El Bakkouri, Manal" userId="8b130982-2e3f-4164-b881-fd3a2e4b2453" providerId="ADAL" clId="{4457FA57-250B-44AC-8655-05D46C5A3D8A}" dt="2023-05-23T10:02:35.641" v="5991" actId="2696"/>
        <pc:sldMkLst>
          <pc:docMk/>
          <pc:sldMk cId="1168776261" sldId="230717612"/>
        </pc:sldMkLst>
        <pc:spChg chg="del">
          <ac:chgData name="El Bakkouri, Manal" userId="8b130982-2e3f-4164-b881-fd3a2e4b2453" providerId="ADAL" clId="{4457FA57-250B-44AC-8655-05D46C5A3D8A}" dt="2023-05-17T10:36:57.106" v="1675" actId="478"/>
          <ac:spMkLst>
            <pc:docMk/>
            <pc:sldMk cId="1168776261" sldId="230717612"/>
            <ac:spMk id="2" creationId="{360B82E3-3332-4D2C-A973-6C04D2FEFE28}"/>
          </ac:spMkLst>
        </pc:spChg>
        <pc:spChg chg="add mod">
          <ac:chgData name="El Bakkouri, Manal" userId="8b130982-2e3f-4164-b881-fd3a2e4b2453" providerId="ADAL" clId="{4457FA57-250B-44AC-8655-05D46C5A3D8A}" dt="2023-05-17T10:36:58.598" v="1676"/>
          <ac:spMkLst>
            <pc:docMk/>
            <pc:sldMk cId="1168776261" sldId="230717612"/>
            <ac:spMk id="3" creationId="{9A7229B2-06D6-42DC-8922-145FFF951DC8}"/>
          </ac:spMkLst>
        </pc:spChg>
        <pc:spChg chg="add mod">
          <ac:chgData name="El Bakkouri, Manal" userId="8b130982-2e3f-4164-b881-fd3a2e4b2453" providerId="ADAL" clId="{4457FA57-250B-44AC-8655-05D46C5A3D8A}" dt="2023-05-17T10:36:58.598" v="1676"/>
          <ac:spMkLst>
            <pc:docMk/>
            <pc:sldMk cId="1168776261" sldId="230717612"/>
            <ac:spMk id="4" creationId="{F5F1D301-FFCB-4866-B104-3F6B17F867AF}"/>
          </ac:spMkLst>
        </pc:spChg>
        <pc:spChg chg="add mod">
          <ac:chgData name="El Bakkouri, Manal" userId="8b130982-2e3f-4164-b881-fd3a2e4b2453" providerId="ADAL" clId="{4457FA57-250B-44AC-8655-05D46C5A3D8A}" dt="2023-05-17T10:36:58.598" v="1676"/>
          <ac:spMkLst>
            <pc:docMk/>
            <pc:sldMk cId="1168776261" sldId="230717612"/>
            <ac:spMk id="5" creationId="{984C39C3-1FE4-45E7-98E6-394D31C3811E}"/>
          </ac:spMkLst>
        </pc:spChg>
        <pc:spChg chg="add mod">
          <ac:chgData name="El Bakkouri, Manal" userId="8b130982-2e3f-4164-b881-fd3a2e4b2453" providerId="ADAL" clId="{4457FA57-250B-44AC-8655-05D46C5A3D8A}" dt="2023-05-17T10:36:58.598" v="1676"/>
          <ac:spMkLst>
            <pc:docMk/>
            <pc:sldMk cId="1168776261" sldId="230717612"/>
            <ac:spMk id="6" creationId="{780191CA-8693-4BCA-A5AB-6EF35934C513}"/>
          </ac:spMkLst>
        </pc:spChg>
        <pc:spChg chg="add mod">
          <ac:chgData name="El Bakkouri, Manal" userId="8b130982-2e3f-4164-b881-fd3a2e4b2453" providerId="ADAL" clId="{4457FA57-250B-44AC-8655-05D46C5A3D8A}" dt="2023-05-17T10:37:09.019" v="1678" actId="207"/>
          <ac:spMkLst>
            <pc:docMk/>
            <pc:sldMk cId="1168776261" sldId="230717612"/>
            <ac:spMk id="7" creationId="{37B82A57-1D73-4310-9B5D-A3BCC6D4083F}"/>
          </ac:spMkLst>
        </pc:spChg>
        <pc:spChg chg="add mod">
          <ac:chgData name="El Bakkouri, Manal" userId="8b130982-2e3f-4164-b881-fd3a2e4b2453" providerId="ADAL" clId="{4457FA57-250B-44AC-8655-05D46C5A3D8A}" dt="2023-05-17T10:37:38.201" v="1683" actId="113"/>
          <ac:spMkLst>
            <pc:docMk/>
            <pc:sldMk cId="1168776261" sldId="230717612"/>
            <ac:spMk id="8" creationId="{B2D157D1-41DC-4FA1-B561-89AFB9AFDC39}"/>
          </ac:spMkLst>
        </pc:spChg>
        <pc:spChg chg="add mod">
          <ac:chgData name="El Bakkouri, Manal" userId="8b130982-2e3f-4164-b881-fd3a2e4b2453" providerId="ADAL" clId="{4457FA57-250B-44AC-8655-05D46C5A3D8A}" dt="2023-05-17T10:36:58.598" v="1676"/>
          <ac:spMkLst>
            <pc:docMk/>
            <pc:sldMk cId="1168776261" sldId="230717612"/>
            <ac:spMk id="9" creationId="{B21D5D09-F292-4BDD-ADB8-E2296D283887}"/>
          </ac:spMkLst>
        </pc:spChg>
        <pc:spChg chg="add mod">
          <ac:chgData name="El Bakkouri, Manal" userId="8b130982-2e3f-4164-b881-fd3a2e4b2453" providerId="ADAL" clId="{4457FA57-250B-44AC-8655-05D46C5A3D8A}" dt="2023-05-17T10:37:14.763" v="1679" actId="207"/>
          <ac:spMkLst>
            <pc:docMk/>
            <pc:sldMk cId="1168776261" sldId="230717612"/>
            <ac:spMk id="10" creationId="{D8CC6B6F-D40D-4B56-8D0E-BAF67D1DDA97}"/>
          </ac:spMkLst>
        </pc:spChg>
        <pc:spChg chg="add mod">
          <ac:chgData name="El Bakkouri, Manal" userId="8b130982-2e3f-4164-b881-fd3a2e4b2453" providerId="ADAL" clId="{4457FA57-250B-44AC-8655-05D46C5A3D8A}" dt="2023-05-17T10:36:58.598" v="1676"/>
          <ac:spMkLst>
            <pc:docMk/>
            <pc:sldMk cId="1168776261" sldId="230717612"/>
            <ac:spMk id="11" creationId="{7609423A-A9C1-4F34-B46C-872D3DE8E97D}"/>
          </ac:spMkLst>
        </pc:spChg>
        <pc:spChg chg="add mod">
          <ac:chgData name="El Bakkouri, Manal" userId="8b130982-2e3f-4164-b881-fd3a2e4b2453" providerId="ADAL" clId="{4457FA57-250B-44AC-8655-05D46C5A3D8A}" dt="2023-05-17T10:37:47.055" v="1684" actId="207"/>
          <ac:spMkLst>
            <pc:docMk/>
            <pc:sldMk cId="1168776261" sldId="230717612"/>
            <ac:spMk id="12" creationId="{823B0AB9-9815-4AFF-BADD-4689E04AA418}"/>
          </ac:spMkLst>
        </pc:spChg>
        <pc:spChg chg="add mod topLvl">
          <ac:chgData name="El Bakkouri, Manal" userId="8b130982-2e3f-4164-b881-fd3a2e4b2453" providerId="ADAL" clId="{4457FA57-250B-44AC-8655-05D46C5A3D8A}" dt="2023-05-19T09:57:31.423" v="5566" actId="165"/>
          <ac:spMkLst>
            <pc:docMk/>
            <pc:sldMk cId="1168776261" sldId="230717612"/>
            <ac:spMk id="13" creationId="{0B5ED453-C105-45F5-932C-FBE12B9B034D}"/>
          </ac:spMkLst>
        </pc:spChg>
        <pc:spChg chg="add mod topLvl">
          <ac:chgData name="El Bakkouri, Manal" userId="8b130982-2e3f-4164-b881-fd3a2e4b2453" providerId="ADAL" clId="{4457FA57-250B-44AC-8655-05D46C5A3D8A}" dt="2023-05-19T09:57:31.423" v="5566" actId="165"/>
          <ac:spMkLst>
            <pc:docMk/>
            <pc:sldMk cId="1168776261" sldId="230717612"/>
            <ac:spMk id="14" creationId="{81AB309D-6160-4E6C-81C1-B9118DC70E5C}"/>
          </ac:spMkLst>
        </pc:spChg>
        <pc:spChg chg="add mod topLvl">
          <ac:chgData name="El Bakkouri, Manal" userId="8b130982-2e3f-4164-b881-fd3a2e4b2453" providerId="ADAL" clId="{4457FA57-250B-44AC-8655-05D46C5A3D8A}" dt="2023-05-19T09:57:31.423" v="5566" actId="165"/>
          <ac:spMkLst>
            <pc:docMk/>
            <pc:sldMk cId="1168776261" sldId="230717612"/>
            <ac:spMk id="15" creationId="{98CD6854-2338-44D9-84FC-F9957761374B}"/>
          </ac:spMkLst>
        </pc:spChg>
        <pc:spChg chg="add mod topLvl">
          <ac:chgData name="El Bakkouri, Manal" userId="8b130982-2e3f-4164-b881-fd3a2e4b2453" providerId="ADAL" clId="{4457FA57-250B-44AC-8655-05D46C5A3D8A}" dt="2023-05-19T09:57:31.423" v="5566" actId="165"/>
          <ac:spMkLst>
            <pc:docMk/>
            <pc:sldMk cId="1168776261" sldId="230717612"/>
            <ac:spMk id="16" creationId="{BF1CEAF1-4631-4E10-AE62-A35171F6E20F}"/>
          </ac:spMkLst>
        </pc:spChg>
        <pc:spChg chg="add mod">
          <ac:chgData name="El Bakkouri, Manal" userId="8b130982-2e3f-4164-b881-fd3a2e4b2453" providerId="ADAL" clId="{4457FA57-250B-44AC-8655-05D46C5A3D8A}" dt="2023-05-19T09:57:31.423" v="5566" actId="165"/>
          <ac:spMkLst>
            <pc:docMk/>
            <pc:sldMk cId="1168776261" sldId="230717612"/>
            <ac:spMk id="20" creationId="{6A3A870E-9374-459A-BF85-09DB73B89CEE}"/>
          </ac:spMkLst>
        </pc:spChg>
        <pc:spChg chg="add mod">
          <ac:chgData name="El Bakkouri, Manal" userId="8b130982-2e3f-4164-b881-fd3a2e4b2453" providerId="ADAL" clId="{4457FA57-250B-44AC-8655-05D46C5A3D8A}" dt="2023-05-19T09:57:31.423" v="5566" actId="165"/>
          <ac:spMkLst>
            <pc:docMk/>
            <pc:sldMk cId="1168776261" sldId="230717612"/>
            <ac:spMk id="22" creationId="{F06D57E5-F6DC-4798-837A-96E40BA27D62}"/>
          </ac:spMkLst>
        </pc:spChg>
        <pc:spChg chg="add mod">
          <ac:chgData name="El Bakkouri, Manal" userId="8b130982-2e3f-4164-b881-fd3a2e4b2453" providerId="ADAL" clId="{4457FA57-250B-44AC-8655-05D46C5A3D8A}" dt="2023-05-19T09:57:31.423" v="5566" actId="165"/>
          <ac:spMkLst>
            <pc:docMk/>
            <pc:sldMk cId="1168776261" sldId="230717612"/>
            <ac:spMk id="24" creationId="{53E65CEC-247A-4F32-A952-6E474A8E3D3F}"/>
          </ac:spMkLst>
        </pc:spChg>
        <pc:spChg chg="add mod">
          <ac:chgData name="El Bakkouri, Manal" userId="8b130982-2e3f-4164-b881-fd3a2e4b2453" providerId="ADAL" clId="{4457FA57-250B-44AC-8655-05D46C5A3D8A}" dt="2023-05-19T09:57:31.423" v="5566" actId="165"/>
          <ac:spMkLst>
            <pc:docMk/>
            <pc:sldMk cId="1168776261" sldId="230717612"/>
            <ac:spMk id="26" creationId="{D7BF0C48-C5EA-49DD-BF03-9169E1CD681B}"/>
          </ac:spMkLst>
        </pc:spChg>
        <pc:spChg chg="add mod">
          <ac:chgData name="El Bakkouri, Manal" userId="8b130982-2e3f-4164-b881-fd3a2e4b2453" providerId="ADAL" clId="{4457FA57-250B-44AC-8655-05D46C5A3D8A}" dt="2023-05-17T13:28:50.703" v="2288" actId="207"/>
          <ac:spMkLst>
            <pc:docMk/>
            <pc:sldMk cId="1168776261" sldId="230717612"/>
            <ac:spMk id="27" creationId="{FCECAC40-951D-4A32-A320-7257CC24FA6B}"/>
          </ac:spMkLst>
        </pc:spChg>
        <pc:spChg chg="add del mod topLvl">
          <ac:chgData name="El Bakkouri, Manal" userId="8b130982-2e3f-4164-b881-fd3a2e4b2453" providerId="ADAL" clId="{4457FA57-250B-44AC-8655-05D46C5A3D8A}" dt="2023-05-18T15:36:02.230" v="4017" actId="478"/>
          <ac:spMkLst>
            <pc:docMk/>
            <pc:sldMk cId="1168776261" sldId="230717612"/>
            <ac:spMk id="29" creationId="{2795D334-8300-4FA0-B5B5-8DEC26DF8B02}"/>
          </ac:spMkLst>
        </pc:spChg>
        <pc:spChg chg="add del mod">
          <ac:chgData name="El Bakkouri, Manal" userId="8b130982-2e3f-4164-b881-fd3a2e4b2453" providerId="ADAL" clId="{4457FA57-250B-44AC-8655-05D46C5A3D8A}" dt="2023-05-17T11:06:42.050" v="1877" actId="478"/>
          <ac:spMkLst>
            <pc:docMk/>
            <pc:sldMk cId="1168776261" sldId="230717612"/>
            <ac:spMk id="31" creationId="{CB5E6C0E-B451-4F7B-BC9B-716E4CFD60BC}"/>
          </ac:spMkLst>
        </pc:spChg>
        <pc:spChg chg="add mod ord topLvl">
          <ac:chgData name="El Bakkouri, Manal" userId="8b130982-2e3f-4164-b881-fd3a2e4b2453" providerId="ADAL" clId="{4457FA57-250B-44AC-8655-05D46C5A3D8A}" dt="2023-05-18T15:36:38.389" v="4020" actId="14100"/>
          <ac:spMkLst>
            <pc:docMk/>
            <pc:sldMk cId="1168776261" sldId="230717612"/>
            <ac:spMk id="36" creationId="{7CAA98B2-BE3B-45CC-9537-E8820A07DD5F}"/>
          </ac:spMkLst>
        </pc:spChg>
        <pc:spChg chg="mod">
          <ac:chgData name="El Bakkouri, Manal" userId="8b130982-2e3f-4164-b881-fd3a2e4b2453" providerId="ADAL" clId="{4457FA57-250B-44AC-8655-05D46C5A3D8A}" dt="2023-05-18T15:15:00.098" v="3875"/>
          <ac:spMkLst>
            <pc:docMk/>
            <pc:sldMk cId="1168776261" sldId="230717612"/>
            <ac:spMk id="37" creationId="{DD76D706-B345-4958-A03B-F3C683A2F867}"/>
          </ac:spMkLst>
        </pc:spChg>
        <pc:spChg chg="mod">
          <ac:chgData name="El Bakkouri, Manal" userId="8b130982-2e3f-4164-b881-fd3a2e4b2453" providerId="ADAL" clId="{4457FA57-250B-44AC-8655-05D46C5A3D8A}" dt="2023-05-18T15:15:00.098" v="3875"/>
          <ac:spMkLst>
            <pc:docMk/>
            <pc:sldMk cId="1168776261" sldId="230717612"/>
            <ac:spMk id="38" creationId="{16AA1575-01E0-4368-A1A7-055CA67D3B18}"/>
          </ac:spMkLst>
        </pc:spChg>
        <pc:spChg chg="mod">
          <ac:chgData name="El Bakkouri, Manal" userId="8b130982-2e3f-4164-b881-fd3a2e4b2453" providerId="ADAL" clId="{4457FA57-250B-44AC-8655-05D46C5A3D8A}" dt="2023-05-18T15:15:00.098" v="3875"/>
          <ac:spMkLst>
            <pc:docMk/>
            <pc:sldMk cId="1168776261" sldId="230717612"/>
            <ac:spMk id="39" creationId="{C52DDBCA-CAF9-4CB4-9F45-122206C0D9EE}"/>
          </ac:spMkLst>
        </pc:spChg>
        <pc:spChg chg="add del mod">
          <ac:chgData name="El Bakkouri, Manal" userId="8b130982-2e3f-4164-b881-fd3a2e4b2453" providerId="ADAL" clId="{4457FA57-250B-44AC-8655-05D46C5A3D8A}" dt="2023-05-18T15:35:13.980" v="4016" actId="478"/>
          <ac:spMkLst>
            <pc:docMk/>
            <pc:sldMk cId="1168776261" sldId="230717612"/>
            <ac:spMk id="40" creationId="{E8D2BA2A-3F4C-4305-946D-ABB58BCC39E7}"/>
          </ac:spMkLst>
        </pc:spChg>
        <pc:spChg chg="mod">
          <ac:chgData name="El Bakkouri, Manal" userId="8b130982-2e3f-4164-b881-fd3a2e4b2453" providerId="ADAL" clId="{4457FA57-250B-44AC-8655-05D46C5A3D8A}" dt="2023-05-18T15:15:00.098" v="3875"/>
          <ac:spMkLst>
            <pc:docMk/>
            <pc:sldMk cId="1168776261" sldId="230717612"/>
            <ac:spMk id="41" creationId="{AD9B48D3-F0F7-4693-994B-440490ED96F2}"/>
          </ac:spMkLst>
        </pc:spChg>
        <pc:spChg chg="add del mod">
          <ac:chgData name="El Bakkouri, Manal" userId="8b130982-2e3f-4164-b881-fd3a2e4b2453" providerId="ADAL" clId="{4457FA57-250B-44AC-8655-05D46C5A3D8A}" dt="2023-05-17T11:17:28.937" v="2010" actId="478"/>
          <ac:spMkLst>
            <pc:docMk/>
            <pc:sldMk cId="1168776261" sldId="230717612"/>
            <ac:spMk id="41" creationId="{F6232C42-C26C-4C02-8558-CC6393481A46}"/>
          </ac:spMkLst>
        </pc:spChg>
        <pc:spChg chg="add del mod topLvl">
          <ac:chgData name="El Bakkouri, Manal" userId="8b130982-2e3f-4164-b881-fd3a2e4b2453" providerId="ADAL" clId="{4457FA57-250B-44AC-8655-05D46C5A3D8A}" dt="2023-05-18T15:28:57.770" v="4001" actId="478"/>
          <ac:spMkLst>
            <pc:docMk/>
            <pc:sldMk cId="1168776261" sldId="230717612"/>
            <ac:spMk id="42" creationId="{4B210DDF-02A5-47A3-B12E-262B875AF40A}"/>
          </ac:spMkLst>
        </pc:spChg>
        <pc:spChg chg="add mod">
          <ac:chgData name="El Bakkouri, Manal" userId="8b130982-2e3f-4164-b881-fd3a2e4b2453" providerId="ADAL" clId="{4457FA57-250B-44AC-8655-05D46C5A3D8A}" dt="2023-05-18T15:37:17.165" v="4024" actId="14100"/>
          <ac:spMkLst>
            <pc:docMk/>
            <pc:sldMk cId="1168776261" sldId="230717612"/>
            <ac:spMk id="43" creationId="{8737B479-CBB4-469D-88A9-AC5D630D7E8D}"/>
          </ac:spMkLst>
        </pc:spChg>
        <pc:spChg chg="add del mod">
          <ac:chgData name="El Bakkouri, Manal" userId="8b130982-2e3f-4164-b881-fd3a2e4b2453" providerId="ADAL" clId="{4457FA57-250B-44AC-8655-05D46C5A3D8A}" dt="2023-05-18T15:28:55.729" v="4000" actId="478"/>
          <ac:spMkLst>
            <pc:docMk/>
            <pc:sldMk cId="1168776261" sldId="230717612"/>
            <ac:spMk id="44" creationId="{CDDADCDE-1FC9-45D4-BD46-2FCD5BF201B9}"/>
          </ac:spMkLst>
        </pc:spChg>
        <pc:spChg chg="mod">
          <ac:chgData name="El Bakkouri, Manal" userId="8b130982-2e3f-4164-b881-fd3a2e4b2453" providerId="ADAL" clId="{4457FA57-250B-44AC-8655-05D46C5A3D8A}" dt="2023-05-18T15:15:00.098" v="3875"/>
          <ac:spMkLst>
            <pc:docMk/>
            <pc:sldMk cId="1168776261" sldId="230717612"/>
            <ac:spMk id="45" creationId="{98BF147D-CD98-4BD1-B232-340E973DD7BF}"/>
          </ac:spMkLst>
        </pc:spChg>
        <pc:spChg chg="add mod ord">
          <ac:chgData name="El Bakkouri, Manal" userId="8b130982-2e3f-4164-b881-fd3a2e4b2453" providerId="ADAL" clId="{4457FA57-250B-44AC-8655-05D46C5A3D8A}" dt="2023-05-17T13:28:50.703" v="2288" actId="207"/>
          <ac:spMkLst>
            <pc:docMk/>
            <pc:sldMk cId="1168776261" sldId="230717612"/>
            <ac:spMk id="45" creationId="{DED2ADE8-0AC1-4DC4-B750-475903C186C5}"/>
          </ac:spMkLst>
        </pc:spChg>
        <pc:spChg chg="mod">
          <ac:chgData name="El Bakkouri, Manal" userId="8b130982-2e3f-4164-b881-fd3a2e4b2453" providerId="ADAL" clId="{4457FA57-250B-44AC-8655-05D46C5A3D8A}" dt="2023-05-18T15:15:00.098" v="3875"/>
          <ac:spMkLst>
            <pc:docMk/>
            <pc:sldMk cId="1168776261" sldId="230717612"/>
            <ac:spMk id="46" creationId="{42D9561F-83B3-439D-84B0-B66BEB38BA51}"/>
          </ac:spMkLst>
        </pc:spChg>
        <pc:spChg chg="add del mod">
          <ac:chgData name="El Bakkouri, Manal" userId="8b130982-2e3f-4164-b881-fd3a2e4b2453" providerId="ADAL" clId="{4457FA57-250B-44AC-8655-05D46C5A3D8A}" dt="2023-05-18T15:38:23.382" v="4028" actId="478"/>
          <ac:spMkLst>
            <pc:docMk/>
            <pc:sldMk cId="1168776261" sldId="230717612"/>
            <ac:spMk id="47" creationId="{297A4E85-6049-4603-99DA-AD5C8C3A76F7}"/>
          </ac:spMkLst>
        </pc:spChg>
        <pc:spChg chg="mod">
          <ac:chgData name="El Bakkouri, Manal" userId="8b130982-2e3f-4164-b881-fd3a2e4b2453" providerId="ADAL" clId="{4457FA57-250B-44AC-8655-05D46C5A3D8A}" dt="2023-05-18T15:15:00.098" v="3875"/>
          <ac:spMkLst>
            <pc:docMk/>
            <pc:sldMk cId="1168776261" sldId="230717612"/>
            <ac:spMk id="48" creationId="{BF485F33-B97B-42E5-BDCC-FA16143E2287}"/>
          </ac:spMkLst>
        </pc:spChg>
        <pc:spChg chg="mod">
          <ac:chgData name="El Bakkouri, Manal" userId="8b130982-2e3f-4164-b881-fd3a2e4b2453" providerId="ADAL" clId="{4457FA57-250B-44AC-8655-05D46C5A3D8A}" dt="2023-05-18T15:15:00.098" v="3875"/>
          <ac:spMkLst>
            <pc:docMk/>
            <pc:sldMk cId="1168776261" sldId="230717612"/>
            <ac:spMk id="49" creationId="{98032AB5-0314-4AB0-9182-6D7F4983FD3F}"/>
          </ac:spMkLst>
        </pc:spChg>
        <pc:spChg chg="mod">
          <ac:chgData name="El Bakkouri, Manal" userId="8b130982-2e3f-4164-b881-fd3a2e4b2453" providerId="ADAL" clId="{4457FA57-250B-44AC-8655-05D46C5A3D8A}" dt="2023-05-18T15:37:48.319" v="4026" actId="1076"/>
          <ac:spMkLst>
            <pc:docMk/>
            <pc:sldMk cId="1168776261" sldId="230717612"/>
            <ac:spMk id="53" creationId="{A28BF031-156C-4620-AE40-091392B3CCE2}"/>
          </ac:spMkLst>
        </pc:spChg>
        <pc:spChg chg="mod">
          <ac:chgData name="El Bakkouri, Manal" userId="8b130982-2e3f-4164-b881-fd3a2e4b2453" providerId="ADAL" clId="{4457FA57-250B-44AC-8655-05D46C5A3D8A}" dt="2023-05-18T15:28:36.685" v="3998"/>
          <ac:spMkLst>
            <pc:docMk/>
            <pc:sldMk cId="1168776261" sldId="230717612"/>
            <ac:spMk id="58" creationId="{B79148E4-9412-4B9E-A7E9-EEE3C6FAB6A2}"/>
          </ac:spMkLst>
        </pc:spChg>
        <pc:spChg chg="mod">
          <ac:chgData name="El Bakkouri, Manal" userId="8b130982-2e3f-4164-b881-fd3a2e4b2453" providerId="ADAL" clId="{4457FA57-250B-44AC-8655-05D46C5A3D8A}" dt="2023-05-18T15:28:36.685" v="3998"/>
          <ac:spMkLst>
            <pc:docMk/>
            <pc:sldMk cId="1168776261" sldId="230717612"/>
            <ac:spMk id="59" creationId="{47058F8C-9140-40FA-99D6-8DA07BF55C7B}"/>
          </ac:spMkLst>
        </pc:spChg>
        <pc:spChg chg="mod">
          <ac:chgData name="El Bakkouri, Manal" userId="8b130982-2e3f-4164-b881-fd3a2e4b2453" providerId="ADAL" clId="{4457FA57-250B-44AC-8655-05D46C5A3D8A}" dt="2023-05-18T15:28:36.685" v="3998"/>
          <ac:spMkLst>
            <pc:docMk/>
            <pc:sldMk cId="1168776261" sldId="230717612"/>
            <ac:spMk id="60" creationId="{6AD5F48C-58EC-43ED-BB34-62EA6BECF8BE}"/>
          </ac:spMkLst>
        </pc:spChg>
        <pc:spChg chg="mod">
          <ac:chgData name="El Bakkouri, Manal" userId="8b130982-2e3f-4164-b881-fd3a2e4b2453" providerId="ADAL" clId="{4457FA57-250B-44AC-8655-05D46C5A3D8A}" dt="2023-05-18T15:28:36.685" v="3998"/>
          <ac:spMkLst>
            <pc:docMk/>
            <pc:sldMk cId="1168776261" sldId="230717612"/>
            <ac:spMk id="61" creationId="{55DF1F3B-58CD-45AF-8565-79C52FDF2B3B}"/>
          </ac:spMkLst>
        </pc:spChg>
        <pc:spChg chg="mod">
          <ac:chgData name="El Bakkouri, Manal" userId="8b130982-2e3f-4164-b881-fd3a2e4b2453" providerId="ADAL" clId="{4457FA57-250B-44AC-8655-05D46C5A3D8A}" dt="2023-05-18T15:28:36.685" v="3998"/>
          <ac:spMkLst>
            <pc:docMk/>
            <pc:sldMk cId="1168776261" sldId="230717612"/>
            <ac:spMk id="62" creationId="{722207E1-FB05-4226-8B3A-B805BECDC221}"/>
          </ac:spMkLst>
        </pc:spChg>
        <pc:spChg chg="mod">
          <ac:chgData name="El Bakkouri, Manal" userId="8b130982-2e3f-4164-b881-fd3a2e4b2453" providerId="ADAL" clId="{4457FA57-250B-44AC-8655-05D46C5A3D8A}" dt="2023-05-18T15:28:36.685" v="3998"/>
          <ac:spMkLst>
            <pc:docMk/>
            <pc:sldMk cId="1168776261" sldId="230717612"/>
            <ac:spMk id="63" creationId="{AFD69108-7B62-4552-93DC-E1E1A7A5E928}"/>
          </ac:spMkLst>
        </pc:spChg>
        <pc:spChg chg="mod">
          <ac:chgData name="El Bakkouri, Manal" userId="8b130982-2e3f-4164-b881-fd3a2e4b2453" providerId="ADAL" clId="{4457FA57-250B-44AC-8655-05D46C5A3D8A}" dt="2023-05-18T15:28:36.685" v="3998"/>
          <ac:spMkLst>
            <pc:docMk/>
            <pc:sldMk cId="1168776261" sldId="230717612"/>
            <ac:spMk id="64" creationId="{85AA01E1-46FE-443F-8BB9-00AEBEF74202}"/>
          </ac:spMkLst>
        </pc:spChg>
        <pc:spChg chg="mod">
          <ac:chgData name="El Bakkouri, Manal" userId="8b130982-2e3f-4164-b881-fd3a2e4b2453" providerId="ADAL" clId="{4457FA57-250B-44AC-8655-05D46C5A3D8A}" dt="2023-05-18T15:38:03.976" v="4027" actId="20577"/>
          <ac:spMkLst>
            <pc:docMk/>
            <pc:sldMk cId="1168776261" sldId="230717612"/>
            <ac:spMk id="65" creationId="{83733ED8-6631-4E80-BA69-C2CD97A8DCFD}"/>
          </ac:spMkLst>
        </pc:spChg>
        <pc:spChg chg="mod">
          <ac:chgData name="El Bakkouri, Manal" userId="8b130982-2e3f-4164-b881-fd3a2e4b2453" providerId="ADAL" clId="{4457FA57-250B-44AC-8655-05D46C5A3D8A}" dt="2023-05-18T15:28:36.685" v="3998"/>
          <ac:spMkLst>
            <pc:docMk/>
            <pc:sldMk cId="1168776261" sldId="230717612"/>
            <ac:spMk id="70" creationId="{3C01B138-D86E-4222-B6D3-64BD97D4F4AC}"/>
          </ac:spMkLst>
        </pc:spChg>
        <pc:spChg chg="mod">
          <ac:chgData name="El Bakkouri, Manal" userId="8b130982-2e3f-4164-b881-fd3a2e4b2453" providerId="ADAL" clId="{4457FA57-250B-44AC-8655-05D46C5A3D8A}" dt="2023-05-18T15:28:36.685" v="3998"/>
          <ac:spMkLst>
            <pc:docMk/>
            <pc:sldMk cId="1168776261" sldId="230717612"/>
            <ac:spMk id="71" creationId="{62A1A76B-424B-4F0D-80FE-01F28E1B1968}"/>
          </ac:spMkLst>
        </pc:spChg>
        <pc:spChg chg="mod">
          <ac:chgData name="El Bakkouri, Manal" userId="8b130982-2e3f-4164-b881-fd3a2e4b2453" providerId="ADAL" clId="{4457FA57-250B-44AC-8655-05D46C5A3D8A}" dt="2023-05-18T15:28:36.685" v="3998"/>
          <ac:spMkLst>
            <pc:docMk/>
            <pc:sldMk cId="1168776261" sldId="230717612"/>
            <ac:spMk id="72" creationId="{77519BBF-596C-4FE5-8CC1-B88A4F7A863A}"/>
          </ac:spMkLst>
        </pc:spChg>
        <pc:spChg chg="mod">
          <ac:chgData name="El Bakkouri, Manal" userId="8b130982-2e3f-4164-b881-fd3a2e4b2453" providerId="ADAL" clId="{4457FA57-250B-44AC-8655-05D46C5A3D8A}" dt="2023-05-18T15:28:36.685" v="3998"/>
          <ac:spMkLst>
            <pc:docMk/>
            <pc:sldMk cId="1168776261" sldId="230717612"/>
            <ac:spMk id="73" creationId="{0EB7A828-B3E5-48D2-B98E-CE213651A040}"/>
          </ac:spMkLst>
        </pc:spChg>
        <pc:spChg chg="mod">
          <ac:chgData name="El Bakkouri, Manal" userId="8b130982-2e3f-4164-b881-fd3a2e4b2453" providerId="ADAL" clId="{4457FA57-250B-44AC-8655-05D46C5A3D8A}" dt="2023-05-18T15:28:36.685" v="3998"/>
          <ac:spMkLst>
            <pc:docMk/>
            <pc:sldMk cId="1168776261" sldId="230717612"/>
            <ac:spMk id="74" creationId="{D55E1DD0-C6D8-4829-9D04-227A30252B2C}"/>
          </ac:spMkLst>
        </pc:spChg>
        <pc:spChg chg="mod">
          <ac:chgData name="El Bakkouri, Manal" userId="8b130982-2e3f-4164-b881-fd3a2e4b2453" providerId="ADAL" clId="{4457FA57-250B-44AC-8655-05D46C5A3D8A}" dt="2023-05-18T15:28:36.685" v="3998"/>
          <ac:spMkLst>
            <pc:docMk/>
            <pc:sldMk cId="1168776261" sldId="230717612"/>
            <ac:spMk id="75" creationId="{C126A717-5F8D-477D-AB8E-1A62AD3C20B4}"/>
          </ac:spMkLst>
        </pc:spChg>
        <pc:spChg chg="mod">
          <ac:chgData name="El Bakkouri, Manal" userId="8b130982-2e3f-4164-b881-fd3a2e4b2453" providerId="ADAL" clId="{4457FA57-250B-44AC-8655-05D46C5A3D8A}" dt="2023-05-18T15:28:36.685" v="3998"/>
          <ac:spMkLst>
            <pc:docMk/>
            <pc:sldMk cId="1168776261" sldId="230717612"/>
            <ac:spMk id="76" creationId="{5BACCC3E-AEA7-4724-9946-7BA030B25F78}"/>
          </ac:spMkLst>
        </pc:spChg>
        <pc:spChg chg="mod">
          <ac:chgData name="El Bakkouri, Manal" userId="8b130982-2e3f-4164-b881-fd3a2e4b2453" providerId="ADAL" clId="{4457FA57-250B-44AC-8655-05D46C5A3D8A}" dt="2023-05-18T15:28:36.685" v="3998"/>
          <ac:spMkLst>
            <pc:docMk/>
            <pc:sldMk cId="1168776261" sldId="230717612"/>
            <ac:spMk id="77" creationId="{EC6B6AE8-BF9E-465F-BFAF-B168949BCDD3}"/>
          </ac:spMkLst>
        </pc:spChg>
        <pc:spChg chg="mod">
          <ac:chgData name="El Bakkouri, Manal" userId="8b130982-2e3f-4164-b881-fd3a2e4b2453" providerId="ADAL" clId="{4457FA57-250B-44AC-8655-05D46C5A3D8A}" dt="2023-05-18T15:28:36.685" v="3998"/>
          <ac:spMkLst>
            <pc:docMk/>
            <pc:sldMk cId="1168776261" sldId="230717612"/>
            <ac:spMk id="78" creationId="{33CE54E6-1147-4996-93ED-03ED93E44C4B}"/>
          </ac:spMkLst>
        </pc:spChg>
        <pc:spChg chg="mod">
          <ac:chgData name="El Bakkouri, Manal" userId="8b130982-2e3f-4164-b881-fd3a2e4b2453" providerId="ADAL" clId="{4457FA57-250B-44AC-8655-05D46C5A3D8A}" dt="2023-05-18T15:28:36.685" v="3998"/>
          <ac:spMkLst>
            <pc:docMk/>
            <pc:sldMk cId="1168776261" sldId="230717612"/>
            <ac:spMk id="79" creationId="{BCDE7B4E-AA03-406C-92AD-C35DCD879A77}"/>
          </ac:spMkLst>
        </pc:spChg>
        <pc:spChg chg="mod">
          <ac:chgData name="El Bakkouri, Manal" userId="8b130982-2e3f-4164-b881-fd3a2e4b2453" providerId="ADAL" clId="{4457FA57-250B-44AC-8655-05D46C5A3D8A}" dt="2023-05-18T15:28:36.685" v="3998"/>
          <ac:spMkLst>
            <pc:docMk/>
            <pc:sldMk cId="1168776261" sldId="230717612"/>
            <ac:spMk id="80" creationId="{ADBE9B1D-1A42-4ECE-9898-7F2637213E4E}"/>
          </ac:spMkLst>
        </pc:spChg>
        <pc:spChg chg="mod">
          <ac:chgData name="El Bakkouri, Manal" userId="8b130982-2e3f-4164-b881-fd3a2e4b2453" providerId="ADAL" clId="{4457FA57-250B-44AC-8655-05D46C5A3D8A}" dt="2023-05-18T15:28:36.685" v="3998"/>
          <ac:spMkLst>
            <pc:docMk/>
            <pc:sldMk cId="1168776261" sldId="230717612"/>
            <ac:spMk id="81" creationId="{1EACC977-2D90-4EAD-9529-EE216E31D3BC}"/>
          </ac:spMkLst>
        </pc:spChg>
        <pc:spChg chg="mod">
          <ac:chgData name="El Bakkouri, Manal" userId="8b130982-2e3f-4164-b881-fd3a2e4b2453" providerId="ADAL" clId="{4457FA57-250B-44AC-8655-05D46C5A3D8A}" dt="2023-05-18T15:28:36.685" v="3998"/>
          <ac:spMkLst>
            <pc:docMk/>
            <pc:sldMk cId="1168776261" sldId="230717612"/>
            <ac:spMk id="82" creationId="{8F3589C5-99F5-44EC-82CB-F1947BF879D2}"/>
          </ac:spMkLst>
        </pc:spChg>
        <pc:spChg chg="mod">
          <ac:chgData name="El Bakkouri, Manal" userId="8b130982-2e3f-4164-b881-fd3a2e4b2453" providerId="ADAL" clId="{4457FA57-250B-44AC-8655-05D46C5A3D8A}" dt="2023-05-18T15:28:36.685" v="3998"/>
          <ac:spMkLst>
            <pc:docMk/>
            <pc:sldMk cId="1168776261" sldId="230717612"/>
            <ac:spMk id="83" creationId="{010F9AE1-0E77-4F61-B452-4EEE044916B6}"/>
          </ac:spMkLst>
        </pc:spChg>
        <pc:spChg chg="mod">
          <ac:chgData name="El Bakkouri, Manal" userId="8b130982-2e3f-4164-b881-fd3a2e4b2453" providerId="ADAL" clId="{4457FA57-250B-44AC-8655-05D46C5A3D8A}" dt="2023-05-18T15:28:36.685" v="3998"/>
          <ac:spMkLst>
            <pc:docMk/>
            <pc:sldMk cId="1168776261" sldId="230717612"/>
            <ac:spMk id="84" creationId="{2BE6A756-4CE5-4277-A53A-4C83F25023A2}"/>
          </ac:spMkLst>
        </pc:spChg>
        <pc:spChg chg="mod">
          <ac:chgData name="El Bakkouri, Manal" userId="8b130982-2e3f-4164-b881-fd3a2e4b2453" providerId="ADAL" clId="{4457FA57-250B-44AC-8655-05D46C5A3D8A}" dt="2023-05-18T15:28:36.685" v="3998"/>
          <ac:spMkLst>
            <pc:docMk/>
            <pc:sldMk cId="1168776261" sldId="230717612"/>
            <ac:spMk id="85" creationId="{243080FD-2EDB-452F-9E2A-F499F02E09D1}"/>
          </ac:spMkLst>
        </pc:spChg>
        <pc:spChg chg="mod">
          <ac:chgData name="El Bakkouri, Manal" userId="8b130982-2e3f-4164-b881-fd3a2e4b2453" providerId="ADAL" clId="{4457FA57-250B-44AC-8655-05D46C5A3D8A}" dt="2023-05-18T15:28:36.685" v="3998"/>
          <ac:spMkLst>
            <pc:docMk/>
            <pc:sldMk cId="1168776261" sldId="230717612"/>
            <ac:spMk id="86" creationId="{5FD5CD3F-AD8B-4494-8ECD-FA7A2E8E9216}"/>
          </ac:spMkLst>
        </pc:spChg>
        <pc:spChg chg="mod">
          <ac:chgData name="El Bakkouri, Manal" userId="8b130982-2e3f-4164-b881-fd3a2e4b2453" providerId="ADAL" clId="{4457FA57-250B-44AC-8655-05D46C5A3D8A}" dt="2023-05-18T15:28:36.685" v="3998"/>
          <ac:spMkLst>
            <pc:docMk/>
            <pc:sldMk cId="1168776261" sldId="230717612"/>
            <ac:spMk id="87" creationId="{401813AB-7397-419F-B8A1-12A205C205F8}"/>
          </ac:spMkLst>
        </pc:spChg>
        <pc:spChg chg="mod">
          <ac:chgData name="El Bakkouri, Manal" userId="8b130982-2e3f-4164-b881-fd3a2e4b2453" providerId="ADAL" clId="{4457FA57-250B-44AC-8655-05D46C5A3D8A}" dt="2023-05-23T10:01:25.798" v="5951" actId="1076"/>
          <ac:spMkLst>
            <pc:docMk/>
            <pc:sldMk cId="1168776261" sldId="230717612"/>
            <ac:spMk id="88" creationId="{A2355B9B-A0BE-4CE1-A5F8-67571918E1C9}"/>
          </ac:spMkLst>
        </pc:spChg>
        <pc:spChg chg="mod">
          <ac:chgData name="El Bakkouri, Manal" userId="8b130982-2e3f-4164-b881-fd3a2e4b2453" providerId="ADAL" clId="{4457FA57-250B-44AC-8655-05D46C5A3D8A}" dt="2023-05-23T10:01:39.069" v="5953" actId="1076"/>
          <ac:spMkLst>
            <pc:docMk/>
            <pc:sldMk cId="1168776261" sldId="230717612"/>
            <ac:spMk id="89" creationId="{678848A8-9BEB-4ED4-A0EC-5CCA195B307A}"/>
          </ac:spMkLst>
        </pc:spChg>
        <pc:spChg chg="mod">
          <ac:chgData name="El Bakkouri, Manal" userId="8b130982-2e3f-4164-b881-fd3a2e4b2453" providerId="ADAL" clId="{4457FA57-250B-44AC-8655-05D46C5A3D8A}" dt="2023-05-23T10:01:47.240" v="5985" actId="1037"/>
          <ac:spMkLst>
            <pc:docMk/>
            <pc:sldMk cId="1168776261" sldId="230717612"/>
            <ac:spMk id="90" creationId="{5F62572E-A165-4CA0-A761-5B146F544235}"/>
          </ac:spMkLst>
        </pc:spChg>
        <pc:spChg chg="mod">
          <ac:chgData name="El Bakkouri, Manal" userId="8b130982-2e3f-4164-b881-fd3a2e4b2453" providerId="ADAL" clId="{4457FA57-250B-44AC-8655-05D46C5A3D8A}" dt="2023-05-18T15:28:36.685" v="3998"/>
          <ac:spMkLst>
            <pc:docMk/>
            <pc:sldMk cId="1168776261" sldId="230717612"/>
            <ac:spMk id="91" creationId="{2E1E060F-8832-428B-B89B-0555E112DF20}"/>
          </ac:spMkLst>
        </pc:spChg>
        <pc:spChg chg="mod">
          <ac:chgData name="El Bakkouri, Manal" userId="8b130982-2e3f-4164-b881-fd3a2e4b2453" providerId="ADAL" clId="{4457FA57-250B-44AC-8655-05D46C5A3D8A}" dt="2023-05-18T15:28:36.685" v="3998"/>
          <ac:spMkLst>
            <pc:docMk/>
            <pc:sldMk cId="1168776261" sldId="230717612"/>
            <ac:spMk id="92" creationId="{FEBDECA1-A4CF-4500-B3B4-89456D0998D5}"/>
          </ac:spMkLst>
        </pc:spChg>
        <pc:spChg chg="mod">
          <ac:chgData name="El Bakkouri, Manal" userId="8b130982-2e3f-4164-b881-fd3a2e4b2453" providerId="ADAL" clId="{4457FA57-250B-44AC-8655-05D46C5A3D8A}" dt="2023-05-18T15:28:36.685" v="3998"/>
          <ac:spMkLst>
            <pc:docMk/>
            <pc:sldMk cId="1168776261" sldId="230717612"/>
            <ac:spMk id="93" creationId="{08B9B416-B66B-4C85-8B2D-2FC8D633FA30}"/>
          </ac:spMkLst>
        </pc:spChg>
        <pc:spChg chg="add mod">
          <ac:chgData name="El Bakkouri, Manal" userId="8b130982-2e3f-4164-b881-fd3a2e4b2453" providerId="ADAL" clId="{4457FA57-250B-44AC-8655-05D46C5A3D8A}" dt="2023-05-18T15:42:30.061" v="4052" actId="12789"/>
          <ac:spMkLst>
            <pc:docMk/>
            <pc:sldMk cId="1168776261" sldId="230717612"/>
            <ac:spMk id="94" creationId="{408EEF9B-A6A1-4179-8906-5AD943E0384E}"/>
          </ac:spMkLst>
        </pc:spChg>
        <pc:grpChg chg="add del mod">
          <ac:chgData name="El Bakkouri, Manal" userId="8b130982-2e3f-4164-b881-fd3a2e4b2453" providerId="ADAL" clId="{4457FA57-250B-44AC-8655-05D46C5A3D8A}" dt="2023-05-19T09:57:31.423" v="5566" actId="165"/>
          <ac:grpSpMkLst>
            <pc:docMk/>
            <pc:sldMk cId="1168776261" sldId="230717612"/>
            <ac:grpSpMk id="2" creationId="{F3684FE3-A1EE-4DC0-9322-678F1DF49A9C}"/>
          </ac:grpSpMkLst>
        </pc:grpChg>
        <pc:grpChg chg="add del mod">
          <ac:chgData name="El Bakkouri, Manal" userId="8b130982-2e3f-4164-b881-fd3a2e4b2453" providerId="ADAL" clId="{4457FA57-250B-44AC-8655-05D46C5A3D8A}" dt="2023-05-17T10:45:51.333" v="1695" actId="165"/>
          <ac:grpSpMkLst>
            <pc:docMk/>
            <pc:sldMk cId="1168776261" sldId="230717612"/>
            <ac:grpSpMk id="17" creationId="{369B6C99-8E0B-49F5-B7AE-E520DDC5DE0B}"/>
          </ac:grpSpMkLst>
        </pc:grpChg>
        <pc:grpChg chg="add del mod">
          <ac:chgData name="El Bakkouri, Manal" userId="8b130982-2e3f-4164-b881-fd3a2e4b2453" providerId="ADAL" clId="{4457FA57-250B-44AC-8655-05D46C5A3D8A}" dt="2023-05-17T10:53:06.294" v="1770" actId="165"/>
          <ac:grpSpMkLst>
            <pc:docMk/>
            <pc:sldMk cId="1168776261" sldId="230717612"/>
            <ac:grpSpMk id="18" creationId="{08E874A4-F1FD-4982-96D3-4000273E9BBC}"/>
          </ac:grpSpMkLst>
        </pc:grpChg>
        <pc:grpChg chg="add del mod">
          <ac:chgData name="El Bakkouri, Manal" userId="8b130982-2e3f-4164-b881-fd3a2e4b2453" providerId="ADAL" clId="{4457FA57-250B-44AC-8655-05D46C5A3D8A}" dt="2023-05-18T15:28:35.884" v="3997" actId="478"/>
          <ac:grpSpMkLst>
            <pc:docMk/>
            <pc:sldMk cId="1168776261" sldId="230717612"/>
            <ac:grpSpMk id="31" creationId="{60B496EF-BEAF-4DC1-8DEB-84E90566D5A8}"/>
          </ac:grpSpMkLst>
        </pc:grpChg>
        <pc:grpChg chg="add mod topLvl">
          <ac:chgData name="El Bakkouri, Manal" userId="8b130982-2e3f-4164-b881-fd3a2e4b2453" providerId="ADAL" clId="{4457FA57-250B-44AC-8655-05D46C5A3D8A}" dt="2023-05-19T09:57:31.423" v="5566" actId="165"/>
          <ac:grpSpMkLst>
            <pc:docMk/>
            <pc:sldMk cId="1168776261" sldId="230717612"/>
            <ac:grpSpMk id="32" creationId="{351B1DC4-5A26-4F39-8D27-7CB428EA231E}"/>
          </ac:grpSpMkLst>
        </pc:grpChg>
        <pc:grpChg chg="add mod topLvl">
          <ac:chgData name="El Bakkouri, Manal" userId="8b130982-2e3f-4164-b881-fd3a2e4b2453" providerId="ADAL" clId="{4457FA57-250B-44AC-8655-05D46C5A3D8A}" dt="2023-05-19T09:57:31.423" v="5566" actId="165"/>
          <ac:grpSpMkLst>
            <pc:docMk/>
            <pc:sldMk cId="1168776261" sldId="230717612"/>
            <ac:grpSpMk id="33" creationId="{D214E7C1-9339-4421-8669-00C7E34950D5}"/>
          </ac:grpSpMkLst>
        </pc:grpChg>
        <pc:grpChg chg="add mod topLvl">
          <ac:chgData name="El Bakkouri, Manal" userId="8b130982-2e3f-4164-b881-fd3a2e4b2453" providerId="ADAL" clId="{4457FA57-250B-44AC-8655-05D46C5A3D8A}" dt="2023-05-19T09:57:31.423" v="5566" actId="165"/>
          <ac:grpSpMkLst>
            <pc:docMk/>
            <pc:sldMk cId="1168776261" sldId="230717612"/>
            <ac:grpSpMk id="34" creationId="{8812A161-C8CE-4931-B98F-813C8605BB0D}"/>
          </ac:grpSpMkLst>
        </pc:grpChg>
        <pc:grpChg chg="add mod topLvl">
          <ac:chgData name="El Bakkouri, Manal" userId="8b130982-2e3f-4164-b881-fd3a2e4b2453" providerId="ADAL" clId="{4457FA57-250B-44AC-8655-05D46C5A3D8A}" dt="2023-05-19T09:57:31.423" v="5566" actId="165"/>
          <ac:grpSpMkLst>
            <pc:docMk/>
            <pc:sldMk cId="1168776261" sldId="230717612"/>
            <ac:grpSpMk id="35" creationId="{C9A4F3AC-6AA8-4A56-BC86-387AACC7E620}"/>
          </ac:grpSpMkLst>
        </pc:grpChg>
        <pc:grpChg chg="add del mod">
          <ac:chgData name="El Bakkouri, Manal" userId="8b130982-2e3f-4164-b881-fd3a2e4b2453" providerId="ADAL" clId="{4457FA57-250B-44AC-8655-05D46C5A3D8A}" dt="2023-05-17T11:12:50.944" v="1982" actId="165"/>
          <ac:grpSpMkLst>
            <pc:docMk/>
            <pc:sldMk cId="1168776261" sldId="230717612"/>
            <ac:grpSpMk id="37" creationId="{1FF2899F-E0E5-46B1-B07A-3AAD3D8D7D12}"/>
          </ac:grpSpMkLst>
        </pc:grpChg>
        <pc:grpChg chg="add del mod">
          <ac:chgData name="El Bakkouri, Manal" userId="8b130982-2e3f-4164-b881-fd3a2e4b2453" providerId="ADAL" clId="{4457FA57-250B-44AC-8655-05D46C5A3D8A}" dt="2023-05-17T11:18:14.794" v="2015" actId="165"/>
          <ac:grpSpMkLst>
            <pc:docMk/>
            <pc:sldMk cId="1168776261" sldId="230717612"/>
            <ac:grpSpMk id="38" creationId="{6CE92C3D-6095-49AB-B5D3-7DF9DBD94014}"/>
          </ac:grpSpMkLst>
        </pc:grpChg>
        <pc:grpChg chg="add del mod ord">
          <ac:chgData name="El Bakkouri, Manal" userId="8b130982-2e3f-4164-b881-fd3a2e4b2453" providerId="ADAL" clId="{4457FA57-250B-44AC-8655-05D46C5A3D8A}" dt="2023-05-17T16:26:40.861" v="2753" actId="478"/>
          <ac:grpSpMkLst>
            <pc:docMk/>
            <pc:sldMk cId="1168776261" sldId="230717612"/>
            <ac:grpSpMk id="46" creationId="{48E440A1-C948-4C8F-BE0A-ECB9AB1F2367}"/>
          </ac:grpSpMkLst>
        </pc:grpChg>
        <pc:grpChg chg="add mod">
          <ac:chgData name="El Bakkouri, Manal" userId="8b130982-2e3f-4164-b881-fd3a2e4b2453" providerId="ADAL" clId="{4457FA57-250B-44AC-8655-05D46C5A3D8A}" dt="2023-05-18T15:42:30.061" v="4052" actId="12789"/>
          <ac:grpSpMkLst>
            <pc:docMk/>
            <pc:sldMk cId="1168776261" sldId="230717612"/>
            <ac:grpSpMk id="50" creationId="{222CB07E-B6DA-400D-A4FB-213459A44173}"/>
          </ac:grpSpMkLst>
        </pc:grpChg>
        <pc:grpChg chg="mod">
          <ac:chgData name="El Bakkouri, Manal" userId="8b130982-2e3f-4164-b881-fd3a2e4b2453" providerId="ADAL" clId="{4457FA57-250B-44AC-8655-05D46C5A3D8A}" dt="2023-05-18T15:28:36.685" v="3998"/>
          <ac:grpSpMkLst>
            <pc:docMk/>
            <pc:sldMk cId="1168776261" sldId="230717612"/>
            <ac:grpSpMk id="51" creationId="{257E2400-0C5B-48F6-B6D8-DDA8317E1674}"/>
          </ac:grpSpMkLst>
        </pc:grpChg>
        <pc:grpChg chg="mod">
          <ac:chgData name="El Bakkouri, Manal" userId="8b130982-2e3f-4164-b881-fd3a2e4b2453" providerId="ADAL" clId="{4457FA57-250B-44AC-8655-05D46C5A3D8A}" dt="2023-05-18T15:28:36.685" v="3998"/>
          <ac:grpSpMkLst>
            <pc:docMk/>
            <pc:sldMk cId="1168776261" sldId="230717612"/>
            <ac:grpSpMk id="52" creationId="{060DC34D-FB37-4B01-BD4A-B69DFE9ED80D}"/>
          </ac:grpSpMkLst>
        </pc:grpChg>
        <pc:grpChg chg="mod">
          <ac:chgData name="El Bakkouri, Manal" userId="8b130982-2e3f-4164-b881-fd3a2e4b2453" providerId="ADAL" clId="{4457FA57-250B-44AC-8655-05D46C5A3D8A}" dt="2023-05-18T15:28:36.685" v="3998"/>
          <ac:grpSpMkLst>
            <pc:docMk/>
            <pc:sldMk cId="1168776261" sldId="230717612"/>
            <ac:grpSpMk id="54" creationId="{7EE71909-B186-4059-8678-94D040345B96}"/>
          </ac:grpSpMkLst>
        </pc:grpChg>
        <pc:grpChg chg="mod">
          <ac:chgData name="El Bakkouri, Manal" userId="8b130982-2e3f-4164-b881-fd3a2e4b2453" providerId="ADAL" clId="{4457FA57-250B-44AC-8655-05D46C5A3D8A}" dt="2023-05-18T15:28:36.685" v="3998"/>
          <ac:grpSpMkLst>
            <pc:docMk/>
            <pc:sldMk cId="1168776261" sldId="230717612"/>
            <ac:grpSpMk id="55" creationId="{0EA50120-8F52-4E97-9CA5-3CE730CDF273}"/>
          </ac:grpSpMkLst>
        </pc:grpChg>
        <pc:grpChg chg="mod">
          <ac:chgData name="El Bakkouri, Manal" userId="8b130982-2e3f-4164-b881-fd3a2e4b2453" providerId="ADAL" clId="{4457FA57-250B-44AC-8655-05D46C5A3D8A}" dt="2023-05-18T15:28:36.685" v="3998"/>
          <ac:grpSpMkLst>
            <pc:docMk/>
            <pc:sldMk cId="1168776261" sldId="230717612"/>
            <ac:grpSpMk id="56" creationId="{E71E8658-73F4-4B10-9C09-E04EAB3833B3}"/>
          </ac:grpSpMkLst>
        </pc:grpChg>
        <pc:grpChg chg="mod">
          <ac:chgData name="El Bakkouri, Manal" userId="8b130982-2e3f-4164-b881-fd3a2e4b2453" providerId="ADAL" clId="{4457FA57-250B-44AC-8655-05D46C5A3D8A}" dt="2023-05-18T15:28:36.685" v="3998"/>
          <ac:grpSpMkLst>
            <pc:docMk/>
            <pc:sldMk cId="1168776261" sldId="230717612"/>
            <ac:grpSpMk id="57" creationId="{ADFC1E19-B15E-45E1-9430-862D94D8EBC6}"/>
          </ac:grpSpMkLst>
        </pc:grpChg>
        <pc:grpChg chg="mod">
          <ac:chgData name="El Bakkouri, Manal" userId="8b130982-2e3f-4164-b881-fd3a2e4b2453" providerId="ADAL" clId="{4457FA57-250B-44AC-8655-05D46C5A3D8A}" dt="2023-05-18T15:28:36.685" v="3998"/>
          <ac:grpSpMkLst>
            <pc:docMk/>
            <pc:sldMk cId="1168776261" sldId="230717612"/>
            <ac:grpSpMk id="66" creationId="{81B8035B-C967-4B17-8E6B-09944A593F77}"/>
          </ac:grpSpMkLst>
        </pc:grpChg>
        <pc:grpChg chg="mod">
          <ac:chgData name="El Bakkouri, Manal" userId="8b130982-2e3f-4164-b881-fd3a2e4b2453" providerId="ADAL" clId="{4457FA57-250B-44AC-8655-05D46C5A3D8A}" dt="2023-05-18T15:28:36.685" v="3998"/>
          <ac:grpSpMkLst>
            <pc:docMk/>
            <pc:sldMk cId="1168776261" sldId="230717612"/>
            <ac:grpSpMk id="67" creationId="{B633FAE8-0DF6-4F73-AFCA-DB1486DD8487}"/>
          </ac:grpSpMkLst>
        </pc:grpChg>
        <pc:grpChg chg="mod">
          <ac:chgData name="El Bakkouri, Manal" userId="8b130982-2e3f-4164-b881-fd3a2e4b2453" providerId="ADAL" clId="{4457FA57-250B-44AC-8655-05D46C5A3D8A}" dt="2023-05-18T15:28:36.685" v="3998"/>
          <ac:grpSpMkLst>
            <pc:docMk/>
            <pc:sldMk cId="1168776261" sldId="230717612"/>
            <ac:grpSpMk id="68" creationId="{51511156-EC61-4246-8103-CC00A0E88614}"/>
          </ac:grpSpMkLst>
        </pc:grpChg>
        <pc:grpChg chg="mod">
          <ac:chgData name="El Bakkouri, Manal" userId="8b130982-2e3f-4164-b881-fd3a2e4b2453" providerId="ADAL" clId="{4457FA57-250B-44AC-8655-05D46C5A3D8A}" dt="2023-05-18T15:28:36.685" v="3998"/>
          <ac:grpSpMkLst>
            <pc:docMk/>
            <pc:sldMk cId="1168776261" sldId="230717612"/>
            <ac:grpSpMk id="69" creationId="{86DEEB77-D085-4721-91EC-45B656FCBC8C}"/>
          </ac:grpSpMkLst>
        </pc:grpChg>
        <pc:cxnChg chg="add mod">
          <ac:chgData name="El Bakkouri, Manal" userId="8b130982-2e3f-4164-b881-fd3a2e4b2453" providerId="ADAL" clId="{4457FA57-250B-44AC-8655-05D46C5A3D8A}" dt="2023-05-18T15:43:25.584" v="4075" actId="1036"/>
          <ac:cxnSpMkLst>
            <pc:docMk/>
            <pc:sldMk cId="1168776261" sldId="230717612"/>
            <ac:cxnSpMk id="95" creationId="{202863FA-9E99-4ED2-BA2D-06DB0828C592}"/>
          </ac:cxnSpMkLst>
        </pc:cxnChg>
      </pc:sldChg>
      <pc:sldChg chg="addSp delSp modSp new del mod ord modTransition delAnim modAnim modNotesTx">
        <pc:chgData name="El Bakkouri, Manal" userId="8b130982-2e3f-4164-b881-fd3a2e4b2453" providerId="ADAL" clId="{4457FA57-250B-44AC-8655-05D46C5A3D8A}" dt="2023-05-23T09:54:33.979" v="5924" actId="2696"/>
        <pc:sldMkLst>
          <pc:docMk/>
          <pc:sldMk cId="1284892131" sldId="230717613"/>
        </pc:sldMkLst>
        <pc:spChg chg="del">
          <ac:chgData name="El Bakkouri, Manal" userId="8b130982-2e3f-4164-b881-fd3a2e4b2453" providerId="ADAL" clId="{4457FA57-250B-44AC-8655-05D46C5A3D8A}" dt="2023-05-17T11:06:25.750" v="1852" actId="478"/>
          <ac:spMkLst>
            <pc:docMk/>
            <pc:sldMk cId="1284892131" sldId="230717613"/>
            <ac:spMk id="2" creationId="{A33F2CDE-21D7-427A-8AB3-88133C2C71A1}"/>
          </ac:spMkLst>
        </pc:spChg>
        <pc:spChg chg="add del">
          <ac:chgData name="El Bakkouri, Manal" userId="8b130982-2e3f-4164-b881-fd3a2e4b2453" providerId="ADAL" clId="{4457FA57-250B-44AC-8655-05D46C5A3D8A}" dt="2023-05-18T16:37:30.685" v="4431"/>
          <ac:spMkLst>
            <pc:docMk/>
            <pc:sldMk cId="1284892131" sldId="230717613"/>
            <ac:spMk id="2" creationId="{BE0CD752-7741-4D9B-8A3A-87D99C2BFA2A}"/>
          </ac:spMkLst>
        </pc:spChg>
        <pc:spChg chg="add del mod">
          <ac:chgData name="El Bakkouri, Manal" userId="8b130982-2e3f-4164-b881-fd3a2e4b2453" providerId="ADAL" clId="{4457FA57-250B-44AC-8655-05D46C5A3D8A}" dt="2023-05-18T16:29:07.030" v="4376" actId="21"/>
          <ac:spMkLst>
            <pc:docMk/>
            <pc:sldMk cId="1284892131" sldId="230717613"/>
            <ac:spMk id="3" creationId="{49CE90A9-B827-4885-89E8-92E149273D69}"/>
          </ac:spMkLst>
        </pc:spChg>
        <pc:spChg chg="add del mod">
          <ac:chgData name="El Bakkouri, Manal" userId="8b130982-2e3f-4164-b881-fd3a2e4b2453" providerId="ADAL" clId="{4457FA57-250B-44AC-8655-05D46C5A3D8A}" dt="2023-05-18T16:29:07.030" v="4376" actId="21"/>
          <ac:spMkLst>
            <pc:docMk/>
            <pc:sldMk cId="1284892131" sldId="230717613"/>
            <ac:spMk id="4" creationId="{0C028ABC-163E-407C-9B59-6C0DF449CDBD}"/>
          </ac:spMkLst>
        </pc:spChg>
        <pc:spChg chg="mod">
          <ac:chgData name="El Bakkouri, Manal" userId="8b130982-2e3f-4164-b881-fd3a2e4b2453" providerId="ADAL" clId="{4457FA57-250B-44AC-8655-05D46C5A3D8A}" dt="2023-05-17T13:49:10.291" v="2377" actId="208"/>
          <ac:spMkLst>
            <pc:docMk/>
            <pc:sldMk cId="1284892131" sldId="230717613"/>
            <ac:spMk id="6" creationId="{B86E0E08-C005-4DFB-B43D-0470DC54AAB2}"/>
          </ac:spMkLst>
        </pc:spChg>
        <pc:spChg chg="mod">
          <ac:chgData name="El Bakkouri, Manal" userId="8b130982-2e3f-4164-b881-fd3a2e4b2453" providerId="ADAL" clId="{4457FA57-250B-44AC-8655-05D46C5A3D8A}" dt="2023-05-17T13:49:06.716" v="2375" actId="208"/>
          <ac:spMkLst>
            <pc:docMk/>
            <pc:sldMk cId="1284892131" sldId="230717613"/>
            <ac:spMk id="7" creationId="{DCD68BD3-4E1E-407C-8BDD-D9751CC00C05}"/>
          </ac:spMkLst>
        </pc:spChg>
        <pc:spChg chg="mod">
          <ac:chgData name="El Bakkouri, Manal" userId="8b130982-2e3f-4164-b881-fd3a2e4b2453" providerId="ADAL" clId="{4457FA57-250B-44AC-8655-05D46C5A3D8A}" dt="2023-05-17T13:48:50.743" v="2373" actId="2085"/>
          <ac:spMkLst>
            <pc:docMk/>
            <pc:sldMk cId="1284892131" sldId="230717613"/>
            <ac:spMk id="8" creationId="{FCD2FDC9-9675-4C17-AC2A-284A82815E82}"/>
          </ac:spMkLst>
        </pc:spChg>
        <pc:spChg chg="add del mod">
          <ac:chgData name="El Bakkouri, Manal" userId="8b130982-2e3f-4164-b881-fd3a2e4b2453" providerId="ADAL" clId="{4457FA57-250B-44AC-8655-05D46C5A3D8A}" dt="2023-05-18T16:29:07.030" v="4376" actId="21"/>
          <ac:spMkLst>
            <pc:docMk/>
            <pc:sldMk cId="1284892131" sldId="230717613"/>
            <ac:spMk id="9" creationId="{105EAEA3-7DBF-4A9F-8428-53C74560A3EE}"/>
          </ac:spMkLst>
        </pc:spChg>
        <pc:spChg chg="mod">
          <ac:chgData name="El Bakkouri, Manal" userId="8b130982-2e3f-4164-b881-fd3a2e4b2453" providerId="ADAL" clId="{4457FA57-250B-44AC-8655-05D46C5A3D8A}" dt="2023-05-17T13:46:49.709" v="2359" actId="208"/>
          <ac:spMkLst>
            <pc:docMk/>
            <pc:sldMk cId="1284892131" sldId="230717613"/>
            <ac:spMk id="11" creationId="{53EFC6D1-1F0B-4666-89C2-D16E32C8B1C3}"/>
          </ac:spMkLst>
        </pc:spChg>
        <pc:spChg chg="mod">
          <ac:chgData name="El Bakkouri, Manal" userId="8b130982-2e3f-4164-b881-fd3a2e4b2453" providerId="ADAL" clId="{4457FA57-250B-44AC-8655-05D46C5A3D8A}" dt="2023-05-17T13:49:54.312" v="2381" actId="1037"/>
          <ac:spMkLst>
            <pc:docMk/>
            <pc:sldMk cId="1284892131" sldId="230717613"/>
            <ac:spMk id="12" creationId="{C4EE9024-F4EA-4487-9C00-3B980E1DF271}"/>
          </ac:spMkLst>
        </pc:spChg>
        <pc:spChg chg="mod">
          <ac:chgData name="El Bakkouri, Manal" userId="8b130982-2e3f-4164-b881-fd3a2e4b2453" providerId="ADAL" clId="{4457FA57-250B-44AC-8655-05D46C5A3D8A}" dt="2023-05-17T13:46:49.709" v="2359" actId="208"/>
          <ac:spMkLst>
            <pc:docMk/>
            <pc:sldMk cId="1284892131" sldId="230717613"/>
            <ac:spMk id="13" creationId="{14B43B33-9B3F-4189-B083-FEB86BDBC6E8}"/>
          </ac:spMkLst>
        </pc:spChg>
        <pc:spChg chg="add del mod">
          <ac:chgData name="El Bakkouri, Manal" userId="8b130982-2e3f-4164-b881-fd3a2e4b2453" providerId="ADAL" clId="{4457FA57-250B-44AC-8655-05D46C5A3D8A}" dt="2023-05-18T16:29:07.030" v="4376" actId="21"/>
          <ac:spMkLst>
            <pc:docMk/>
            <pc:sldMk cId="1284892131" sldId="230717613"/>
            <ac:spMk id="14" creationId="{E3F2F706-3B50-44CA-A119-7EB722BEC1F7}"/>
          </ac:spMkLst>
        </pc:spChg>
        <pc:spChg chg="add del mod">
          <ac:chgData name="El Bakkouri, Manal" userId="8b130982-2e3f-4164-b881-fd3a2e4b2453" providerId="ADAL" clId="{4457FA57-250B-44AC-8655-05D46C5A3D8A}" dt="2023-05-18T16:37:30.179" v="4430"/>
          <ac:spMkLst>
            <pc:docMk/>
            <pc:sldMk cId="1284892131" sldId="230717613"/>
            <ac:spMk id="15" creationId="{0B9D99B9-F994-4602-9193-8012DF398899}"/>
          </ac:spMkLst>
        </pc:spChg>
        <pc:spChg chg="add del mod">
          <ac:chgData name="El Bakkouri, Manal" userId="8b130982-2e3f-4164-b881-fd3a2e4b2453" providerId="ADAL" clId="{4457FA57-250B-44AC-8655-05D46C5A3D8A}" dt="2023-05-17T13:40:40.868" v="2321" actId="478"/>
          <ac:spMkLst>
            <pc:docMk/>
            <pc:sldMk cId="1284892131" sldId="230717613"/>
            <ac:spMk id="15" creationId="{3D34B6E3-1077-4F26-894F-21C0BCD09D8F}"/>
          </ac:spMkLst>
        </pc:spChg>
        <pc:spChg chg="add del">
          <ac:chgData name="El Bakkouri, Manal" userId="8b130982-2e3f-4164-b881-fd3a2e4b2453" providerId="ADAL" clId="{4457FA57-250B-44AC-8655-05D46C5A3D8A}" dt="2023-05-18T16:37:37.164" v="4433"/>
          <ac:spMkLst>
            <pc:docMk/>
            <pc:sldMk cId="1284892131" sldId="230717613"/>
            <ac:spMk id="16" creationId="{0A5D30F8-2821-473F-BDDF-D75A0B619F36}"/>
          </ac:spMkLst>
        </pc:spChg>
        <pc:spChg chg="add del mod">
          <ac:chgData name="El Bakkouri, Manal" userId="8b130982-2e3f-4164-b881-fd3a2e4b2453" providerId="ADAL" clId="{4457FA57-250B-44AC-8655-05D46C5A3D8A}" dt="2023-05-17T13:44:01.137" v="2336" actId="478"/>
          <ac:spMkLst>
            <pc:docMk/>
            <pc:sldMk cId="1284892131" sldId="230717613"/>
            <ac:spMk id="16" creationId="{1847F30E-2FD6-4297-A346-E448CEC89292}"/>
          </ac:spMkLst>
        </pc:spChg>
        <pc:spChg chg="add del mod">
          <ac:chgData name="El Bakkouri, Manal" userId="8b130982-2e3f-4164-b881-fd3a2e4b2453" providerId="ADAL" clId="{4457FA57-250B-44AC-8655-05D46C5A3D8A}" dt="2023-05-18T16:29:07.030" v="4376" actId="21"/>
          <ac:spMkLst>
            <pc:docMk/>
            <pc:sldMk cId="1284892131" sldId="230717613"/>
            <ac:spMk id="17" creationId="{49C9A664-1F80-4717-BAA5-342540CA0261}"/>
          </ac:spMkLst>
        </pc:spChg>
        <pc:spChg chg="mod">
          <ac:chgData name="El Bakkouri, Manal" userId="8b130982-2e3f-4164-b881-fd3a2e4b2453" providerId="ADAL" clId="{4457FA57-250B-44AC-8655-05D46C5A3D8A}" dt="2023-05-17T13:47:52.581" v="2365" actId="208"/>
          <ac:spMkLst>
            <pc:docMk/>
            <pc:sldMk cId="1284892131" sldId="230717613"/>
            <ac:spMk id="19" creationId="{49B278EF-0EE0-4EA9-81E7-3EEC7E2B89AE}"/>
          </ac:spMkLst>
        </pc:spChg>
        <pc:spChg chg="mod">
          <ac:chgData name="El Bakkouri, Manal" userId="8b130982-2e3f-4164-b881-fd3a2e4b2453" providerId="ADAL" clId="{4457FA57-250B-44AC-8655-05D46C5A3D8A}" dt="2023-05-17T13:47:58.554" v="2367" actId="208"/>
          <ac:spMkLst>
            <pc:docMk/>
            <pc:sldMk cId="1284892131" sldId="230717613"/>
            <ac:spMk id="20" creationId="{F8318494-EE44-4A9D-B044-B8D8728EB930}"/>
          </ac:spMkLst>
        </pc:spChg>
        <pc:spChg chg="mod">
          <ac:chgData name="El Bakkouri, Manal" userId="8b130982-2e3f-4164-b881-fd3a2e4b2453" providerId="ADAL" clId="{4457FA57-250B-44AC-8655-05D46C5A3D8A}" dt="2023-05-17T13:47:54.995" v="2366" actId="208"/>
          <ac:spMkLst>
            <pc:docMk/>
            <pc:sldMk cId="1284892131" sldId="230717613"/>
            <ac:spMk id="21" creationId="{D039906E-E661-4C5A-A668-7DA94231704E}"/>
          </ac:spMkLst>
        </pc:spChg>
        <pc:spChg chg="add del mod">
          <ac:chgData name="El Bakkouri, Manal" userId="8b130982-2e3f-4164-b881-fd3a2e4b2453" providerId="ADAL" clId="{4457FA57-250B-44AC-8655-05D46C5A3D8A}" dt="2023-05-18T16:29:07.030" v="4376" actId="21"/>
          <ac:spMkLst>
            <pc:docMk/>
            <pc:sldMk cId="1284892131" sldId="230717613"/>
            <ac:spMk id="22" creationId="{2CCA65F8-C48D-4A86-9156-29FD3731F082}"/>
          </ac:spMkLst>
        </pc:spChg>
        <pc:spChg chg="add del">
          <ac:chgData name="El Bakkouri, Manal" userId="8b130982-2e3f-4164-b881-fd3a2e4b2453" providerId="ADAL" clId="{4457FA57-250B-44AC-8655-05D46C5A3D8A}" dt="2023-05-18T16:37:51.058" v="4437"/>
          <ac:spMkLst>
            <pc:docMk/>
            <pc:sldMk cId="1284892131" sldId="230717613"/>
            <ac:spMk id="23" creationId="{14CB3F86-7651-41A6-A351-E7F70E332615}"/>
          </ac:spMkLst>
        </pc:spChg>
        <pc:spChg chg="add del mod">
          <ac:chgData name="El Bakkouri, Manal" userId="8b130982-2e3f-4164-b881-fd3a2e4b2453" providerId="ADAL" clId="{4457FA57-250B-44AC-8655-05D46C5A3D8A}" dt="2023-05-17T13:43:58.741" v="2335" actId="478"/>
          <ac:spMkLst>
            <pc:docMk/>
            <pc:sldMk cId="1284892131" sldId="230717613"/>
            <ac:spMk id="23" creationId="{2A1D5766-FE5C-4C56-A2D0-490E8E81741E}"/>
          </ac:spMkLst>
        </pc:spChg>
        <pc:spChg chg="add del">
          <ac:chgData name="El Bakkouri, Manal" userId="8b130982-2e3f-4164-b881-fd3a2e4b2453" providerId="ADAL" clId="{4457FA57-250B-44AC-8655-05D46C5A3D8A}" dt="2023-05-18T16:37:58.130" v="4442"/>
          <ac:spMkLst>
            <pc:docMk/>
            <pc:sldMk cId="1284892131" sldId="230717613"/>
            <ac:spMk id="24" creationId="{435DB7A8-F208-47C0-B9AD-D21813998D5A}"/>
          </ac:spMkLst>
        </pc:spChg>
        <pc:spChg chg="mod">
          <ac:chgData name="El Bakkouri, Manal" userId="8b130982-2e3f-4164-b881-fd3a2e4b2453" providerId="ADAL" clId="{4457FA57-250B-44AC-8655-05D46C5A3D8A}" dt="2023-05-17T11:06:26.849" v="1853"/>
          <ac:spMkLst>
            <pc:docMk/>
            <pc:sldMk cId="1284892131" sldId="230717613"/>
            <ac:spMk id="25" creationId="{2FF0749A-AA45-45D7-B106-75FB5DDDC523}"/>
          </ac:spMkLst>
        </pc:spChg>
        <pc:spChg chg="mod">
          <ac:chgData name="El Bakkouri, Manal" userId="8b130982-2e3f-4164-b881-fd3a2e4b2453" providerId="ADAL" clId="{4457FA57-250B-44AC-8655-05D46C5A3D8A}" dt="2023-05-17T11:06:26.849" v="1853"/>
          <ac:spMkLst>
            <pc:docMk/>
            <pc:sldMk cId="1284892131" sldId="230717613"/>
            <ac:spMk id="26" creationId="{691DA267-7B3A-4A6F-AE75-7911EC6B6F3E}"/>
          </ac:spMkLst>
        </pc:spChg>
        <pc:spChg chg="mod">
          <ac:chgData name="El Bakkouri, Manal" userId="8b130982-2e3f-4164-b881-fd3a2e4b2453" providerId="ADAL" clId="{4457FA57-250B-44AC-8655-05D46C5A3D8A}" dt="2023-05-17T11:06:26.849" v="1853"/>
          <ac:spMkLst>
            <pc:docMk/>
            <pc:sldMk cId="1284892131" sldId="230717613"/>
            <ac:spMk id="27" creationId="{F43B6191-482A-45C3-8645-126E1B349802}"/>
          </ac:spMkLst>
        </pc:spChg>
        <pc:spChg chg="mod">
          <ac:chgData name="El Bakkouri, Manal" userId="8b130982-2e3f-4164-b881-fd3a2e4b2453" providerId="ADAL" clId="{4457FA57-250B-44AC-8655-05D46C5A3D8A}" dt="2023-05-17T11:06:26.849" v="1853"/>
          <ac:spMkLst>
            <pc:docMk/>
            <pc:sldMk cId="1284892131" sldId="230717613"/>
            <ac:spMk id="28" creationId="{82C81AD3-EA93-4A40-8474-37AAFB7DE21A}"/>
          </ac:spMkLst>
        </pc:spChg>
        <pc:spChg chg="mod">
          <ac:chgData name="El Bakkouri, Manal" userId="8b130982-2e3f-4164-b881-fd3a2e4b2453" providerId="ADAL" clId="{4457FA57-250B-44AC-8655-05D46C5A3D8A}" dt="2023-05-17T11:06:26.849" v="1853"/>
          <ac:spMkLst>
            <pc:docMk/>
            <pc:sldMk cId="1284892131" sldId="230717613"/>
            <ac:spMk id="29" creationId="{BDE27EF7-CFD3-42A1-8808-4F3F00D0364B}"/>
          </ac:spMkLst>
        </pc:spChg>
        <pc:spChg chg="mod">
          <ac:chgData name="El Bakkouri, Manal" userId="8b130982-2e3f-4164-b881-fd3a2e4b2453" providerId="ADAL" clId="{4457FA57-250B-44AC-8655-05D46C5A3D8A}" dt="2023-05-17T11:06:26.849" v="1853"/>
          <ac:spMkLst>
            <pc:docMk/>
            <pc:sldMk cId="1284892131" sldId="230717613"/>
            <ac:spMk id="30" creationId="{7507F2F1-1AF0-4F79-8D25-9C22869A5C43}"/>
          </ac:spMkLst>
        </pc:spChg>
        <pc:spChg chg="mod">
          <ac:chgData name="El Bakkouri, Manal" userId="8b130982-2e3f-4164-b881-fd3a2e4b2453" providerId="ADAL" clId="{4457FA57-250B-44AC-8655-05D46C5A3D8A}" dt="2023-05-17T11:06:26.849" v="1853"/>
          <ac:spMkLst>
            <pc:docMk/>
            <pc:sldMk cId="1284892131" sldId="230717613"/>
            <ac:spMk id="31" creationId="{75F01317-1EBE-4AB2-B43E-E8B377B15526}"/>
          </ac:spMkLst>
        </pc:spChg>
        <pc:spChg chg="mod">
          <ac:chgData name="El Bakkouri, Manal" userId="8b130982-2e3f-4164-b881-fd3a2e4b2453" providerId="ADAL" clId="{4457FA57-250B-44AC-8655-05D46C5A3D8A}" dt="2023-05-17T11:06:26.849" v="1853"/>
          <ac:spMkLst>
            <pc:docMk/>
            <pc:sldMk cId="1284892131" sldId="230717613"/>
            <ac:spMk id="32" creationId="{D96B2752-5959-4595-BF87-FBA55258BFC7}"/>
          </ac:spMkLst>
        </pc:spChg>
        <pc:spChg chg="mod">
          <ac:chgData name="El Bakkouri, Manal" userId="8b130982-2e3f-4164-b881-fd3a2e4b2453" providerId="ADAL" clId="{4457FA57-250B-44AC-8655-05D46C5A3D8A}" dt="2023-05-17T11:06:26.849" v="1853"/>
          <ac:spMkLst>
            <pc:docMk/>
            <pc:sldMk cId="1284892131" sldId="230717613"/>
            <ac:spMk id="34" creationId="{CD20F46E-5D66-4069-BC4E-1ED0CBE1024E}"/>
          </ac:spMkLst>
        </pc:spChg>
        <pc:spChg chg="mod">
          <ac:chgData name="El Bakkouri, Manal" userId="8b130982-2e3f-4164-b881-fd3a2e4b2453" providerId="ADAL" clId="{4457FA57-250B-44AC-8655-05D46C5A3D8A}" dt="2023-05-17T11:06:26.849" v="1853"/>
          <ac:spMkLst>
            <pc:docMk/>
            <pc:sldMk cId="1284892131" sldId="230717613"/>
            <ac:spMk id="35" creationId="{50AE164A-8C13-4ABF-A7CA-A06647584F51}"/>
          </ac:spMkLst>
        </pc:spChg>
        <pc:spChg chg="mod">
          <ac:chgData name="El Bakkouri, Manal" userId="8b130982-2e3f-4164-b881-fd3a2e4b2453" providerId="ADAL" clId="{4457FA57-250B-44AC-8655-05D46C5A3D8A}" dt="2023-05-17T11:06:26.849" v="1853"/>
          <ac:spMkLst>
            <pc:docMk/>
            <pc:sldMk cId="1284892131" sldId="230717613"/>
            <ac:spMk id="37" creationId="{93EB0ED2-E759-45B6-AAC9-5B0B51B79F6B}"/>
          </ac:spMkLst>
        </pc:spChg>
        <pc:spChg chg="mod">
          <ac:chgData name="El Bakkouri, Manal" userId="8b130982-2e3f-4164-b881-fd3a2e4b2453" providerId="ADAL" clId="{4457FA57-250B-44AC-8655-05D46C5A3D8A}" dt="2023-05-17T11:06:26.849" v="1853"/>
          <ac:spMkLst>
            <pc:docMk/>
            <pc:sldMk cId="1284892131" sldId="230717613"/>
            <ac:spMk id="38" creationId="{4900307E-2F7E-4777-A052-C22820203D27}"/>
          </ac:spMkLst>
        </pc:spChg>
        <pc:spChg chg="mod">
          <ac:chgData name="El Bakkouri, Manal" userId="8b130982-2e3f-4164-b881-fd3a2e4b2453" providerId="ADAL" clId="{4457FA57-250B-44AC-8655-05D46C5A3D8A}" dt="2023-05-17T11:06:26.849" v="1853"/>
          <ac:spMkLst>
            <pc:docMk/>
            <pc:sldMk cId="1284892131" sldId="230717613"/>
            <ac:spMk id="39" creationId="{29D7EB4A-E249-4222-BCA6-15F507FAE11F}"/>
          </ac:spMkLst>
        </pc:spChg>
        <pc:spChg chg="mod">
          <ac:chgData name="El Bakkouri, Manal" userId="8b130982-2e3f-4164-b881-fd3a2e4b2453" providerId="ADAL" clId="{4457FA57-250B-44AC-8655-05D46C5A3D8A}" dt="2023-05-17T13:40:04.625" v="2316" actId="207"/>
          <ac:spMkLst>
            <pc:docMk/>
            <pc:sldMk cId="1284892131" sldId="230717613"/>
            <ac:spMk id="41" creationId="{5337FE78-9FA2-4EAB-9153-275132791FCC}"/>
          </ac:spMkLst>
        </pc:spChg>
        <pc:spChg chg="mod">
          <ac:chgData name="El Bakkouri, Manal" userId="8b130982-2e3f-4164-b881-fd3a2e4b2453" providerId="ADAL" clId="{4457FA57-250B-44AC-8655-05D46C5A3D8A}" dt="2023-05-17T13:40:04.625" v="2316" actId="207"/>
          <ac:spMkLst>
            <pc:docMk/>
            <pc:sldMk cId="1284892131" sldId="230717613"/>
            <ac:spMk id="42" creationId="{292B3683-75F2-44DB-863E-019D2B03B45D}"/>
          </ac:spMkLst>
        </pc:spChg>
        <pc:spChg chg="mod">
          <ac:chgData name="El Bakkouri, Manal" userId="8b130982-2e3f-4164-b881-fd3a2e4b2453" providerId="ADAL" clId="{4457FA57-250B-44AC-8655-05D46C5A3D8A}" dt="2023-05-17T13:43:16.029" v="2332" actId="207"/>
          <ac:spMkLst>
            <pc:docMk/>
            <pc:sldMk cId="1284892131" sldId="230717613"/>
            <ac:spMk id="44" creationId="{9CD8114F-9680-49C6-A776-84995CD54A78}"/>
          </ac:spMkLst>
        </pc:spChg>
        <pc:spChg chg="mod">
          <ac:chgData name="El Bakkouri, Manal" userId="8b130982-2e3f-4164-b881-fd3a2e4b2453" providerId="ADAL" clId="{4457FA57-250B-44AC-8655-05D46C5A3D8A}" dt="2023-05-17T13:43:16.029" v="2332" actId="207"/>
          <ac:spMkLst>
            <pc:docMk/>
            <pc:sldMk cId="1284892131" sldId="230717613"/>
            <ac:spMk id="45" creationId="{5BC8175F-9492-4493-B76B-9AA176934B42}"/>
          </ac:spMkLst>
        </pc:spChg>
        <pc:spChg chg="mod">
          <ac:chgData name="El Bakkouri, Manal" userId="8b130982-2e3f-4164-b881-fd3a2e4b2453" providerId="ADAL" clId="{4457FA57-250B-44AC-8655-05D46C5A3D8A}" dt="2023-05-17T13:45:26.941" v="2344" actId="207"/>
          <ac:spMkLst>
            <pc:docMk/>
            <pc:sldMk cId="1284892131" sldId="230717613"/>
            <ac:spMk id="47" creationId="{BF1A4C42-241E-4142-B909-A937A8696AC2}"/>
          </ac:spMkLst>
        </pc:spChg>
        <pc:spChg chg="mod">
          <ac:chgData name="El Bakkouri, Manal" userId="8b130982-2e3f-4164-b881-fd3a2e4b2453" providerId="ADAL" clId="{4457FA57-250B-44AC-8655-05D46C5A3D8A}" dt="2023-05-17T13:45:26.941" v="2344" actId="207"/>
          <ac:spMkLst>
            <pc:docMk/>
            <pc:sldMk cId="1284892131" sldId="230717613"/>
            <ac:spMk id="48" creationId="{66589D33-81FA-43A6-AB88-91522D35D833}"/>
          </ac:spMkLst>
        </pc:spChg>
        <pc:spChg chg="mod">
          <ac:chgData name="El Bakkouri, Manal" userId="8b130982-2e3f-4164-b881-fd3a2e4b2453" providerId="ADAL" clId="{4457FA57-250B-44AC-8655-05D46C5A3D8A}" dt="2023-05-17T13:45:26.941" v="2344" actId="207"/>
          <ac:spMkLst>
            <pc:docMk/>
            <pc:sldMk cId="1284892131" sldId="230717613"/>
            <ac:spMk id="49" creationId="{E33A5CDD-6EAD-4FA6-9C08-A5A6B62BB053}"/>
          </ac:spMkLst>
        </pc:spChg>
        <pc:spChg chg="add mod">
          <ac:chgData name="El Bakkouri, Manal" userId="8b130982-2e3f-4164-b881-fd3a2e4b2453" providerId="ADAL" clId="{4457FA57-250B-44AC-8655-05D46C5A3D8A}" dt="2023-05-17T13:49:28.931" v="2380"/>
          <ac:spMkLst>
            <pc:docMk/>
            <pc:sldMk cId="1284892131" sldId="230717613"/>
            <ac:spMk id="50" creationId="{0D675A8C-4762-4C05-BD22-AFED6BCF2286}"/>
          </ac:spMkLst>
        </pc:spChg>
        <pc:spChg chg="add mod">
          <ac:chgData name="El Bakkouri, Manal" userId="8b130982-2e3f-4164-b881-fd3a2e4b2453" providerId="ADAL" clId="{4457FA57-250B-44AC-8655-05D46C5A3D8A}" dt="2023-05-17T13:49:28.931" v="2380"/>
          <ac:spMkLst>
            <pc:docMk/>
            <pc:sldMk cId="1284892131" sldId="230717613"/>
            <ac:spMk id="51" creationId="{5F729168-66BA-430C-BAE0-1B818C22C59B}"/>
          </ac:spMkLst>
        </pc:spChg>
        <pc:spChg chg="add mod">
          <ac:chgData name="El Bakkouri, Manal" userId="8b130982-2e3f-4164-b881-fd3a2e4b2453" providerId="ADAL" clId="{4457FA57-250B-44AC-8655-05D46C5A3D8A}" dt="2023-05-17T13:49:28.931" v="2380"/>
          <ac:spMkLst>
            <pc:docMk/>
            <pc:sldMk cId="1284892131" sldId="230717613"/>
            <ac:spMk id="52" creationId="{3AA9E2E5-19A3-42AC-974C-BECC00D4815D}"/>
          </ac:spMkLst>
        </pc:spChg>
        <pc:spChg chg="add mod">
          <ac:chgData name="El Bakkouri, Manal" userId="8b130982-2e3f-4164-b881-fd3a2e4b2453" providerId="ADAL" clId="{4457FA57-250B-44AC-8655-05D46C5A3D8A}" dt="2023-05-17T13:49:28.931" v="2380"/>
          <ac:spMkLst>
            <pc:docMk/>
            <pc:sldMk cId="1284892131" sldId="230717613"/>
            <ac:spMk id="53" creationId="{74C20459-E4F2-4CF2-9B4D-9F4C56AE4006}"/>
          </ac:spMkLst>
        </pc:spChg>
        <pc:spChg chg="add mod">
          <ac:chgData name="El Bakkouri, Manal" userId="8b130982-2e3f-4164-b881-fd3a2e4b2453" providerId="ADAL" clId="{4457FA57-250B-44AC-8655-05D46C5A3D8A}" dt="2023-05-17T13:49:28.931" v="2380"/>
          <ac:spMkLst>
            <pc:docMk/>
            <pc:sldMk cId="1284892131" sldId="230717613"/>
            <ac:spMk id="54" creationId="{FDE211B4-883D-4803-9945-BF19AC0B850E}"/>
          </ac:spMkLst>
        </pc:spChg>
        <pc:spChg chg="add mod">
          <ac:chgData name="El Bakkouri, Manal" userId="8b130982-2e3f-4164-b881-fd3a2e4b2453" providerId="ADAL" clId="{4457FA57-250B-44AC-8655-05D46C5A3D8A}" dt="2023-05-17T13:49:28.931" v="2380"/>
          <ac:spMkLst>
            <pc:docMk/>
            <pc:sldMk cId="1284892131" sldId="230717613"/>
            <ac:spMk id="55" creationId="{A4B47897-DEF0-408F-9265-0FC2E2B2492A}"/>
          </ac:spMkLst>
        </pc:spChg>
        <pc:spChg chg="add mod">
          <ac:chgData name="El Bakkouri, Manal" userId="8b130982-2e3f-4164-b881-fd3a2e4b2453" providerId="ADAL" clId="{4457FA57-250B-44AC-8655-05D46C5A3D8A}" dt="2023-05-17T13:49:28.931" v="2380"/>
          <ac:spMkLst>
            <pc:docMk/>
            <pc:sldMk cId="1284892131" sldId="230717613"/>
            <ac:spMk id="56" creationId="{7EA0729B-96F3-44FF-B1E5-AEFEDCD90A64}"/>
          </ac:spMkLst>
        </pc:spChg>
        <pc:spChg chg="add mod">
          <ac:chgData name="El Bakkouri, Manal" userId="8b130982-2e3f-4164-b881-fd3a2e4b2453" providerId="ADAL" clId="{4457FA57-250B-44AC-8655-05D46C5A3D8A}" dt="2023-05-17T13:49:28.931" v="2380"/>
          <ac:spMkLst>
            <pc:docMk/>
            <pc:sldMk cId="1284892131" sldId="230717613"/>
            <ac:spMk id="57" creationId="{AD90DEE4-BA59-409B-8702-59A9189D3128}"/>
          </ac:spMkLst>
        </pc:spChg>
        <pc:spChg chg="add mod">
          <ac:chgData name="El Bakkouri, Manal" userId="8b130982-2e3f-4164-b881-fd3a2e4b2453" providerId="ADAL" clId="{4457FA57-250B-44AC-8655-05D46C5A3D8A}" dt="2023-05-17T13:49:28.931" v="2380"/>
          <ac:spMkLst>
            <pc:docMk/>
            <pc:sldMk cId="1284892131" sldId="230717613"/>
            <ac:spMk id="58" creationId="{CC9E7F20-EADC-4392-BB8D-B237DB9EE1E1}"/>
          </ac:spMkLst>
        </pc:spChg>
        <pc:spChg chg="add mod">
          <ac:chgData name="El Bakkouri, Manal" userId="8b130982-2e3f-4164-b881-fd3a2e4b2453" providerId="ADAL" clId="{4457FA57-250B-44AC-8655-05D46C5A3D8A}" dt="2023-05-17T13:49:28.931" v="2380"/>
          <ac:spMkLst>
            <pc:docMk/>
            <pc:sldMk cId="1284892131" sldId="230717613"/>
            <ac:spMk id="59" creationId="{319F091D-9EDE-452E-964E-ED78548E6664}"/>
          </ac:spMkLst>
        </pc:spChg>
        <pc:spChg chg="add del mod">
          <ac:chgData name="El Bakkouri, Manal" userId="8b130982-2e3f-4164-b881-fd3a2e4b2453" providerId="ADAL" clId="{4457FA57-250B-44AC-8655-05D46C5A3D8A}" dt="2023-05-18T16:28:58.054" v="4375"/>
          <ac:spMkLst>
            <pc:docMk/>
            <pc:sldMk cId="1284892131" sldId="230717613"/>
            <ac:spMk id="60" creationId="{51947E3D-3938-4D8E-A96E-C9E947A29BD5}"/>
          </ac:spMkLst>
        </pc:spChg>
        <pc:spChg chg="add mod">
          <ac:chgData name="El Bakkouri, Manal" userId="8b130982-2e3f-4164-b881-fd3a2e4b2453" providerId="ADAL" clId="{4457FA57-250B-44AC-8655-05D46C5A3D8A}" dt="2023-05-18T16:39:37.679" v="4468" actId="1076"/>
          <ac:spMkLst>
            <pc:docMk/>
            <pc:sldMk cId="1284892131" sldId="230717613"/>
            <ac:spMk id="61" creationId="{7106FA92-EF01-4191-90E3-6759EF0B7553}"/>
          </ac:spMkLst>
        </pc:spChg>
        <pc:spChg chg="add del mod">
          <ac:chgData name="El Bakkouri, Manal" userId="8b130982-2e3f-4164-b881-fd3a2e4b2453" providerId="ADAL" clId="{4457FA57-250B-44AC-8655-05D46C5A3D8A}" dt="2023-05-18T16:28:58.054" v="4375"/>
          <ac:spMkLst>
            <pc:docMk/>
            <pc:sldMk cId="1284892131" sldId="230717613"/>
            <ac:spMk id="62" creationId="{F1BB84E1-7CC3-487D-9880-98ECEC576450}"/>
          </ac:spMkLst>
        </pc:spChg>
        <pc:spChg chg="add del mod">
          <ac:chgData name="El Bakkouri, Manal" userId="8b130982-2e3f-4164-b881-fd3a2e4b2453" providerId="ADAL" clId="{4457FA57-250B-44AC-8655-05D46C5A3D8A}" dt="2023-05-18T16:28:58.054" v="4375"/>
          <ac:spMkLst>
            <pc:docMk/>
            <pc:sldMk cId="1284892131" sldId="230717613"/>
            <ac:spMk id="63" creationId="{63EBCC14-89BC-42C9-A0CD-E90D9CFD77C1}"/>
          </ac:spMkLst>
        </pc:spChg>
        <pc:spChg chg="add del mod">
          <ac:chgData name="El Bakkouri, Manal" userId="8b130982-2e3f-4164-b881-fd3a2e4b2453" providerId="ADAL" clId="{4457FA57-250B-44AC-8655-05D46C5A3D8A}" dt="2023-05-18T16:23:22.151" v="4322" actId="478"/>
          <ac:spMkLst>
            <pc:docMk/>
            <pc:sldMk cId="1284892131" sldId="230717613"/>
            <ac:spMk id="64" creationId="{457BF5B8-DA6F-4139-A44B-DB5AC6C14BFD}"/>
          </ac:spMkLst>
        </pc:spChg>
        <pc:spChg chg="add del mod">
          <ac:chgData name="El Bakkouri, Manal" userId="8b130982-2e3f-4164-b881-fd3a2e4b2453" providerId="ADAL" clId="{4457FA57-250B-44AC-8655-05D46C5A3D8A}" dt="2023-05-18T16:28:58.054" v="4375"/>
          <ac:spMkLst>
            <pc:docMk/>
            <pc:sldMk cId="1284892131" sldId="230717613"/>
            <ac:spMk id="65" creationId="{6B73A861-1434-4E0E-9438-1ADEA41F3757}"/>
          </ac:spMkLst>
        </pc:spChg>
        <pc:spChg chg="add del mod">
          <ac:chgData name="El Bakkouri, Manal" userId="8b130982-2e3f-4164-b881-fd3a2e4b2453" providerId="ADAL" clId="{4457FA57-250B-44AC-8655-05D46C5A3D8A}" dt="2023-05-18T16:28:58.054" v="4375"/>
          <ac:spMkLst>
            <pc:docMk/>
            <pc:sldMk cId="1284892131" sldId="230717613"/>
            <ac:spMk id="66" creationId="{9285A658-7125-4FF0-A586-12CF49FBB43A}"/>
          </ac:spMkLst>
        </pc:spChg>
        <pc:spChg chg="add del mod">
          <ac:chgData name="El Bakkouri, Manal" userId="8b130982-2e3f-4164-b881-fd3a2e4b2453" providerId="ADAL" clId="{4457FA57-250B-44AC-8655-05D46C5A3D8A}" dt="2023-05-18T16:28:58.054" v="4375"/>
          <ac:spMkLst>
            <pc:docMk/>
            <pc:sldMk cId="1284892131" sldId="230717613"/>
            <ac:spMk id="67" creationId="{2D33619B-50C2-4E46-8501-628567A98290}"/>
          </ac:spMkLst>
        </pc:spChg>
        <pc:spChg chg="add del mod">
          <ac:chgData name="El Bakkouri, Manal" userId="8b130982-2e3f-4164-b881-fd3a2e4b2453" providerId="ADAL" clId="{4457FA57-250B-44AC-8655-05D46C5A3D8A}" dt="2023-05-18T16:28:58.054" v="4375"/>
          <ac:spMkLst>
            <pc:docMk/>
            <pc:sldMk cId="1284892131" sldId="230717613"/>
            <ac:spMk id="68" creationId="{84F4926B-D52D-4DB7-A002-E6ED501399A2}"/>
          </ac:spMkLst>
        </pc:spChg>
        <pc:spChg chg="add del mod">
          <ac:chgData name="El Bakkouri, Manal" userId="8b130982-2e3f-4164-b881-fd3a2e4b2453" providerId="ADAL" clId="{4457FA57-250B-44AC-8655-05D46C5A3D8A}" dt="2023-05-18T16:28:58.054" v="4375"/>
          <ac:spMkLst>
            <pc:docMk/>
            <pc:sldMk cId="1284892131" sldId="230717613"/>
            <ac:spMk id="69" creationId="{B98D4580-8D70-4DC0-BDF2-5FD3C8AAE04A}"/>
          </ac:spMkLst>
        </pc:spChg>
        <pc:spChg chg="add del mod">
          <ac:chgData name="El Bakkouri, Manal" userId="8b130982-2e3f-4164-b881-fd3a2e4b2453" providerId="ADAL" clId="{4457FA57-250B-44AC-8655-05D46C5A3D8A}" dt="2023-05-18T16:28:58.054" v="4375"/>
          <ac:spMkLst>
            <pc:docMk/>
            <pc:sldMk cId="1284892131" sldId="230717613"/>
            <ac:spMk id="70" creationId="{50F795D4-790D-454D-BA0A-3707A8384517}"/>
          </ac:spMkLst>
        </pc:spChg>
        <pc:spChg chg="add del mod">
          <ac:chgData name="El Bakkouri, Manal" userId="8b130982-2e3f-4164-b881-fd3a2e4b2453" providerId="ADAL" clId="{4457FA57-250B-44AC-8655-05D46C5A3D8A}" dt="2023-05-18T16:28:58.054" v="4375"/>
          <ac:spMkLst>
            <pc:docMk/>
            <pc:sldMk cId="1284892131" sldId="230717613"/>
            <ac:spMk id="71" creationId="{FB9C9A05-DAB4-484E-AE8A-B4070F4A498B}"/>
          </ac:spMkLst>
        </pc:spChg>
        <pc:spChg chg="add del mod">
          <ac:chgData name="El Bakkouri, Manal" userId="8b130982-2e3f-4164-b881-fd3a2e4b2453" providerId="ADAL" clId="{4457FA57-250B-44AC-8655-05D46C5A3D8A}" dt="2023-05-18T16:28:58.054" v="4375"/>
          <ac:spMkLst>
            <pc:docMk/>
            <pc:sldMk cId="1284892131" sldId="230717613"/>
            <ac:spMk id="72" creationId="{012FB34D-2253-4AF5-855A-1112BD0BEE37}"/>
          </ac:spMkLst>
        </pc:spChg>
        <pc:spChg chg="add del mod">
          <ac:chgData name="El Bakkouri, Manal" userId="8b130982-2e3f-4164-b881-fd3a2e4b2453" providerId="ADAL" clId="{4457FA57-250B-44AC-8655-05D46C5A3D8A}" dt="2023-05-18T16:28:58.054" v="4375"/>
          <ac:spMkLst>
            <pc:docMk/>
            <pc:sldMk cId="1284892131" sldId="230717613"/>
            <ac:spMk id="73" creationId="{A15C445C-432E-40D1-960D-388619275539}"/>
          </ac:spMkLst>
        </pc:spChg>
        <pc:spChg chg="add del mod">
          <ac:chgData name="El Bakkouri, Manal" userId="8b130982-2e3f-4164-b881-fd3a2e4b2453" providerId="ADAL" clId="{4457FA57-250B-44AC-8655-05D46C5A3D8A}" dt="2023-05-18T16:28:58.054" v="4375"/>
          <ac:spMkLst>
            <pc:docMk/>
            <pc:sldMk cId="1284892131" sldId="230717613"/>
            <ac:spMk id="74" creationId="{5A48F36F-7131-4678-8E4D-CC76F03ADBE1}"/>
          </ac:spMkLst>
        </pc:spChg>
        <pc:spChg chg="add del mod">
          <ac:chgData name="El Bakkouri, Manal" userId="8b130982-2e3f-4164-b881-fd3a2e4b2453" providerId="ADAL" clId="{4457FA57-250B-44AC-8655-05D46C5A3D8A}" dt="2023-05-18T16:28:58.054" v="4375"/>
          <ac:spMkLst>
            <pc:docMk/>
            <pc:sldMk cId="1284892131" sldId="230717613"/>
            <ac:spMk id="75" creationId="{5E7CF599-D653-4D21-9BCC-1424FF5A5476}"/>
          </ac:spMkLst>
        </pc:spChg>
        <pc:spChg chg="add del mod">
          <ac:chgData name="El Bakkouri, Manal" userId="8b130982-2e3f-4164-b881-fd3a2e4b2453" providerId="ADAL" clId="{4457FA57-250B-44AC-8655-05D46C5A3D8A}" dt="2023-05-18T16:28:58.054" v="4375"/>
          <ac:spMkLst>
            <pc:docMk/>
            <pc:sldMk cId="1284892131" sldId="230717613"/>
            <ac:spMk id="76" creationId="{63FA7CBD-F1C8-4D49-9A8C-D5851880AD4E}"/>
          </ac:spMkLst>
        </pc:spChg>
        <pc:spChg chg="add del mod">
          <ac:chgData name="El Bakkouri, Manal" userId="8b130982-2e3f-4164-b881-fd3a2e4b2453" providerId="ADAL" clId="{4457FA57-250B-44AC-8655-05D46C5A3D8A}" dt="2023-05-18T16:28:58.054" v="4375"/>
          <ac:spMkLst>
            <pc:docMk/>
            <pc:sldMk cId="1284892131" sldId="230717613"/>
            <ac:spMk id="77" creationId="{F2C58084-54E5-41AC-8099-2DE632195F2E}"/>
          </ac:spMkLst>
        </pc:spChg>
        <pc:spChg chg="add del mod">
          <ac:chgData name="El Bakkouri, Manal" userId="8b130982-2e3f-4164-b881-fd3a2e4b2453" providerId="ADAL" clId="{4457FA57-250B-44AC-8655-05D46C5A3D8A}" dt="2023-05-18T16:28:58.054" v="4375"/>
          <ac:spMkLst>
            <pc:docMk/>
            <pc:sldMk cId="1284892131" sldId="230717613"/>
            <ac:spMk id="78" creationId="{5FA1CB56-03E3-4ABF-A1D7-794290F8A3E4}"/>
          </ac:spMkLst>
        </pc:spChg>
        <pc:spChg chg="add del mod">
          <ac:chgData name="El Bakkouri, Manal" userId="8b130982-2e3f-4164-b881-fd3a2e4b2453" providerId="ADAL" clId="{4457FA57-250B-44AC-8655-05D46C5A3D8A}" dt="2023-05-18T16:28:58.054" v="4375"/>
          <ac:spMkLst>
            <pc:docMk/>
            <pc:sldMk cId="1284892131" sldId="230717613"/>
            <ac:spMk id="79" creationId="{1E9BB49F-B094-4CD1-8624-4F0FE18F0DD6}"/>
          </ac:spMkLst>
        </pc:spChg>
        <pc:spChg chg="add del mod">
          <ac:chgData name="El Bakkouri, Manal" userId="8b130982-2e3f-4164-b881-fd3a2e4b2453" providerId="ADAL" clId="{4457FA57-250B-44AC-8655-05D46C5A3D8A}" dt="2023-05-18T16:28:58.054" v="4375"/>
          <ac:spMkLst>
            <pc:docMk/>
            <pc:sldMk cId="1284892131" sldId="230717613"/>
            <ac:spMk id="80" creationId="{9D0288ED-2876-401D-B316-9A1FD5C93FDA}"/>
          </ac:spMkLst>
        </pc:spChg>
        <pc:spChg chg="add del mod">
          <ac:chgData name="El Bakkouri, Manal" userId="8b130982-2e3f-4164-b881-fd3a2e4b2453" providerId="ADAL" clId="{4457FA57-250B-44AC-8655-05D46C5A3D8A}" dt="2023-05-18T16:28:58.054" v="4375"/>
          <ac:spMkLst>
            <pc:docMk/>
            <pc:sldMk cId="1284892131" sldId="230717613"/>
            <ac:spMk id="81" creationId="{D61151AF-9B88-4E5B-AE5C-4249A086A3D5}"/>
          </ac:spMkLst>
        </pc:spChg>
        <pc:spChg chg="add del mod">
          <ac:chgData name="El Bakkouri, Manal" userId="8b130982-2e3f-4164-b881-fd3a2e4b2453" providerId="ADAL" clId="{4457FA57-250B-44AC-8655-05D46C5A3D8A}" dt="2023-05-18T16:28:58.054" v="4375"/>
          <ac:spMkLst>
            <pc:docMk/>
            <pc:sldMk cId="1284892131" sldId="230717613"/>
            <ac:spMk id="82" creationId="{B5F454ED-8AFB-436C-AC8B-1C25ED8C1BE8}"/>
          </ac:spMkLst>
        </pc:spChg>
        <pc:spChg chg="add del mod">
          <ac:chgData name="El Bakkouri, Manal" userId="8b130982-2e3f-4164-b881-fd3a2e4b2453" providerId="ADAL" clId="{4457FA57-250B-44AC-8655-05D46C5A3D8A}" dt="2023-05-18T16:28:58.054" v="4375"/>
          <ac:spMkLst>
            <pc:docMk/>
            <pc:sldMk cId="1284892131" sldId="230717613"/>
            <ac:spMk id="83" creationId="{AA3E7890-3CD6-4123-9023-AE8A2116FA97}"/>
          </ac:spMkLst>
        </pc:spChg>
        <pc:spChg chg="add del mod">
          <ac:chgData name="El Bakkouri, Manal" userId="8b130982-2e3f-4164-b881-fd3a2e4b2453" providerId="ADAL" clId="{4457FA57-250B-44AC-8655-05D46C5A3D8A}" dt="2023-05-18T16:28:58.054" v="4375"/>
          <ac:spMkLst>
            <pc:docMk/>
            <pc:sldMk cId="1284892131" sldId="230717613"/>
            <ac:spMk id="84" creationId="{6CB9990E-1782-4B64-BB38-4CA98704C803}"/>
          </ac:spMkLst>
        </pc:spChg>
        <pc:spChg chg="add del mod">
          <ac:chgData name="El Bakkouri, Manal" userId="8b130982-2e3f-4164-b881-fd3a2e4b2453" providerId="ADAL" clId="{4457FA57-250B-44AC-8655-05D46C5A3D8A}" dt="2023-05-18T16:28:58.054" v="4375"/>
          <ac:spMkLst>
            <pc:docMk/>
            <pc:sldMk cId="1284892131" sldId="230717613"/>
            <ac:spMk id="85" creationId="{46B4A814-457F-4B3F-8FB4-0C3F3553B2B8}"/>
          </ac:spMkLst>
        </pc:spChg>
        <pc:spChg chg="add del mod">
          <ac:chgData name="El Bakkouri, Manal" userId="8b130982-2e3f-4164-b881-fd3a2e4b2453" providerId="ADAL" clId="{4457FA57-250B-44AC-8655-05D46C5A3D8A}" dt="2023-05-18T16:28:58.054" v="4375"/>
          <ac:spMkLst>
            <pc:docMk/>
            <pc:sldMk cId="1284892131" sldId="230717613"/>
            <ac:spMk id="86" creationId="{C105A2AD-6E95-4DE7-804B-44EDE5995605}"/>
          </ac:spMkLst>
        </pc:spChg>
        <pc:spChg chg="add del mod">
          <ac:chgData name="El Bakkouri, Manal" userId="8b130982-2e3f-4164-b881-fd3a2e4b2453" providerId="ADAL" clId="{4457FA57-250B-44AC-8655-05D46C5A3D8A}" dt="2023-05-18T16:28:58.054" v="4375"/>
          <ac:spMkLst>
            <pc:docMk/>
            <pc:sldMk cId="1284892131" sldId="230717613"/>
            <ac:spMk id="87" creationId="{2CFE10EF-340A-4811-935C-8BE512C093FA}"/>
          </ac:spMkLst>
        </pc:spChg>
        <pc:spChg chg="add del mod">
          <ac:chgData name="El Bakkouri, Manal" userId="8b130982-2e3f-4164-b881-fd3a2e4b2453" providerId="ADAL" clId="{4457FA57-250B-44AC-8655-05D46C5A3D8A}" dt="2023-05-18T16:28:58.054" v="4375"/>
          <ac:spMkLst>
            <pc:docMk/>
            <pc:sldMk cId="1284892131" sldId="230717613"/>
            <ac:spMk id="88" creationId="{38110DC2-6AE4-427E-8944-7CB2C839C2E0}"/>
          </ac:spMkLst>
        </pc:spChg>
        <pc:spChg chg="add del mod">
          <ac:chgData name="El Bakkouri, Manal" userId="8b130982-2e3f-4164-b881-fd3a2e4b2453" providerId="ADAL" clId="{4457FA57-250B-44AC-8655-05D46C5A3D8A}" dt="2023-05-18T16:28:58.054" v="4375"/>
          <ac:spMkLst>
            <pc:docMk/>
            <pc:sldMk cId="1284892131" sldId="230717613"/>
            <ac:spMk id="89" creationId="{0C4F741C-5252-41AD-AFF1-66B3638EB24A}"/>
          </ac:spMkLst>
        </pc:spChg>
        <pc:spChg chg="add del mod">
          <ac:chgData name="El Bakkouri, Manal" userId="8b130982-2e3f-4164-b881-fd3a2e4b2453" providerId="ADAL" clId="{4457FA57-250B-44AC-8655-05D46C5A3D8A}" dt="2023-05-18T16:28:58.054" v="4375"/>
          <ac:spMkLst>
            <pc:docMk/>
            <pc:sldMk cId="1284892131" sldId="230717613"/>
            <ac:spMk id="90" creationId="{AD9884E5-E377-4A82-9E82-3259A426C839}"/>
          </ac:spMkLst>
        </pc:spChg>
        <pc:spChg chg="add del mod">
          <ac:chgData name="El Bakkouri, Manal" userId="8b130982-2e3f-4164-b881-fd3a2e4b2453" providerId="ADAL" clId="{4457FA57-250B-44AC-8655-05D46C5A3D8A}" dt="2023-05-18T16:28:58.054" v="4375"/>
          <ac:spMkLst>
            <pc:docMk/>
            <pc:sldMk cId="1284892131" sldId="230717613"/>
            <ac:spMk id="91" creationId="{CE33CB1B-B85C-4812-969A-527E4D5C214F}"/>
          </ac:spMkLst>
        </pc:spChg>
        <pc:spChg chg="add del mod">
          <ac:chgData name="El Bakkouri, Manal" userId="8b130982-2e3f-4164-b881-fd3a2e4b2453" providerId="ADAL" clId="{4457FA57-250B-44AC-8655-05D46C5A3D8A}" dt="2023-05-18T16:28:58.054" v="4375"/>
          <ac:spMkLst>
            <pc:docMk/>
            <pc:sldMk cId="1284892131" sldId="230717613"/>
            <ac:spMk id="98" creationId="{5658863C-94E4-48DF-8891-DBB071DB891E}"/>
          </ac:spMkLst>
        </pc:spChg>
        <pc:spChg chg="add del mod">
          <ac:chgData name="El Bakkouri, Manal" userId="8b130982-2e3f-4164-b881-fd3a2e4b2453" providerId="ADAL" clId="{4457FA57-250B-44AC-8655-05D46C5A3D8A}" dt="2023-05-18T16:28:58.054" v="4375"/>
          <ac:spMkLst>
            <pc:docMk/>
            <pc:sldMk cId="1284892131" sldId="230717613"/>
            <ac:spMk id="99" creationId="{938F3D0A-5DE3-4944-8B7E-3C4711B1DEE2}"/>
          </ac:spMkLst>
        </pc:spChg>
        <pc:spChg chg="add del mod">
          <ac:chgData name="El Bakkouri, Manal" userId="8b130982-2e3f-4164-b881-fd3a2e4b2453" providerId="ADAL" clId="{4457FA57-250B-44AC-8655-05D46C5A3D8A}" dt="2023-05-18T16:28:58.054" v="4375"/>
          <ac:spMkLst>
            <pc:docMk/>
            <pc:sldMk cId="1284892131" sldId="230717613"/>
            <ac:spMk id="100" creationId="{C9F9F22B-1C53-43D3-A780-90B5A1386209}"/>
          </ac:spMkLst>
        </pc:spChg>
        <pc:spChg chg="add del mod">
          <ac:chgData name="El Bakkouri, Manal" userId="8b130982-2e3f-4164-b881-fd3a2e4b2453" providerId="ADAL" clId="{4457FA57-250B-44AC-8655-05D46C5A3D8A}" dt="2023-05-18T16:28:58.054" v="4375"/>
          <ac:spMkLst>
            <pc:docMk/>
            <pc:sldMk cId="1284892131" sldId="230717613"/>
            <ac:spMk id="101" creationId="{21DE48AE-8CCC-4D8C-ADA7-572DF7EAFFC4}"/>
          </ac:spMkLst>
        </pc:spChg>
        <pc:spChg chg="add del mod">
          <ac:chgData name="El Bakkouri, Manal" userId="8b130982-2e3f-4164-b881-fd3a2e4b2453" providerId="ADAL" clId="{4457FA57-250B-44AC-8655-05D46C5A3D8A}" dt="2023-05-18T16:28:58.054" v="4375"/>
          <ac:spMkLst>
            <pc:docMk/>
            <pc:sldMk cId="1284892131" sldId="230717613"/>
            <ac:spMk id="102" creationId="{01AA22C3-C547-4F1F-ABCC-866D83BA18D5}"/>
          </ac:spMkLst>
        </pc:spChg>
        <pc:spChg chg="add del mod">
          <ac:chgData name="El Bakkouri, Manal" userId="8b130982-2e3f-4164-b881-fd3a2e4b2453" providerId="ADAL" clId="{4457FA57-250B-44AC-8655-05D46C5A3D8A}" dt="2023-05-18T16:28:58.054" v="4375"/>
          <ac:spMkLst>
            <pc:docMk/>
            <pc:sldMk cId="1284892131" sldId="230717613"/>
            <ac:spMk id="103" creationId="{62CF17A7-C361-4B73-B9B6-A4BB7E32EE57}"/>
          </ac:spMkLst>
        </pc:spChg>
        <pc:spChg chg="add del mod">
          <ac:chgData name="El Bakkouri, Manal" userId="8b130982-2e3f-4164-b881-fd3a2e4b2453" providerId="ADAL" clId="{4457FA57-250B-44AC-8655-05D46C5A3D8A}" dt="2023-05-18T16:28:58.054" v="4375"/>
          <ac:spMkLst>
            <pc:docMk/>
            <pc:sldMk cId="1284892131" sldId="230717613"/>
            <ac:spMk id="104" creationId="{1D2D15E8-3FDC-4DC2-B2FA-1F580699375C}"/>
          </ac:spMkLst>
        </pc:spChg>
        <pc:spChg chg="add del mod">
          <ac:chgData name="El Bakkouri, Manal" userId="8b130982-2e3f-4164-b881-fd3a2e4b2453" providerId="ADAL" clId="{4457FA57-250B-44AC-8655-05D46C5A3D8A}" dt="2023-05-18T16:28:58.054" v="4375"/>
          <ac:spMkLst>
            <pc:docMk/>
            <pc:sldMk cId="1284892131" sldId="230717613"/>
            <ac:spMk id="105" creationId="{9A443053-4B39-411B-AA99-342A80304A3D}"/>
          </ac:spMkLst>
        </pc:spChg>
        <pc:spChg chg="add del mod">
          <ac:chgData name="El Bakkouri, Manal" userId="8b130982-2e3f-4164-b881-fd3a2e4b2453" providerId="ADAL" clId="{4457FA57-250B-44AC-8655-05D46C5A3D8A}" dt="2023-05-18T16:28:58.054" v="4375"/>
          <ac:spMkLst>
            <pc:docMk/>
            <pc:sldMk cId="1284892131" sldId="230717613"/>
            <ac:spMk id="106" creationId="{47FDEF76-6131-4A94-8BB1-D6C0CC795131}"/>
          </ac:spMkLst>
        </pc:spChg>
        <pc:spChg chg="add del mod">
          <ac:chgData name="El Bakkouri, Manal" userId="8b130982-2e3f-4164-b881-fd3a2e4b2453" providerId="ADAL" clId="{4457FA57-250B-44AC-8655-05D46C5A3D8A}" dt="2023-05-18T16:28:58.054" v="4375"/>
          <ac:spMkLst>
            <pc:docMk/>
            <pc:sldMk cId="1284892131" sldId="230717613"/>
            <ac:spMk id="107" creationId="{574AE8DD-E734-4496-9019-145B19C3DB18}"/>
          </ac:spMkLst>
        </pc:spChg>
        <pc:spChg chg="add del mod">
          <ac:chgData name="El Bakkouri, Manal" userId="8b130982-2e3f-4164-b881-fd3a2e4b2453" providerId="ADAL" clId="{4457FA57-250B-44AC-8655-05D46C5A3D8A}" dt="2023-05-18T16:28:58.054" v="4375"/>
          <ac:spMkLst>
            <pc:docMk/>
            <pc:sldMk cId="1284892131" sldId="230717613"/>
            <ac:spMk id="108" creationId="{6AB3FB6F-7AFD-4FEC-97FA-73EC9982FE11}"/>
          </ac:spMkLst>
        </pc:spChg>
        <pc:spChg chg="add del mod">
          <ac:chgData name="El Bakkouri, Manal" userId="8b130982-2e3f-4164-b881-fd3a2e4b2453" providerId="ADAL" clId="{4457FA57-250B-44AC-8655-05D46C5A3D8A}" dt="2023-05-18T16:28:58.054" v="4375"/>
          <ac:spMkLst>
            <pc:docMk/>
            <pc:sldMk cId="1284892131" sldId="230717613"/>
            <ac:spMk id="109" creationId="{4AE313F2-7E44-40BC-8D71-877DA6405A29}"/>
          </ac:spMkLst>
        </pc:spChg>
        <pc:spChg chg="add del mod">
          <ac:chgData name="El Bakkouri, Manal" userId="8b130982-2e3f-4164-b881-fd3a2e4b2453" providerId="ADAL" clId="{4457FA57-250B-44AC-8655-05D46C5A3D8A}" dt="2023-05-18T16:28:58.054" v="4375"/>
          <ac:spMkLst>
            <pc:docMk/>
            <pc:sldMk cId="1284892131" sldId="230717613"/>
            <ac:spMk id="110" creationId="{4F826C7B-2403-4CBE-B378-999B8C8F70CB}"/>
          </ac:spMkLst>
        </pc:spChg>
        <pc:spChg chg="add del mod">
          <ac:chgData name="El Bakkouri, Manal" userId="8b130982-2e3f-4164-b881-fd3a2e4b2453" providerId="ADAL" clId="{4457FA57-250B-44AC-8655-05D46C5A3D8A}" dt="2023-05-18T16:28:58.054" v="4375"/>
          <ac:spMkLst>
            <pc:docMk/>
            <pc:sldMk cId="1284892131" sldId="230717613"/>
            <ac:spMk id="111" creationId="{B36D134F-4404-45E5-9D4B-DF8D34E66210}"/>
          </ac:spMkLst>
        </pc:spChg>
        <pc:spChg chg="add del mod">
          <ac:chgData name="El Bakkouri, Manal" userId="8b130982-2e3f-4164-b881-fd3a2e4b2453" providerId="ADAL" clId="{4457FA57-250B-44AC-8655-05D46C5A3D8A}" dt="2023-05-18T16:28:58.054" v="4375"/>
          <ac:spMkLst>
            <pc:docMk/>
            <pc:sldMk cId="1284892131" sldId="230717613"/>
            <ac:spMk id="112" creationId="{F5566E50-450F-44B3-AD5B-C851F0972BD5}"/>
          </ac:spMkLst>
        </pc:spChg>
        <pc:spChg chg="add del mod">
          <ac:chgData name="El Bakkouri, Manal" userId="8b130982-2e3f-4164-b881-fd3a2e4b2453" providerId="ADAL" clId="{4457FA57-250B-44AC-8655-05D46C5A3D8A}" dt="2023-05-18T16:28:58.054" v="4375"/>
          <ac:spMkLst>
            <pc:docMk/>
            <pc:sldMk cId="1284892131" sldId="230717613"/>
            <ac:spMk id="113" creationId="{F75490EB-B43C-4ED8-BD2C-BE2D4F829C3B}"/>
          </ac:spMkLst>
        </pc:spChg>
        <pc:spChg chg="add del mod">
          <ac:chgData name="El Bakkouri, Manal" userId="8b130982-2e3f-4164-b881-fd3a2e4b2453" providerId="ADAL" clId="{4457FA57-250B-44AC-8655-05D46C5A3D8A}" dt="2023-05-18T16:28:58.054" v="4375"/>
          <ac:spMkLst>
            <pc:docMk/>
            <pc:sldMk cId="1284892131" sldId="230717613"/>
            <ac:spMk id="114" creationId="{83166CDD-09E3-43E3-90F6-D2AC48CBF570}"/>
          </ac:spMkLst>
        </pc:spChg>
        <pc:spChg chg="add del mod">
          <ac:chgData name="El Bakkouri, Manal" userId="8b130982-2e3f-4164-b881-fd3a2e4b2453" providerId="ADAL" clId="{4457FA57-250B-44AC-8655-05D46C5A3D8A}" dt="2023-05-18T16:28:58.054" v="4375"/>
          <ac:spMkLst>
            <pc:docMk/>
            <pc:sldMk cId="1284892131" sldId="230717613"/>
            <ac:spMk id="115" creationId="{77CA4E6D-4F7B-4FB0-A81B-D5FA7AF99341}"/>
          </ac:spMkLst>
        </pc:spChg>
        <pc:spChg chg="add del mod">
          <ac:chgData name="El Bakkouri, Manal" userId="8b130982-2e3f-4164-b881-fd3a2e4b2453" providerId="ADAL" clId="{4457FA57-250B-44AC-8655-05D46C5A3D8A}" dt="2023-05-18T16:28:58.054" v="4375"/>
          <ac:spMkLst>
            <pc:docMk/>
            <pc:sldMk cId="1284892131" sldId="230717613"/>
            <ac:spMk id="116" creationId="{8164CA13-F6FA-4E17-B724-3CF86DA3C67B}"/>
          </ac:spMkLst>
        </pc:spChg>
        <pc:spChg chg="add mod">
          <ac:chgData name="El Bakkouri, Manal" userId="8b130982-2e3f-4164-b881-fd3a2e4b2453" providerId="ADAL" clId="{4457FA57-250B-44AC-8655-05D46C5A3D8A}" dt="2023-05-18T16:39:56.888" v="4474" actId="164"/>
          <ac:spMkLst>
            <pc:docMk/>
            <pc:sldMk cId="1284892131" sldId="230717613"/>
            <ac:spMk id="117" creationId="{106CD99C-D06C-4500-8C85-1DF22392E543}"/>
          </ac:spMkLst>
        </pc:spChg>
        <pc:spChg chg="add mod">
          <ac:chgData name="El Bakkouri, Manal" userId="8b130982-2e3f-4164-b881-fd3a2e4b2453" providerId="ADAL" clId="{4457FA57-250B-44AC-8655-05D46C5A3D8A}" dt="2023-05-18T16:39:56.888" v="4474" actId="164"/>
          <ac:spMkLst>
            <pc:docMk/>
            <pc:sldMk cId="1284892131" sldId="230717613"/>
            <ac:spMk id="118" creationId="{D6230F0A-3089-4FE2-8CA2-9F4872ED312A}"/>
          </ac:spMkLst>
        </pc:spChg>
        <pc:spChg chg="add mod">
          <ac:chgData name="El Bakkouri, Manal" userId="8b130982-2e3f-4164-b881-fd3a2e4b2453" providerId="ADAL" clId="{4457FA57-250B-44AC-8655-05D46C5A3D8A}" dt="2023-05-18T16:39:56.888" v="4474" actId="164"/>
          <ac:spMkLst>
            <pc:docMk/>
            <pc:sldMk cId="1284892131" sldId="230717613"/>
            <ac:spMk id="119" creationId="{8BB3E113-DBDC-4943-BC20-08A1D8647163}"/>
          </ac:spMkLst>
        </pc:spChg>
        <pc:spChg chg="add mod">
          <ac:chgData name="El Bakkouri, Manal" userId="8b130982-2e3f-4164-b881-fd3a2e4b2453" providerId="ADAL" clId="{4457FA57-250B-44AC-8655-05D46C5A3D8A}" dt="2023-05-18T16:39:56.888" v="4474" actId="164"/>
          <ac:spMkLst>
            <pc:docMk/>
            <pc:sldMk cId="1284892131" sldId="230717613"/>
            <ac:spMk id="120" creationId="{DBA511E5-8029-4BAF-B020-F9BACBA7C36A}"/>
          </ac:spMkLst>
        </pc:spChg>
        <pc:spChg chg="add mod">
          <ac:chgData name="El Bakkouri, Manal" userId="8b130982-2e3f-4164-b881-fd3a2e4b2453" providerId="ADAL" clId="{4457FA57-250B-44AC-8655-05D46C5A3D8A}" dt="2023-05-18T16:39:56.888" v="4474" actId="164"/>
          <ac:spMkLst>
            <pc:docMk/>
            <pc:sldMk cId="1284892131" sldId="230717613"/>
            <ac:spMk id="121" creationId="{EECC24BB-F3E3-4694-B71D-CFCCEB9DDADC}"/>
          </ac:spMkLst>
        </pc:spChg>
        <pc:spChg chg="add mod">
          <ac:chgData name="El Bakkouri, Manal" userId="8b130982-2e3f-4164-b881-fd3a2e4b2453" providerId="ADAL" clId="{4457FA57-250B-44AC-8655-05D46C5A3D8A}" dt="2023-05-18T16:39:56.888" v="4474" actId="164"/>
          <ac:spMkLst>
            <pc:docMk/>
            <pc:sldMk cId="1284892131" sldId="230717613"/>
            <ac:spMk id="122" creationId="{4799DAD5-7EDB-4FB6-9D0D-6E4A79685091}"/>
          </ac:spMkLst>
        </pc:spChg>
        <pc:spChg chg="add mod">
          <ac:chgData name="El Bakkouri, Manal" userId="8b130982-2e3f-4164-b881-fd3a2e4b2453" providerId="ADAL" clId="{4457FA57-250B-44AC-8655-05D46C5A3D8A}" dt="2023-05-18T16:39:56.888" v="4474" actId="164"/>
          <ac:spMkLst>
            <pc:docMk/>
            <pc:sldMk cId="1284892131" sldId="230717613"/>
            <ac:spMk id="123" creationId="{94591D08-94D5-445E-908A-53DC495E375A}"/>
          </ac:spMkLst>
        </pc:spChg>
        <pc:spChg chg="add mod">
          <ac:chgData name="El Bakkouri, Manal" userId="8b130982-2e3f-4164-b881-fd3a2e4b2453" providerId="ADAL" clId="{4457FA57-250B-44AC-8655-05D46C5A3D8A}" dt="2023-05-18T16:39:56.888" v="4474" actId="164"/>
          <ac:spMkLst>
            <pc:docMk/>
            <pc:sldMk cId="1284892131" sldId="230717613"/>
            <ac:spMk id="124" creationId="{E857176A-FBF5-4E21-8BF9-C39F31B9B9E2}"/>
          </ac:spMkLst>
        </pc:spChg>
        <pc:spChg chg="add mod">
          <ac:chgData name="El Bakkouri, Manal" userId="8b130982-2e3f-4164-b881-fd3a2e4b2453" providerId="ADAL" clId="{4457FA57-250B-44AC-8655-05D46C5A3D8A}" dt="2023-05-18T16:39:56.888" v="4474" actId="164"/>
          <ac:spMkLst>
            <pc:docMk/>
            <pc:sldMk cId="1284892131" sldId="230717613"/>
            <ac:spMk id="125" creationId="{2DAC146E-9949-4F3C-AB58-D525CB78D374}"/>
          </ac:spMkLst>
        </pc:spChg>
        <pc:spChg chg="add mod">
          <ac:chgData name="El Bakkouri, Manal" userId="8b130982-2e3f-4164-b881-fd3a2e4b2453" providerId="ADAL" clId="{4457FA57-250B-44AC-8655-05D46C5A3D8A}" dt="2023-05-18T16:39:56.888" v="4474" actId="164"/>
          <ac:spMkLst>
            <pc:docMk/>
            <pc:sldMk cId="1284892131" sldId="230717613"/>
            <ac:spMk id="126" creationId="{77FC47C5-7F1B-4A3B-82CB-2BCBDE2864E8}"/>
          </ac:spMkLst>
        </pc:spChg>
        <pc:spChg chg="add mod">
          <ac:chgData name="El Bakkouri, Manal" userId="8b130982-2e3f-4164-b881-fd3a2e4b2453" providerId="ADAL" clId="{4457FA57-250B-44AC-8655-05D46C5A3D8A}" dt="2023-05-18T16:29:35.474" v="4380" actId="1076"/>
          <ac:spMkLst>
            <pc:docMk/>
            <pc:sldMk cId="1284892131" sldId="230717613"/>
            <ac:spMk id="127" creationId="{36D2A68F-A686-4C36-B5F1-3B7F8C1B8339}"/>
          </ac:spMkLst>
        </pc:spChg>
        <pc:spChg chg="add mod">
          <ac:chgData name="El Bakkouri, Manal" userId="8b130982-2e3f-4164-b881-fd3a2e4b2453" providerId="ADAL" clId="{4457FA57-250B-44AC-8655-05D46C5A3D8A}" dt="2023-05-18T16:39:56.888" v="4474" actId="164"/>
          <ac:spMkLst>
            <pc:docMk/>
            <pc:sldMk cId="1284892131" sldId="230717613"/>
            <ac:spMk id="128" creationId="{E24EA950-C290-4C89-9F1C-40F15363E3BF}"/>
          </ac:spMkLst>
        </pc:spChg>
        <pc:spChg chg="add mod">
          <ac:chgData name="El Bakkouri, Manal" userId="8b130982-2e3f-4164-b881-fd3a2e4b2453" providerId="ADAL" clId="{4457FA57-250B-44AC-8655-05D46C5A3D8A}" dt="2023-05-18T16:39:56.888" v="4474" actId="164"/>
          <ac:spMkLst>
            <pc:docMk/>
            <pc:sldMk cId="1284892131" sldId="230717613"/>
            <ac:spMk id="129" creationId="{8881A015-4835-479E-A042-532AD793F430}"/>
          </ac:spMkLst>
        </pc:spChg>
        <pc:spChg chg="add mod">
          <ac:chgData name="El Bakkouri, Manal" userId="8b130982-2e3f-4164-b881-fd3a2e4b2453" providerId="ADAL" clId="{4457FA57-250B-44AC-8655-05D46C5A3D8A}" dt="2023-05-18T16:39:56.888" v="4474" actId="164"/>
          <ac:spMkLst>
            <pc:docMk/>
            <pc:sldMk cId="1284892131" sldId="230717613"/>
            <ac:spMk id="130" creationId="{1EEF6D97-684A-411E-8440-BB5DD08116AC}"/>
          </ac:spMkLst>
        </pc:spChg>
        <pc:spChg chg="add mod">
          <ac:chgData name="El Bakkouri, Manal" userId="8b130982-2e3f-4164-b881-fd3a2e4b2453" providerId="ADAL" clId="{4457FA57-250B-44AC-8655-05D46C5A3D8A}" dt="2023-05-18T16:39:56.888" v="4474" actId="164"/>
          <ac:spMkLst>
            <pc:docMk/>
            <pc:sldMk cId="1284892131" sldId="230717613"/>
            <ac:spMk id="131" creationId="{DF8200B6-512E-499F-952E-96B34C74C71D}"/>
          </ac:spMkLst>
        </pc:spChg>
        <pc:spChg chg="add mod">
          <ac:chgData name="El Bakkouri, Manal" userId="8b130982-2e3f-4164-b881-fd3a2e4b2453" providerId="ADAL" clId="{4457FA57-250B-44AC-8655-05D46C5A3D8A}" dt="2023-05-18T16:39:56.888" v="4474" actId="164"/>
          <ac:spMkLst>
            <pc:docMk/>
            <pc:sldMk cId="1284892131" sldId="230717613"/>
            <ac:spMk id="132" creationId="{4562122B-A6A5-47CA-B6C1-375FC34CF071}"/>
          </ac:spMkLst>
        </pc:spChg>
        <pc:spChg chg="add mod">
          <ac:chgData name="El Bakkouri, Manal" userId="8b130982-2e3f-4164-b881-fd3a2e4b2453" providerId="ADAL" clId="{4457FA57-250B-44AC-8655-05D46C5A3D8A}" dt="2023-05-18T16:39:56.888" v="4474" actId="164"/>
          <ac:spMkLst>
            <pc:docMk/>
            <pc:sldMk cId="1284892131" sldId="230717613"/>
            <ac:spMk id="133" creationId="{9009F0D8-05B2-4A33-9FA3-73A1B1C17DD4}"/>
          </ac:spMkLst>
        </pc:spChg>
        <pc:spChg chg="add mod">
          <ac:chgData name="El Bakkouri, Manal" userId="8b130982-2e3f-4164-b881-fd3a2e4b2453" providerId="ADAL" clId="{4457FA57-250B-44AC-8655-05D46C5A3D8A}" dt="2023-05-18T16:39:56.888" v="4474" actId="164"/>
          <ac:spMkLst>
            <pc:docMk/>
            <pc:sldMk cId="1284892131" sldId="230717613"/>
            <ac:spMk id="134" creationId="{96D4CE5B-DE4E-4185-8E77-7765B2AD0DDE}"/>
          </ac:spMkLst>
        </pc:spChg>
        <pc:spChg chg="add mod">
          <ac:chgData name="El Bakkouri, Manal" userId="8b130982-2e3f-4164-b881-fd3a2e4b2453" providerId="ADAL" clId="{4457FA57-250B-44AC-8655-05D46C5A3D8A}" dt="2023-05-18T16:39:56.888" v="4474" actId="164"/>
          <ac:spMkLst>
            <pc:docMk/>
            <pc:sldMk cId="1284892131" sldId="230717613"/>
            <ac:spMk id="135" creationId="{5F8DB2F3-8985-4CE8-AC5B-8B966B62BAAF}"/>
          </ac:spMkLst>
        </pc:spChg>
        <pc:spChg chg="add mod">
          <ac:chgData name="El Bakkouri, Manal" userId="8b130982-2e3f-4164-b881-fd3a2e4b2453" providerId="ADAL" clId="{4457FA57-250B-44AC-8655-05D46C5A3D8A}" dt="2023-05-18T16:39:56.888" v="4474" actId="164"/>
          <ac:spMkLst>
            <pc:docMk/>
            <pc:sldMk cId="1284892131" sldId="230717613"/>
            <ac:spMk id="136" creationId="{CD998AF5-EB20-47BD-9416-32F2C36292B6}"/>
          </ac:spMkLst>
        </pc:spChg>
        <pc:spChg chg="add mod">
          <ac:chgData name="El Bakkouri, Manal" userId="8b130982-2e3f-4164-b881-fd3a2e4b2453" providerId="ADAL" clId="{4457FA57-250B-44AC-8655-05D46C5A3D8A}" dt="2023-05-18T16:39:56.888" v="4474" actId="164"/>
          <ac:spMkLst>
            <pc:docMk/>
            <pc:sldMk cId="1284892131" sldId="230717613"/>
            <ac:spMk id="137" creationId="{CCDF4F6F-D84D-4041-B1F9-1A4E99D3B08C}"/>
          </ac:spMkLst>
        </pc:spChg>
        <pc:spChg chg="add mod">
          <ac:chgData name="El Bakkouri, Manal" userId="8b130982-2e3f-4164-b881-fd3a2e4b2453" providerId="ADAL" clId="{4457FA57-250B-44AC-8655-05D46C5A3D8A}" dt="2023-05-18T16:39:56.888" v="4474" actId="164"/>
          <ac:spMkLst>
            <pc:docMk/>
            <pc:sldMk cId="1284892131" sldId="230717613"/>
            <ac:spMk id="138" creationId="{C4279C18-DBD1-47DD-B06A-CBD3B382187D}"/>
          </ac:spMkLst>
        </pc:spChg>
        <pc:spChg chg="add mod">
          <ac:chgData name="El Bakkouri, Manal" userId="8b130982-2e3f-4164-b881-fd3a2e4b2453" providerId="ADAL" clId="{4457FA57-250B-44AC-8655-05D46C5A3D8A}" dt="2023-05-18T16:39:56.888" v="4474" actId="164"/>
          <ac:spMkLst>
            <pc:docMk/>
            <pc:sldMk cId="1284892131" sldId="230717613"/>
            <ac:spMk id="139" creationId="{A8359647-0C46-4769-9E91-6B7A18890B2B}"/>
          </ac:spMkLst>
        </pc:spChg>
        <pc:spChg chg="add mod">
          <ac:chgData name="El Bakkouri, Manal" userId="8b130982-2e3f-4164-b881-fd3a2e4b2453" providerId="ADAL" clId="{4457FA57-250B-44AC-8655-05D46C5A3D8A}" dt="2023-05-18T16:39:56.888" v="4474" actId="164"/>
          <ac:spMkLst>
            <pc:docMk/>
            <pc:sldMk cId="1284892131" sldId="230717613"/>
            <ac:spMk id="140" creationId="{CAA7ACED-407E-44A1-8A1A-69800FADEE5F}"/>
          </ac:spMkLst>
        </pc:spChg>
        <pc:spChg chg="add mod">
          <ac:chgData name="El Bakkouri, Manal" userId="8b130982-2e3f-4164-b881-fd3a2e4b2453" providerId="ADAL" clId="{4457FA57-250B-44AC-8655-05D46C5A3D8A}" dt="2023-05-18T16:39:56.888" v="4474" actId="164"/>
          <ac:spMkLst>
            <pc:docMk/>
            <pc:sldMk cId="1284892131" sldId="230717613"/>
            <ac:spMk id="141" creationId="{40F701DE-DC13-42E5-A750-9D2B7638CAA3}"/>
          </ac:spMkLst>
        </pc:spChg>
        <pc:spChg chg="add mod">
          <ac:chgData name="El Bakkouri, Manal" userId="8b130982-2e3f-4164-b881-fd3a2e4b2453" providerId="ADAL" clId="{4457FA57-250B-44AC-8655-05D46C5A3D8A}" dt="2023-05-18T16:39:56.888" v="4474" actId="164"/>
          <ac:spMkLst>
            <pc:docMk/>
            <pc:sldMk cId="1284892131" sldId="230717613"/>
            <ac:spMk id="142" creationId="{E8725292-D9C8-45A1-BC87-5A1F18FC783A}"/>
          </ac:spMkLst>
        </pc:spChg>
        <pc:spChg chg="add mod">
          <ac:chgData name="El Bakkouri, Manal" userId="8b130982-2e3f-4164-b881-fd3a2e4b2453" providerId="ADAL" clId="{4457FA57-250B-44AC-8655-05D46C5A3D8A}" dt="2023-05-18T16:39:56.888" v="4474" actId="164"/>
          <ac:spMkLst>
            <pc:docMk/>
            <pc:sldMk cId="1284892131" sldId="230717613"/>
            <ac:spMk id="143" creationId="{B1FBD6D6-4D0D-4865-A7A5-345DB634A4CF}"/>
          </ac:spMkLst>
        </pc:spChg>
        <pc:spChg chg="add mod">
          <ac:chgData name="El Bakkouri, Manal" userId="8b130982-2e3f-4164-b881-fd3a2e4b2453" providerId="ADAL" clId="{4457FA57-250B-44AC-8655-05D46C5A3D8A}" dt="2023-05-18T16:39:56.888" v="4474" actId="164"/>
          <ac:spMkLst>
            <pc:docMk/>
            <pc:sldMk cId="1284892131" sldId="230717613"/>
            <ac:spMk id="144" creationId="{4570C6EC-9734-4697-872B-9382D48F1655}"/>
          </ac:spMkLst>
        </pc:spChg>
        <pc:spChg chg="add mod">
          <ac:chgData name="El Bakkouri, Manal" userId="8b130982-2e3f-4164-b881-fd3a2e4b2453" providerId="ADAL" clId="{4457FA57-250B-44AC-8655-05D46C5A3D8A}" dt="2023-05-18T16:39:56.888" v="4474" actId="164"/>
          <ac:spMkLst>
            <pc:docMk/>
            <pc:sldMk cId="1284892131" sldId="230717613"/>
            <ac:spMk id="145" creationId="{8F7A0821-82ED-46D1-A15B-A284B2A9C669}"/>
          </ac:spMkLst>
        </pc:spChg>
        <pc:spChg chg="add mod">
          <ac:chgData name="El Bakkouri, Manal" userId="8b130982-2e3f-4164-b881-fd3a2e4b2453" providerId="ADAL" clId="{4457FA57-250B-44AC-8655-05D46C5A3D8A}" dt="2023-05-18T16:39:56.888" v="4474" actId="164"/>
          <ac:spMkLst>
            <pc:docMk/>
            <pc:sldMk cId="1284892131" sldId="230717613"/>
            <ac:spMk id="146" creationId="{320A3C98-E4C7-48B6-ABCC-EB3CB87CFA10}"/>
          </ac:spMkLst>
        </pc:spChg>
        <pc:spChg chg="add mod">
          <ac:chgData name="El Bakkouri, Manal" userId="8b130982-2e3f-4164-b881-fd3a2e4b2453" providerId="ADAL" clId="{4457FA57-250B-44AC-8655-05D46C5A3D8A}" dt="2023-05-18T16:39:56.888" v="4474" actId="164"/>
          <ac:spMkLst>
            <pc:docMk/>
            <pc:sldMk cId="1284892131" sldId="230717613"/>
            <ac:spMk id="153" creationId="{77E05EB0-F0EF-4138-A873-30DD08732090}"/>
          </ac:spMkLst>
        </pc:spChg>
        <pc:spChg chg="add mod">
          <ac:chgData name="El Bakkouri, Manal" userId="8b130982-2e3f-4164-b881-fd3a2e4b2453" providerId="ADAL" clId="{4457FA57-250B-44AC-8655-05D46C5A3D8A}" dt="2023-05-18T16:39:56.888" v="4474" actId="164"/>
          <ac:spMkLst>
            <pc:docMk/>
            <pc:sldMk cId="1284892131" sldId="230717613"/>
            <ac:spMk id="154" creationId="{1D6803C8-99D6-4C22-84D9-493018A41570}"/>
          </ac:spMkLst>
        </pc:spChg>
        <pc:spChg chg="add mod">
          <ac:chgData name="El Bakkouri, Manal" userId="8b130982-2e3f-4164-b881-fd3a2e4b2453" providerId="ADAL" clId="{4457FA57-250B-44AC-8655-05D46C5A3D8A}" dt="2023-05-18T16:39:56.888" v="4474" actId="164"/>
          <ac:spMkLst>
            <pc:docMk/>
            <pc:sldMk cId="1284892131" sldId="230717613"/>
            <ac:spMk id="155" creationId="{9A3E178D-2130-453B-9553-ED59069037D0}"/>
          </ac:spMkLst>
        </pc:spChg>
        <pc:spChg chg="add mod">
          <ac:chgData name="El Bakkouri, Manal" userId="8b130982-2e3f-4164-b881-fd3a2e4b2453" providerId="ADAL" clId="{4457FA57-250B-44AC-8655-05D46C5A3D8A}" dt="2023-05-18T16:39:56.888" v="4474" actId="164"/>
          <ac:spMkLst>
            <pc:docMk/>
            <pc:sldMk cId="1284892131" sldId="230717613"/>
            <ac:spMk id="156" creationId="{9F83DFC8-7281-4EAB-A8B4-A862926D4BC8}"/>
          </ac:spMkLst>
        </pc:spChg>
        <pc:spChg chg="add mod">
          <ac:chgData name="El Bakkouri, Manal" userId="8b130982-2e3f-4164-b881-fd3a2e4b2453" providerId="ADAL" clId="{4457FA57-250B-44AC-8655-05D46C5A3D8A}" dt="2023-05-18T16:39:56.888" v="4474" actId="164"/>
          <ac:spMkLst>
            <pc:docMk/>
            <pc:sldMk cId="1284892131" sldId="230717613"/>
            <ac:spMk id="157" creationId="{F130C76A-AED5-4242-A5C8-E47C73884E78}"/>
          </ac:spMkLst>
        </pc:spChg>
        <pc:spChg chg="add mod">
          <ac:chgData name="El Bakkouri, Manal" userId="8b130982-2e3f-4164-b881-fd3a2e4b2453" providerId="ADAL" clId="{4457FA57-250B-44AC-8655-05D46C5A3D8A}" dt="2023-05-18T16:39:56.888" v="4474" actId="164"/>
          <ac:spMkLst>
            <pc:docMk/>
            <pc:sldMk cId="1284892131" sldId="230717613"/>
            <ac:spMk id="158" creationId="{AE783DF8-9A92-4299-8115-E0412D7F2F95}"/>
          </ac:spMkLst>
        </pc:spChg>
        <pc:spChg chg="add mod">
          <ac:chgData name="El Bakkouri, Manal" userId="8b130982-2e3f-4164-b881-fd3a2e4b2453" providerId="ADAL" clId="{4457FA57-250B-44AC-8655-05D46C5A3D8A}" dt="2023-05-18T16:39:56.888" v="4474" actId="164"/>
          <ac:spMkLst>
            <pc:docMk/>
            <pc:sldMk cId="1284892131" sldId="230717613"/>
            <ac:spMk id="159" creationId="{9F7B9A85-30FF-4FCE-AB0B-7E182D779B47}"/>
          </ac:spMkLst>
        </pc:spChg>
        <pc:spChg chg="add mod">
          <ac:chgData name="El Bakkouri, Manal" userId="8b130982-2e3f-4164-b881-fd3a2e4b2453" providerId="ADAL" clId="{4457FA57-250B-44AC-8655-05D46C5A3D8A}" dt="2023-05-18T16:39:56.888" v="4474" actId="164"/>
          <ac:spMkLst>
            <pc:docMk/>
            <pc:sldMk cId="1284892131" sldId="230717613"/>
            <ac:spMk id="160" creationId="{D228FAF3-16FC-44B0-A7D3-6508C4275095}"/>
          </ac:spMkLst>
        </pc:spChg>
        <pc:spChg chg="add mod">
          <ac:chgData name="El Bakkouri, Manal" userId="8b130982-2e3f-4164-b881-fd3a2e4b2453" providerId="ADAL" clId="{4457FA57-250B-44AC-8655-05D46C5A3D8A}" dt="2023-05-18T16:39:56.888" v="4474" actId="164"/>
          <ac:spMkLst>
            <pc:docMk/>
            <pc:sldMk cId="1284892131" sldId="230717613"/>
            <ac:spMk id="161" creationId="{F13B4A82-773E-4C38-B4BC-9FC2D1B9181A}"/>
          </ac:spMkLst>
        </pc:spChg>
        <pc:spChg chg="add mod">
          <ac:chgData name="El Bakkouri, Manal" userId="8b130982-2e3f-4164-b881-fd3a2e4b2453" providerId="ADAL" clId="{4457FA57-250B-44AC-8655-05D46C5A3D8A}" dt="2023-05-18T16:39:56.888" v="4474" actId="164"/>
          <ac:spMkLst>
            <pc:docMk/>
            <pc:sldMk cId="1284892131" sldId="230717613"/>
            <ac:spMk id="162" creationId="{F304A6DC-172E-4ABC-80E5-27A0DFC66EA2}"/>
          </ac:spMkLst>
        </pc:spChg>
        <pc:spChg chg="add mod">
          <ac:chgData name="El Bakkouri, Manal" userId="8b130982-2e3f-4164-b881-fd3a2e4b2453" providerId="ADAL" clId="{4457FA57-250B-44AC-8655-05D46C5A3D8A}" dt="2023-05-18T16:39:56.888" v="4474" actId="164"/>
          <ac:spMkLst>
            <pc:docMk/>
            <pc:sldMk cId="1284892131" sldId="230717613"/>
            <ac:spMk id="163" creationId="{85611E3E-9EA2-439F-A0D8-419697612AD8}"/>
          </ac:spMkLst>
        </pc:spChg>
        <pc:spChg chg="add mod">
          <ac:chgData name="El Bakkouri, Manal" userId="8b130982-2e3f-4164-b881-fd3a2e4b2453" providerId="ADAL" clId="{4457FA57-250B-44AC-8655-05D46C5A3D8A}" dt="2023-05-18T16:39:56.888" v="4474" actId="164"/>
          <ac:spMkLst>
            <pc:docMk/>
            <pc:sldMk cId="1284892131" sldId="230717613"/>
            <ac:spMk id="164" creationId="{43090170-9E86-4302-B872-1EFF239B40FB}"/>
          </ac:spMkLst>
        </pc:spChg>
        <pc:spChg chg="add del mod">
          <ac:chgData name="El Bakkouri, Manal" userId="8b130982-2e3f-4164-b881-fd3a2e4b2453" providerId="ADAL" clId="{4457FA57-250B-44AC-8655-05D46C5A3D8A}" dt="2023-05-18T16:39:56.888" v="4474" actId="164"/>
          <ac:spMkLst>
            <pc:docMk/>
            <pc:sldMk cId="1284892131" sldId="230717613"/>
            <ac:spMk id="165" creationId="{F413437A-2C06-42B3-A5EE-895BD0130AE9}"/>
          </ac:spMkLst>
        </pc:spChg>
        <pc:spChg chg="add mod">
          <ac:chgData name="El Bakkouri, Manal" userId="8b130982-2e3f-4164-b881-fd3a2e4b2453" providerId="ADAL" clId="{4457FA57-250B-44AC-8655-05D46C5A3D8A}" dt="2023-05-18T16:39:56.888" v="4474" actId="164"/>
          <ac:spMkLst>
            <pc:docMk/>
            <pc:sldMk cId="1284892131" sldId="230717613"/>
            <ac:spMk id="166" creationId="{D27B26C8-C13D-464F-B11A-DE828B22FFC3}"/>
          </ac:spMkLst>
        </pc:spChg>
        <pc:spChg chg="add mod">
          <ac:chgData name="El Bakkouri, Manal" userId="8b130982-2e3f-4164-b881-fd3a2e4b2453" providerId="ADAL" clId="{4457FA57-250B-44AC-8655-05D46C5A3D8A}" dt="2023-05-18T16:39:56.888" v="4474" actId="164"/>
          <ac:spMkLst>
            <pc:docMk/>
            <pc:sldMk cId="1284892131" sldId="230717613"/>
            <ac:spMk id="167" creationId="{3DDDC167-0805-4D3B-AE2C-251C02306ACE}"/>
          </ac:spMkLst>
        </pc:spChg>
        <pc:spChg chg="add mod">
          <ac:chgData name="El Bakkouri, Manal" userId="8b130982-2e3f-4164-b881-fd3a2e4b2453" providerId="ADAL" clId="{4457FA57-250B-44AC-8655-05D46C5A3D8A}" dt="2023-05-18T16:39:56.888" v="4474" actId="164"/>
          <ac:spMkLst>
            <pc:docMk/>
            <pc:sldMk cId="1284892131" sldId="230717613"/>
            <ac:spMk id="168" creationId="{9198E021-2D66-45D7-AAF5-802D59CDE8E3}"/>
          </ac:spMkLst>
        </pc:spChg>
        <pc:spChg chg="add mod">
          <ac:chgData name="El Bakkouri, Manal" userId="8b130982-2e3f-4164-b881-fd3a2e4b2453" providerId="ADAL" clId="{4457FA57-250B-44AC-8655-05D46C5A3D8A}" dt="2023-05-18T16:39:56.888" v="4474" actId="164"/>
          <ac:spMkLst>
            <pc:docMk/>
            <pc:sldMk cId="1284892131" sldId="230717613"/>
            <ac:spMk id="169" creationId="{9AF0E39F-EB50-4D24-84CD-CD9285E99B54}"/>
          </ac:spMkLst>
        </pc:spChg>
        <pc:spChg chg="add mod">
          <ac:chgData name="El Bakkouri, Manal" userId="8b130982-2e3f-4164-b881-fd3a2e4b2453" providerId="ADAL" clId="{4457FA57-250B-44AC-8655-05D46C5A3D8A}" dt="2023-05-18T16:39:56.888" v="4474" actId="164"/>
          <ac:spMkLst>
            <pc:docMk/>
            <pc:sldMk cId="1284892131" sldId="230717613"/>
            <ac:spMk id="170" creationId="{19781465-D084-42C0-8F11-EA8A6B40B50B}"/>
          </ac:spMkLst>
        </pc:spChg>
        <pc:spChg chg="add mod">
          <ac:chgData name="El Bakkouri, Manal" userId="8b130982-2e3f-4164-b881-fd3a2e4b2453" providerId="ADAL" clId="{4457FA57-250B-44AC-8655-05D46C5A3D8A}" dt="2023-05-18T16:39:56.888" v="4474" actId="164"/>
          <ac:spMkLst>
            <pc:docMk/>
            <pc:sldMk cId="1284892131" sldId="230717613"/>
            <ac:spMk id="171" creationId="{D628E6C3-A266-430E-8C58-90D97AB26078}"/>
          </ac:spMkLst>
        </pc:spChg>
        <pc:grpChg chg="add del mod">
          <ac:chgData name="El Bakkouri, Manal" userId="8b130982-2e3f-4164-b881-fd3a2e4b2453" providerId="ADAL" clId="{4457FA57-250B-44AC-8655-05D46C5A3D8A}" dt="2023-05-18T16:29:07.030" v="4376" actId="21"/>
          <ac:grpSpMkLst>
            <pc:docMk/>
            <pc:sldMk cId="1284892131" sldId="230717613"/>
            <ac:grpSpMk id="5" creationId="{7CAAB537-945E-467D-9AC7-798F7BAD9F2E}"/>
          </ac:grpSpMkLst>
        </pc:grpChg>
        <pc:grpChg chg="add del mod">
          <ac:chgData name="El Bakkouri, Manal" userId="8b130982-2e3f-4164-b881-fd3a2e4b2453" providerId="ADAL" clId="{4457FA57-250B-44AC-8655-05D46C5A3D8A}" dt="2023-05-18T16:29:07.030" v="4376" actId="21"/>
          <ac:grpSpMkLst>
            <pc:docMk/>
            <pc:sldMk cId="1284892131" sldId="230717613"/>
            <ac:grpSpMk id="10" creationId="{08F76928-DBD8-4759-BEA2-8E06A9C8E038}"/>
          </ac:grpSpMkLst>
        </pc:grpChg>
        <pc:grpChg chg="add del mod">
          <ac:chgData name="El Bakkouri, Manal" userId="8b130982-2e3f-4164-b881-fd3a2e4b2453" providerId="ADAL" clId="{4457FA57-250B-44AC-8655-05D46C5A3D8A}" dt="2023-05-18T16:29:07.030" v="4376" actId="21"/>
          <ac:grpSpMkLst>
            <pc:docMk/>
            <pc:sldMk cId="1284892131" sldId="230717613"/>
            <ac:grpSpMk id="18" creationId="{6705E24A-49CC-475F-9F0E-B45424C3BED6}"/>
          </ac:grpSpMkLst>
        </pc:grpChg>
        <pc:grpChg chg="add del mod">
          <ac:chgData name="El Bakkouri, Manal" userId="8b130982-2e3f-4164-b881-fd3a2e4b2453" providerId="ADAL" clId="{4457FA57-250B-44AC-8655-05D46C5A3D8A}" dt="2023-05-17T13:39:53.250" v="2313" actId="478"/>
          <ac:grpSpMkLst>
            <pc:docMk/>
            <pc:sldMk cId="1284892131" sldId="230717613"/>
            <ac:grpSpMk id="24" creationId="{A1FB0FE6-092A-46E1-9A0F-787C3DA0E0D1}"/>
          </ac:grpSpMkLst>
        </pc:grpChg>
        <pc:grpChg chg="add mod">
          <ac:chgData name="El Bakkouri, Manal" userId="8b130982-2e3f-4164-b881-fd3a2e4b2453" providerId="ADAL" clId="{4457FA57-250B-44AC-8655-05D46C5A3D8A}" dt="2023-05-18T16:39:56.888" v="4474" actId="164"/>
          <ac:grpSpMkLst>
            <pc:docMk/>
            <pc:sldMk cId="1284892131" sldId="230717613"/>
            <ac:grpSpMk id="25" creationId="{F59E6FA1-F0A9-4476-A7BC-D234491D9614}"/>
          </ac:grpSpMkLst>
        </pc:grpChg>
        <pc:grpChg chg="add del mod">
          <ac:chgData name="El Bakkouri, Manal" userId="8b130982-2e3f-4164-b881-fd3a2e4b2453" providerId="ADAL" clId="{4457FA57-250B-44AC-8655-05D46C5A3D8A}" dt="2023-05-17T13:42:46.275" v="2323" actId="478"/>
          <ac:grpSpMkLst>
            <pc:docMk/>
            <pc:sldMk cId="1284892131" sldId="230717613"/>
            <ac:grpSpMk id="33" creationId="{B15E9E3F-6E8C-40C4-BE7A-DBCA167FD951}"/>
          </ac:grpSpMkLst>
        </pc:grpChg>
        <pc:grpChg chg="add del mod">
          <ac:chgData name="El Bakkouri, Manal" userId="8b130982-2e3f-4164-b881-fd3a2e4b2453" providerId="ADAL" clId="{4457FA57-250B-44AC-8655-05D46C5A3D8A}" dt="2023-05-17T13:43:52.884" v="2334" actId="478"/>
          <ac:grpSpMkLst>
            <pc:docMk/>
            <pc:sldMk cId="1284892131" sldId="230717613"/>
            <ac:grpSpMk id="36" creationId="{F6C0C8A1-973A-4356-9AC4-00544131D08E}"/>
          </ac:grpSpMkLst>
        </pc:grpChg>
        <pc:grpChg chg="add del mod">
          <ac:chgData name="El Bakkouri, Manal" userId="8b130982-2e3f-4164-b881-fd3a2e4b2453" providerId="ADAL" clId="{4457FA57-250B-44AC-8655-05D46C5A3D8A}" dt="2023-05-18T16:29:07.030" v="4376" actId="21"/>
          <ac:grpSpMkLst>
            <pc:docMk/>
            <pc:sldMk cId="1284892131" sldId="230717613"/>
            <ac:grpSpMk id="40" creationId="{08C3758B-BE0F-428D-8567-067DB3B0226D}"/>
          </ac:grpSpMkLst>
        </pc:grpChg>
        <pc:grpChg chg="add del mod">
          <ac:chgData name="El Bakkouri, Manal" userId="8b130982-2e3f-4164-b881-fd3a2e4b2453" providerId="ADAL" clId="{4457FA57-250B-44AC-8655-05D46C5A3D8A}" dt="2023-05-18T16:29:07.030" v="4376" actId="21"/>
          <ac:grpSpMkLst>
            <pc:docMk/>
            <pc:sldMk cId="1284892131" sldId="230717613"/>
            <ac:grpSpMk id="43" creationId="{2F84728F-1A1E-4496-A553-DAF9CC39FA26}"/>
          </ac:grpSpMkLst>
        </pc:grpChg>
        <pc:grpChg chg="add del mod">
          <ac:chgData name="El Bakkouri, Manal" userId="8b130982-2e3f-4164-b881-fd3a2e4b2453" providerId="ADAL" clId="{4457FA57-250B-44AC-8655-05D46C5A3D8A}" dt="2023-05-18T16:29:07.030" v="4376" actId="21"/>
          <ac:grpSpMkLst>
            <pc:docMk/>
            <pc:sldMk cId="1284892131" sldId="230717613"/>
            <ac:grpSpMk id="46" creationId="{7C1D16B2-9D8E-40FB-84FA-6D7BAAB7D4BE}"/>
          </ac:grpSpMkLst>
        </pc:grpChg>
        <pc:picChg chg="add del mod">
          <ac:chgData name="El Bakkouri, Manal" userId="8b130982-2e3f-4164-b881-fd3a2e4b2453" providerId="ADAL" clId="{4457FA57-250B-44AC-8655-05D46C5A3D8A}" dt="2023-05-18T16:28:58.054" v="4375"/>
          <ac:picMkLst>
            <pc:docMk/>
            <pc:sldMk cId="1284892131" sldId="230717613"/>
            <ac:picMk id="92" creationId="{24400237-E2F5-4991-B2CA-7D0759A36AF1}"/>
          </ac:picMkLst>
        </pc:picChg>
        <pc:picChg chg="add del mod">
          <ac:chgData name="El Bakkouri, Manal" userId="8b130982-2e3f-4164-b881-fd3a2e4b2453" providerId="ADAL" clId="{4457FA57-250B-44AC-8655-05D46C5A3D8A}" dt="2023-05-18T16:28:58.054" v="4375"/>
          <ac:picMkLst>
            <pc:docMk/>
            <pc:sldMk cId="1284892131" sldId="230717613"/>
            <ac:picMk id="93" creationId="{0D896C35-F1C0-4496-9463-B1090F87EB7D}"/>
          </ac:picMkLst>
        </pc:picChg>
        <pc:picChg chg="add del mod">
          <ac:chgData name="El Bakkouri, Manal" userId="8b130982-2e3f-4164-b881-fd3a2e4b2453" providerId="ADAL" clId="{4457FA57-250B-44AC-8655-05D46C5A3D8A}" dt="2023-05-18T16:28:58.054" v="4375"/>
          <ac:picMkLst>
            <pc:docMk/>
            <pc:sldMk cId="1284892131" sldId="230717613"/>
            <ac:picMk id="94" creationId="{8B3859BE-E626-4F2F-A66D-18D796C23C0A}"/>
          </ac:picMkLst>
        </pc:picChg>
        <pc:picChg chg="add del mod">
          <ac:chgData name="El Bakkouri, Manal" userId="8b130982-2e3f-4164-b881-fd3a2e4b2453" providerId="ADAL" clId="{4457FA57-250B-44AC-8655-05D46C5A3D8A}" dt="2023-05-18T16:28:58.054" v="4375"/>
          <ac:picMkLst>
            <pc:docMk/>
            <pc:sldMk cId="1284892131" sldId="230717613"/>
            <ac:picMk id="95" creationId="{DC8F1C7A-529B-4FC5-98F1-C7CFB93F8918}"/>
          </ac:picMkLst>
        </pc:picChg>
        <pc:picChg chg="add del mod">
          <ac:chgData name="El Bakkouri, Manal" userId="8b130982-2e3f-4164-b881-fd3a2e4b2453" providerId="ADAL" clId="{4457FA57-250B-44AC-8655-05D46C5A3D8A}" dt="2023-05-18T16:28:58.054" v="4375"/>
          <ac:picMkLst>
            <pc:docMk/>
            <pc:sldMk cId="1284892131" sldId="230717613"/>
            <ac:picMk id="96" creationId="{483FB94D-3495-403E-A04C-04879720DE44}"/>
          </ac:picMkLst>
        </pc:picChg>
        <pc:picChg chg="add del mod">
          <ac:chgData name="El Bakkouri, Manal" userId="8b130982-2e3f-4164-b881-fd3a2e4b2453" providerId="ADAL" clId="{4457FA57-250B-44AC-8655-05D46C5A3D8A}" dt="2023-05-18T16:28:58.054" v="4375"/>
          <ac:picMkLst>
            <pc:docMk/>
            <pc:sldMk cId="1284892131" sldId="230717613"/>
            <ac:picMk id="97" creationId="{348C85FF-A4D3-46A1-9718-A1D27AC68992}"/>
          </ac:picMkLst>
        </pc:picChg>
        <pc:picChg chg="add mod">
          <ac:chgData name="El Bakkouri, Manal" userId="8b130982-2e3f-4164-b881-fd3a2e4b2453" providerId="ADAL" clId="{4457FA57-250B-44AC-8655-05D46C5A3D8A}" dt="2023-05-18T16:39:56.888" v="4474" actId="164"/>
          <ac:picMkLst>
            <pc:docMk/>
            <pc:sldMk cId="1284892131" sldId="230717613"/>
            <ac:picMk id="147" creationId="{2694479C-5DC3-4DF5-8ECA-2878CAC99670}"/>
          </ac:picMkLst>
        </pc:picChg>
        <pc:picChg chg="add mod">
          <ac:chgData name="El Bakkouri, Manal" userId="8b130982-2e3f-4164-b881-fd3a2e4b2453" providerId="ADAL" clId="{4457FA57-250B-44AC-8655-05D46C5A3D8A}" dt="2023-05-18T16:39:56.888" v="4474" actId="164"/>
          <ac:picMkLst>
            <pc:docMk/>
            <pc:sldMk cId="1284892131" sldId="230717613"/>
            <ac:picMk id="148" creationId="{E5352050-802F-4283-8975-B73A209FF6C5}"/>
          </ac:picMkLst>
        </pc:picChg>
        <pc:picChg chg="add mod">
          <ac:chgData name="El Bakkouri, Manal" userId="8b130982-2e3f-4164-b881-fd3a2e4b2453" providerId="ADAL" clId="{4457FA57-250B-44AC-8655-05D46C5A3D8A}" dt="2023-05-18T16:39:56.888" v="4474" actId="164"/>
          <ac:picMkLst>
            <pc:docMk/>
            <pc:sldMk cId="1284892131" sldId="230717613"/>
            <ac:picMk id="149" creationId="{5022A6F0-FCD1-4CC4-A4A6-8D2655B26582}"/>
          </ac:picMkLst>
        </pc:picChg>
        <pc:picChg chg="add mod">
          <ac:chgData name="El Bakkouri, Manal" userId="8b130982-2e3f-4164-b881-fd3a2e4b2453" providerId="ADAL" clId="{4457FA57-250B-44AC-8655-05D46C5A3D8A}" dt="2023-05-18T16:39:56.888" v="4474" actId="164"/>
          <ac:picMkLst>
            <pc:docMk/>
            <pc:sldMk cId="1284892131" sldId="230717613"/>
            <ac:picMk id="150" creationId="{54F94781-CB97-41A8-AB23-4482B30B9464}"/>
          </ac:picMkLst>
        </pc:picChg>
        <pc:picChg chg="add mod">
          <ac:chgData name="El Bakkouri, Manal" userId="8b130982-2e3f-4164-b881-fd3a2e4b2453" providerId="ADAL" clId="{4457FA57-250B-44AC-8655-05D46C5A3D8A}" dt="2023-05-18T16:39:56.888" v="4474" actId="164"/>
          <ac:picMkLst>
            <pc:docMk/>
            <pc:sldMk cId="1284892131" sldId="230717613"/>
            <ac:picMk id="151" creationId="{1717FCCE-BE4C-413A-82B6-8EA46A261C8D}"/>
          </ac:picMkLst>
        </pc:picChg>
        <pc:picChg chg="add mod">
          <ac:chgData name="El Bakkouri, Manal" userId="8b130982-2e3f-4164-b881-fd3a2e4b2453" providerId="ADAL" clId="{4457FA57-250B-44AC-8655-05D46C5A3D8A}" dt="2023-05-18T16:39:56.888" v="4474" actId="164"/>
          <ac:picMkLst>
            <pc:docMk/>
            <pc:sldMk cId="1284892131" sldId="230717613"/>
            <ac:picMk id="152" creationId="{E8B9C698-6FF6-4BBB-A46D-3CE7B84BCCAA}"/>
          </ac:picMkLst>
        </pc:picChg>
        <pc:cxnChg chg="add del mod">
          <ac:chgData name="El Bakkouri, Manal" userId="8b130982-2e3f-4164-b881-fd3a2e4b2453" providerId="ADAL" clId="{4457FA57-250B-44AC-8655-05D46C5A3D8A}" dt="2023-05-17T13:54:32.463" v="2396" actId="478"/>
          <ac:cxnSpMkLst>
            <pc:docMk/>
            <pc:sldMk cId="1284892131" sldId="230717613"/>
            <ac:cxnSpMk id="63" creationId="{4262CCC3-40D0-4489-9276-D1B8C7D47B45}"/>
          </ac:cxnSpMkLst>
        </pc:cxnChg>
      </pc:sldChg>
      <pc:sldChg chg="addSp modSp add del mod">
        <pc:chgData name="El Bakkouri, Manal" userId="8b130982-2e3f-4164-b881-fd3a2e4b2453" providerId="ADAL" clId="{4457FA57-250B-44AC-8655-05D46C5A3D8A}" dt="2023-05-17T10:59:05.249" v="1838" actId="2696"/>
        <pc:sldMkLst>
          <pc:docMk/>
          <pc:sldMk cId="1365561092" sldId="230717613"/>
        </pc:sldMkLst>
        <pc:spChg chg="add mod">
          <ac:chgData name="El Bakkouri, Manal" userId="8b130982-2e3f-4164-b881-fd3a2e4b2453" providerId="ADAL" clId="{4457FA57-250B-44AC-8655-05D46C5A3D8A}" dt="2023-05-17T10:56:09.580" v="1827" actId="12789"/>
          <ac:spMkLst>
            <pc:docMk/>
            <pc:sldMk cId="1365561092" sldId="230717613"/>
            <ac:spMk id="2" creationId="{8D9481E2-D099-4C7B-930A-216FC8F03EF4}"/>
          </ac:spMkLst>
        </pc:spChg>
        <pc:spChg chg="mod">
          <ac:chgData name="El Bakkouri, Manal" userId="8b130982-2e3f-4164-b881-fd3a2e4b2453" providerId="ADAL" clId="{4457FA57-250B-44AC-8655-05D46C5A3D8A}" dt="2023-05-17T10:55:43.989" v="1821" actId="164"/>
          <ac:spMkLst>
            <pc:docMk/>
            <pc:sldMk cId="1365561092" sldId="230717613"/>
            <ac:spMk id="13" creationId="{0B5ED453-C105-45F5-932C-FBE12B9B034D}"/>
          </ac:spMkLst>
        </pc:spChg>
        <pc:spChg chg="mod">
          <ac:chgData name="El Bakkouri, Manal" userId="8b130982-2e3f-4164-b881-fd3a2e4b2453" providerId="ADAL" clId="{4457FA57-250B-44AC-8655-05D46C5A3D8A}" dt="2023-05-17T10:55:43.989" v="1821" actId="164"/>
          <ac:spMkLst>
            <pc:docMk/>
            <pc:sldMk cId="1365561092" sldId="230717613"/>
            <ac:spMk id="14" creationId="{81AB309D-6160-4E6C-81C1-B9118DC70E5C}"/>
          </ac:spMkLst>
        </pc:spChg>
        <pc:spChg chg="mod">
          <ac:chgData name="El Bakkouri, Manal" userId="8b130982-2e3f-4164-b881-fd3a2e4b2453" providerId="ADAL" clId="{4457FA57-250B-44AC-8655-05D46C5A3D8A}" dt="2023-05-17T10:55:43.989" v="1821" actId="164"/>
          <ac:spMkLst>
            <pc:docMk/>
            <pc:sldMk cId="1365561092" sldId="230717613"/>
            <ac:spMk id="15" creationId="{98CD6854-2338-44D9-84FC-F9957761374B}"/>
          </ac:spMkLst>
        </pc:spChg>
        <pc:spChg chg="mod">
          <ac:chgData name="El Bakkouri, Manal" userId="8b130982-2e3f-4164-b881-fd3a2e4b2453" providerId="ADAL" clId="{4457FA57-250B-44AC-8655-05D46C5A3D8A}" dt="2023-05-17T10:55:43.989" v="1821" actId="164"/>
          <ac:spMkLst>
            <pc:docMk/>
            <pc:sldMk cId="1365561092" sldId="230717613"/>
            <ac:spMk id="16" creationId="{BF1CEAF1-4631-4E10-AE62-A35171F6E20F}"/>
          </ac:spMkLst>
        </pc:spChg>
        <pc:spChg chg="mod">
          <ac:chgData name="El Bakkouri, Manal" userId="8b130982-2e3f-4164-b881-fd3a2e4b2453" providerId="ADAL" clId="{4457FA57-250B-44AC-8655-05D46C5A3D8A}" dt="2023-05-17T10:55:43.989" v="1821" actId="164"/>
          <ac:spMkLst>
            <pc:docMk/>
            <pc:sldMk cId="1365561092" sldId="230717613"/>
            <ac:spMk id="20" creationId="{6A3A870E-9374-459A-BF85-09DB73B89CEE}"/>
          </ac:spMkLst>
        </pc:spChg>
        <pc:spChg chg="mod">
          <ac:chgData name="El Bakkouri, Manal" userId="8b130982-2e3f-4164-b881-fd3a2e4b2453" providerId="ADAL" clId="{4457FA57-250B-44AC-8655-05D46C5A3D8A}" dt="2023-05-17T10:55:43.989" v="1821" actId="164"/>
          <ac:spMkLst>
            <pc:docMk/>
            <pc:sldMk cId="1365561092" sldId="230717613"/>
            <ac:spMk id="22" creationId="{F06D57E5-F6DC-4798-837A-96E40BA27D62}"/>
          </ac:spMkLst>
        </pc:spChg>
        <pc:spChg chg="mod">
          <ac:chgData name="El Bakkouri, Manal" userId="8b130982-2e3f-4164-b881-fd3a2e4b2453" providerId="ADAL" clId="{4457FA57-250B-44AC-8655-05D46C5A3D8A}" dt="2023-05-17T10:55:43.989" v="1821" actId="164"/>
          <ac:spMkLst>
            <pc:docMk/>
            <pc:sldMk cId="1365561092" sldId="230717613"/>
            <ac:spMk id="24" creationId="{53E65CEC-247A-4F32-A952-6E474A8E3D3F}"/>
          </ac:spMkLst>
        </pc:spChg>
        <pc:spChg chg="mod">
          <ac:chgData name="El Bakkouri, Manal" userId="8b130982-2e3f-4164-b881-fd3a2e4b2453" providerId="ADAL" clId="{4457FA57-250B-44AC-8655-05D46C5A3D8A}" dt="2023-05-17T10:55:43.989" v="1821" actId="164"/>
          <ac:spMkLst>
            <pc:docMk/>
            <pc:sldMk cId="1365561092" sldId="230717613"/>
            <ac:spMk id="26" creationId="{D7BF0C48-C5EA-49DD-BF03-9169E1CD681B}"/>
          </ac:spMkLst>
        </pc:spChg>
        <pc:grpChg chg="add mod">
          <ac:chgData name="El Bakkouri, Manal" userId="8b130982-2e3f-4164-b881-fd3a2e4b2453" providerId="ADAL" clId="{4457FA57-250B-44AC-8655-05D46C5A3D8A}" dt="2023-05-17T10:56:09.580" v="1827" actId="12789"/>
          <ac:grpSpMkLst>
            <pc:docMk/>
            <pc:sldMk cId="1365561092" sldId="230717613"/>
            <ac:grpSpMk id="17" creationId="{74C419E1-2679-4B57-96C2-754464BF4E90}"/>
          </ac:grpSpMkLst>
        </pc:grpChg>
      </pc:sldChg>
      <pc:sldChg chg="addSp delSp modSp new mod ord modTransition modAnim">
        <pc:chgData name="El Bakkouri, Manal" userId="8b130982-2e3f-4164-b881-fd3a2e4b2453" providerId="ADAL" clId="{4457FA57-250B-44AC-8655-05D46C5A3D8A}" dt="2023-06-12T13:31:26.011" v="15836" actId="1036"/>
        <pc:sldMkLst>
          <pc:docMk/>
          <pc:sldMk cId="929834127" sldId="230717614"/>
        </pc:sldMkLst>
        <pc:spChg chg="del">
          <ac:chgData name="El Bakkouri, Manal" userId="8b130982-2e3f-4164-b881-fd3a2e4b2453" providerId="ADAL" clId="{4457FA57-250B-44AC-8655-05D46C5A3D8A}" dt="2023-05-17T13:59:36.692" v="2437" actId="478"/>
          <ac:spMkLst>
            <pc:docMk/>
            <pc:sldMk cId="929834127" sldId="230717614"/>
            <ac:spMk id="2" creationId="{62B6BE5C-E313-4EEB-AC25-3C140D73ECA8}"/>
          </ac:spMkLst>
        </pc:spChg>
        <pc:spChg chg="add del mod topLvl">
          <ac:chgData name="El Bakkouri, Manal" userId="8b130982-2e3f-4164-b881-fd3a2e4b2453" providerId="ADAL" clId="{4457FA57-250B-44AC-8655-05D46C5A3D8A}" dt="2023-05-17T16:47:24.965" v="3003" actId="478"/>
          <ac:spMkLst>
            <pc:docMk/>
            <pc:sldMk cId="929834127" sldId="230717614"/>
            <ac:spMk id="3" creationId="{D6DEBB4E-2D6A-4539-B648-7291ADD4F6A0}"/>
          </ac:spMkLst>
        </pc:spChg>
        <pc:spChg chg="add del mod topLvl">
          <ac:chgData name="El Bakkouri, Manal" userId="8b130982-2e3f-4164-b881-fd3a2e4b2453" providerId="ADAL" clId="{4457FA57-250B-44AC-8655-05D46C5A3D8A}" dt="2023-05-17T16:47:24.965" v="3003" actId="478"/>
          <ac:spMkLst>
            <pc:docMk/>
            <pc:sldMk cId="929834127" sldId="230717614"/>
            <ac:spMk id="4" creationId="{0A29EDCD-9B37-43D8-B981-F180ADDC3356}"/>
          </ac:spMkLst>
        </pc:spChg>
        <pc:spChg chg="add del mod topLvl">
          <ac:chgData name="El Bakkouri, Manal" userId="8b130982-2e3f-4164-b881-fd3a2e4b2453" providerId="ADAL" clId="{4457FA57-250B-44AC-8655-05D46C5A3D8A}" dt="2023-05-17T16:47:24.965" v="3003" actId="478"/>
          <ac:spMkLst>
            <pc:docMk/>
            <pc:sldMk cId="929834127" sldId="230717614"/>
            <ac:spMk id="5" creationId="{4BA75527-D622-410D-8511-0F22E1148078}"/>
          </ac:spMkLst>
        </pc:spChg>
        <pc:spChg chg="add del mod topLvl">
          <ac:chgData name="El Bakkouri, Manal" userId="8b130982-2e3f-4164-b881-fd3a2e4b2453" providerId="ADAL" clId="{4457FA57-250B-44AC-8655-05D46C5A3D8A}" dt="2023-05-17T16:47:24.965" v="3003" actId="478"/>
          <ac:spMkLst>
            <pc:docMk/>
            <pc:sldMk cId="929834127" sldId="230717614"/>
            <ac:spMk id="6" creationId="{AECE6644-155C-4863-B6E4-A611CBB3F549}"/>
          </ac:spMkLst>
        </pc:spChg>
        <pc:spChg chg="add del mod topLvl">
          <ac:chgData name="El Bakkouri, Manal" userId="8b130982-2e3f-4164-b881-fd3a2e4b2453" providerId="ADAL" clId="{4457FA57-250B-44AC-8655-05D46C5A3D8A}" dt="2023-05-17T16:47:24.965" v="3003" actId="478"/>
          <ac:spMkLst>
            <pc:docMk/>
            <pc:sldMk cId="929834127" sldId="230717614"/>
            <ac:spMk id="7" creationId="{47DF43AB-16E6-4DB6-887C-D60A14D1F1B9}"/>
          </ac:spMkLst>
        </pc:spChg>
        <pc:spChg chg="add del mod topLvl">
          <ac:chgData name="El Bakkouri, Manal" userId="8b130982-2e3f-4164-b881-fd3a2e4b2453" providerId="ADAL" clId="{4457FA57-250B-44AC-8655-05D46C5A3D8A}" dt="2023-05-17T16:47:24.965" v="3003" actId="478"/>
          <ac:spMkLst>
            <pc:docMk/>
            <pc:sldMk cId="929834127" sldId="230717614"/>
            <ac:spMk id="8" creationId="{D602FDD7-B9F6-4025-9E91-22FC26B4AB75}"/>
          </ac:spMkLst>
        </pc:spChg>
        <pc:spChg chg="add del mod topLvl">
          <ac:chgData name="El Bakkouri, Manal" userId="8b130982-2e3f-4164-b881-fd3a2e4b2453" providerId="ADAL" clId="{4457FA57-250B-44AC-8655-05D46C5A3D8A}" dt="2023-05-17T16:47:24.965" v="3003" actId="478"/>
          <ac:spMkLst>
            <pc:docMk/>
            <pc:sldMk cId="929834127" sldId="230717614"/>
            <ac:spMk id="9" creationId="{BE6A76F9-3317-461F-8C1A-1BF51514986B}"/>
          </ac:spMkLst>
        </pc:spChg>
        <pc:spChg chg="add del mod topLvl">
          <ac:chgData name="El Bakkouri, Manal" userId="8b130982-2e3f-4164-b881-fd3a2e4b2453" providerId="ADAL" clId="{4457FA57-250B-44AC-8655-05D46C5A3D8A}" dt="2023-05-17T16:47:24.965" v="3003" actId="478"/>
          <ac:spMkLst>
            <pc:docMk/>
            <pc:sldMk cId="929834127" sldId="230717614"/>
            <ac:spMk id="10" creationId="{787B4780-5AF2-4B4F-AD73-86A6FC348135}"/>
          </ac:spMkLst>
        </pc:spChg>
        <pc:spChg chg="add del mod topLvl">
          <ac:chgData name="El Bakkouri, Manal" userId="8b130982-2e3f-4164-b881-fd3a2e4b2453" providerId="ADAL" clId="{4457FA57-250B-44AC-8655-05D46C5A3D8A}" dt="2023-05-17T16:47:24.965" v="3003" actId="478"/>
          <ac:spMkLst>
            <pc:docMk/>
            <pc:sldMk cId="929834127" sldId="230717614"/>
            <ac:spMk id="11" creationId="{25A062AE-D3C8-4831-84B5-AA69067E9B34}"/>
          </ac:spMkLst>
        </pc:spChg>
        <pc:spChg chg="add del mod topLvl">
          <ac:chgData name="El Bakkouri, Manal" userId="8b130982-2e3f-4164-b881-fd3a2e4b2453" providerId="ADAL" clId="{4457FA57-250B-44AC-8655-05D46C5A3D8A}" dt="2023-05-17T16:47:24.965" v="3003" actId="478"/>
          <ac:spMkLst>
            <pc:docMk/>
            <pc:sldMk cId="929834127" sldId="230717614"/>
            <ac:spMk id="12" creationId="{7AA695AA-CCE9-4B5C-9588-0D379566809C}"/>
          </ac:spMkLst>
        </pc:spChg>
        <pc:spChg chg="mod">
          <ac:chgData name="El Bakkouri, Manal" userId="8b130982-2e3f-4164-b881-fd3a2e4b2453" providerId="ADAL" clId="{4457FA57-250B-44AC-8655-05D46C5A3D8A}" dt="2023-06-12T13:31:03.943" v="15830" actId="403"/>
          <ac:spMkLst>
            <pc:docMk/>
            <pc:sldMk cId="929834127" sldId="230717614"/>
            <ac:spMk id="13" creationId="{AE3D4332-8CF2-4F35-A991-D01EB8DE6F93}"/>
          </ac:spMkLst>
        </pc:spChg>
        <pc:spChg chg="mod">
          <ac:chgData name="El Bakkouri, Manal" userId="8b130982-2e3f-4164-b881-fd3a2e4b2453" providerId="ADAL" clId="{4457FA57-250B-44AC-8655-05D46C5A3D8A}" dt="2023-06-12T13:31:03.943" v="15830" actId="403"/>
          <ac:spMkLst>
            <pc:docMk/>
            <pc:sldMk cId="929834127" sldId="230717614"/>
            <ac:spMk id="14" creationId="{B8AAD59A-5CB8-4150-846E-C1C77E2978E7}"/>
          </ac:spMkLst>
        </pc:spChg>
        <pc:spChg chg="mod">
          <ac:chgData name="El Bakkouri, Manal" userId="8b130982-2e3f-4164-b881-fd3a2e4b2453" providerId="ADAL" clId="{4457FA57-250B-44AC-8655-05D46C5A3D8A}" dt="2023-06-12T13:31:03.943" v="15830" actId="403"/>
          <ac:spMkLst>
            <pc:docMk/>
            <pc:sldMk cId="929834127" sldId="230717614"/>
            <ac:spMk id="15" creationId="{E3870215-2EFC-46A3-992A-3B4138FECCBF}"/>
          </ac:spMkLst>
        </pc:spChg>
        <pc:spChg chg="mod">
          <ac:chgData name="El Bakkouri, Manal" userId="8b130982-2e3f-4164-b881-fd3a2e4b2453" providerId="ADAL" clId="{4457FA57-250B-44AC-8655-05D46C5A3D8A}" dt="2023-06-12T13:31:03.943" v="15830" actId="403"/>
          <ac:spMkLst>
            <pc:docMk/>
            <pc:sldMk cId="929834127" sldId="230717614"/>
            <ac:spMk id="17" creationId="{F6BFB3B8-EA58-4337-AD3D-C97357604073}"/>
          </ac:spMkLst>
        </pc:spChg>
        <pc:spChg chg="add del mod topLvl">
          <ac:chgData name="El Bakkouri, Manal" userId="8b130982-2e3f-4164-b881-fd3a2e4b2453" providerId="ADAL" clId="{4457FA57-250B-44AC-8655-05D46C5A3D8A}" dt="2023-05-17T16:47:24.965" v="3003" actId="478"/>
          <ac:spMkLst>
            <pc:docMk/>
            <pc:sldMk cId="929834127" sldId="230717614"/>
            <ac:spMk id="18" creationId="{B731524D-8773-4659-89C7-72ED4D007BBF}"/>
          </ac:spMkLst>
        </pc:spChg>
        <pc:spChg chg="add del mod topLvl">
          <ac:chgData name="El Bakkouri, Manal" userId="8b130982-2e3f-4164-b881-fd3a2e4b2453" providerId="ADAL" clId="{4457FA57-250B-44AC-8655-05D46C5A3D8A}" dt="2023-05-17T16:47:24.965" v="3003" actId="478"/>
          <ac:spMkLst>
            <pc:docMk/>
            <pc:sldMk cId="929834127" sldId="230717614"/>
            <ac:spMk id="19" creationId="{0FEE3D6E-FEDD-4842-A8E1-151097A79E49}"/>
          </ac:spMkLst>
        </pc:spChg>
        <pc:spChg chg="add del mod topLvl">
          <ac:chgData name="El Bakkouri, Manal" userId="8b130982-2e3f-4164-b881-fd3a2e4b2453" providerId="ADAL" clId="{4457FA57-250B-44AC-8655-05D46C5A3D8A}" dt="2023-05-17T16:47:24.965" v="3003" actId="478"/>
          <ac:spMkLst>
            <pc:docMk/>
            <pc:sldMk cId="929834127" sldId="230717614"/>
            <ac:spMk id="20" creationId="{99EB591A-CD37-4D14-A1DF-5291B2EC62AD}"/>
          </ac:spMkLst>
        </pc:spChg>
        <pc:spChg chg="add del mod topLvl">
          <ac:chgData name="El Bakkouri, Manal" userId="8b130982-2e3f-4164-b881-fd3a2e4b2453" providerId="ADAL" clId="{4457FA57-250B-44AC-8655-05D46C5A3D8A}" dt="2023-05-17T16:47:24.965" v="3003" actId="478"/>
          <ac:spMkLst>
            <pc:docMk/>
            <pc:sldMk cId="929834127" sldId="230717614"/>
            <ac:spMk id="21" creationId="{9872C58C-D5C2-4488-85F6-D903872CD935}"/>
          </ac:spMkLst>
        </pc:spChg>
        <pc:spChg chg="add del mod topLvl">
          <ac:chgData name="El Bakkouri, Manal" userId="8b130982-2e3f-4164-b881-fd3a2e4b2453" providerId="ADAL" clId="{4457FA57-250B-44AC-8655-05D46C5A3D8A}" dt="2023-05-17T16:47:24.965" v="3003" actId="478"/>
          <ac:spMkLst>
            <pc:docMk/>
            <pc:sldMk cId="929834127" sldId="230717614"/>
            <ac:spMk id="22" creationId="{CD335D7B-D7AC-43B3-9627-7B4D5750D530}"/>
          </ac:spMkLst>
        </pc:spChg>
        <pc:spChg chg="add del mod topLvl">
          <ac:chgData name="El Bakkouri, Manal" userId="8b130982-2e3f-4164-b881-fd3a2e4b2453" providerId="ADAL" clId="{4457FA57-250B-44AC-8655-05D46C5A3D8A}" dt="2023-05-17T16:47:24.965" v="3003" actId="478"/>
          <ac:spMkLst>
            <pc:docMk/>
            <pc:sldMk cId="929834127" sldId="230717614"/>
            <ac:spMk id="23" creationId="{0832649D-DCCB-4F52-AA12-39E6BBA28137}"/>
          </ac:spMkLst>
        </pc:spChg>
        <pc:spChg chg="add del mod topLvl">
          <ac:chgData name="El Bakkouri, Manal" userId="8b130982-2e3f-4164-b881-fd3a2e4b2453" providerId="ADAL" clId="{4457FA57-250B-44AC-8655-05D46C5A3D8A}" dt="2023-05-17T16:47:24.965" v="3003" actId="478"/>
          <ac:spMkLst>
            <pc:docMk/>
            <pc:sldMk cId="929834127" sldId="230717614"/>
            <ac:spMk id="24" creationId="{0143D566-C20A-441B-97D0-C177FB3A624E}"/>
          </ac:spMkLst>
        </pc:spChg>
        <pc:spChg chg="add del mod topLvl">
          <ac:chgData name="El Bakkouri, Manal" userId="8b130982-2e3f-4164-b881-fd3a2e4b2453" providerId="ADAL" clId="{4457FA57-250B-44AC-8655-05D46C5A3D8A}" dt="2023-05-17T16:47:24.965" v="3003" actId="478"/>
          <ac:spMkLst>
            <pc:docMk/>
            <pc:sldMk cId="929834127" sldId="230717614"/>
            <ac:spMk id="25" creationId="{F698944F-A6F2-4967-86A9-088592D9220D}"/>
          </ac:spMkLst>
        </pc:spChg>
        <pc:spChg chg="add del mod topLvl">
          <ac:chgData name="El Bakkouri, Manal" userId="8b130982-2e3f-4164-b881-fd3a2e4b2453" providerId="ADAL" clId="{4457FA57-250B-44AC-8655-05D46C5A3D8A}" dt="2023-05-17T16:47:24.965" v="3003" actId="478"/>
          <ac:spMkLst>
            <pc:docMk/>
            <pc:sldMk cId="929834127" sldId="230717614"/>
            <ac:spMk id="26" creationId="{41B3F137-4022-4937-A7E1-BA765F5CA9E1}"/>
          </ac:spMkLst>
        </pc:spChg>
        <pc:spChg chg="mod">
          <ac:chgData name="El Bakkouri, Manal" userId="8b130982-2e3f-4164-b881-fd3a2e4b2453" providerId="ADAL" clId="{4457FA57-250B-44AC-8655-05D46C5A3D8A}" dt="2023-06-12T13:31:26.011" v="15836" actId="1036"/>
          <ac:spMkLst>
            <pc:docMk/>
            <pc:sldMk cId="929834127" sldId="230717614"/>
            <ac:spMk id="26" creationId="{F7F9A31F-795E-4202-99C5-22D06683EE56}"/>
          </ac:spMkLst>
        </pc:spChg>
        <pc:spChg chg="add del mod topLvl">
          <ac:chgData name="El Bakkouri, Manal" userId="8b130982-2e3f-4164-b881-fd3a2e4b2453" providerId="ADAL" clId="{4457FA57-250B-44AC-8655-05D46C5A3D8A}" dt="2023-05-17T16:47:24.965" v="3003" actId="478"/>
          <ac:spMkLst>
            <pc:docMk/>
            <pc:sldMk cId="929834127" sldId="230717614"/>
            <ac:spMk id="27" creationId="{33A9B5B4-E507-4695-A024-7C022C3CE733}"/>
          </ac:spMkLst>
        </pc:spChg>
        <pc:spChg chg="mod">
          <ac:chgData name="El Bakkouri, Manal" userId="8b130982-2e3f-4164-b881-fd3a2e4b2453" providerId="ADAL" clId="{4457FA57-250B-44AC-8655-05D46C5A3D8A}" dt="2023-06-12T13:31:26.011" v="15836" actId="1036"/>
          <ac:spMkLst>
            <pc:docMk/>
            <pc:sldMk cId="929834127" sldId="230717614"/>
            <ac:spMk id="27" creationId="{612CDDE0-8295-47E3-8E93-E36CE3D124AA}"/>
          </ac:spMkLst>
        </pc:spChg>
        <pc:spChg chg="add del mod topLvl">
          <ac:chgData name="El Bakkouri, Manal" userId="8b130982-2e3f-4164-b881-fd3a2e4b2453" providerId="ADAL" clId="{4457FA57-250B-44AC-8655-05D46C5A3D8A}" dt="2023-05-17T16:47:24.965" v="3003" actId="478"/>
          <ac:spMkLst>
            <pc:docMk/>
            <pc:sldMk cId="929834127" sldId="230717614"/>
            <ac:spMk id="28" creationId="{A4F9E91A-683F-4334-A8EC-1D36575EE927}"/>
          </ac:spMkLst>
        </pc:spChg>
        <pc:spChg chg="add del mod topLvl">
          <ac:chgData name="El Bakkouri, Manal" userId="8b130982-2e3f-4164-b881-fd3a2e4b2453" providerId="ADAL" clId="{4457FA57-250B-44AC-8655-05D46C5A3D8A}" dt="2023-05-17T16:47:24.965" v="3003" actId="478"/>
          <ac:spMkLst>
            <pc:docMk/>
            <pc:sldMk cId="929834127" sldId="230717614"/>
            <ac:spMk id="29" creationId="{2CBE480D-6F9D-433D-A573-ED101528EA89}"/>
          </ac:spMkLst>
        </pc:spChg>
        <pc:spChg chg="mod">
          <ac:chgData name="El Bakkouri, Manal" userId="8b130982-2e3f-4164-b881-fd3a2e4b2453" providerId="ADAL" clId="{4457FA57-250B-44AC-8655-05D46C5A3D8A}" dt="2023-06-12T13:31:13.123" v="15833" actId="14100"/>
          <ac:spMkLst>
            <pc:docMk/>
            <pc:sldMk cId="929834127" sldId="230717614"/>
            <ac:spMk id="29" creationId="{A4C391BE-E987-4C29-8D0E-404746451AFB}"/>
          </ac:spMkLst>
        </pc:spChg>
        <pc:spChg chg="mod">
          <ac:chgData name="El Bakkouri, Manal" userId="8b130982-2e3f-4164-b881-fd3a2e4b2453" providerId="ADAL" clId="{4457FA57-250B-44AC-8655-05D46C5A3D8A}" dt="2023-06-12T13:31:17.013" v="15834" actId="14100"/>
          <ac:spMkLst>
            <pc:docMk/>
            <pc:sldMk cId="929834127" sldId="230717614"/>
            <ac:spMk id="30" creationId="{C3508D52-2580-4D0C-80FB-92DFDBBC5DC0}"/>
          </ac:spMkLst>
        </pc:spChg>
        <pc:spChg chg="add del mod topLvl">
          <ac:chgData name="El Bakkouri, Manal" userId="8b130982-2e3f-4164-b881-fd3a2e4b2453" providerId="ADAL" clId="{4457FA57-250B-44AC-8655-05D46C5A3D8A}" dt="2023-05-17T16:47:24.965" v="3003" actId="478"/>
          <ac:spMkLst>
            <pc:docMk/>
            <pc:sldMk cId="929834127" sldId="230717614"/>
            <ac:spMk id="30" creationId="{E64C8AFE-0BE6-406A-BBEB-AE4C2D3EBE23}"/>
          </ac:spMkLst>
        </pc:spChg>
        <pc:spChg chg="mod">
          <ac:chgData name="El Bakkouri, Manal" userId="8b130982-2e3f-4164-b881-fd3a2e4b2453" providerId="ADAL" clId="{4457FA57-250B-44AC-8655-05D46C5A3D8A}" dt="2023-06-12T13:31:13.123" v="15833" actId="14100"/>
          <ac:spMkLst>
            <pc:docMk/>
            <pc:sldMk cId="929834127" sldId="230717614"/>
            <ac:spMk id="31" creationId="{203B5515-2FDE-4BD1-A8A9-258BA207D832}"/>
          </ac:spMkLst>
        </pc:spChg>
        <pc:spChg chg="add del mod topLvl">
          <ac:chgData name="El Bakkouri, Manal" userId="8b130982-2e3f-4164-b881-fd3a2e4b2453" providerId="ADAL" clId="{4457FA57-250B-44AC-8655-05D46C5A3D8A}" dt="2023-05-17T16:47:24.965" v="3003" actId="478"/>
          <ac:spMkLst>
            <pc:docMk/>
            <pc:sldMk cId="929834127" sldId="230717614"/>
            <ac:spMk id="31" creationId="{A0983E9E-482F-4E98-B0FB-38C7E4633B54}"/>
          </ac:spMkLst>
        </pc:spChg>
        <pc:spChg chg="add del mod topLvl">
          <ac:chgData name="El Bakkouri, Manal" userId="8b130982-2e3f-4164-b881-fd3a2e4b2453" providerId="ADAL" clId="{4457FA57-250B-44AC-8655-05D46C5A3D8A}" dt="2023-05-17T16:47:24.965" v="3003" actId="478"/>
          <ac:spMkLst>
            <pc:docMk/>
            <pc:sldMk cId="929834127" sldId="230717614"/>
            <ac:spMk id="32" creationId="{6A010413-77C0-489D-B0FB-C68D93845EC0}"/>
          </ac:spMkLst>
        </pc:spChg>
        <pc:spChg chg="mod">
          <ac:chgData name="El Bakkouri, Manal" userId="8b130982-2e3f-4164-b881-fd3a2e4b2453" providerId="ADAL" clId="{4457FA57-250B-44AC-8655-05D46C5A3D8A}" dt="2023-06-12T13:31:26.011" v="15836" actId="1036"/>
          <ac:spMkLst>
            <pc:docMk/>
            <pc:sldMk cId="929834127" sldId="230717614"/>
            <ac:spMk id="32" creationId="{73E7C8FE-1436-4E11-84CF-7D7515C003FD}"/>
          </ac:spMkLst>
        </pc:spChg>
        <pc:spChg chg="add mod">
          <ac:chgData name="El Bakkouri, Manal" userId="8b130982-2e3f-4164-b881-fd3a2e4b2453" providerId="ADAL" clId="{4457FA57-250B-44AC-8655-05D46C5A3D8A}" dt="2023-05-17T13:59:46.442" v="2438"/>
          <ac:spMkLst>
            <pc:docMk/>
            <pc:sldMk cId="929834127" sldId="230717614"/>
            <ac:spMk id="33" creationId="{19427609-0E9B-415B-B7DE-A5953A05E06D}"/>
          </ac:spMkLst>
        </pc:spChg>
        <pc:spChg chg="add mod">
          <ac:chgData name="El Bakkouri, Manal" userId="8b130982-2e3f-4164-b881-fd3a2e4b2453" providerId="ADAL" clId="{4457FA57-250B-44AC-8655-05D46C5A3D8A}" dt="2023-05-17T13:59:46.442" v="2438"/>
          <ac:spMkLst>
            <pc:docMk/>
            <pc:sldMk cId="929834127" sldId="230717614"/>
            <ac:spMk id="34" creationId="{ACDEC103-AB2D-4453-BFC3-E61636762E8D}"/>
          </ac:spMkLst>
        </pc:spChg>
        <pc:spChg chg="add mod">
          <ac:chgData name="El Bakkouri, Manal" userId="8b130982-2e3f-4164-b881-fd3a2e4b2453" providerId="ADAL" clId="{4457FA57-250B-44AC-8655-05D46C5A3D8A}" dt="2023-05-17T13:59:46.442" v="2438"/>
          <ac:spMkLst>
            <pc:docMk/>
            <pc:sldMk cId="929834127" sldId="230717614"/>
            <ac:spMk id="35" creationId="{E156B3A2-B3BF-469B-96A0-0976D528D628}"/>
          </ac:spMkLst>
        </pc:spChg>
        <pc:spChg chg="add mod">
          <ac:chgData name="El Bakkouri, Manal" userId="8b130982-2e3f-4164-b881-fd3a2e4b2453" providerId="ADAL" clId="{4457FA57-250B-44AC-8655-05D46C5A3D8A}" dt="2023-05-17T13:59:46.442" v="2438"/>
          <ac:spMkLst>
            <pc:docMk/>
            <pc:sldMk cId="929834127" sldId="230717614"/>
            <ac:spMk id="36" creationId="{EA7CC9AD-E1D7-435B-85D6-A6E2A5812E51}"/>
          </ac:spMkLst>
        </pc:spChg>
        <pc:spChg chg="add mod">
          <ac:chgData name="El Bakkouri, Manal" userId="8b130982-2e3f-4164-b881-fd3a2e4b2453" providerId="ADAL" clId="{4457FA57-250B-44AC-8655-05D46C5A3D8A}" dt="2023-05-17T13:59:46.442" v="2438"/>
          <ac:spMkLst>
            <pc:docMk/>
            <pc:sldMk cId="929834127" sldId="230717614"/>
            <ac:spMk id="37" creationId="{79BDA702-2741-44FC-ABF5-6210091AB3C1}"/>
          </ac:spMkLst>
        </pc:spChg>
        <pc:spChg chg="add mod">
          <ac:chgData name="El Bakkouri, Manal" userId="8b130982-2e3f-4164-b881-fd3a2e4b2453" providerId="ADAL" clId="{4457FA57-250B-44AC-8655-05D46C5A3D8A}" dt="2023-05-17T14:00:17.124" v="2440" actId="207"/>
          <ac:spMkLst>
            <pc:docMk/>
            <pc:sldMk cId="929834127" sldId="230717614"/>
            <ac:spMk id="38" creationId="{BD36A635-3E49-4953-90CF-31A258C3F147}"/>
          </ac:spMkLst>
        </pc:spChg>
        <pc:spChg chg="add mod">
          <ac:chgData name="El Bakkouri, Manal" userId="8b130982-2e3f-4164-b881-fd3a2e4b2453" providerId="ADAL" clId="{4457FA57-250B-44AC-8655-05D46C5A3D8A}" dt="2023-05-17T14:00:50.822" v="2444" actId="207"/>
          <ac:spMkLst>
            <pc:docMk/>
            <pc:sldMk cId="929834127" sldId="230717614"/>
            <ac:spMk id="39" creationId="{0036ACDD-A6B4-4A24-9040-94EAE2CEC013}"/>
          </ac:spMkLst>
        </pc:spChg>
        <pc:spChg chg="add mod">
          <ac:chgData name="El Bakkouri, Manal" userId="8b130982-2e3f-4164-b881-fd3a2e4b2453" providerId="ADAL" clId="{4457FA57-250B-44AC-8655-05D46C5A3D8A}" dt="2023-05-17T13:59:46.442" v="2438"/>
          <ac:spMkLst>
            <pc:docMk/>
            <pc:sldMk cId="929834127" sldId="230717614"/>
            <ac:spMk id="40" creationId="{D2F05A72-D7A1-4A84-988D-A2BF5A81436F}"/>
          </ac:spMkLst>
        </pc:spChg>
        <pc:spChg chg="add mod">
          <ac:chgData name="El Bakkouri, Manal" userId="8b130982-2e3f-4164-b881-fd3a2e4b2453" providerId="ADAL" clId="{4457FA57-250B-44AC-8655-05D46C5A3D8A}" dt="2023-05-17T14:01:25.834" v="2447" actId="207"/>
          <ac:spMkLst>
            <pc:docMk/>
            <pc:sldMk cId="929834127" sldId="230717614"/>
            <ac:spMk id="41" creationId="{E8185DEA-5EB2-434A-B24A-CE9E2D230904}"/>
          </ac:spMkLst>
        </pc:spChg>
        <pc:spChg chg="add mod">
          <ac:chgData name="El Bakkouri, Manal" userId="8b130982-2e3f-4164-b881-fd3a2e4b2453" providerId="ADAL" clId="{4457FA57-250B-44AC-8655-05D46C5A3D8A}" dt="2023-05-17T14:00:29.197" v="2442" actId="207"/>
          <ac:spMkLst>
            <pc:docMk/>
            <pc:sldMk cId="929834127" sldId="230717614"/>
            <ac:spMk id="42" creationId="{A3B78CEB-24E9-4599-BA33-3420875311EF}"/>
          </ac:spMkLst>
        </pc:spChg>
        <pc:spChg chg="add del mod">
          <ac:chgData name="El Bakkouri, Manal" userId="8b130982-2e3f-4164-b881-fd3a2e4b2453" providerId="ADAL" clId="{4457FA57-250B-44AC-8655-05D46C5A3D8A}" dt="2023-05-18T16:44:52.727" v="4479" actId="478"/>
          <ac:spMkLst>
            <pc:docMk/>
            <pc:sldMk cId="929834127" sldId="230717614"/>
            <ac:spMk id="54" creationId="{6ECDE886-3EAD-4EF6-8AD5-B2D25B184120}"/>
          </ac:spMkLst>
        </pc:spChg>
        <pc:grpChg chg="add del mod">
          <ac:chgData name="El Bakkouri, Manal" userId="8b130982-2e3f-4164-b881-fd3a2e4b2453" providerId="ADAL" clId="{4457FA57-250B-44AC-8655-05D46C5A3D8A}" dt="2023-05-17T14:04:53.596" v="2490" actId="165"/>
          <ac:grpSpMkLst>
            <pc:docMk/>
            <pc:sldMk cId="929834127" sldId="230717614"/>
            <ac:grpSpMk id="53" creationId="{EA3BC5A2-F153-479E-9CF0-FC36F8A74D1B}"/>
          </ac:grpSpMkLst>
        </pc:grpChg>
        <pc:graphicFrameChg chg="add mod modGraphic">
          <ac:chgData name="El Bakkouri, Manal" userId="8b130982-2e3f-4164-b881-fd3a2e4b2453" providerId="ADAL" clId="{4457FA57-250B-44AC-8655-05D46C5A3D8A}" dt="2023-05-23T19:54:17.332" v="9642" actId="207"/>
          <ac:graphicFrameMkLst>
            <pc:docMk/>
            <pc:sldMk cId="929834127" sldId="230717614"/>
            <ac:graphicFrameMk id="2" creationId="{358248BD-79CE-4F82-B30D-5DFCEBC6AFEF}"/>
          </ac:graphicFrameMkLst>
        </pc:graphicFrameChg>
        <pc:picChg chg="add del mod">
          <ac:chgData name="El Bakkouri, Manal" userId="8b130982-2e3f-4164-b881-fd3a2e4b2453" providerId="ADAL" clId="{4457FA57-250B-44AC-8655-05D46C5A3D8A}" dt="2023-05-19T10:22:03.949" v="5712" actId="21"/>
          <ac:picMkLst>
            <pc:docMk/>
            <pc:sldMk cId="929834127" sldId="230717614"/>
            <ac:picMk id="4" creationId="{6D3BCD79-22AE-4618-A47B-9D343A1B2CA3}"/>
          </ac:picMkLst>
        </pc:picChg>
        <pc:picChg chg="add mod ord">
          <ac:chgData name="El Bakkouri, Manal" userId="8b130982-2e3f-4164-b881-fd3a2e4b2453" providerId="ADAL" clId="{4457FA57-250B-44AC-8655-05D46C5A3D8A}" dt="2023-05-26T16:06:07.389" v="14114" actId="167"/>
          <ac:picMkLst>
            <pc:docMk/>
            <pc:sldMk cId="929834127" sldId="230717614"/>
            <ac:picMk id="16" creationId="{A0AB19F6-67D1-4B8A-815E-E7206DF81785}"/>
          </ac:picMkLst>
        </pc:picChg>
        <pc:cxnChg chg="add del mod topLvl">
          <ac:chgData name="El Bakkouri, Manal" userId="8b130982-2e3f-4164-b881-fd3a2e4b2453" providerId="ADAL" clId="{4457FA57-250B-44AC-8655-05D46C5A3D8A}" dt="2023-05-17T16:47:24.965" v="3003" actId="478"/>
          <ac:cxnSpMkLst>
            <pc:docMk/>
            <pc:sldMk cId="929834127" sldId="230717614"/>
            <ac:cxnSpMk id="13" creationId="{4038E216-493E-4841-BE8F-C6D0E56F4A7C}"/>
          </ac:cxnSpMkLst>
        </pc:cxnChg>
        <pc:cxnChg chg="add del mod topLvl">
          <ac:chgData name="El Bakkouri, Manal" userId="8b130982-2e3f-4164-b881-fd3a2e4b2453" providerId="ADAL" clId="{4457FA57-250B-44AC-8655-05D46C5A3D8A}" dt="2023-05-17T16:47:24.965" v="3003" actId="478"/>
          <ac:cxnSpMkLst>
            <pc:docMk/>
            <pc:sldMk cId="929834127" sldId="230717614"/>
            <ac:cxnSpMk id="14" creationId="{B001F00A-E907-4B47-BF5A-329053F5E6C2}"/>
          </ac:cxnSpMkLst>
        </pc:cxnChg>
        <pc:cxnChg chg="add del mod topLvl">
          <ac:chgData name="El Bakkouri, Manal" userId="8b130982-2e3f-4164-b881-fd3a2e4b2453" providerId="ADAL" clId="{4457FA57-250B-44AC-8655-05D46C5A3D8A}" dt="2023-05-17T16:47:24.965" v="3003" actId="478"/>
          <ac:cxnSpMkLst>
            <pc:docMk/>
            <pc:sldMk cId="929834127" sldId="230717614"/>
            <ac:cxnSpMk id="15" creationId="{037095BF-B50B-461B-B5EF-377F0684E258}"/>
          </ac:cxnSpMkLst>
        </pc:cxnChg>
        <pc:cxnChg chg="add del mod topLvl">
          <ac:chgData name="El Bakkouri, Manal" userId="8b130982-2e3f-4164-b881-fd3a2e4b2453" providerId="ADAL" clId="{4457FA57-250B-44AC-8655-05D46C5A3D8A}" dt="2023-05-17T16:47:24.965" v="3003" actId="478"/>
          <ac:cxnSpMkLst>
            <pc:docMk/>
            <pc:sldMk cId="929834127" sldId="230717614"/>
            <ac:cxnSpMk id="16" creationId="{D93107F4-144A-4101-85FB-4CA69E49F527}"/>
          </ac:cxnSpMkLst>
        </pc:cxnChg>
        <pc:cxnChg chg="add del mod topLvl">
          <ac:chgData name="El Bakkouri, Manal" userId="8b130982-2e3f-4164-b881-fd3a2e4b2453" providerId="ADAL" clId="{4457FA57-250B-44AC-8655-05D46C5A3D8A}" dt="2023-05-17T16:47:24.965" v="3003" actId="478"/>
          <ac:cxnSpMkLst>
            <pc:docMk/>
            <pc:sldMk cId="929834127" sldId="230717614"/>
            <ac:cxnSpMk id="17" creationId="{ADD6A205-92DF-4406-9925-53681FE87580}"/>
          </ac:cxnSpMkLst>
        </pc:cxnChg>
      </pc:sldChg>
      <pc:sldChg chg="add del">
        <pc:chgData name="El Bakkouri, Manal" userId="8b130982-2e3f-4164-b881-fd3a2e4b2453" providerId="ADAL" clId="{4457FA57-250B-44AC-8655-05D46C5A3D8A}" dt="2023-05-19T08:16:23.926" v="4642" actId="2696"/>
        <pc:sldMkLst>
          <pc:docMk/>
          <pc:sldMk cId="440725137" sldId="230717615"/>
        </pc:sldMkLst>
      </pc:sldChg>
      <pc:sldChg chg="addSp delSp modSp add del mod ord modTransition modAnim">
        <pc:chgData name="El Bakkouri, Manal" userId="8b130982-2e3f-4164-b881-fd3a2e4b2453" providerId="ADAL" clId="{4457FA57-250B-44AC-8655-05D46C5A3D8A}" dt="2023-05-26T16:01:42.886" v="13846" actId="47"/>
        <pc:sldMkLst>
          <pc:docMk/>
          <pc:sldMk cId="3132235988" sldId="230717616"/>
        </pc:sldMkLst>
        <pc:spChg chg="add mod ord">
          <ac:chgData name="El Bakkouri, Manal" userId="8b130982-2e3f-4164-b881-fd3a2e4b2453" providerId="ADAL" clId="{4457FA57-250B-44AC-8655-05D46C5A3D8A}" dt="2023-05-24T09:34:19.892" v="10518" actId="1076"/>
          <ac:spMkLst>
            <pc:docMk/>
            <pc:sldMk cId="3132235988" sldId="230717616"/>
            <ac:spMk id="3" creationId="{BD8A55B4-B4F6-4B30-BC80-A479E08DF4C9}"/>
          </ac:spMkLst>
        </pc:spChg>
        <pc:spChg chg="mod">
          <ac:chgData name="El Bakkouri, Manal" userId="8b130982-2e3f-4164-b881-fd3a2e4b2453" providerId="ADAL" clId="{4457FA57-250B-44AC-8655-05D46C5A3D8A}" dt="2023-05-19T08:10:53.122" v="4576"/>
          <ac:spMkLst>
            <pc:docMk/>
            <pc:sldMk cId="3132235988" sldId="230717616"/>
            <ac:spMk id="13" creationId="{114F29FB-8199-4271-8413-57B0ACE5DE12}"/>
          </ac:spMkLst>
        </pc:spChg>
        <pc:spChg chg="add del">
          <ac:chgData name="El Bakkouri, Manal" userId="8b130982-2e3f-4164-b881-fd3a2e4b2453" providerId="ADAL" clId="{4457FA57-250B-44AC-8655-05D46C5A3D8A}" dt="2023-05-19T08:11:47.319" v="4588" actId="22"/>
          <ac:spMkLst>
            <pc:docMk/>
            <pc:sldMk cId="3132235988" sldId="230717616"/>
            <ac:spMk id="17" creationId="{DC395246-2D9F-444F-95BA-A5A86FE21338}"/>
          </ac:spMkLst>
        </pc:spChg>
        <pc:spChg chg="mod">
          <ac:chgData name="El Bakkouri, Manal" userId="8b130982-2e3f-4164-b881-fd3a2e4b2453" providerId="ADAL" clId="{4457FA57-250B-44AC-8655-05D46C5A3D8A}" dt="2023-05-24T09:34:14.465" v="10517" actId="20577"/>
          <ac:spMkLst>
            <pc:docMk/>
            <pc:sldMk cId="3132235988" sldId="230717616"/>
            <ac:spMk id="19" creationId="{4B3B7FDF-BAF1-492C-BEF5-B15E68EA58B2}"/>
          </ac:spMkLst>
        </pc:spChg>
        <pc:spChg chg="mod ord">
          <ac:chgData name="El Bakkouri, Manal" userId="8b130982-2e3f-4164-b881-fd3a2e4b2453" providerId="ADAL" clId="{4457FA57-250B-44AC-8655-05D46C5A3D8A}" dt="2023-05-19T08:12:15.201" v="4613" actId="167"/>
          <ac:spMkLst>
            <pc:docMk/>
            <pc:sldMk cId="3132235988" sldId="230717616"/>
            <ac:spMk id="22" creationId="{CCEC7D36-14F3-4C60-B74A-E88E26A7551A}"/>
          </ac:spMkLst>
        </pc:spChg>
        <pc:spChg chg="add del">
          <ac:chgData name="El Bakkouri, Manal" userId="8b130982-2e3f-4164-b881-fd3a2e4b2453" providerId="ADAL" clId="{4457FA57-250B-44AC-8655-05D46C5A3D8A}" dt="2023-05-19T08:11:56.896" v="4590" actId="478"/>
          <ac:spMkLst>
            <pc:docMk/>
            <pc:sldMk cId="3132235988" sldId="230717616"/>
            <ac:spMk id="24" creationId="{530D4F91-77F6-44C5-B6DA-4F5D0C4B5F5A}"/>
          </ac:spMkLst>
        </pc:spChg>
        <pc:grpChg chg="ord">
          <ac:chgData name="El Bakkouri, Manal" userId="8b130982-2e3f-4164-b881-fd3a2e4b2453" providerId="ADAL" clId="{4457FA57-250B-44AC-8655-05D46C5A3D8A}" dt="2023-05-17T16:14:12.018" v="2751" actId="170"/>
          <ac:grpSpMkLst>
            <pc:docMk/>
            <pc:sldMk cId="3132235988" sldId="230717616"/>
            <ac:grpSpMk id="8" creationId="{A2D83CBF-515F-4F55-B324-C8E8F07B252C}"/>
          </ac:grpSpMkLst>
        </pc:grpChg>
        <pc:grpChg chg="ord">
          <ac:chgData name="El Bakkouri, Manal" userId="8b130982-2e3f-4164-b881-fd3a2e4b2453" providerId="ADAL" clId="{4457FA57-250B-44AC-8655-05D46C5A3D8A}" dt="2023-05-19T08:11:03.174" v="4577" actId="167"/>
          <ac:grpSpMkLst>
            <pc:docMk/>
            <pc:sldMk cId="3132235988" sldId="230717616"/>
            <ac:grpSpMk id="12" creationId="{EB575078-816F-4FBE-AD85-C5EB1FC5D3B1}"/>
          </ac:grpSpMkLst>
        </pc:grpChg>
        <pc:grpChg chg="ord">
          <ac:chgData name="El Bakkouri, Manal" userId="8b130982-2e3f-4164-b881-fd3a2e4b2453" providerId="ADAL" clId="{4457FA57-250B-44AC-8655-05D46C5A3D8A}" dt="2023-05-19T08:12:22.411" v="4615" actId="167"/>
          <ac:grpSpMkLst>
            <pc:docMk/>
            <pc:sldMk cId="3132235988" sldId="230717616"/>
            <ac:grpSpMk id="18" creationId="{B01E8A97-E976-4717-85FD-668EE62A7552}"/>
          </ac:grpSpMkLst>
        </pc:grpChg>
        <pc:grpChg chg="ord">
          <ac:chgData name="El Bakkouri, Manal" userId="8b130982-2e3f-4164-b881-fd3a2e4b2453" providerId="ADAL" clId="{4457FA57-250B-44AC-8655-05D46C5A3D8A}" dt="2023-05-19T08:12:19.394" v="4614" actId="167"/>
          <ac:grpSpMkLst>
            <pc:docMk/>
            <pc:sldMk cId="3132235988" sldId="230717616"/>
            <ac:grpSpMk id="21" creationId="{854F33E3-6DAC-4D07-B038-735B7FFE0577}"/>
          </ac:grpSpMkLst>
        </pc:grpChg>
        <pc:picChg chg="add del mod">
          <ac:chgData name="El Bakkouri, Manal" userId="8b130982-2e3f-4164-b881-fd3a2e4b2453" providerId="ADAL" clId="{4457FA57-250B-44AC-8655-05D46C5A3D8A}" dt="2023-05-17T16:13:03.465" v="2684" actId="478"/>
          <ac:picMkLst>
            <pc:docMk/>
            <pc:sldMk cId="3132235988" sldId="230717616"/>
            <ac:picMk id="2" creationId="{7A33F10C-39E1-4E50-98C2-BF2B2647B81C}"/>
          </ac:picMkLst>
        </pc:picChg>
        <pc:picChg chg="ord">
          <ac:chgData name="El Bakkouri, Manal" userId="8b130982-2e3f-4164-b881-fd3a2e4b2453" providerId="ADAL" clId="{4457FA57-250B-44AC-8655-05D46C5A3D8A}" dt="2023-05-19T08:12:38.608" v="4621" actId="167"/>
          <ac:picMkLst>
            <pc:docMk/>
            <pc:sldMk cId="3132235988" sldId="230717616"/>
            <ac:picMk id="5" creationId="{3B968451-5753-4F94-9D25-462CBF10B4E9}"/>
          </ac:picMkLst>
        </pc:picChg>
        <pc:picChg chg="add del mod">
          <ac:chgData name="El Bakkouri, Manal" userId="8b130982-2e3f-4164-b881-fd3a2e4b2453" providerId="ADAL" clId="{4457FA57-250B-44AC-8655-05D46C5A3D8A}" dt="2023-05-26T15:22:30.100" v="13349" actId="478"/>
          <ac:picMkLst>
            <pc:docMk/>
            <pc:sldMk cId="3132235988" sldId="230717616"/>
            <ac:picMk id="10" creationId="{035153D5-A73F-4276-B304-0DFDF8585B8A}"/>
          </ac:picMkLst>
        </pc:picChg>
      </pc:sldChg>
      <pc:sldChg chg="addSp delSp modSp add del mod">
        <pc:chgData name="El Bakkouri, Manal" userId="8b130982-2e3f-4164-b881-fd3a2e4b2453" providerId="ADAL" clId="{4457FA57-250B-44AC-8655-05D46C5A3D8A}" dt="2023-05-19T08:16:21.044" v="4641" actId="2696"/>
        <pc:sldMkLst>
          <pc:docMk/>
          <pc:sldMk cId="510186749" sldId="230717617"/>
        </pc:sldMkLst>
        <pc:spChg chg="mod">
          <ac:chgData name="El Bakkouri, Manal" userId="8b130982-2e3f-4164-b881-fd3a2e4b2453" providerId="ADAL" clId="{4457FA57-250B-44AC-8655-05D46C5A3D8A}" dt="2023-05-17T14:20:01.159" v="2629"/>
          <ac:spMkLst>
            <pc:docMk/>
            <pc:sldMk cId="510186749" sldId="230717617"/>
            <ac:spMk id="6" creationId="{007DB17D-1A68-4581-A55F-731F4FDC9101}"/>
          </ac:spMkLst>
        </pc:spChg>
        <pc:spChg chg="mod">
          <ac:chgData name="El Bakkouri, Manal" userId="8b130982-2e3f-4164-b881-fd3a2e4b2453" providerId="ADAL" clId="{4457FA57-250B-44AC-8655-05D46C5A3D8A}" dt="2023-05-17T14:20:17.354" v="2632" actId="14100"/>
          <ac:spMkLst>
            <pc:docMk/>
            <pc:sldMk cId="510186749" sldId="230717617"/>
            <ac:spMk id="13" creationId="{114F29FB-8199-4271-8413-57B0ACE5DE12}"/>
          </ac:spMkLst>
        </pc:spChg>
        <pc:spChg chg="add del">
          <ac:chgData name="El Bakkouri, Manal" userId="8b130982-2e3f-4164-b881-fd3a2e4b2453" providerId="ADAL" clId="{4457FA57-250B-44AC-8655-05D46C5A3D8A}" dt="2023-05-17T14:19:26.897" v="2608" actId="478"/>
          <ac:spMkLst>
            <pc:docMk/>
            <pc:sldMk cId="510186749" sldId="230717617"/>
            <ac:spMk id="16" creationId="{CE675F5E-5C39-4E36-A594-7DD25EFE6A9A}"/>
          </ac:spMkLst>
        </pc:spChg>
        <pc:grpChg chg="mod">
          <ac:chgData name="El Bakkouri, Manal" userId="8b130982-2e3f-4164-b881-fd3a2e4b2453" providerId="ADAL" clId="{4457FA57-250B-44AC-8655-05D46C5A3D8A}" dt="2023-05-17T14:20:36.680" v="2635" actId="14100"/>
          <ac:grpSpMkLst>
            <pc:docMk/>
            <pc:sldMk cId="510186749" sldId="230717617"/>
            <ac:grpSpMk id="8" creationId="{A2D83CBF-515F-4F55-B324-C8E8F07B252C}"/>
          </ac:grpSpMkLst>
        </pc:grpChg>
        <pc:grpChg chg="mod">
          <ac:chgData name="El Bakkouri, Manal" userId="8b130982-2e3f-4164-b881-fd3a2e4b2453" providerId="ADAL" clId="{4457FA57-250B-44AC-8655-05D46C5A3D8A}" dt="2023-05-17T14:22:41.083" v="2636" actId="1076"/>
          <ac:grpSpMkLst>
            <pc:docMk/>
            <pc:sldMk cId="510186749" sldId="230717617"/>
            <ac:grpSpMk id="12" creationId="{EB575078-816F-4FBE-AD85-C5EB1FC5D3B1}"/>
          </ac:grpSpMkLst>
        </pc:grpChg>
        <pc:grpChg chg="del">
          <ac:chgData name="El Bakkouri, Manal" userId="8b130982-2e3f-4164-b881-fd3a2e4b2453" providerId="ADAL" clId="{4457FA57-250B-44AC-8655-05D46C5A3D8A}" dt="2023-05-17T14:19:13.427" v="2604" actId="478"/>
          <ac:grpSpMkLst>
            <pc:docMk/>
            <pc:sldMk cId="510186749" sldId="230717617"/>
            <ac:grpSpMk id="18" creationId="{B01E8A97-E976-4717-85FD-668EE62A7552}"/>
          </ac:grpSpMkLst>
        </pc:grpChg>
        <pc:grpChg chg="del">
          <ac:chgData name="El Bakkouri, Manal" userId="8b130982-2e3f-4164-b881-fd3a2e4b2453" providerId="ADAL" clId="{4457FA57-250B-44AC-8655-05D46C5A3D8A}" dt="2023-05-17T14:19:15.808" v="2605" actId="478"/>
          <ac:grpSpMkLst>
            <pc:docMk/>
            <pc:sldMk cId="510186749" sldId="230717617"/>
            <ac:grpSpMk id="21" creationId="{854F33E3-6DAC-4D07-B038-735B7FFE0577}"/>
          </ac:grpSpMkLst>
        </pc:grpChg>
      </pc:sldChg>
      <pc:sldChg chg="addSp delSp modSp new del mod">
        <pc:chgData name="El Bakkouri, Manal" userId="8b130982-2e3f-4164-b881-fd3a2e4b2453" providerId="ADAL" clId="{4457FA57-250B-44AC-8655-05D46C5A3D8A}" dt="2023-05-18T16:40:16.999" v="4477" actId="2696"/>
        <pc:sldMkLst>
          <pc:docMk/>
          <pc:sldMk cId="68903414" sldId="230717618"/>
        </pc:sldMkLst>
        <pc:spChg chg="del">
          <ac:chgData name="El Bakkouri, Manal" userId="8b130982-2e3f-4164-b881-fd3a2e4b2453" providerId="ADAL" clId="{4457FA57-250B-44AC-8655-05D46C5A3D8A}" dt="2023-05-18T15:46:48.987" v="4077" actId="478"/>
          <ac:spMkLst>
            <pc:docMk/>
            <pc:sldMk cId="68903414" sldId="230717618"/>
            <ac:spMk id="2" creationId="{A446844B-10AA-4944-8D62-56A1D17E0E56}"/>
          </ac:spMkLst>
        </pc:spChg>
        <pc:spChg chg="add del mod">
          <ac:chgData name="El Bakkouri, Manal" userId="8b130982-2e3f-4164-b881-fd3a2e4b2453" providerId="ADAL" clId="{4457FA57-250B-44AC-8655-05D46C5A3D8A}" dt="2023-05-18T16:12:25.126" v="4242" actId="478"/>
          <ac:spMkLst>
            <pc:docMk/>
            <pc:sldMk cId="68903414" sldId="230717618"/>
            <ac:spMk id="3" creationId="{921A6351-4C94-4ABE-9EE2-DCDD13DC2BE0}"/>
          </ac:spMkLst>
        </pc:spChg>
        <pc:spChg chg="add del mod">
          <ac:chgData name="El Bakkouri, Manal" userId="8b130982-2e3f-4164-b881-fd3a2e4b2453" providerId="ADAL" clId="{4457FA57-250B-44AC-8655-05D46C5A3D8A}" dt="2023-05-18T16:12:25.126" v="4242" actId="478"/>
          <ac:spMkLst>
            <pc:docMk/>
            <pc:sldMk cId="68903414" sldId="230717618"/>
            <ac:spMk id="4" creationId="{63C8933D-D539-421F-8330-FE8D6405EF4B}"/>
          </ac:spMkLst>
        </pc:spChg>
        <pc:spChg chg="add del mod">
          <ac:chgData name="El Bakkouri, Manal" userId="8b130982-2e3f-4164-b881-fd3a2e4b2453" providerId="ADAL" clId="{4457FA57-250B-44AC-8655-05D46C5A3D8A}" dt="2023-05-18T16:12:25.126" v="4242" actId="478"/>
          <ac:spMkLst>
            <pc:docMk/>
            <pc:sldMk cId="68903414" sldId="230717618"/>
            <ac:spMk id="5" creationId="{4BADF31F-C94B-4CA7-9F44-9E176433A885}"/>
          </ac:spMkLst>
        </pc:spChg>
        <pc:spChg chg="add mod">
          <ac:chgData name="El Bakkouri, Manal" userId="8b130982-2e3f-4164-b881-fd3a2e4b2453" providerId="ADAL" clId="{4457FA57-250B-44AC-8655-05D46C5A3D8A}" dt="2023-05-17T16:33:23.026" v="2816" actId="5793"/>
          <ac:spMkLst>
            <pc:docMk/>
            <pc:sldMk cId="68903414" sldId="230717618"/>
            <ac:spMk id="6" creationId="{82F61217-4BBC-4DFF-8279-8E2B0478602D}"/>
          </ac:spMkLst>
        </pc:spChg>
        <pc:spChg chg="add mod">
          <ac:chgData name="El Bakkouri, Manal" userId="8b130982-2e3f-4164-b881-fd3a2e4b2453" providerId="ADAL" clId="{4457FA57-250B-44AC-8655-05D46C5A3D8A}" dt="2023-05-18T15:46:49.549" v="4078"/>
          <ac:spMkLst>
            <pc:docMk/>
            <pc:sldMk cId="68903414" sldId="230717618"/>
            <ac:spMk id="8" creationId="{9BE2508C-6B9E-4E8B-B724-E96B82DFA366}"/>
          </ac:spMkLst>
        </pc:spChg>
        <pc:spChg chg="add mod">
          <ac:chgData name="El Bakkouri, Manal" userId="8b130982-2e3f-4164-b881-fd3a2e4b2453" providerId="ADAL" clId="{4457FA57-250B-44AC-8655-05D46C5A3D8A}" dt="2023-05-18T15:46:49.549" v="4078"/>
          <ac:spMkLst>
            <pc:docMk/>
            <pc:sldMk cId="68903414" sldId="230717618"/>
            <ac:spMk id="9" creationId="{2B157D58-9453-41FF-9BA2-9B5B3AC14F57}"/>
          </ac:spMkLst>
        </pc:spChg>
        <pc:spChg chg="add mod">
          <ac:chgData name="El Bakkouri, Manal" userId="8b130982-2e3f-4164-b881-fd3a2e4b2453" providerId="ADAL" clId="{4457FA57-250B-44AC-8655-05D46C5A3D8A}" dt="2023-05-18T15:46:49.549" v="4078"/>
          <ac:spMkLst>
            <pc:docMk/>
            <pc:sldMk cId="68903414" sldId="230717618"/>
            <ac:spMk id="10" creationId="{1675170A-28B4-4DE3-9721-A47E175C6BA1}"/>
          </ac:spMkLst>
        </pc:spChg>
        <pc:spChg chg="add mod">
          <ac:chgData name="El Bakkouri, Manal" userId="8b130982-2e3f-4164-b881-fd3a2e4b2453" providerId="ADAL" clId="{4457FA57-250B-44AC-8655-05D46C5A3D8A}" dt="2023-05-18T15:46:49.549" v="4078"/>
          <ac:spMkLst>
            <pc:docMk/>
            <pc:sldMk cId="68903414" sldId="230717618"/>
            <ac:spMk id="11" creationId="{7BB1206B-1C0A-4ADC-A762-1B24694A9A9B}"/>
          </ac:spMkLst>
        </pc:spChg>
        <pc:spChg chg="add mod">
          <ac:chgData name="El Bakkouri, Manal" userId="8b130982-2e3f-4164-b881-fd3a2e4b2453" providerId="ADAL" clId="{4457FA57-250B-44AC-8655-05D46C5A3D8A}" dt="2023-05-18T15:46:49.549" v="4078"/>
          <ac:spMkLst>
            <pc:docMk/>
            <pc:sldMk cId="68903414" sldId="230717618"/>
            <ac:spMk id="12" creationId="{F7178102-AE1F-4C23-90CE-74C24837C063}"/>
          </ac:spMkLst>
        </pc:spChg>
        <pc:spChg chg="add mod">
          <ac:chgData name="El Bakkouri, Manal" userId="8b130982-2e3f-4164-b881-fd3a2e4b2453" providerId="ADAL" clId="{4457FA57-250B-44AC-8655-05D46C5A3D8A}" dt="2023-05-18T15:46:49.549" v="4078"/>
          <ac:spMkLst>
            <pc:docMk/>
            <pc:sldMk cId="68903414" sldId="230717618"/>
            <ac:spMk id="13" creationId="{AD959C3B-4B99-4F31-BFDE-6D9B95A36778}"/>
          </ac:spMkLst>
        </pc:spChg>
        <pc:spChg chg="add mod">
          <ac:chgData name="El Bakkouri, Manal" userId="8b130982-2e3f-4164-b881-fd3a2e4b2453" providerId="ADAL" clId="{4457FA57-250B-44AC-8655-05D46C5A3D8A}" dt="2023-05-18T15:46:49.549" v="4078"/>
          <ac:spMkLst>
            <pc:docMk/>
            <pc:sldMk cId="68903414" sldId="230717618"/>
            <ac:spMk id="14" creationId="{E8094A72-6475-41B8-BEE9-B15460C74154}"/>
          </ac:spMkLst>
        </pc:spChg>
        <pc:spChg chg="add mod">
          <ac:chgData name="El Bakkouri, Manal" userId="8b130982-2e3f-4164-b881-fd3a2e4b2453" providerId="ADAL" clId="{4457FA57-250B-44AC-8655-05D46C5A3D8A}" dt="2023-05-18T15:46:49.549" v="4078"/>
          <ac:spMkLst>
            <pc:docMk/>
            <pc:sldMk cId="68903414" sldId="230717618"/>
            <ac:spMk id="15" creationId="{90A9B438-2849-49A7-8BF9-7393721A93B4}"/>
          </ac:spMkLst>
        </pc:spChg>
        <pc:spChg chg="add mod">
          <ac:chgData name="El Bakkouri, Manal" userId="8b130982-2e3f-4164-b881-fd3a2e4b2453" providerId="ADAL" clId="{4457FA57-250B-44AC-8655-05D46C5A3D8A}" dt="2023-05-18T15:46:49.549" v="4078"/>
          <ac:spMkLst>
            <pc:docMk/>
            <pc:sldMk cId="68903414" sldId="230717618"/>
            <ac:spMk id="16" creationId="{83F1E936-D404-45B1-BCE3-9C7D22CE3544}"/>
          </ac:spMkLst>
        </pc:spChg>
        <pc:spChg chg="add mod">
          <ac:chgData name="El Bakkouri, Manal" userId="8b130982-2e3f-4164-b881-fd3a2e4b2453" providerId="ADAL" clId="{4457FA57-250B-44AC-8655-05D46C5A3D8A}" dt="2023-05-18T15:46:49.549" v="4078"/>
          <ac:spMkLst>
            <pc:docMk/>
            <pc:sldMk cId="68903414" sldId="230717618"/>
            <ac:spMk id="17" creationId="{6F505F53-9A7B-4171-861D-9869BFD78081}"/>
          </ac:spMkLst>
        </pc:spChg>
        <pc:picChg chg="add mod">
          <ac:chgData name="El Bakkouri, Manal" userId="8b130982-2e3f-4164-b881-fd3a2e4b2453" providerId="ADAL" clId="{4457FA57-250B-44AC-8655-05D46C5A3D8A}" dt="2023-05-17T16:44:31.590" v="2917" actId="1076"/>
          <ac:picMkLst>
            <pc:docMk/>
            <pc:sldMk cId="68903414" sldId="230717618"/>
            <ac:picMk id="7" creationId="{2E9DE116-AB76-4E03-B387-9E6C3AD21B52}"/>
          </ac:picMkLst>
        </pc:picChg>
      </pc:sldChg>
      <pc:sldChg chg="addSp delSp modSp new mod modTransition delAnim modAnim">
        <pc:chgData name="El Bakkouri, Manal" userId="8b130982-2e3f-4164-b881-fd3a2e4b2453" providerId="ADAL" clId="{4457FA57-250B-44AC-8655-05D46C5A3D8A}" dt="2023-05-24T16:35:07.340" v="12908"/>
        <pc:sldMkLst>
          <pc:docMk/>
          <pc:sldMk cId="1361074498" sldId="230717619"/>
        </pc:sldMkLst>
        <pc:spChg chg="del">
          <ac:chgData name="El Bakkouri, Manal" userId="8b130982-2e3f-4164-b881-fd3a2e4b2453" providerId="ADAL" clId="{4457FA57-250B-44AC-8655-05D46C5A3D8A}" dt="2023-05-18T11:04:55.593" v="3175" actId="478"/>
          <ac:spMkLst>
            <pc:docMk/>
            <pc:sldMk cId="1361074498" sldId="230717619"/>
            <ac:spMk id="2" creationId="{97499448-8B8E-42FE-83A3-D0194D393ED1}"/>
          </ac:spMkLst>
        </pc:spChg>
        <pc:spChg chg="del">
          <ac:chgData name="El Bakkouri, Manal" userId="8b130982-2e3f-4164-b881-fd3a2e4b2453" providerId="ADAL" clId="{4457FA57-250B-44AC-8655-05D46C5A3D8A}" dt="2023-05-18T11:04:55.593" v="3175" actId="478"/>
          <ac:spMkLst>
            <pc:docMk/>
            <pc:sldMk cId="1361074498" sldId="230717619"/>
            <ac:spMk id="3" creationId="{A97DED17-3C89-4825-8457-F82160FAEDD3}"/>
          </ac:spMkLst>
        </pc:spChg>
        <pc:spChg chg="del">
          <ac:chgData name="El Bakkouri, Manal" userId="8b130982-2e3f-4164-b881-fd3a2e4b2453" providerId="ADAL" clId="{4457FA57-250B-44AC-8655-05D46C5A3D8A}" dt="2023-05-18T11:04:59.496" v="3176" actId="478"/>
          <ac:spMkLst>
            <pc:docMk/>
            <pc:sldMk cId="1361074498" sldId="230717619"/>
            <ac:spMk id="4" creationId="{D6C80D53-5D9A-4C34-9584-78A9E817FE1A}"/>
          </ac:spMkLst>
        </pc:spChg>
        <pc:spChg chg="add mod">
          <ac:chgData name="El Bakkouri, Manal" userId="8b130982-2e3f-4164-b881-fd3a2e4b2453" providerId="ADAL" clId="{4457FA57-250B-44AC-8655-05D46C5A3D8A}" dt="2023-05-18T11:05:15.862" v="3179"/>
          <ac:spMkLst>
            <pc:docMk/>
            <pc:sldMk cId="1361074498" sldId="230717619"/>
            <ac:spMk id="5" creationId="{EE091EB1-367E-4D81-967D-FFD8A60CB676}"/>
          </ac:spMkLst>
        </pc:spChg>
        <pc:spChg chg="add mod">
          <ac:chgData name="El Bakkouri, Manal" userId="8b130982-2e3f-4164-b881-fd3a2e4b2453" providerId="ADAL" clId="{4457FA57-250B-44AC-8655-05D46C5A3D8A}" dt="2023-05-18T11:05:15.862" v="3179"/>
          <ac:spMkLst>
            <pc:docMk/>
            <pc:sldMk cId="1361074498" sldId="230717619"/>
            <ac:spMk id="6" creationId="{A6C4FE41-7235-48F0-8E24-19E86D7EF4E1}"/>
          </ac:spMkLst>
        </pc:spChg>
        <pc:spChg chg="add mod">
          <ac:chgData name="El Bakkouri, Manal" userId="8b130982-2e3f-4164-b881-fd3a2e4b2453" providerId="ADAL" clId="{4457FA57-250B-44AC-8655-05D46C5A3D8A}" dt="2023-05-18T11:05:15.862" v="3179"/>
          <ac:spMkLst>
            <pc:docMk/>
            <pc:sldMk cId="1361074498" sldId="230717619"/>
            <ac:spMk id="7" creationId="{F16DFC34-2D28-4521-9752-7E8779483708}"/>
          </ac:spMkLst>
        </pc:spChg>
        <pc:spChg chg="add mod">
          <ac:chgData name="El Bakkouri, Manal" userId="8b130982-2e3f-4164-b881-fd3a2e4b2453" providerId="ADAL" clId="{4457FA57-250B-44AC-8655-05D46C5A3D8A}" dt="2023-05-18T11:05:15.862" v="3179"/>
          <ac:spMkLst>
            <pc:docMk/>
            <pc:sldMk cId="1361074498" sldId="230717619"/>
            <ac:spMk id="8" creationId="{19DF1CE6-88E9-4D71-B2A8-37BF0059709D}"/>
          </ac:spMkLst>
        </pc:spChg>
        <pc:spChg chg="add mod">
          <ac:chgData name="El Bakkouri, Manal" userId="8b130982-2e3f-4164-b881-fd3a2e4b2453" providerId="ADAL" clId="{4457FA57-250B-44AC-8655-05D46C5A3D8A}" dt="2023-05-18T11:05:15.862" v="3179"/>
          <ac:spMkLst>
            <pc:docMk/>
            <pc:sldMk cId="1361074498" sldId="230717619"/>
            <ac:spMk id="9" creationId="{AAE04735-CBE3-489C-A2B7-2D40E36DF4B6}"/>
          </ac:spMkLst>
        </pc:spChg>
        <pc:spChg chg="add mod">
          <ac:chgData name="El Bakkouri, Manal" userId="8b130982-2e3f-4164-b881-fd3a2e4b2453" providerId="ADAL" clId="{4457FA57-250B-44AC-8655-05D46C5A3D8A}" dt="2023-05-18T11:05:15.862" v="3179"/>
          <ac:spMkLst>
            <pc:docMk/>
            <pc:sldMk cId="1361074498" sldId="230717619"/>
            <ac:spMk id="10" creationId="{FF99FF68-0A8E-4D09-89E5-21B8B6861508}"/>
          </ac:spMkLst>
        </pc:spChg>
        <pc:spChg chg="add mod">
          <ac:chgData name="El Bakkouri, Manal" userId="8b130982-2e3f-4164-b881-fd3a2e4b2453" providerId="ADAL" clId="{4457FA57-250B-44AC-8655-05D46C5A3D8A}" dt="2023-05-18T11:05:15.862" v="3179"/>
          <ac:spMkLst>
            <pc:docMk/>
            <pc:sldMk cId="1361074498" sldId="230717619"/>
            <ac:spMk id="11" creationId="{4C41767B-4680-459A-BB83-676171E2CA1D}"/>
          </ac:spMkLst>
        </pc:spChg>
        <pc:spChg chg="add mod">
          <ac:chgData name="El Bakkouri, Manal" userId="8b130982-2e3f-4164-b881-fd3a2e4b2453" providerId="ADAL" clId="{4457FA57-250B-44AC-8655-05D46C5A3D8A}" dt="2023-05-18T11:05:15.862" v="3179"/>
          <ac:spMkLst>
            <pc:docMk/>
            <pc:sldMk cId="1361074498" sldId="230717619"/>
            <ac:spMk id="12" creationId="{C2D0A39A-DDF5-4D02-A00B-251D3BA46853}"/>
          </ac:spMkLst>
        </pc:spChg>
        <pc:spChg chg="add mod">
          <ac:chgData name="El Bakkouri, Manal" userId="8b130982-2e3f-4164-b881-fd3a2e4b2453" providerId="ADAL" clId="{4457FA57-250B-44AC-8655-05D46C5A3D8A}" dt="2023-05-18T11:05:15.862" v="3179"/>
          <ac:spMkLst>
            <pc:docMk/>
            <pc:sldMk cId="1361074498" sldId="230717619"/>
            <ac:spMk id="13" creationId="{1307C26F-3573-4C8F-A2DD-5D6EE8AFBCBA}"/>
          </ac:spMkLst>
        </pc:spChg>
        <pc:spChg chg="add mod">
          <ac:chgData name="El Bakkouri, Manal" userId="8b130982-2e3f-4164-b881-fd3a2e4b2453" providerId="ADAL" clId="{4457FA57-250B-44AC-8655-05D46C5A3D8A}" dt="2023-05-18T11:05:15.862" v="3179"/>
          <ac:spMkLst>
            <pc:docMk/>
            <pc:sldMk cId="1361074498" sldId="230717619"/>
            <ac:spMk id="14" creationId="{165F4BED-B0EF-4E72-A1B2-3347DDD1455D}"/>
          </ac:spMkLst>
        </pc:spChg>
        <pc:spChg chg="add del mod">
          <ac:chgData name="El Bakkouri, Manal" userId="8b130982-2e3f-4164-b881-fd3a2e4b2453" providerId="ADAL" clId="{4457FA57-250B-44AC-8655-05D46C5A3D8A}" dt="2023-05-18T11:09:11.608" v="3374" actId="478"/>
          <ac:spMkLst>
            <pc:docMk/>
            <pc:sldMk cId="1361074498" sldId="230717619"/>
            <ac:spMk id="15" creationId="{C3E8AE13-78E4-4680-9006-467FDE2FA14C}"/>
          </ac:spMkLst>
        </pc:spChg>
        <pc:spChg chg="mod">
          <ac:chgData name="El Bakkouri, Manal" userId="8b130982-2e3f-4164-b881-fd3a2e4b2453" providerId="ADAL" clId="{4457FA57-250B-44AC-8655-05D46C5A3D8A}" dt="2023-05-18T11:08:25.133" v="3366"/>
          <ac:spMkLst>
            <pc:docMk/>
            <pc:sldMk cId="1361074498" sldId="230717619"/>
            <ac:spMk id="17" creationId="{CF842C48-B01A-4CC1-872E-A3A87EA3764A}"/>
          </ac:spMkLst>
        </pc:spChg>
        <pc:spChg chg="mod">
          <ac:chgData name="El Bakkouri, Manal" userId="8b130982-2e3f-4164-b881-fd3a2e4b2453" providerId="ADAL" clId="{4457FA57-250B-44AC-8655-05D46C5A3D8A}" dt="2023-05-18T11:08:25.133" v="3366"/>
          <ac:spMkLst>
            <pc:docMk/>
            <pc:sldMk cId="1361074498" sldId="230717619"/>
            <ac:spMk id="18" creationId="{9F8BABB0-A490-432D-B909-CCDF3DFB9DC5}"/>
          </ac:spMkLst>
        </pc:spChg>
        <pc:spChg chg="mod">
          <ac:chgData name="El Bakkouri, Manal" userId="8b130982-2e3f-4164-b881-fd3a2e4b2453" providerId="ADAL" clId="{4457FA57-250B-44AC-8655-05D46C5A3D8A}" dt="2023-05-18T11:08:25.133" v="3366"/>
          <ac:spMkLst>
            <pc:docMk/>
            <pc:sldMk cId="1361074498" sldId="230717619"/>
            <ac:spMk id="19" creationId="{05E1184E-09CF-4EDB-8BCF-A724E6F77330}"/>
          </ac:spMkLst>
        </pc:spChg>
        <pc:spChg chg="mod">
          <ac:chgData name="El Bakkouri, Manal" userId="8b130982-2e3f-4164-b881-fd3a2e4b2453" providerId="ADAL" clId="{4457FA57-250B-44AC-8655-05D46C5A3D8A}" dt="2023-05-18T11:08:25.133" v="3366"/>
          <ac:spMkLst>
            <pc:docMk/>
            <pc:sldMk cId="1361074498" sldId="230717619"/>
            <ac:spMk id="20" creationId="{124FB4B4-AA99-4534-962C-A3183683139A}"/>
          </ac:spMkLst>
        </pc:spChg>
        <pc:spChg chg="mod">
          <ac:chgData name="El Bakkouri, Manal" userId="8b130982-2e3f-4164-b881-fd3a2e4b2453" providerId="ADAL" clId="{4457FA57-250B-44AC-8655-05D46C5A3D8A}" dt="2023-05-18T11:08:25.133" v="3366"/>
          <ac:spMkLst>
            <pc:docMk/>
            <pc:sldMk cId="1361074498" sldId="230717619"/>
            <ac:spMk id="21" creationId="{E001A0D6-E929-49C6-9097-AB6E4A678BC2}"/>
          </ac:spMkLst>
        </pc:spChg>
        <pc:spChg chg="mod">
          <ac:chgData name="El Bakkouri, Manal" userId="8b130982-2e3f-4164-b881-fd3a2e4b2453" providerId="ADAL" clId="{4457FA57-250B-44AC-8655-05D46C5A3D8A}" dt="2023-05-18T11:08:25.133" v="3366"/>
          <ac:spMkLst>
            <pc:docMk/>
            <pc:sldMk cId="1361074498" sldId="230717619"/>
            <ac:spMk id="22" creationId="{016FFE87-D009-4246-9204-30BA74174264}"/>
          </ac:spMkLst>
        </pc:spChg>
        <pc:spChg chg="mod">
          <ac:chgData name="El Bakkouri, Manal" userId="8b130982-2e3f-4164-b881-fd3a2e4b2453" providerId="ADAL" clId="{4457FA57-250B-44AC-8655-05D46C5A3D8A}" dt="2023-05-18T11:08:25.133" v="3366"/>
          <ac:spMkLst>
            <pc:docMk/>
            <pc:sldMk cId="1361074498" sldId="230717619"/>
            <ac:spMk id="23" creationId="{0F661C04-E070-4256-81D9-B88D7EB9D242}"/>
          </ac:spMkLst>
        </pc:spChg>
        <pc:spChg chg="mod">
          <ac:chgData name="El Bakkouri, Manal" userId="8b130982-2e3f-4164-b881-fd3a2e4b2453" providerId="ADAL" clId="{4457FA57-250B-44AC-8655-05D46C5A3D8A}" dt="2023-05-18T11:08:25.133" v="3366"/>
          <ac:spMkLst>
            <pc:docMk/>
            <pc:sldMk cId="1361074498" sldId="230717619"/>
            <ac:spMk id="24" creationId="{6FFDF24E-B230-48C1-BD85-D2AA8AB12513}"/>
          </ac:spMkLst>
        </pc:spChg>
        <pc:spChg chg="mod">
          <ac:chgData name="El Bakkouri, Manal" userId="8b130982-2e3f-4164-b881-fd3a2e4b2453" providerId="ADAL" clId="{4457FA57-250B-44AC-8655-05D46C5A3D8A}" dt="2023-05-18T11:08:25.133" v="3366"/>
          <ac:spMkLst>
            <pc:docMk/>
            <pc:sldMk cId="1361074498" sldId="230717619"/>
            <ac:spMk id="25" creationId="{923825C6-4B9B-41A6-84FF-8F84341F0854}"/>
          </ac:spMkLst>
        </pc:spChg>
        <pc:spChg chg="mod">
          <ac:chgData name="El Bakkouri, Manal" userId="8b130982-2e3f-4164-b881-fd3a2e4b2453" providerId="ADAL" clId="{4457FA57-250B-44AC-8655-05D46C5A3D8A}" dt="2023-05-18T11:08:25.133" v="3366"/>
          <ac:spMkLst>
            <pc:docMk/>
            <pc:sldMk cId="1361074498" sldId="230717619"/>
            <ac:spMk id="26" creationId="{EC824D6B-35F9-44F1-BAE2-AF50DE8C6D7E}"/>
          </ac:spMkLst>
        </pc:spChg>
        <pc:spChg chg="mod">
          <ac:chgData name="El Bakkouri, Manal" userId="8b130982-2e3f-4164-b881-fd3a2e4b2453" providerId="ADAL" clId="{4457FA57-250B-44AC-8655-05D46C5A3D8A}" dt="2023-05-18T11:08:25.133" v="3366"/>
          <ac:spMkLst>
            <pc:docMk/>
            <pc:sldMk cId="1361074498" sldId="230717619"/>
            <ac:spMk id="27" creationId="{D987F3FA-48A7-4A2D-BE7C-E66DF8DE2AF8}"/>
          </ac:spMkLst>
        </pc:spChg>
        <pc:spChg chg="mod">
          <ac:chgData name="El Bakkouri, Manal" userId="8b130982-2e3f-4164-b881-fd3a2e4b2453" providerId="ADAL" clId="{4457FA57-250B-44AC-8655-05D46C5A3D8A}" dt="2023-05-18T11:08:25.133" v="3366"/>
          <ac:spMkLst>
            <pc:docMk/>
            <pc:sldMk cId="1361074498" sldId="230717619"/>
            <ac:spMk id="28" creationId="{68FCF9E5-1E37-4BF2-9976-644B9DE11352}"/>
          </ac:spMkLst>
        </pc:spChg>
        <pc:spChg chg="mod">
          <ac:chgData name="El Bakkouri, Manal" userId="8b130982-2e3f-4164-b881-fd3a2e4b2453" providerId="ADAL" clId="{4457FA57-250B-44AC-8655-05D46C5A3D8A}" dt="2023-05-18T11:08:25.133" v="3366"/>
          <ac:spMkLst>
            <pc:docMk/>
            <pc:sldMk cId="1361074498" sldId="230717619"/>
            <ac:spMk id="29" creationId="{999F005F-8ADC-4A8F-848A-71ED72F848CE}"/>
          </ac:spMkLst>
        </pc:spChg>
        <pc:spChg chg="mod">
          <ac:chgData name="El Bakkouri, Manal" userId="8b130982-2e3f-4164-b881-fd3a2e4b2453" providerId="ADAL" clId="{4457FA57-250B-44AC-8655-05D46C5A3D8A}" dt="2023-05-18T11:08:25.133" v="3366"/>
          <ac:spMkLst>
            <pc:docMk/>
            <pc:sldMk cId="1361074498" sldId="230717619"/>
            <ac:spMk id="30" creationId="{16C3E84F-8046-4D1C-8543-97B203E12DED}"/>
          </ac:spMkLst>
        </pc:spChg>
        <pc:spChg chg="mod">
          <ac:chgData name="El Bakkouri, Manal" userId="8b130982-2e3f-4164-b881-fd3a2e4b2453" providerId="ADAL" clId="{4457FA57-250B-44AC-8655-05D46C5A3D8A}" dt="2023-05-18T11:08:25.133" v="3366"/>
          <ac:spMkLst>
            <pc:docMk/>
            <pc:sldMk cId="1361074498" sldId="230717619"/>
            <ac:spMk id="31" creationId="{25DFD4BF-8C42-4C92-88F0-A13EAA78D625}"/>
          </ac:spMkLst>
        </pc:spChg>
        <pc:spChg chg="mod">
          <ac:chgData name="El Bakkouri, Manal" userId="8b130982-2e3f-4164-b881-fd3a2e4b2453" providerId="ADAL" clId="{4457FA57-250B-44AC-8655-05D46C5A3D8A}" dt="2023-05-18T11:08:25.133" v="3366"/>
          <ac:spMkLst>
            <pc:docMk/>
            <pc:sldMk cId="1361074498" sldId="230717619"/>
            <ac:spMk id="32" creationId="{12E50C66-90C0-46BB-B32B-70FB2251BF65}"/>
          </ac:spMkLst>
        </pc:spChg>
        <pc:spChg chg="mod">
          <ac:chgData name="El Bakkouri, Manal" userId="8b130982-2e3f-4164-b881-fd3a2e4b2453" providerId="ADAL" clId="{4457FA57-250B-44AC-8655-05D46C5A3D8A}" dt="2023-05-18T11:08:25.133" v="3366"/>
          <ac:spMkLst>
            <pc:docMk/>
            <pc:sldMk cId="1361074498" sldId="230717619"/>
            <ac:spMk id="33" creationId="{2F5D96E8-A010-47AC-8E65-8DF48C17F3E0}"/>
          </ac:spMkLst>
        </pc:spChg>
        <pc:spChg chg="mod">
          <ac:chgData name="El Bakkouri, Manal" userId="8b130982-2e3f-4164-b881-fd3a2e4b2453" providerId="ADAL" clId="{4457FA57-250B-44AC-8655-05D46C5A3D8A}" dt="2023-05-18T11:08:25.133" v="3366"/>
          <ac:spMkLst>
            <pc:docMk/>
            <pc:sldMk cId="1361074498" sldId="230717619"/>
            <ac:spMk id="34" creationId="{5B157A27-2D55-4703-A093-4D5F450A2B68}"/>
          </ac:spMkLst>
        </pc:spChg>
        <pc:spChg chg="mod">
          <ac:chgData name="El Bakkouri, Manal" userId="8b130982-2e3f-4164-b881-fd3a2e4b2453" providerId="ADAL" clId="{4457FA57-250B-44AC-8655-05D46C5A3D8A}" dt="2023-05-18T11:08:25.133" v="3366"/>
          <ac:spMkLst>
            <pc:docMk/>
            <pc:sldMk cId="1361074498" sldId="230717619"/>
            <ac:spMk id="35" creationId="{4FCF9FFC-986B-41E4-94F3-FB1CB7A64DE6}"/>
          </ac:spMkLst>
        </pc:spChg>
        <pc:spChg chg="mod">
          <ac:chgData name="El Bakkouri, Manal" userId="8b130982-2e3f-4164-b881-fd3a2e4b2453" providerId="ADAL" clId="{4457FA57-250B-44AC-8655-05D46C5A3D8A}" dt="2023-05-18T11:08:25.133" v="3366"/>
          <ac:spMkLst>
            <pc:docMk/>
            <pc:sldMk cId="1361074498" sldId="230717619"/>
            <ac:spMk id="36" creationId="{D9176948-AD0F-4302-864F-5FC78AAA9DE6}"/>
          </ac:spMkLst>
        </pc:spChg>
        <pc:spChg chg="mod">
          <ac:chgData name="El Bakkouri, Manal" userId="8b130982-2e3f-4164-b881-fd3a2e4b2453" providerId="ADAL" clId="{4457FA57-250B-44AC-8655-05D46C5A3D8A}" dt="2023-05-18T11:08:25.133" v="3366"/>
          <ac:spMkLst>
            <pc:docMk/>
            <pc:sldMk cId="1361074498" sldId="230717619"/>
            <ac:spMk id="37" creationId="{BE1D2FB6-6E86-4AFF-B222-1F5F8FA7B5F9}"/>
          </ac:spMkLst>
        </pc:spChg>
        <pc:spChg chg="mod">
          <ac:chgData name="El Bakkouri, Manal" userId="8b130982-2e3f-4164-b881-fd3a2e4b2453" providerId="ADAL" clId="{4457FA57-250B-44AC-8655-05D46C5A3D8A}" dt="2023-05-18T11:08:25.133" v="3366"/>
          <ac:spMkLst>
            <pc:docMk/>
            <pc:sldMk cId="1361074498" sldId="230717619"/>
            <ac:spMk id="38" creationId="{C117AF22-4AD2-4AA9-AA22-99E74CCE3E04}"/>
          </ac:spMkLst>
        </pc:spChg>
        <pc:spChg chg="mod">
          <ac:chgData name="El Bakkouri, Manal" userId="8b130982-2e3f-4164-b881-fd3a2e4b2453" providerId="ADAL" clId="{4457FA57-250B-44AC-8655-05D46C5A3D8A}" dt="2023-05-18T11:08:25.133" v="3366"/>
          <ac:spMkLst>
            <pc:docMk/>
            <pc:sldMk cId="1361074498" sldId="230717619"/>
            <ac:spMk id="39" creationId="{49C79B77-15D6-4C53-B1EE-F2D60A4A9805}"/>
          </ac:spMkLst>
        </pc:spChg>
        <pc:spChg chg="mod">
          <ac:chgData name="El Bakkouri, Manal" userId="8b130982-2e3f-4164-b881-fd3a2e4b2453" providerId="ADAL" clId="{4457FA57-250B-44AC-8655-05D46C5A3D8A}" dt="2023-05-18T11:08:25.133" v="3366"/>
          <ac:spMkLst>
            <pc:docMk/>
            <pc:sldMk cId="1361074498" sldId="230717619"/>
            <ac:spMk id="40" creationId="{973C136F-BA77-4049-B220-A5359FD6B303}"/>
          </ac:spMkLst>
        </pc:spChg>
        <pc:spChg chg="mod">
          <ac:chgData name="El Bakkouri, Manal" userId="8b130982-2e3f-4164-b881-fd3a2e4b2453" providerId="ADAL" clId="{4457FA57-250B-44AC-8655-05D46C5A3D8A}" dt="2023-05-18T11:08:25.133" v="3366"/>
          <ac:spMkLst>
            <pc:docMk/>
            <pc:sldMk cId="1361074498" sldId="230717619"/>
            <ac:spMk id="41" creationId="{0593EC94-EFF8-40C9-A717-050A6D3F1F47}"/>
          </ac:spMkLst>
        </pc:spChg>
        <pc:spChg chg="mod">
          <ac:chgData name="El Bakkouri, Manal" userId="8b130982-2e3f-4164-b881-fd3a2e4b2453" providerId="ADAL" clId="{4457FA57-250B-44AC-8655-05D46C5A3D8A}" dt="2023-05-18T11:08:25.133" v="3366"/>
          <ac:spMkLst>
            <pc:docMk/>
            <pc:sldMk cId="1361074498" sldId="230717619"/>
            <ac:spMk id="42" creationId="{71A879F3-E9C4-417F-83DD-22188F4AFE59}"/>
          </ac:spMkLst>
        </pc:spChg>
        <pc:spChg chg="mod">
          <ac:chgData name="El Bakkouri, Manal" userId="8b130982-2e3f-4164-b881-fd3a2e4b2453" providerId="ADAL" clId="{4457FA57-250B-44AC-8655-05D46C5A3D8A}" dt="2023-05-18T11:08:25.133" v="3366"/>
          <ac:spMkLst>
            <pc:docMk/>
            <pc:sldMk cId="1361074498" sldId="230717619"/>
            <ac:spMk id="43" creationId="{D0E33486-9BE5-40B4-AA15-B82CC53B3F6B}"/>
          </ac:spMkLst>
        </pc:spChg>
        <pc:spChg chg="mod">
          <ac:chgData name="El Bakkouri, Manal" userId="8b130982-2e3f-4164-b881-fd3a2e4b2453" providerId="ADAL" clId="{4457FA57-250B-44AC-8655-05D46C5A3D8A}" dt="2023-05-18T11:08:25.133" v="3366"/>
          <ac:spMkLst>
            <pc:docMk/>
            <pc:sldMk cId="1361074498" sldId="230717619"/>
            <ac:spMk id="44" creationId="{321EF034-B3B5-46EF-9037-140DB4DF904E}"/>
          </ac:spMkLst>
        </pc:spChg>
        <pc:spChg chg="mod">
          <ac:chgData name="El Bakkouri, Manal" userId="8b130982-2e3f-4164-b881-fd3a2e4b2453" providerId="ADAL" clId="{4457FA57-250B-44AC-8655-05D46C5A3D8A}" dt="2023-05-18T11:08:25.133" v="3366"/>
          <ac:spMkLst>
            <pc:docMk/>
            <pc:sldMk cId="1361074498" sldId="230717619"/>
            <ac:spMk id="45" creationId="{B59F2ABE-6471-4308-BF18-90E6CBA0D54B}"/>
          </ac:spMkLst>
        </pc:spChg>
        <pc:spChg chg="mod">
          <ac:chgData name="El Bakkouri, Manal" userId="8b130982-2e3f-4164-b881-fd3a2e4b2453" providerId="ADAL" clId="{4457FA57-250B-44AC-8655-05D46C5A3D8A}" dt="2023-05-18T11:08:25.133" v="3366"/>
          <ac:spMkLst>
            <pc:docMk/>
            <pc:sldMk cId="1361074498" sldId="230717619"/>
            <ac:spMk id="46" creationId="{1F562FB0-6506-40BF-9780-7D10FFEA6FF5}"/>
          </ac:spMkLst>
        </pc:spChg>
        <pc:spChg chg="mod">
          <ac:chgData name="El Bakkouri, Manal" userId="8b130982-2e3f-4164-b881-fd3a2e4b2453" providerId="ADAL" clId="{4457FA57-250B-44AC-8655-05D46C5A3D8A}" dt="2023-05-18T11:08:25.133" v="3366"/>
          <ac:spMkLst>
            <pc:docMk/>
            <pc:sldMk cId="1361074498" sldId="230717619"/>
            <ac:spMk id="47" creationId="{B31BF11B-3590-4012-9AF2-0D40382D34B7}"/>
          </ac:spMkLst>
        </pc:spChg>
        <pc:spChg chg="mod">
          <ac:chgData name="El Bakkouri, Manal" userId="8b130982-2e3f-4164-b881-fd3a2e4b2453" providerId="ADAL" clId="{4457FA57-250B-44AC-8655-05D46C5A3D8A}" dt="2023-05-18T11:08:25.133" v="3366"/>
          <ac:spMkLst>
            <pc:docMk/>
            <pc:sldMk cId="1361074498" sldId="230717619"/>
            <ac:spMk id="48" creationId="{368CD44B-8D65-410B-B43C-C0487DF623D7}"/>
          </ac:spMkLst>
        </pc:spChg>
        <pc:spChg chg="mod">
          <ac:chgData name="El Bakkouri, Manal" userId="8b130982-2e3f-4164-b881-fd3a2e4b2453" providerId="ADAL" clId="{4457FA57-250B-44AC-8655-05D46C5A3D8A}" dt="2023-05-18T11:08:25.133" v="3366"/>
          <ac:spMkLst>
            <pc:docMk/>
            <pc:sldMk cId="1361074498" sldId="230717619"/>
            <ac:spMk id="49" creationId="{6FD0CEE7-7200-47CC-9A90-8A5BD12C3349}"/>
          </ac:spMkLst>
        </pc:spChg>
        <pc:spChg chg="mod">
          <ac:chgData name="El Bakkouri, Manal" userId="8b130982-2e3f-4164-b881-fd3a2e4b2453" providerId="ADAL" clId="{4457FA57-250B-44AC-8655-05D46C5A3D8A}" dt="2023-05-18T11:08:25.133" v="3366"/>
          <ac:spMkLst>
            <pc:docMk/>
            <pc:sldMk cId="1361074498" sldId="230717619"/>
            <ac:spMk id="50" creationId="{4FB9C31B-E344-4E5A-8386-6AF580E5233F}"/>
          </ac:spMkLst>
        </pc:spChg>
        <pc:spChg chg="mod">
          <ac:chgData name="El Bakkouri, Manal" userId="8b130982-2e3f-4164-b881-fd3a2e4b2453" providerId="ADAL" clId="{4457FA57-250B-44AC-8655-05D46C5A3D8A}" dt="2023-05-18T11:08:25.133" v="3366"/>
          <ac:spMkLst>
            <pc:docMk/>
            <pc:sldMk cId="1361074498" sldId="230717619"/>
            <ac:spMk id="51" creationId="{A605E2BF-C8A4-433D-9A02-8D067FF24DF0}"/>
          </ac:spMkLst>
        </pc:spChg>
        <pc:spChg chg="mod">
          <ac:chgData name="El Bakkouri, Manal" userId="8b130982-2e3f-4164-b881-fd3a2e4b2453" providerId="ADAL" clId="{4457FA57-250B-44AC-8655-05D46C5A3D8A}" dt="2023-05-18T11:08:25.133" v="3366"/>
          <ac:spMkLst>
            <pc:docMk/>
            <pc:sldMk cId="1361074498" sldId="230717619"/>
            <ac:spMk id="52" creationId="{C30F4635-B0D7-4DAE-89D1-6023BA1A8733}"/>
          </ac:spMkLst>
        </pc:spChg>
        <pc:spChg chg="mod">
          <ac:chgData name="El Bakkouri, Manal" userId="8b130982-2e3f-4164-b881-fd3a2e4b2453" providerId="ADAL" clId="{4457FA57-250B-44AC-8655-05D46C5A3D8A}" dt="2023-05-18T11:08:25.133" v="3366"/>
          <ac:spMkLst>
            <pc:docMk/>
            <pc:sldMk cId="1361074498" sldId="230717619"/>
            <ac:spMk id="53" creationId="{8507F24F-7743-4A11-95BB-DDA9FEC9BF8C}"/>
          </ac:spMkLst>
        </pc:spChg>
        <pc:spChg chg="mod">
          <ac:chgData name="El Bakkouri, Manal" userId="8b130982-2e3f-4164-b881-fd3a2e4b2453" providerId="ADAL" clId="{4457FA57-250B-44AC-8655-05D46C5A3D8A}" dt="2023-05-18T11:08:25.133" v="3366"/>
          <ac:spMkLst>
            <pc:docMk/>
            <pc:sldMk cId="1361074498" sldId="230717619"/>
            <ac:spMk id="54" creationId="{D5FE6AFA-A188-4BF7-B635-3A87FF23E67F}"/>
          </ac:spMkLst>
        </pc:spChg>
        <pc:spChg chg="mod">
          <ac:chgData name="El Bakkouri, Manal" userId="8b130982-2e3f-4164-b881-fd3a2e4b2453" providerId="ADAL" clId="{4457FA57-250B-44AC-8655-05D46C5A3D8A}" dt="2023-05-18T11:08:25.133" v="3366"/>
          <ac:spMkLst>
            <pc:docMk/>
            <pc:sldMk cId="1361074498" sldId="230717619"/>
            <ac:spMk id="55" creationId="{9C0EFAFD-0D9F-408F-AFA6-74E9E995B402}"/>
          </ac:spMkLst>
        </pc:spChg>
        <pc:spChg chg="mod">
          <ac:chgData name="El Bakkouri, Manal" userId="8b130982-2e3f-4164-b881-fd3a2e4b2453" providerId="ADAL" clId="{4457FA57-250B-44AC-8655-05D46C5A3D8A}" dt="2023-05-18T11:08:25.133" v="3366"/>
          <ac:spMkLst>
            <pc:docMk/>
            <pc:sldMk cId="1361074498" sldId="230717619"/>
            <ac:spMk id="56" creationId="{41D1A712-F891-489F-B45C-8C4F5CB9CC97}"/>
          </ac:spMkLst>
        </pc:spChg>
        <pc:spChg chg="mod">
          <ac:chgData name="El Bakkouri, Manal" userId="8b130982-2e3f-4164-b881-fd3a2e4b2453" providerId="ADAL" clId="{4457FA57-250B-44AC-8655-05D46C5A3D8A}" dt="2023-05-18T11:08:25.133" v="3366"/>
          <ac:spMkLst>
            <pc:docMk/>
            <pc:sldMk cId="1361074498" sldId="230717619"/>
            <ac:spMk id="57" creationId="{24D4126F-B74E-41C1-9FA6-7072994C5AEA}"/>
          </ac:spMkLst>
        </pc:spChg>
        <pc:spChg chg="mod">
          <ac:chgData name="El Bakkouri, Manal" userId="8b130982-2e3f-4164-b881-fd3a2e4b2453" providerId="ADAL" clId="{4457FA57-250B-44AC-8655-05D46C5A3D8A}" dt="2023-05-19T10:07:01.052" v="5657" actId="12788"/>
          <ac:spMkLst>
            <pc:docMk/>
            <pc:sldMk cId="1361074498" sldId="230717619"/>
            <ac:spMk id="57" creationId="{7796A6A3-08C4-4684-BDA1-BC0F3AFD6494}"/>
          </ac:spMkLst>
        </pc:spChg>
        <pc:spChg chg="mod">
          <ac:chgData name="El Bakkouri, Manal" userId="8b130982-2e3f-4164-b881-fd3a2e4b2453" providerId="ADAL" clId="{4457FA57-250B-44AC-8655-05D46C5A3D8A}" dt="2023-05-19T10:07:01.052" v="5657" actId="12788"/>
          <ac:spMkLst>
            <pc:docMk/>
            <pc:sldMk cId="1361074498" sldId="230717619"/>
            <ac:spMk id="58" creationId="{2DAE6540-D982-4677-AD96-BBFF04ADA42B}"/>
          </ac:spMkLst>
        </pc:spChg>
        <pc:spChg chg="mod">
          <ac:chgData name="El Bakkouri, Manal" userId="8b130982-2e3f-4164-b881-fd3a2e4b2453" providerId="ADAL" clId="{4457FA57-250B-44AC-8655-05D46C5A3D8A}" dt="2023-05-18T11:08:25.133" v="3366"/>
          <ac:spMkLst>
            <pc:docMk/>
            <pc:sldMk cId="1361074498" sldId="230717619"/>
            <ac:spMk id="58" creationId="{6995EF7A-860F-4AB5-8F5D-7213CE54C3B1}"/>
          </ac:spMkLst>
        </pc:spChg>
        <pc:spChg chg="mod">
          <ac:chgData name="El Bakkouri, Manal" userId="8b130982-2e3f-4164-b881-fd3a2e4b2453" providerId="ADAL" clId="{4457FA57-250B-44AC-8655-05D46C5A3D8A}" dt="2023-05-18T11:08:25.133" v="3366"/>
          <ac:spMkLst>
            <pc:docMk/>
            <pc:sldMk cId="1361074498" sldId="230717619"/>
            <ac:spMk id="59" creationId="{78B1C2B7-C321-46F8-B3EA-6052AD38FCCE}"/>
          </ac:spMkLst>
        </pc:spChg>
        <pc:spChg chg="mod">
          <ac:chgData name="El Bakkouri, Manal" userId="8b130982-2e3f-4164-b881-fd3a2e4b2453" providerId="ADAL" clId="{4457FA57-250B-44AC-8655-05D46C5A3D8A}" dt="2023-05-18T11:08:25.133" v="3366"/>
          <ac:spMkLst>
            <pc:docMk/>
            <pc:sldMk cId="1361074498" sldId="230717619"/>
            <ac:spMk id="60" creationId="{35587582-7D24-43DC-8A81-A67365797DA0}"/>
          </ac:spMkLst>
        </pc:spChg>
        <pc:spChg chg="mod">
          <ac:chgData name="El Bakkouri, Manal" userId="8b130982-2e3f-4164-b881-fd3a2e4b2453" providerId="ADAL" clId="{4457FA57-250B-44AC-8655-05D46C5A3D8A}" dt="2023-05-19T10:07:01.052" v="5657" actId="12788"/>
          <ac:spMkLst>
            <pc:docMk/>
            <pc:sldMk cId="1361074498" sldId="230717619"/>
            <ac:spMk id="60" creationId="{CD88553F-1671-40EF-8A9F-707D21150C96}"/>
          </ac:spMkLst>
        </pc:spChg>
        <pc:spChg chg="mod">
          <ac:chgData name="El Bakkouri, Manal" userId="8b130982-2e3f-4164-b881-fd3a2e4b2453" providerId="ADAL" clId="{4457FA57-250B-44AC-8655-05D46C5A3D8A}" dt="2023-05-18T11:08:25.133" v="3366"/>
          <ac:spMkLst>
            <pc:docMk/>
            <pc:sldMk cId="1361074498" sldId="230717619"/>
            <ac:spMk id="61" creationId="{B40621F2-7E65-4C43-A6AD-AD400B26C716}"/>
          </ac:spMkLst>
        </pc:spChg>
        <pc:spChg chg="mod">
          <ac:chgData name="El Bakkouri, Manal" userId="8b130982-2e3f-4164-b881-fd3a2e4b2453" providerId="ADAL" clId="{4457FA57-250B-44AC-8655-05D46C5A3D8A}" dt="2023-05-19T10:07:01.052" v="5657" actId="12788"/>
          <ac:spMkLst>
            <pc:docMk/>
            <pc:sldMk cId="1361074498" sldId="230717619"/>
            <ac:spMk id="62" creationId="{75FE83E5-1216-4BD6-863E-073875A6BEAD}"/>
          </ac:spMkLst>
        </pc:spChg>
        <pc:spChg chg="mod">
          <ac:chgData name="El Bakkouri, Manal" userId="8b130982-2e3f-4164-b881-fd3a2e4b2453" providerId="ADAL" clId="{4457FA57-250B-44AC-8655-05D46C5A3D8A}" dt="2023-05-18T11:08:25.133" v="3366"/>
          <ac:spMkLst>
            <pc:docMk/>
            <pc:sldMk cId="1361074498" sldId="230717619"/>
            <ac:spMk id="62" creationId="{C6CC3D05-BE4E-49CC-BF23-F4F47E2326E6}"/>
          </ac:spMkLst>
        </pc:spChg>
        <pc:spChg chg="mod">
          <ac:chgData name="El Bakkouri, Manal" userId="8b130982-2e3f-4164-b881-fd3a2e4b2453" providerId="ADAL" clId="{4457FA57-250B-44AC-8655-05D46C5A3D8A}" dt="2023-05-19T10:07:01.052" v="5657" actId="12788"/>
          <ac:spMkLst>
            <pc:docMk/>
            <pc:sldMk cId="1361074498" sldId="230717619"/>
            <ac:spMk id="63" creationId="{042007C4-0DDE-4C56-BA51-C0EB9D43302D}"/>
          </ac:spMkLst>
        </pc:spChg>
        <pc:spChg chg="mod">
          <ac:chgData name="El Bakkouri, Manal" userId="8b130982-2e3f-4164-b881-fd3a2e4b2453" providerId="ADAL" clId="{4457FA57-250B-44AC-8655-05D46C5A3D8A}" dt="2023-05-18T11:08:25.133" v="3366"/>
          <ac:spMkLst>
            <pc:docMk/>
            <pc:sldMk cId="1361074498" sldId="230717619"/>
            <ac:spMk id="63" creationId="{1A49A940-33D1-4DB1-B675-729145E28485}"/>
          </ac:spMkLst>
        </pc:spChg>
        <pc:spChg chg="mod">
          <ac:chgData name="El Bakkouri, Manal" userId="8b130982-2e3f-4164-b881-fd3a2e4b2453" providerId="ADAL" clId="{4457FA57-250B-44AC-8655-05D46C5A3D8A}" dt="2023-05-18T11:08:25.133" v="3366"/>
          <ac:spMkLst>
            <pc:docMk/>
            <pc:sldMk cId="1361074498" sldId="230717619"/>
            <ac:spMk id="64" creationId="{0301990F-8BE0-4C5F-9272-E83E8BE70D6B}"/>
          </ac:spMkLst>
        </pc:spChg>
        <pc:spChg chg="mod">
          <ac:chgData name="El Bakkouri, Manal" userId="8b130982-2e3f-4164-b881-fd3a2e4b2453" providerId="ADAL" clId="{4457FA57-250B-44AC-8655-05D46C5A3D8A}" dt="2023-05-18T11:08:25.133" v="3366"/>
          <ac:spMkLst>
            <pc:docMk/>
            <pc:sldMk cId="1361074498" sldId="230717619"/>
            <ac:spMk id="65" creationId="{914DAF9A-A43E-46AC-BDD5-07C3238E9D75}"/>
          </ac:spMkLst>
        </pc:spChg>
        <pc:spChg chg="mod">
          <ac:chgData name="El Bakkouri, Manal" userId="8b130982-2e3f-4164-b881-fd3a2e4b2453" providerId="ADAL" clId="{4457FA57-250B-44AC-8655-05D46C5A3D8A}" dt="2023-05-19T10:07:01.052" v="5657" actId="12788"/>
          <ac:spMkLst>
            <pc:docMk/>
            <pc:sldMk cId="1361074498" sldId="230717619"/>
            <ac:spMk id="65" creationId="{CF638BF1-8EBC-4645-9361-2D3927EA8C85}"/>
          </ac:spMkLst>
        </pc:spChg>
        <pc:spChg chg="mod">
          <ac:chgData name="El Bakkouri, Manal" userId="8b130982-2e3f-4164-b881-fd3a2e4b2453" providerId="ADAL" clId="{4457FA57-250B-44AC-8655-05D46C5A3D8A}" dt="2023-05-19T10:07:01.052" v="5657" actId="12788"/>
          <ac:spMkLst>
            <pc:docMk/>
            <pc:sldMk cId="1361074498" sldId="230717619"/>
            <ac:spMk id="66" creationId="{1C848DE6-B274-4A7F-B7FA-0A1D9DA40333}"/>
          </ac:spMkLst>
        </pc:spChg>
        <pc:spChg chg="mod">
          <ac:chgData name="El Bakkouri, Manal" userId="8b130982-2e3f-4164-b881-fd3a2e4b2453" providerId="ADAL" clId="{4457FA57-250B-44AC-8655-05D46C5A3D8A}" dt="2023-05-18T11:08:25.133" v="3366"/>
          <ac:spMkLst>
            <pc:docMk/>
            <pc:sldMk cId="1361074498" sldId="230717619"/>
            <ac:spMk id="66" creationId="{AB098675-329A-43A2-9AE2-303C77756021}"/>
          </ac:spMkLst>
        </pc:spChg>
        <pc:spChg chg="mod">
          <ac:chgData name="El Bakkouri, Manal" userId="8b130982-2e3f-4164-b881-fd3a2e4b2453" providerId="ADAL" clId="{4457FA57-250B-44AC-8655-05D46C5A3D8A}" dt="2023-05-18T11:08:25.133" v="3366"/>
          <ac:spMkLst>
            <pc:docMk/>
            <pc:sldMk cId="1361074498" sldId="230717619"/>
            <ac:spMk id="67" creationId="{284286FA-A691-4F23-9975-B2697A43495B}"/>
          </ac:spMkLst>
        </pc:spChg>
        <pc:spChg chg="mod">
          <ac:chgData name="El Bakkouri, Manal" userId="8b130982-2e3f-4164-b881-fd3a2e4b2453" providerId="ADAL" clId="{4457FA57-250B-44AC-8655-05D46C5A3D8A}" dt="2023-05-19T10:07:01.052" v="5657" actId="12788"/>
          <ac:spMkLst>
            <pc:docMk/>
            <pc:sldMk cId="1361074498" sldId="230717619"/>
            <ac:spMk id="68" creationId="{06218559-1C94-4936-8BED-1C52EF6BB30B}"/>
          </ac:spMkLst>
        </pc:spChg>
        <pc:spChg chg="mod">
          <ac:chgData name="El Bakkouri, Manal" userId="8b130982-2e3f-4164-b881-fd3a2e4b2453" providerId="ADAL" clId="{4457FA57-250B-44AC-8655-05D46C5A3D8A}" dt="2023-05-18T11:08:25.133" v="3366"/>
          <ac:spMkLst>
            <pc:docMk/>
            <pc:sldMk cId="1361074498" sldId="230717619"/>
            <ac:spMk id="68" creationId="{CF628895-B529-440F-B77F-712B68241C8E}"/>
          </ac:spMkLst>
        </pc:spChg>
        <pc:spChg chg="mod">
          <ac:chgData name="El Bakkouri, Manal" userId="8b130982-2e3f-4164-b881-fd3a2e4b2453" providerId="ADAL" clId="{4457FA57-250B-44AC-8655-05D46C5A3D8A}" dt="2023-05-18T11:08:25.133" v="3366"/>
          <ac:spMkLst>
            <pc:docMk/>
            <pc:sldMk cId="1361074498" sldId="230717619"/>
            <ac:spMk id="69" creationId="{8713A364-F4CD-40A6-BC18-56CD956C140C}"/>
          </ac:spMkLst>
        </pc:spChg>
        <pc:spChg chg="mod">
          <ac:chgData name="El Bakkouri, Manal" userId="8b130982-2e3f-4164-b881-fd3a2e4b2453" providerId="ADAL" clId="{4457FA57-250B-44AC-8655-05D46C5A3D8A}" dt="2023-05-19T10:07:01.052" v="5657" actId="12788"/>
          <ac:spMkLst>
            <pc:docMk/>
            <pc:sldMk cId="1361074498" sldId="230717619"/>
            <ac:spMk id="70" creationId="{529E10E3-CA89-4D91-974B-B325E34850F6}"/>
          </ac:spMkLst>
        </pc:spChg>
        <pc:spChg chg="mod">
          <ac:chgData name="El Bakkouri, Manal" userId="8b130982-2e3f-4164-b881-fd3a2e4b2453" providerId="ADAL" clId="{4457FA57-250B-44AC-8655-05D46C5A3D8A}" dt="2023-05-18T11:08:25.133" v="3366"/>
          <ac:spMkLst>
            <pc:docMk/>
            <pc:sldMk cId="1361074498" sldId="230717619"/>
            <ac:spMk id="70" creationId="{99DF42B6-B820-49D7-AA46-39CBB9DDA4F5}"/>
          </ac:spMkLst>
        </pc:spChg>
        <pc:spChg chg="mod">
          <ac:chgData name="El Bakkouri, Manal" userId="8b130982-2e3f-4164-b881-fd3a2e4b2453" providerId="ADAL" clId="{4457FA57-250B-44AC-8655-05D46C5A3D8A}" dt="2023-05-19T10:07:01.052" v="5657" actId="12788"/>
          <ac:spMkLst>
            <pc:docMk/>
            <pc:sldMk cId="1361074498" sldId="230717619"/>
            <ac:spMk id="71" creationId="{A2ED068E-FDC0-4D66-8F05-B0E8C3574B67}"/>
          </ac:spMkLst>
        </pc:spChg>
        <pc:spChg chg="mod">
          <ac:chgData name="El Bakkouri, Manal" userId="8b130982-2e3f-4164-b881-fd3a2e4b2453" providerId="ADAL" clId="{4457FA57-250B-44AC-8655-05D46C5A3D8A}" dt="2023-05-18T11:08:25.133" v="3366"/>
          <ac:spMkLst>
            <pc:docMk/>
            <pc:sldMk cId="1361074498" sldId="230717619"/>
            <ac:spMk id="71" creationId="{C7C988F8-A4F8-4379-8887-EEAEFF428EA4}"/>
          </ac:spMkLst>
        </pc:spChg>
        <pc:spChg chg="mod">
          <ac:chgData name="El Bakkouri, Manal" userId="8b130982-2e3f-4164-b881-fd3a2e4b2453" providerId="ADAL" clId="{4457FA57-250B-44AC-8655-05D46C5A3D8A}" dt="2023-05-19T10:07:01.052" v="5657" actId="12788"/>
          <ac:spMkLst>
            <pc:docMk/>
            <pc:sldMk cId="1361074498" sldId="230717619"/>
            <ac:spMk id="72" creationId="{B17384EE-4ECF-4359-B3F1-36B81193E124}"/>
          </ac:spMkLst>
        </pc:spChg>
        <pc:spChg chg="mod">
          <ac:chgData name="El Bakkouri, Manal" userId="8b130982-2e3f-4164-b881-fd3a2e4b2453" providerId="ADAL" clId="{4457FA57-250B-44AC-8655-05D46C5A3D8A}" dt="2023-05-18T11:08:25.133" v="3366"/>
          <ac:spMkLst>
            <pc:docMk/>
            <pc:sldMk cId="1361074498" sldId="230717619"/>
            <ac:spMk id="72" creationId="{D8EEF4A1-77BC-43E7-8D3E-5762839592F4}"/>
          </ac:spMkLst>
        </pc:spChg>
        <pc:spChg chg="mod">
          <ac:chgData name="El Bakkouri, Manal" userId="8b130982-2e3f-4164-b881-fd3a2e4b2453" providerId="ADAL" clId="{4457FA57-250B-44AC-8655-05D46C5A3D8A}" dt="2023-05-18T11:08:25.133" v="3366"/>
          <ac:spMkLst>
            <pc:docMk/>
            <pc:sldMk cId="1361074498" sldId="230717619"/>
            <ac:spMk id="73" creationId="{B0AC8E26-D5CA-4F6F-9A11-757B9506A0DE}"/>
          </ac:spMkLst>
        </pc:spChg>
        <pc:spChg chg="mod">
          <ac:chgData name="El Bakkouri, Manal" userId="8b130982-2e3f-4164-b881-fd3a2e4b2453" providerId="ADAL" clId="{4457FA57-250B-44AC-8655-05D46C5A3D8A}" dt="2023-05-18T11:08:25.133" v="3366"/>
          <ac:spMkLst>
            <pc:docMk/>
            <pc:sldMk cId="1361074498" sldId="230717619"/>
            <ac:spMk id="74" creationId="{49A927CC-0ECE-475C-B2F5-6B41ED25CB6A}"/>
          </ac:spMkLst>
        </pc:spChg>
        <pc:spChg chg="mod">
          <ac:chgData name="El Bakkouri, Manal" userId="8b130982-2e3f-4164-b881-fd3a2e4b2453" providerId="ADAL" clId="{4457FA57-250B-44AC-8655-05D46C5A3D8A}" dt="2023-05-19T10:07:01.052" v="5657" actId="12788"/>
          <ac:spMkLst>
            <pc:docMk/>
            <pc:sldMk cId="1361074498" sldId="230717619"/>
            <ac:spMk id="74" creationId="{83558DC3-2E02-4326-AFC2-9E006565065E}"/>
          </ac:spMkLst>
        </pc:spChg>
        <pc:spChg chg="mod">
          <ac:chgData name="El Bakkouri, Manal" userId="8b130982-2e3f-4164-b881-fd3a2e4b2453" providerId="ADAL" clId="{4457FA57-250B-44AC-8655-05D46C5A3D8A}" dt="2023-05-19T10:07:01.052" v="5657" actId="12788"/>
          <ac:spMkLst>
            <pc:docMk/>
            <pc:sldMk cId="1361074498" sldId="230717619"/>
            <ac:spMk id="75" creationId="{53E8BDCF-0577-4034-828B-FFB749999368}"/>
          </ac:spMkLst>
        </pc:spChg>
        <pc:spChg chg="mod">
          <ac:chgData name="El Bakkouri, Manal" userId="8b130982-2e3f-4164-b881-fd3a2e4b2453" providerId="ADAL" clId="{4457FA57-250B-44AC-8655-05D46C5A3D8A}" dt="2023-05-18T11:08:25.133" v="3366"/>
          <ac:spMkLst>
            <pc:docMk/>
            <pc:sldMk cId="1361074498" sldId="230717619"/>
            <ac:spMk id="75" creationId="{E229A7D0-26DE-4AA5-87B5-B4E4A4D5C168}"/>
          </ac:spMkLst>
        </pc:spChg>
        <pc:spChg chg="mod">
          <ac:chgData name="El Bakkouri, Manal" userId="8b130982-2e3f-4164-b881-fd3a2e4b2453" providerId="ADAL" clId="{4457FA57-250B-44AC-8655-05D46C5A3D8A}" dt="2023-05-18T11:08:25.133" v="3366"/>
          <ac:spMkLst>
            <pc:docMk/>
            <pc:sldMk cId="1361074498" sldId="230717619"/>
            <ac:spMk id="76" creationId="{9309CCA4-D2AA-4EB2-ABD4-E2EA43BE625B}"/>
          </ac:spMkLst>
        </pc:spChg>
        <pc:spChg chg="mod">
          <ac:chgData name="El Bakkouri, Manal" userId="8b130982-2e3f-4164-b881-fd3a2e4b2453" providerId="ADAL" clId="{4457FA57-250B-44AC-8655-05D46C5A3D8A}" dt="2023-05-19T10:07:01.052" v="5657" actId="12788"/>
          <ac:spMkLst>
            <pc:docMk/>
            <pc:sldMk cId="1361074498" sldId="230717619"/>
            <ac:spMk id="77" creationId="{E1FE649E-03ED-45A1-9528-B2336AD167F6}"/>
          </ac:spMkLst>
        </pc:spChg>
        <pc:spChg chg="mod">
          <ac:chgData name="El Bakkouri, Manal" userId="8b130982-2e3f-4164-b881-fd3a2e4b2453" providerId="ADAL" clId="{4457FA57-250B-44AC-8655-05D46C5A3D8A}" dt="2023-05-18T11:08:25.133" v="3366"/>
          <ac:spMkLst>
            <pc:docMk/>
            <pc:sldMk cId="1361074498" sldId="230717619"/>
            <ac:spMk id="77" creationId="{EDD5F668-E28A-4F9D-BDCC-CDFB48CE0B72}"/>
          </ac:spMkLst>
        </pc:spChg>
        <pc:spChg chg="mod">
          <ac:chgData name="El Bakkouri, Manal" userId="8b130982-2e3f-4164-b881-fd3a2e4b2453" providerId="ADAL" clId="{4457FA57-250B-44AC-8655-05D46C5A3D8A}" dt="2023-05-18T11:08:25.133" v="3366"/>
          <ac:spMkLst>
            <pc:docMk/>
            <pc:sldMk cId="1361074498" sldId="230717619"/>
            <ac:spMk id="78" creationId="{2D81B4B3-0491-4B16-A1C6-B4B030E43C0B}"/>
          </ac:spMkLst>
        </pc:spChg>
        <pc:spChg chg="mod">
          <ac:chgData name="El Bakkouri, Manal" userId="8b130982-2e3f-4164-b881-fd3a2e4b2453" providerId="ADAL" clId="{4457FA57-250B-44AC-8655-05D46C5A3D8A}" dt="2023-05-19T10:07:01.052" v="5657" actId="12788"/>
          <ac:spMkLst>
            <pc:docMk/>
            <pc:sldMk cId="1361074498" sldId="230717619"/>
            <ac:spMk id="79" creationId="{7ACCECEB-9C50-4993-BFF9-0A64BF45B117}"/>
          </ac:spMkLst>
        </pc:spChg>
        <pc:spChg chg="mod">
          <ac:chgData name="El Bakkouri, Manal" userId="8b130982-2e3f-4164-b881-fd3a2e4b2453" providerId="ADAL" clId="{4457FA57-250B-44AC-8655-05D46C5A3D8A}" dt="2023-05-18T11:08:25.133" v="3366"/>
          <ac:spMkLst>
            <pc:docMk/>
            <pc:sldMk cId="1361074498" sldId="230717619"/>
            <ac:spMk id="79" creationId="{AEED6C35-9AF7-4DB1-9A3B-836D00349074}"/>
          </ac:spMkLst>
        </pc:spChg>
        <pc:spChg chg="mod">
          <ac:chgData name="El Bakkouri, Manal" userId="8b130982-2e3f-4164-b881-fd3a2e4b2453" providerId="ADAL" clId="{4457FA57-250B-44AC-8655-05D46C5A3D8A}" dt="2023-05-18T11:08:25.133" v="3366"/>
          <ac:spMkLst>
            <pc:docMk/>
            <pc:sldMk cId="1361074498" sldId="230717619"/>
            <ac:spMk id="80" creationId="{C938D2F5-E0BD-4134-806A-7818908A8345}"/>
          </ac:spMkLst>
        </pc:spChg>
        <pc:spChg chg="mod">
          <ac:chgData name="El Bakkouri, Manal" userId="8b130982-2e3f-4164-b881-fd3a2e4b2453" providerId="ADAL" clId="{4457FA57-250B-44AC-8655-05D46C5A3D8A}" dt="2023-05-19T10:07:01.052" v="5657" actId="12788"/>
          <ac:spMkLst>
            <pc:docMk/>
            <pc:sldMk cId="1361074498" sldId="230717619"/>
            <ac:spMk id="80" creationId="{D1BB810C-D911-4D20-BF31-22EE384E4474}"/>
          </ac:spMkLst>
        </pc:spChg>
        <pc:spChg chg="mod">
          <ac:chgData name="El Bakkouri, Manal" userId="8b130982-2e3f-4164-b881-fd3a2e4b2453" providerId="ADAL" clId="{4457FA57-250B-44AC-8655-05D46C5A3D8A}" dt="2023-05-18T11:08:25.133" v="3366"/>
          <ac:spMkLst>
            <pc:docMk/>
            <pc:sldMk cId="1361074498" sldId="230717619"/>
            <ac:spMk id="81" creationId="{63371B78-81E4-4F41-B190-C91B91958659}"/>
          </ac:spMkLst>
        </pc:spChg>
        <pc:spChg chg="mod">
          <ac:chgData name="El Bakkouri, Manal" userId="8b130982-2e3f-4164-b881-fd3a2e4b2453" providerId="ADAL" clId="{4457FA57-250B-44AC-8655-05D46C5A3D8A}" dt="2023-05-19T10:07:01.052" v="5657" actId="12788"/>
          <ac:spMkLst>
            <pc:docMk/>
            <pc:sldMk cId="1361074498" sldId="230717619"/>
            <ac:spMk id="81" creationId="{A4006B48-BA2B-4B2D-9484-616EF2FD5745}"/>
          </ac:spMkLst>
        </pc:spChg>
        <pc:spChg chg="mod">
          <ac:chgData name="El Bakkouri, Manal" userId="8b130982-2e3f-4164-b881-fd3a2e4b2453" providerId="ADAL" clId="{4457FA57-250B-44AC-8655-05D46C5A3D8A}" dt="2023-05-18T11:08:25.133" v="3366"/>
          <ac:spMkLst>
            <pc:docMk/>
            <pc:sldMk cId="1361074498" sldId="230717619"/>
            <ac:spMk id="82" creationId="{103630D4-E0DF-480C-AD45-0AAC6E773528}"/>
          </ac:spMkLst>
        </pc:spChg>
        <pc:spChg chg="mod">
          <ac:chgData name="El Bakkouri, Manal" userId="8b130982-2e3f-4164-b881-fd3a2e4b2453" providerId="ADAL" clId="{4457FA57-250B-44AC-8655-05D46C5A3D8A}" dt="2023-05-19T10:07:01.052" v="5657" actId="12788"/>
          <ac:spMkLst>
            <pc:docMk/>
            <pc:sldMk cId="1361074498" sldId="230717619"/>
            <ac:spMk id="82" creationId="{1D4D6F94-447A-4979-BF76-27C5144B354C}"/>
          </ac:spMkLst>
        </pc:spChg>
        <pc:spChg chg="mod">
          <ac:chgData name="El Bakkouri, Manal" userId="8b130982-2e3f-4164-b881-fd3a2e4b2453" providerId="ADAL" clId="{4457FA57-250B-44AC-8655-05D46C5A3D8A}" dt="2023-05-19T10:07:01.052" v="5657" actId="12788"/>
          <ac:spMkLst>
            <pc:docMk/>
            <pc:sldMk cId="1361074498" sldId="230717619"/>
            <ac:spMk id="83" creationId="{3ED63A63-60F3-4E91-9BFB-2F1AB3C37FEF}"/>
          </ac:spMkLst>
        </pc:spChg>
        <pc:spChg chg="mod">
          <ac:chgData name="El Bakkouri, Manal" userId="8b130982-2e3f-4164-b881-fd3a2e4b2453" providerId="ADAL" clId="{4457FA57-250B-44AC-8655-05D46C5A3D8A}" dt="2023-05-18T11:08:25.133" v="3366"/>
          <ac:spMkLst>
            <pc:docMk/>
            <pc:sldMk cId="1361074498" sldId="230717619"/>
            <ac:spMk id="83" creationId="{90BF59E8-68F7-4ADC-8EC4-053581CDD224}"/>
          </ac:spMkLst>
        </pc:spChg>
        <pc:spChg chg="mod">
          <ac:chgData name="El Bakkouri, Manal" userId="8b130982-2e3f-4164-b881-fd3a2e4b2453" providerId="ADAL" clId="{4457FA57-250B-44AC-8655-05D46C5A3D8A}" dt="2023-05-18T11:08:25.133" v="3366"/>
          <ac:spMkLst>
            <pc:docMk/>
            <pc:sldMk cId="1361074498" sldId="230717619"/>
            <ac:spMk id="84" creationId="{92459A1A-6BBA-4434-A002-BF94B7DF31CD}"/>
          </ac:spMkLst>
        </pc:spChg>
        <pc:spChg chg="mod">
          <ac:chgData name="El Bakkouri, Manal" userId="8b130982-2e3f-4164-b881-fd3a2e4b2453" providerId="ADAL" clId="{4457FA57-250B-44AC-8655-05D46C5A3D8A}" dt="2023-05-19T10:07:01.052" v="5657" actId="12788"/>
          <ac:spMkLst>
            <pc:docMk/>
            <pc:sldMk cId="1361074498" sldId="230717619"/>
            <ac:spMk id="84" creationId="{DE804874-C832-4CFD-BE8D-F0D57B0AEBE4}"/>
          </ac:spMkLst>
        </pc:spChg>
        <pc:spChg chg="mod">
          <ac:chgData name="El Bakkouri, Manal" userId="8b130982-2e3f-4164-b881-fd3a2e4b2453" providerId="ADAL" clId="{4457FA57-250B-44AC-8655-05D46C5A3D8A}" dt="2023-05-18T11:08:25.133" v="3366"/>
          <ac:spMkLst>
            <pc:docMk/>
            <pc:sldMk cId="1361074498" sldId="230717619"/>
            <ac:spMk id="85" creationId="{C28ACBAD-CC35-46CE-ABF4-1024561B0AF0}"/>
          </ac:spMkLst>
        </pc:spChg>
        <pc:spChg chg="mod">
          <ac:chgData name="El Bakkouri, Manal" userId="8b130982-2e3f-4164-b881-fd3a2e4b2453" providerId="ADAL" clId="{4457FA57-250B-44AC-8655-05D46C5A3D8A}" dt="2023-05-18T11:08:25.133" v="3366"/>
          <ac:spMkLst>
            <pc:docMk/>
            <pc:sldMk cId="1361074498" sldId="230717619"/>
            <ac:spMk id="86" creationId="{3075D8AA-6F85-46A0-A1DF-991A2928B92E}"/>
          </ac:spMkLst>
        </pc:spChg>
        <pc:spChg chg="mod">
          <ac:chgData name="El Bakkouri, Manal" userId="8b130982-2e3f-4164-b881-fd3a2e4b2453" providerId="ADAL" clId="{4457FA57-250B-44AC-8655-05D46C5A3D8A}" dt="2023-05-19T10:07:01.052" v="5657" actId="12788"/>
          <ac:spMkLst>
            <pc:docMk/>
            <pc:sldMk cId="1361074498" sldId="230717619"/>
            <ac:spMk id="86" creationId="{AD795D1A-6797-4602-91C9-D5E44174BBBF}"/>
          </ac:spMkLst>
        </pc:spChg>
        <pc:spChg chg="mod">
          <ac:chgData name="El Bakkouri, Manal" userId="8b130982-2e3f-4164-b881-fd3a2e4b2453" providerId="ADAL" clId="{4457FA57-250B-44AC-8655-05D46C5A3D8A}" dt="2023-05-19T10:07:01.052" v="5657" actId="12788"/>
          <ac:spMkLst>
            <pc:docMk/>
            <pc:sldMk cId="1361074498" sldId="230717619"/>
            <ac:spMk id="87" creationId="{7B67C475-7582-4B88-9F84-EBF9F3361233}"/>
          </ac:spMkLst>
        </pc:spChg>
        <pc:spChg chg="mod">
          <ac:chgData name="El Bakkouri, Manal" userId="8b130982-2e3f-4164-b881-fd3a2e4b2453" providerId="ADAL" clId="{4457FA57-250B-44AC-8655-05D46C5A3D8A}" dt="2023-05-18T11:08:25.133" v="3366"/>
          <ac:spMkLst>
            <pc:docMk/>
            <pc:sldMk cId="1361074498" sldId="230717619"/>
            <ac:spMk id="87" creationId="{B8C63171-1057-4E31-8AD0-359BD91AED41}"/>
          </ac:spMkLst>
        </pc:spChg>
        <pc:spChg chg="mod">
          <ac:chgData name="El Bakkouri, Manal" userId="8b130982-2e3f-4164-b881-fd3a2e4b2453" providerId="ADAL" clId="{4457FA57-250B-44AC-8655-05D46C5A3D8A}" dt="2023-05-18T11:08:25.133" v="3366"/>
          <ac:spMkLst>
            <pc:docMk/>
            <pc:sldMk cId="1361074498" sldId="230717619"/>
            <ac:spMk id="88" creationId="{8830D06A-1702-4CD2-B5B1-0958FFC90B5F}"/>
          </ac:spMkLst>
        </pc:spChg>
        <pc:spChg chg="mod">
          <ac:chgData name="El Bakkouri, Manal" userId="8b130982-2e3f-4164-b881-fd3a2e4b2453" providerId="ADAL" clId="{4457FA57-250B-44AC-8655-05D46C5A3D8A}" dt="2023-05-18T11:08:25.133" v="3366"/>
          <ac:spMkLst>
            <pc:docMk/>
            <pc:sldMk cId="1361074498" sldId="230717619"/>
            <ac:spMk id="89" creationId="{1127D0A6-B256-4931-953A-A4F2631CFA4A}"/>
          </ac:spMkLst>
        </pc:spChg>
        <pc:spChg chg="mod">
          <ac:chgData name="El Bakkouri, Manal" userId="8b130982-2e3f-4164-b881-fd3a2e4b2453" providerId="ADAL" clId="{4457FA57-250B-44AC-8655-05D46C5A3D8A}" dt="2023-05-19T10:07:01.052" v="5657" actId="12788"/>
          <ac:spMkLst>
            <pc:docMk/>
            <pc:sldMk cId="1361074498" sldId="230717619"/>
            <ac:spMk id="89" creationId="{F998758E-5D36-4FF8-B73E-2B49D0A82DA9}"/>
          </ac:spMkLst>
        </pc:spChg>
        <pc:spChg chg="mod">
          <ac:chgData name="El Bakkouri, Manal" userId="8b130982-2e3f-4164-b881-fd3a2e4b2453" providerId="ADAL" clId="{4457FA57-250B-44AC-8655-05D46C5A3D8A}" dt="2023-05-18T11:08:25.133" v="3366"/>
          <ac:spMkLst>
            <pc:docMk/>
            <pc:sldMk cId="1361074498" sldId="230717619"/>
            <ac:spMk id="90" creationId="{420F23B8-40CE-42D8-B44A-E616C96025B0}"/>
          </ac:spMkLst>
        </pc:spChg>
        <pc:spChg chg="mod">
          <ac:chgData name="El Bakkouri, Manal" userId="8b130982-2e3f-4164-b881-fd3a2e4b2453" providerId="ADAL" clId="{4457FA57-250B-44AC-8655-05D46C5A3D8A}" dt="2023-05-19T10:07:01.052" v="5657" actId="12788"/>
          <ac:spMkLst>
            <pc:docMk/>
            <pc:sldMk cId="1361074498" sldId="230717619"/>
            <ac:spMk id="90" creationId="{5720C189-D963-43ED-AD1C-9E5334555DFD}"/>
          </ac:spMkLst>
        </pc:spChg>
        <pc:spChg chg="mod">
          <ac:chgData name="El Bakkouri, Manal" userId="8b130982-2e3f-4164-b881-fd3a2e4b2453" providerId="ADAL" clId="{4457FA57-250B-44AC-8655-05D46C5A3D8A}" dt="2023-05-18T11:08:25.133" v="3366"/>
          <ac:spMkLst>
            <pc:docMk/>
            <pc:sldMk cId="1361074498" sldId="230717619"/>
            <ac:spMk id="91" creationId="{A9B39651-6D6A-45CE-A6DA-71DE529AAED7}"/>
          </ac:spMkLst>
        </pc:spChg>
        <pc:spChg chg="add mod">
          <ac:chgData name="El Bakkouri, Manal" userId="8b130982-2e3f-4164-b881-fd3a2e4b2453" providerId="ADAL" clId="{4457FA57-250B-44AC-8655-05D46C5A3D8A}" dt="2023-05-19T10:10:51.717" v="5666" actId="207"/>
          <ac:spMkLst>
            <pc:docMk/>
            <pc:sldMk cId="1361074498" sldId="230717619"/>
            <ac:spMk id="91" creationId="{F98A6029-AF3F-4F95-99D7-543ABB064D00}"/>
          </ac:spMkLst>
        </pc:spChg>
        <pc:spChg chg="mod">
          <ac:chgData name="El Bakkouri, Manal" userId="8b130982-2e3f-4164-b881-fd3a2e4b2453" providerId="ADAL" clId="{4457FA57-250B-44AC-8655-05D46C5A3D8A}" dt="2023-05-18T11:08:25.133" v="3366"/>
          <ac:spMkLst>
            <pc:docMk/>
            <pc:sldMk cId="1361074498" sldId="230717619"/>
            <ac:spMk id="92" creationId="{2DDC6D11-41C2-453B-954D-40D30B3807AB}"/>
          </ac:spMkLst>
        </pc:spChg>
        <pc:spChg chg="add mod">
          <ac:chgData name="El Bakkouri, Manal" userId="8b130982-2e3f-4164-b881-fd3a2e4b2453" providerId="ADAL" clId="{4457FA57-250B-44AC-8655-05D46C5A3D8A}" dt="2023-05-19T10:07:01.052" v="5657" actId="12788"/>
          <ac:spMkLst>
            <pc:docMk/>
            <pc:sldMk cId="1361074498" sldId="230717619"/>
            <ac:spMk id="92" creationId="{EF60513B-6FA9-479C-82C6-8429F157F099}"/>
          </ac:spMkLst>
        </pc:spChg>
        <pc:spChg chg="add mod">
          <ac:chgData name="El Bakkouri, Manal" userId="8b130982-2e3f-4164-b881-fd3a2e4b2453" providerId="ADAL" clId="{4457FA57-250B-44AC-8655-05D46C5A3D8A}" dt="2023-05-19T10:07:01.052" v="5657" actId="12788"/>
          <ac:spMkLst>
            <pc:docMk/>
            <pc:sldMk cId="1361074498" sldId="230717619"/>
            <ac:spMk id="93" creationId="{6E2772F5-E765-41C0-9832-391A6FB6EA17}"/>
          </ac:spMkLst>
        </pc:spChg>
        <pc:spChg chg="mod">
          <ac:chgData name="El Bakkouri, Manal" userId="8b130982-2e3f-4164-b881-fd3a2e4b2453" providerId="ADAL" clId="{4457FA57-250B-44AC-8655-05D46C5A3D8A}" dt="2023-05-18T11:08:25.133" v="3366"/>
          <ac:spMkLst>
            <pc:docMk/>
            <pc:sldMk cId="1361074498" sldId="230717619"/>
            <ac:spMk id="93" creationId="{9A71142F-071D-4454-A298-CBC55A6BBA72}"/>
          </ac:spMkLst>
        </pc:spChg>
        <pc:spChg chg="mod">
          <ac:chgData name="El Bakkouri, Manal" userId="8b130982-2e3f-4164-b881-fd3a2e4b2453" providerId="ADAL" clId="{4457FA57-250B-44AC-8655-05D46C5A3D8A}" dt="2023-05-18T11:08:25.133" v="3366"/>
          <ac:spMkLst>
            <pc:docMk/>
            <pc:sldMk cId="1361074498" sldId="230717619"/>
            <ac:spMk id="94" creationId="{231BFDD5-DD4D-4E54-A54E-867E8B794D60}"/>
          </ac:spMkLst>
        </pc:spChg>
        <pc:spChg chg="add mod">
          <ac:chgData name="El Bakkouri, Manal" userId="8b130982-2e3f-4164-b881-fd3a2e4b2453" providerId="ADAL" clId="{4457FA57-250B-44AC-8655-05D46C5A3D8A}" dt="2023-05-19T10:07:01.052" v="5657" actId="12788"/>
          <ac:spMkLst>
            <pc:docMk/>
            <pc:sldMk cId="1361074498" sldId="230717619"/>
            <ac:spMk id="94" creationId="{A9DFCCEC-7F47-407D-9144-C4FA6225C6FE}"/>
          </ac:spMkLst>
        </pc:spChg>
        <pc:spChg chg="add mod">
          <ac:chgData name="El Bakkouri, Manal" userId="8b130982-2e3f-4164-b881-fd3a2e4b2453" providerId="ADAL" clId="{4457FA57-250B-44AC-8655-05D46C5A3D8A}" dt="2023-05-19T10:07:01.052" v="5657" actId="12788"/>
          <ac:spMkLst>
            <pc:docMk/>
            <pc:sldMk cId="1361074498" sldId="230717619"/>
            <ac:spMk id="95" creationId="{55436B95-A04F-4C23-BD46-AEB8C5CD8D08}"/>
          </ac:spMkLst>
        </pc:spChg>
        <pc:spChg chg="mod">
          <ac:chgData name="El Bakkouri, Manal" userId="8b130982-2e3f-4164-b881-fd3a2e4b2453" providerId="ADAL" clId="{4457FA57-250B-44AC-8655-05D46C5A3D8A}" dt="2023-05-18T11:08:25.133" v="3366"/>
          <ac:spMkLst>
            <pc:docMk/>
            <pc:sldMk cId="1361074498" sldId="230717619"/>
            <ac:spMk id="95" creationId="{CC6BAFEC-295F-4ABE-BA06-7AA112646DFA}"/>
          </ac:spMkLst>
        </pc:spChg>
        <pc:spChg chg="mod">
          <ac:chgData name="El Bakkouri, Manal" userId="8b130982-2e3f-4164-b881-fd3a2e4b2453" providerId="ADAL" clId="{4457FA57-250B-44AC-8655-05D46C5A3D8A}" dt="2023-05-18T11:08:25.133" v="3366"/>
          <ac:spMkLst>
            <pc:docMk/>
            <pc:sldMk cId="1361074498" sldId="230717619"/>
            <ac:spMk id="96" creationId="{A3CA1251-0F68-44BC-AEA5-A30D3C091693}"/>
          </ac:spMkLst>
        </pc:spChg>
        <pc:spChg chg="add mod">
          <ac:chgData name="El Bakkouri, Manal" userId="8b130982-2e3f-4164-b881-fd3a2e4b2453" providerId="ADAL" clId="{4457FA57-250B-44AC-8655-05D46C5A3D8A}" dt="2023-05-19T10:07:01.052" v="5657" actId="12788"/>
          <ac:spMkLst>
            <pc:docMk/>
            <pc:sldMk cId="1361074498" sldId="230717619"/>
            <ac:spMk id="96" creationId="{F9D9BA3E-716F-4A9C-B593-FED4AB26EBCA}"/>
          </ac:spMkLst>
        </pc:spChg>
        <pc:spChg chg="add mod">
          <ac:chgData name="El Bakkouri, Manal" userId="8b130982-2e3f-4164-b881-fd3a2e4b2453" providerId="ADAL" clId="{4457FA57-250B-44AC-8655-05D46C5A3D8A}" dt="2023-05-19T10:07:01.052" v="5657" actId="12788"/>
          <ac:spMkLst>
            <pc:docMk/>
            <pc:sldMk cId="1361074498" sldId="230717619"/>
            <ac:spMk id="97" creationId="{44D81401-C7E6-446F-ADBD-547948EFD70F}"/>
          </ac:spMkLst>
        </pc:spChg>
        <pc:spChg chg="mod">
          <ac:chgData name="El Bakkouri, Manal" userId="8b130982-2e3f-4164-b881-fd3a2e4b2453" providerId="ADAL" clId="{4457FA57-250B-44AC-8655-05D46C5A3D8A}" dt="2023-05-18T11:08:25.133" v="3366"/>
          <ac:spMkLst>
            <pc:docMk/>
            <pc:sldMk cId="1361074498" sldId="230717619"/>
            <ac:spMk id="97" creationId="{62DDC6DB-827A-4F9F-9459-4ABB7228D33C}"/>
          </ac:spMkLst>
        </pc:spChg>
        <pc:spChg chg="mod">
          <ac:chgData name="El Bakkouri, Manal" userId="8b130982-2e3f-4164-b881-fd3a2e4b2453" providerId="ADAL" clId="{4457FA57-250B-44AC-8655-05D46C5A3D8A}" dt="2023-05-18T11:08:25.133" v="3366"/>
          <ac:spMkLst>
            <pc:docMk/>
            <pc:sldMk cId="1361074498" sldId="230717619"/>
            <ac:spMk id="98" creationId="{10DA062B-B0C4-4598-856E-77B3DF1D5F1E}"/>
          </ac:spMkLst>
        </pc:spChg>
        <pc:spChg chg="add mod">
          <ac:chgData name="El Bakkouri, Manal" userId="8b130982-2e3f-4164-b881-fd3a2e4b2453" providerId="ADAL" clId="{4457FA57-250B-44AC-8655-05D46C5A3D8A}" dt="2023-05-19T10:07:01.052" v="5657" actId="12788"/>
          <ac:spMkLst>
            <pc:docMk/>
            <pc:sldMk cId="1361074498" sldId="230717619"/>
            <ac:spMk id="98" creationId="{23281C83-2964-4055-8C6B-93F51B47B241}"/>
          </ac:spMkLst>
        </pc:spChg>
        <pc:spChg chg="add mod">
          <ac:chgData name="El Bakkouri, Manal" userId="8b130982-2e3f-4164-b881-fd3a2e4b2453" providerId="ADAL" clId="{4457FA57-250B-44AC-8655-05D46C5A3D8A}" dt="2023-05-19T10:07:01.052" v="5657" actId="12788"/>
          <ac:spMkLst>
            <pc:docMk/>
            <pc:sldMk cId="1361074498" sldId="230717619"/>
            <ac:spMk id="99" creationId="{03B3A17A-A84B-40A2-B880-29168C17BB36}"/>
          </ac:spMkLst>
        </pc:spChg>
        <pc:spChg chg="mod">
          <ac:chgData name="El Bakkouri, Manal" userId="8b130982-2e3f-4164-b881-fd3a2e4b2453" providerId="ADAL" clId="{4457FA57-250B-44AC-8655-05D46C5A3D8A}" dt="2023-05-18T11:08:25.133" v="3366"/>
          <ac:spMkLst>
            <pc:docMk/>
            <pc:sldMk cId="1361074498" sldId="230717619"/>
            <ac:spMk id="99" creationId="{5EEE12DF-A8A4-4804-A013-B36E6B6C1F6B}"/>
          </ac:spMkLst>
        </pc:spChg>
        <pc:spChg chg="add mod">
          <ac:chgData name="El Bakkouri, Manal" userId="8b130982-2e3f-4164-b881-fd3a2e4b2453" providerId="ADAL" clId="{4457FA57-250B-44AC-8655-05D46C5A3D8A}" dt="2023-05-19T10:07:01.052" v="5657" actId="12788"/>
          <ac:spMkLst>
            <pc:docMk/>
            <pc:sldMk cId="1361074498" sldId="230717619"/>
            <ac:spMk id="100" creationId="{B2FC3150-DA49-4001-916F-67881F2BC0DF}"/>
          </ac:spMkLst>
        </pc:spChg>
        <pc:spChg chg="mod">
          <ac:chgData name="El Bakkouri, Manal" userId="8b130982-2e3f-4164-b881-fd3a2e4b2453" providerId="ADAL" clId="{4457FA57-250B-44AC-8655-05D46C5A3D8A}" dt="2023-05-18T11:08:25.133" v="3366"/>
          <ac:spMkLst>
            <pc:docMk/>
            <pc:sldMk cId="1361074498" sldId="230717619"/>
            <ac:spMk id="100" creationId="{F01D0740-4D5E-46F9-80B7-CBB184F894E5}"/>
          </ac:spMkLst>
        </pc:spChg>
        <pc:spChg chg="mod">
          <ac:chgData name="El Bakkouri, Manal" userId="8b130982-2e3f-4164-b881-fd3a2e4b2453" providerId="ADAL" clId="{4457FA57-250B-44AC-8655-05D46C5A3D8A}" dt="2023-05-18T11:08:25.133" v="3366"/>
          <ac:spMkLst>
            <pc:docMk/>
            <pc:sldMk cId="1361074498" sldId="230717619"/>
            <ac:spMk id="101" creationId="{86B1E6F3-AC1C-4880-8422-D95D505B7C4F}"/>
          </ac:spMkLst>
        </pc:spChg>
        <pc:spChg chg="add mod">
          <ac:chgData name="El Bakkouri, Manal" userId="8b130982-2e3f-4164-b881-fd3a2e4b2453" providerId="ADAL" clId="{4457FA57-250B-44AC-8655-05D46C5A3D8A}" dt="2023-05-19T10:07:01.052" v="5657" actId="12788"/>
          <ac:spMkLst>
            <pc:docMk/>
            <pc:sldMk cId="1361074498" sldId="230717619"/>
            <ac:spMk id="101" creationId="{E6B90817-0441-4F53-8DC2-CC218998CAC9}"/>
          </ac:spMkLst>
        </pc:spChg>
        <pc:spChg chg="add mod">
          <ac:chgData name="El Bakkouri, Manal" userId="8b130982-2e3f-4164-b881-fd3a2e4b2453" providerId="ADAL" clId="{4457FA57-250B-44AC-8655-05D46C5A3D8A}" dt="2023-05-19T10:07:01.052" v="5657" actId="12788"/>
          <ac:spMkLst>
            <pc:docMk/>
            <pc:sldMk cId="1361074498" sldId="230717619"/>
            <ac:spMk id="102" creationId="{381A4315-123C-473D-BA22-B4A1B6CDB8D5}"/>
          </ac:spMkLst>
        </pc:spChg>
        <pc:spChg chg="mod">
          <ac:chgData name="El Bakkouri, Manal" userId="8b130982-2e3f-4164-b881-fd3a2e4b2453" providerId="ADAL" clId="{4457FA57-250B-44AC-8655-05D46C5A3D8A}" dt="2023-05-18T11:08:25.133" v="3366"/>
          <ac:spMkLst>
            <pc:docMk/>
            <pc:sldMk cId="1361074498" sldId="230717619"/>
            <ac:spMk id="102" creationId="{4CBC7E0C-5E8B-438A-AC15-CC091DA15C55}"/>
          </ac:spMkLst>
        </pc:spChg>
        <pc:spChg chg="mod">
          <ac:chgData name="El Bakkouri, Manal" userId="8b130982-2e3f-4164-b881-fd3a2e4b2453" providerId="ADAL" clId="{4457FA57-250B-44AC-8655-05D46C5A3D8A}" dt="2023-05-18T11:08:25.133" v="3366"/>
          <ac:spMkLst>
            <pc:docMk/>
            <pc:sldMk cId="1361074498" sldId="230717619"/>
            <ac:spMk id="103" creationId="{24ECB53C-D4ED-4407-91AE-34F8501E0AA2}"/>
          </ac:spMkLst>
        </pc:spChg>
        <pc:spChg chg="add mod">
          <ac:chgData name="El Bakkouri, Manal" userId="8b130982-2e3f-4164-b881-fd3a2e4b2453" providerId="ADAL" clId="{4457FA57-250B-44AC-8655-05D46C5A3D8A}" dt="2023-05-19T10:07:01.052" v="5657" actId="12788"/>
          <ac:spMkLst>
            <pc:docMk/>
            <pc:sldMk cId="1361074498" sldId="230717619"/>
            <ac:spMk id="103" creationId="{35E3B234-81DF-4069-A3E1-516822629D12}"/>
          </ac:spMkLst>
        </pc:spChg>
        <pc:spChg chg="add mod">
          <ac:chgData name="El Bakkouri, Manal" userId="8b130982-2e3f-4164-b881-fd3a2e4b2453" providerId="ADAL" clId="{4457FA57-250B-44AC-8655-05D46C5A3D8A}" dt="2023-05-19T10:07:01.052" v="5657" actId="12788"/>
          <ac:spMkLst>
            <pc:docMk/>
            <pc:sldMk cId="1361074498" sldId="230717619"/>
            <ac:spMk id="104" creationId="{0EA381B6-4AB3-4765-AE94-BFC93880C02A}"/>
          </ac:spMkLst>
        </pc:spChg>
        <pc:spChg chg="mod">
          <ac:chgData name="El Bakkouri, Manal" userId="8b130982-2e3f-4164-b881-fd3a2e4b2453" providerId="ADAL" clId="{4457FA57-250B-44AC-8655-05D46C5A3D8A}" dt="2023-05-18T11:08:25.133" v="3366"/>
          <ac:spMkLst>
            <pc:docMk/>
            <pc:sldMk cId="1361074498" sldId="230717619"/>
            <ac:spMk id="104" creationId="{284F822E-DC32-4355-96CF-F0ACA6EDC6E9}"/>
          </ac:spMkLst>
        </pc:spChg>
        <pc:spChg chg="add mod">
          <ac:chgData name="El Bakkouri, Manal" userId="8b130982-2e3f-4164-b881-fd3a2e4b2453" providerId="ADAL" clId="{4457FA57-250B-44AC-8655-05D46C5A3D8A}" dt="2023-05-19T10:07:01.052" v="5657" actId="12788"/>
          <ac:spMkLst>
            <pc:docMk/>
            <pc:sldMk cId="1361074498" sldId="230717619"/>
            <ac:spMk id="105" creationId="{4E1D5DE5-7796-419F-B8C5-5817FA0D93F0}"/>
          </ac:spMkLst>
        </pc:spChg>
        <pc:spChg chg="mod">
          <ac:chgData name="El Bakkouri, Manal" userId="8b130982-2e3f-4164-b881-fd3a2e4b2453" providerId="ADAL" clId="{4457FA57-250B-44AC-8655-05D46C5A3D8A}" dt="2023-05-18T11:08:25.133" v="3366"/>
          <ac:spMkLst>
            <pc:docMk/>
            <pc:sldMk cId="1361074498" sldId="230717619"/>
            <ac:spMk id="105" creationId="{C27E328D-CCD6-4417-9DF3-D5EF704A8BF8}"/>
          </ac:spMkLst>
        </pc:spChg>
        <pc:spChg chg="add mod">
          <ac:chgData name="El Bakkouri, Manal" userId="8b130982-2e3f-4164-b881-fd3a2e4b2453" providerId="ADAL" clId="{4457FA57-250B-44AC-8655-05D46C5A3D8A}" dt="2023-05-19T10:07:01.052" v="5657" actId="12788"/>
          <ac:spMkLst>
            <pc:docMk/>
            <pc:sldMk cId="1361074498" sldId="230717619"/>
            <ac:spMk id="106" creationId="{1C6909AD-9C77-4BAE-981F-45DC0325D060}"/>
          </ac:spMkLst>
        </pc:spChg>
        <pc:spChg chg="mod">
          <ac:chgData name="El Bakkouri, Manal" userId="8b130982-2e3f-4164-b881-fd3a2e4b2453" providerId="ADAL" clId="{4457FA57-250B-44AC-8655-05D46C5A3D8A}" dt="2023-05-18T11:08:25.133" v="3366"/>
          <ac:spMkLst>
            <pc:docMk/>
            <pc:sldMk cId="1361074498" sldId="230717619"/>
            <ac:spMk id="106" creationId="{A04EE1F8-35E2-437C-BC17-D14B5C509EAE}"/>
          </ac:spMkLst>
        </pc:spChg>
        <pc:spChg chg="del mod">
          <ac:chgData name="El Bakkouri, Manal" userId="8b130982-2e3f-4164-b881-fd3a2e4b2453" providerId="ADAL" clId="{4457FA57-250B-44AC-8655-05D46C5A3D8A}" dt="2023-05-18T11:11:35.717" v="3431" actId="478"/>
          <ac:spMkLst>
            <pc:docMk/>
            <pc:sldMk cId="1361074498" sldId="230717619"/>
            <ac:spMk id="107" creationId="{7D307F41-14A7-4705-B2B4-E99CE9403A6C}"/>
          </ac:spMkLst>
        </pc:spChg>
        <pc:spChg chg="add mod">
          <ac:chgData name="El Bakkouri, Manal" userId="8b130982-2e3f-4164-b881-fd3a2e4b2453" providerId="ADAL" clId="{4457FA57-250B-44AC-8655-05D46C5A3D8A}" dt="2023-05-19T10:07:01.052" v="5657" actId="12788"/>
          <ac:spMkLst>
            <pc:docMk/>
            <pc:sldMk cId="1361074498" sldId="230717619"/>
            <ac:spMk id="107" creationId="{814CF814-975F-4DCD-9771-C98C6101640F}"/>
          </ac:spMkLst>
        </pc:spChg>
        <pc:spChg chg="mod">
          <ac:chgData name="El Bakkouri, Manal" userId="8b130982-2e3f-4164-b881-fd3a2e4b2453" providerId="ADAL" clId="{4457FA57-250B-44AC-8655-05D46C5A3D8A}" dt="2023-05-18T11:08:25.133" v="3366"/>
          <ac:spMkLst>
            <pc:docMk/>
            <pc:sldMk cId="1361074498" sldId="230717619"/>
            <ac:spMk id="108" creationId="{33F2EA48-C4A1-4655-B4E4-17CFF087CB11}"/>
          </ac:spMkLst>
        </pc:spChg>
        <pc:spChg chg="add mod">
          <ac:chgData name="El Bakkouri, Manal" userId="8b130982-2e3f-4164-b881-fd3a2e4b2453" providerId="ADAL" clId="{4457FA57-250B-44AC-8655-05D46C5A3D8A}" dt="2023-05-19T10:07:01.052" v="5657" actId="12788"/>
          <ac:spMkLst>
            <pc:docMk/>
            <pc:sldMk cId="1361074498" sldId="230717619"/>
            <ac:spMk id="108" creationId="{58DEFB1E-F7E5-44F2-A83B-7C22B252C1BF}"/>
          </ac:spMkLst>
        </pc:spChg>
        <pc:spChg chg="mod">
          <ac:chgData name="El Bakkouri, Manal" userId="8b130982-2e3f-4164-b881-fd3a2e4b2453" providerId="ADAL" clId="{4457FA57-250B-44AC-8655-05D46C5A3D8A}" dt="2023-05-18T11:08:25.133" v="3366"/>
          <ac:spMkLst>
            <pc:docMk/>
            <pc:sldMk cId="1361074498" sldId="230717619"/>
            <ac:spMk id="109" creationId="{180185E7-F8F4-44B2-9B7C-9BA1C1C62858}"/>
          </ac:spMkLst>
        </pc:spChg>
        <pc:spChg chg="add mod">
          <ac:chgData name="El Bakkouri, Manal" userId="8b130982-2e3f-4164-b881-fd3a2e4b2453" providerId="ADAL" clId="{4457FA57-250B-44AC-8655-05D46C5A3D8A}" dt="2023-05-19T10:07:01.052" v="5657" actId="12788"/>
          <ac:spMkLst>
            <pc:docMk/>
            <pc:sldMk cId="1361074498" sldId="230717619"/>
            <ac:spMk id="109" creationId="{84269065-2355-4B01-8F50-124E9C938CAE}"/>
          </ac:spMkLst>
        </pc:spChg>
        <pc:spChg chg="mod">
          <ac:chgData name="El Bakkouri, Manal" userId="8b130982-2e3f-4164-b881-fd3a2e4b2453" providerId="ADAL" clId="{4457FA57-250B-44AC-8655-05D46C5A3D8A}" dt="2023-05-18T11:08:25.133" v="3366"/>
          <ac:spMkLst>
            <pc:docMk/>
            <pc:sldMk cId="1361074498" sldId="230717619"/>
            <ac:spMk id="110" creationId="{23D64DD2-17BE-4BBA-850E-A6609E22938B}"/>
          </ac:spMkLst>
        </pc:spChg>
        <pc:spChg chg="add mod">
          <ac:chgData name="El Bakkouri, Manal" userId="8b130982-2e3f-4164-b881-fd3a2e4b2453" providerId="ADAL" clId="{4457FA57-250B-44AC-8655-05D46C5A3D8A}" dt="2023-05-19T10:07:01.052" v="5657" actId="12788"/>
          <ac:spMkLst>
            <pc:docMk/>
            <pc:sldMk cId="1361074498" sldId="230717619"/>
            <ac:spMk id="110" creationId="{DF143A18-9245-4412-95CD-D1FA3AA3A3AA}"/>
          </ac:spMkLst>
        </pc:spChg>
        <pc:spChg chg="mod">
          <ac:chgData name="El Bakkouri, Manal" userId="8b130982-2e3f-4164-b881-fd3a2e4b2453" providerId="ADAL" clId="{4457FA57-250B-44AC-8655-05D46C5A3D8A}" dt="2023-05-18T11:08:25.133" v="3366"/>
          <ac:spMkLst>
            <pc:docMk/>
            <pc:sldMk cId="1361074498" sldId="230717619"/>
            <ac:spMk id="111" creationId="{AAA9C1F3-977A-4F80-9C7B-32485EAC95F7}"/>
          </ac:spMkLst>
        </pc:spChg>
        <pc:spChg chg="mod">
          <ac:chgData name="El Bakkouri, Manal" userId="8b130982-2e3f-4164-b881-fd3a2e4b2453" providerId="ADAL" clId="{4457FA57-250B-44AC-8655-05D46C5A3D8A}" dt="2023-05-19T10:07:01.052" v="5657" actId="12788"/>
          <ac:spMkLst>
            <pc:docMk/>
            <pc:sldMk cId="1361074498" sldId="230717619"/>
            <ac:spMk id="112" creationId="{05E5072D-0C09-4814-B60D-094B92CC3C6C}"/>
          </ac:spMkLst>
        </pc:spChg>
        <pc:spChg chg="mod">
          <ac:chgData name="El Bakkouri, Manal" userId="8b130982-2e3f-4164-b881-fd3a2e4b2453" providerId="ADAL" clId="{4457FA57-250B-44AC-8655-05D46C5A3D8A}" dt="2023-05-18T11:08:25.133" v="3366"/>
          <ac:spMkLst>
            <pc:docMk/>
            <pc:sldMk cId="1361074498" sldId="230717619"/>
            <ac:spMk id="112" creationId="{2727B347-06C8-4395-BB18-11E8FD4DB661}"/>
          </ac:spMkLst>
        </pc:spChg>
        <pc:spChg chg="mod">
          <ac:chgData name="El Bakkouri, Manal" userId="8b130982-2e3f-4164-b881-fd3a2e4b2453" providerId="ADAL" clId="{4457FA57-250B-44AC-8655-05D46C5A3D8A}" dt="2023-05-18T11:08:25.133" v="3366"/>
          <ac:spMkLst>
            <pc:docMk/>
            <pc:sldMk cId="1361074498" sldId="230717619"/>
            <ac:spMk id="113" creationId="{676CB5B8-13DE-4719-ACF9-AD6067E6CE81}"/>
          </ac:spMkLst>
        </pc:spChg>
        <pc:spChg chg="mod">
          <ac:chgData name="El Bakkouri, Manal" userId="8b130982-2e3f-4164-b881-fd3a2e4b2453" providerId="ADAL" clId="{4457FA57-250B-44AC-8655-05D46C5A3D8A}" dt="2023-05-19T10:07:01.052" v="5657" actId="12788"/>
          <ac:spMkLst>
            <pc:docMk/>
            <pc:sldMk cId="1361074498" sldId="230717619"/>
            <ac:spMk id="113" creationId="{9CC4D8C2-B827-4BBA-A96B-17FBA454F905}"/>
          </ac:spMkLst>
        </pc:spChg>
        <pc:spChg chg="mod">
          <ac:chgData name="El Bakkouri, Manal" userId="8b130982-2e3f-4164-b881-fd3a2e4b2453" providerId="ADAL" clId="{4457FA57-250B-44AC-8655-05D46C5A3D8A}" dt="2023-05-18T11:08:25.133" v="3366"/>
          <ac:spMkLst>
            <pc:docMk/>
            <pc:sldMk cId="1361074498" sldId="230717619"/>
            <ac:spMk id="114" creationId="{A41744E2-01E8-4BA1-B33F-B875E159DFDF}"/>
          </ac:spMkLst>
        </pc:spChg>
        <pc:spChg chg="mod">
          <ac:chgData name="El Bakkouri, Manal" userId="8b130982-2e3f-4164-b881-fd3a2e4b2453" providerId="ADAL" clId="{4457FA57-250B-44AC-8655-05D46C5A3D8A}" dt="2023-05-18T11:08:25.133" v="3366"/>
          <ac:spMkLst>
            <pc:docMk/>
            <pc:sldMk cId="1361074498" sldId="230717619"/>
            <ac:spMk id="115" creationId="{37CFD0CF-2293-4FF6-BDE8-9A990E3E3453}"/>
          </ac:spMkLst>
        </pc:spChg>
        <pc:spChg chg="mod">
          <ac:chgData name="El Bakkouri, Manal" userId="8b130982-2e3f-4164-b881-fd3a2e4b2453" providerId="ADAL" clId="{4457FA57-250B-44AC-8655-05D46C5A3D8A}" dt="2023-05-19T10:07:01.052" v="5657" actId="12788"/>
          <ac:spMkLst>
            <pc:docMk/>
            <pc:sldMk cId="1361074498" sldId="230717619"/>
            <ac:spMk id="115" creationId="{ABBC6EE2-CC6F-4472-AC02-0E933762A85A}"/>
          </ac:spMkLst>
        </pc:spChg>
        <pc:spChg chg="mod">
          <ac:chgData name="El Bakkouri, Manal" userId="8b130982-2e3f-4164-b881-fd3a2e4b2453" providerId="ADAL" clId="{4457FA57-250B-44AC-8655-05D46C5A3D8A}" dt="2023-05-19T10:07:01.052" v="5657" actId="12788"/>
          <ac:spMkLst>
            <pc:docMk/>
            <pc:sldMk cId="1361074498" sldId="230717619"/>
            <ac:spMk id="116" creationId="{048364CF-A616-44EA-A5A5-1A93F495C315}"/>
          </ac:spMkLst>
        </pc:spChg>
        <pc:spChg chg="mod">
          <ac:chgData name="El Bakkouri, Manal" userId="8b130982-2e3f-4164-b881-fd3a2e4b2453" providerId="ADAL" clId="{4457FA57-250B-44AC-8655-05D46C5A3D8A}" dt="2023-05-18T11:08:25.133" v="3366"/>
          <ac:spMkLst>
            <pc:docMk/>
            <pc:sldMk cId="1361074498" sldId="230717619"/>
            <ac:spMk id="116" creationId="{770A0C60-B034-454F-B3BE-827DD2BFA27F}"/>
          </ac:spMkLst>
        </pc:spChg>
        <pc:spChg chg="mod">
          <ac:chgData name="El Bakkouri, Manal" userId="8b130982-2e3f-4164-b881-fd3a2e4b2453" providerId="ADAL" clId="{4457FA57-250B-44AC-8655-05D46C5A3D8A}" dt="2023-05-18T11:08:25.133" v="3366"/>
          <ac:spMkLst>
            <pc:docMk/>
            <pc:sldMk cId="1361074498" sldId="230717619"/>
            <ac:spMk id="117" creationId="{D559F24C-1EA7-4CF0-9F3C-B8BF32092D4F}"/>
          </ac:spMkLst>
        </pc:spChg>
        <pc:spChg chg="mod">
          <ac:chgData name="El Bakkouri, Manal" userId="8b130982-2e3f-4164-b881-fd3a2e4b2453" providerId="ADAL" clId="{4457FA57-250B-44AC-8655-05D46C5A3D8A}" dt="2023-05-19T10:07:01.052" v="5657" actId="12788"/>
          <ac:spMkLst>
            <pc:docMk/>
            <pc:sldMk cId="1361074498" sldId="230717619"/>
            <ac:spMk id="118" creationId="{0EA9C6D6-9B39-4DE8-8DB3-CFFDE607EF1D}"/>
          </ac:spMkLst>
        </pc:spChg>
        <pc:spChg chg="mod">
          <ac:chgData name="El Bakkouri, Manal" userId="8b130982-2e3f-4164-b881-fd3a2e4b2453" providerId="ADAL" clId="{4457FA57-250B-44AC-8655-05D46C5A3D8A}" dt="2023-05-18T11:08:25.133" v="3366"/>
          <ac:spMkLst>
            <pc:docMk/>
            <pc:sldMk cId="1361074498" sldId="230717619"/>
            <ac:spMk id="118" creationId="{A17C6BAC-0FB8-41D6-9338-63679EF3FB74}"/>
          </ac:spMkLst>
        </pc:spChg>
        <pc:spChg chg="mod">
          <ac:chgData name="El Bakkouri, Manal" userId="8b130982-2e3f-4164-b881-fd3a2e4b2453" providerId="ADAL" clId="{4457FA57-250B-44AC-8655-05D46C5A3D8A}" dt="2023-05-18T11:08:25.133" v="3366"/>
          <ac:spMkLst>
            <pc:docMk/>
            <pc:sldMk cId="1361074498" sldId="230717619"/>
            <ac:spMk id="119" creationId="{C1579DE4-816F-4226-92BE-67C0FCB19CD9}"/>
          </ac:spMkLst>
        </pc:spChg>
        <pc:spChg chg="mod">
          <ac:chgData name="El Bakkouri, Manal" userId="8b130982-2e3f-4164-b881-fd3a2e4b2453" providerId="ADAL" clId="{4457FA57-250B-44AC-8655-05D46C5A3D8A}" dt="2023-05-19T10:07:01.052" v="5657" actId="12788"/>
          <ac:spMkLst>
            <pc:docMk/>
            <pc:sldMk cId="1361074498" sldId="230717619"/>
            <ac:spMk id="119" creationId="{D103E8F4-42FA-446C-B77C-E0716F2ED7F1}"/>
          </ac:spMkLst>
        </pc:spChg>
        <pc:spChg chg="mod">
          <ac:chgData name="El Bakkouri, Manal" userId="8b130982-2e3f-4164-b881-fd3a2e4b2453" providerId="ADAL" clId="{4457FA57-250B-44AC-8655-05D46C5A3D8A}" dt="2023-05-18T11:08:25.133" v="3366"/>
          <ac:spMkLst>
            <pc:docMk/>
            <pc:sldMk cId="1361074498" sldId="230717619"/>
            <ac:spMk id="121" creationId="{1B167EE7-C015-4472-9E7A-76AEC11853B5}"/>
          </ac:spMkLst>
        </pc:spChg>
        <pc:spChg chg="mod">
          <ac:chgData name="El Bakkouri, Manal" userId="8b130982-2e3f-4164-b881-fd3a2e4b2453" providerId="ADAL" clId="{4457FA57-250B-44AC-8655-05D46C5A3D8A}" dt="2023-05-19T10:07:01.052" v="5657" actId="12788"/>
          <ac:spMkLst>
            <pc:docMk/>
            <pc:sldMk cId="1361074498" sldId="230717619"/>
            <ac:spMk id="121" creationId="{7F7E6C05-7A41-43C3-B613-E527DF4A8C7C}"/>
          </ac:spMkLst>
        </pc:spChg>
        <pc:spChg chg="mod">
          <ac:chgData name="El Bakkouri, Manal" userId="8b130982-2e3f-4164-b881-fd3a2e4b2453" providerId="ADAL" clId="{4457FA57-250B-44AC-8655-05D46C5A3D8A}" dt="2023-05-19T10:07:01.052" v="5657" actId="12788"/>
          <ac:spMkLst>
            <pc:docMk/>
            <pc:sldMk cId="1361074498" sldId="230717619"/>
            <ac:spMk id="122" creationId="{85E9E99D-01AF-44D6-B63E-4EB5008EE338}"/>
          </ac:spMkLst>
        </pc:spChg>
        <pc:spChg chg="mod">
          <ac:chgData name="El Bakkouri, Manal" userId="8b130982-2e3f-4164-b881-fd3a2e4b2453" providerId="ADAL" clId="{4457FA57-250B-44AC-8655-05D46C5A3D8A}" dt="2023-05-18T11:08:25.133" v="3366"/>
          <ac:spMkLst>
            <pc:docMk/>
            <pc:sldMk cId="1361074498" sldId="230717619"/>
            <ac:spMk id="122" creationId="{AFC7209B-777F-43CC-B17A-DB5F4581CE7B}"/>
          </ac:spMkLst>
        </pc:spChg>
        <pc:spChg chg="add mod">
          <ac:chgData name="El Bakkouri, Manal" userId="8b130982-2e3f-4164-b881-fd3a2e4b2453" providerId="ADAL" clId="{4457FA57-250B-44AC-8655-05D46C5A3D8A}" dt="2023-05-19T10:06:18.642" v="5632" actId="408"/>
          <ac:spMkLst>
            <pc:docMk/>
            <pc:sldMk cId="1361074498" sldId="230717619"/>
            <ac:spMk id="123" creationId="{E73262EC-059D-4763-9B15-4B22450E690E}"/>
          </ac:spMkLst>
        </pc:spChg>
        <pc:spChg chg="add del mod topLvl">
          <ac:chgData name="El Bakkouri, Manal" userId="8b130982-2e3f-4164-b881-fd3a2e4b2453" providerId="ADAL" clId="{4457FA57-250B-44AC-8655-05D46C5A3D8A}" dt="2023-05-19T10:03:54.114" v="5608" actId="478"/>
          <ac:spMkLst>
            <pc:docMk/>
            <pc:sldMk cId="1361074498" sldId="230717619"/>
            <ac:spMk id="125" creationId="{4125DE38-2985-418C-B401-7E170BA61DDC}"/>
          </ac:spMkLst>
        </pc:spChg>
        <pc:spChg chg="add del mod">
          <ac:chgData name="El Bakkouri, Manal" userId="8b130982-2e3f-4164-b881-fd3a2e4b2453" providerId="ADAL" clId="{4457FA57-250B-44AC-8655-05D46C5A3D8A}" dt="2023-05-18T11:16:08.665" v="3447"/>
          <ac:spMkLst>
            <pc:docMk/>
            <pc:sldMk cId="1361074498" sldId="230717619"/>
            <ac:spMk id="130" creationId="{C0A5D032-11EE-47A1-8921-7589EC6C87E4}"/>
          </ac:spMkLst>
        </pc:spChg>
        <pc:spChg chg="mod">
          <ac:chgData name="El Bakkouri, Manal" userId="8b130982-2e3f-4164-b881-fd3a2e4b2453" providerId="ADAL" clId="{4457FA57-250B-44AC-8655-05D46C5A3D8A}" dt="2023-05-19T10:07:01.052" v="5657" actId="12788"/>
          <ac:spMkLst>
            <pc:docMk/>
            <pc:sldMk cId="1361074498" sldId="230717619"/>
            <ac:spMk id="131" creationId="{BE3C08E4-6E44-4BF2-A326-281BF50B6C33}"/>
          </ac:spMkLst>
        </pc:spChg>
        <pc:spChg chg="add del mod">
          <ac:chgData name="El Bakkouri, Manal" userId="8b130982-2e3f-4164-b881-fd3a2e4b2453" providerId="ADAL" clId="{4457FA57-250B-44AC-8655-05D46C5A3D8A}" dt="2023-05-18T11:16:08.665" v="3447"/>
          <ac:spMkLst>
            <pc:docMk/>
            <pc:sldMk cId="1361074498" sldId="230717619"/>
            <ac:spMk id="131" creationId="{C538D30B-EED3-41F5-A30E-6A135C38F0B8}"/>
          </ac:spMkLst>
        </pc:spChg>
        <pc:spChg chg="mod">
          <ac:chgData name="El Bakkouri, Manal" userId="8b130982-2e3f-4164-b881-fd3a2e4b2453" providerId="ADAL" clId="{4457FA57-250B-44AC-8655-05D46C5A3D8A}" dt="2023-05-19T10:07:01.052" v="5657" actId="12788"/>
          <ac:spMkLst>
            <pc:docMk/>
            <pc:sldMk cId="1361074498" sldId="230717619"/>
            <ac:spMk id="132" creationId="{2611A8C1-AFDB-4178-85E1-3B60BA57E1D0}"/>
          </ac:spMkLst>
        </pc:spChg>
        <pc:spChg chg="add del mod">
          <ac:chgData name="El Bakkouri, Manal" userId="8b130982-2e3f-4164-b881-fd3a2e4b2453" providerId="ADAL" clId="{4457FA57-250B-44AC-8655-05D46C5A3D8A}" dt="2023-05-18T11:16:08.665" v="3447"/>
          <ac:spMkLst>
            <pc:docMk/>
            <pc:sldMk cId="1361074498" sldId="230717619"/>
            <ac:spMk id="132" creationId="{4B7E389E-57FE-4EAD-86C6-9DC69920F3ED}"/>
          </ac:spMkLst>
        </pc:spChg>
        <pc:spChg chg="add del mod">
          <ac:chgData name="El Bakkouri, Manal" userId="8b130982-2e3f-4164-b881-fd3a2e4b2453" providerId="ADAL" clId="{4457FA57-250B-44AC-8655-05D46C5A3D8A}" dt="2023-05-18T11:16:08.665" v="3447"/>
          <ac:spMkLst>
            <pc:docMk/>
            <pc:sldMk cId="1361074498" sldId="230717619"/>
            <ac:spMk id="133" creationId="{CA9DCCDB-F4EC-4B1C-81E9-B7739541AFA4}"/>
          </ac:spMkLst>
        </pc:spChg>
        <pc:spChg chg="mod">
          <ac:chgData name="El Bakkouri, Manal" userId="8b130982-2e3f-4164-b881-fd3a2e4b2453" providerId="ADAL" clId="{4457FA57-250B-44AC-8655-05D46C5A3D8A}" dt="2023-05-19T10:07:01.052" v="5657" actId="12788"/>
          <ac:spMkLst>
            <pc:docMk/>
            <pc:sldMk cId="1361074498" sldId="230717619"/>
            <ac:spMk id="134" creationId="{4DDEB67B-CF44-45BB-80D3-5D35EFBFE635}"/>
          </ac:spMkLst>
        </pc:spChg>
        <pc:spChg chg="add del mod">
          <ac:chgData name="El Bakkouri, Manal" userId="8b130982-2e3f-4164-b881-fd3a2e4b2453" providerId="ADAL" clId="{4457FA57-250B-44AC-8655-05D46C5A3D8A}" dt="2023-05-18T11:16:08.665" v="3447"/>
          <ac:spMkLst>
            <pc:docMk/>
            <pc:sldMk cId="1361074498" sldId="230717619"/>
            <ac:spMk id="134" creationId="{D970187A-A4D6-460E-9687-7D990BADD253}"/>
          </ac:spMkLst>
        </pc:spChg>
        <pc:spChg chg="mod">
          <ac:chgData name="El Bakkouri, Manal" userId="8b130982-2e3f-4164-b881-fd3a2e4b2453" providerId="ADAL" clId="{4457FA57-250B-44AC-8655-05D46C5A3D8A}" dt="2023-05-19T10:07:01.052" v="5657" actId="12788"/>
          <ac:spMkLst>
            <pc:docMk/>
            <pc:sldMk cId="1361074498" sldId="230717619"/>
            <ac:spMk id="135" creationId="{190D082F-4DCC-4533-A577-5F159BD7ABB9}"/>
          </ac:spMkLst>
        </pc:spChg>
        <pc:spChg chg="add del mod">
          <ac:chgData name="El Bakkouri, Manal" userId="8b130982-2e3f-4164-b881-fd3a2e4b2453" providerId="ADAL" clId="{4457FA57-250B-44AC-8655-05D46C5A3D8A}" dt="2023-05-18T11:16:08.665" v="3447"/>
          <ac:spMkLst>
            <pc:docMk/>
            <pc:sldMk cId="1361074498" sldId="230717619"/>
            <ac:spMk id="135" creationId="{80FA4087-8EE8-4DB1-AC23-A2C2A6CD7BB1}"/>
          </ac:spMkLst>
        </pc:spChg>
        <pc:spChg chg="add del mod">
          <ac:chgData name="El Bakkouri, Manal" userId="8b130982-2e3f-4164-b881-fd3a2e4b2453" providerId="ADAL" clId="{4457FA57-250B-44AC-8655-05D46C5A3D8A}" dt="2023-05-18T11:16:08.665" v="3447"/>
          <ac:spMkLst>
            <pc:docMk/>
            <pc:sldMk cId="1361074498" sldId="230717619"/>
            <ac:spMk id="136" creationId="{85B273FE-C69A-45D2-9A30-617F30B44716}"/>
          </ac:spMkLst>
        </pc:spChg>
        <pc:spChg chg="mod">
          <ac:chgData name="El Bakkouri, Manal" userId="8b130982-2e3f-4164-b881-fd3a2e4b2453" providerId="ADAL" clId="{4457FA57-250B-44AC-8655-05D46C5A3D8A}" dt="2023-05-19T10:07:01.052" v="5657" actId="12788"/>
          <ac:spMkLst>
            <pc:docMk/>
            <pc:sldMk cId="1361074498" sldId="230717619"/>
            <ac:spMk id="137" creationId="{66D2148B-52F9-4607-8149-E803335E9BB4}"/>
          </ac:spMkLst>
        </pc:spChg>
        <pc:spChg chg="mod">
          <ac:chgData name="El Bakkouri, Manal" userId="8b130982-2e3f-4164-b881-fd3a2e4b2453" providerId="ADAL" clId="{4457FA57-250B-44AC-8655-05D46C5A3D8A}" dt="2023-05-19T10:07:01.052" v="5657" actId="12788"/>
          <ac:spMkLst>
            <pc:docMk/>
            <pc:sldMk cId="1361074498" sldId="230717619"/>
            <ac:spMk id="138" creationId="{9AACDE34-84F5-42D0-80DC-3BA4443B6B6A}"/>
          </ac:spMkLst>
        </pc:spChg>
        <pc:spChg chg="mod">
          <ac:chgData name="El Bakkouri, Manal" userId="8b130982-2e3f-4164-b881-fd3a2e4b2453" providerId="ADAL" clId="{4457FA57-250B-44AC-8655-05D46C5A3D8A}" dt="2023-05-19T10:07:01.052" v="5657" actId="12788"/>
          <ac:spMkLst>
            <pc:docMk/>
            <pc:sldMk cId="1361074498" sldId="230717619"/>
            <ac:spMk id="140" creationId="{7D6B8B8F-A2A5-4ED6-B8D4-CC71DB2C1397}"/>
          </ac:spMkLst>
        </pc:spChg>
        <pc:spChg chg="mod">
          <ac:chgData name="El Bakkouri, Manal" userId="8b130982-2e3f-4164-b881-fd3a2e4b2453" providerId="ADAL" clId="{4457FA57-250B-44AC-8655-05D46C5A3D8A}" dt="2023-05-19T10:07:01.052" v="5657" actId="12788"/>
          <ac:spMkLst>
            <pc:docMk/>
            <pc:sldMk cId="1361074498" sldId="230717619"/>
            <ac:spMk id="141" creationId="{7DDDD926-A079-4F86-B886-AD81DBEBCD28}"/>
          </ac:spMkLst>
        </pc:spChg>
        <pc:spChg chg="mod">
          <ac:chgData name="El Bakkouri, Manal" userId="8b130982-2e3f-4164-b881-fd3a2e4b2453" providerId="ADAL" clId="{4457FA57-250B-44AC-8655-05D46C5A3D8A}" dt="2023-05-19T10:07:01.052" v="5657" actId="12788"/>
          <ac:spMkLst>
            <pc:docMk/>
            <pc:sldMk cId="1361074498" sldId="230717619"/>
            <ac:spMk id="143" creationId="{B12FC270-B24F-4979-AB9B-E357769E1330}"/>
          </ac:spMkLst>
        </pc:spChg>
        <pc:spChg chg="mod">
          <ac:chgData name="El Bakkouri, Manal" userId="8b130982-2e3f-4164-b881-fd3a2e4b2453" providerId="ADAL" clId="{4457FA57-250B-44AC-8655-05D46C5A3D8A}" dt="2023-05-19T10:07:01.052" v="5657" actId="12788"/>
          <ac:spMkLst>
            <pc:docMk/>
            <pc:sldMk cId="1361074498" sldId="230717619"/>
            <ac:spMk id="145" creationId="{3EA5B6A3-83A8-432C-AD61-AFB55C5A5841}"/>
          </ac:spMkLst>
        </pc:spChg>
        <pc:spChg chg="mod">
          <ac:chgData name="El Bakkouri, Manal" userId="8b130982-2e3f-4164-b881-fd3a2e4b2453" providerId="ADAL" clId="{4457FA57-250B-44AC-8655-05D46C5A3D8A}" dt="2023-05-19T10:07:01.052" v="5657" actId="12788"/>
          <ac:spMkLst>
            <pc:docMk/>
            <pc:sldMk cId="1361074498" sldId="230717619"/>
            <ac:spMk id="146" creationId="{CE9C7660-0876-470C-AA0B-151549787783}"/>
          </ac:spMkLst>
        </pc:spChg>
        <pc:spChg chg="add del mod">
          <ac:chgData name="El Bakkouri, Manal" userId="8b130982-2e3f-4164-b881-fd3a2e4b2453" providerId="ADAL" clId="{4457FA57-250B-44AC-8655-05D46C5A3D8A}" dt="2023-05-18T11:16:08.665" v="3447"/>
          <ac:spMkLst>
            <pc:docMk/>
            <pc:sldMk cId="1361074498" sldId="230717619"/>
            <ac:spMk id="147" creationId="{141D9D47-3172-407B-A9F5-01A0B5937415}"/>
          </ac:spMkLst>
        </pc:spChg>
        <pc:spChg chg="add mod">
          <ac:chgData name="El Bakkouri, Manal" userId="8b130982-2e3f-4164-b881-fd3a2e4b2453" providerId="ADAL" clId="{4457FA57-250B-44AC-8655-05D46C5A3D8A}" dt="2023-05-19T10:07:24.078" v="5660" actId="207"/>
          <ac:spMkLst>
            <pc:docMk/>
            <pc:sldMk cId="1361074498" sldId="230717619"/>
            <ac:spMk id="147" creationId="{6E4A6147-31B1-486D-BA1B-9D817F9062F9}"/>
          </ac:spMkLst>
        </pc:spChg>
        <pc:spChg chg="add del mod">
          <ac:chgData name="El Bakkouri, Manal" userId="8b130982-2e3f-4164-b881-fd3a2e4b2453" providerId="ADAL" clId="{4457FA57-250B-44AC-8655-05D46C5A3D8A}" dt="2023-05-18T11:16:08.665" v="3447"/>
          <ac:spMkLst>
            <pc:docMk/>
            <pc:sldMk cId="1361074498" sldId="230717619"/>
            <ac:spMk id="148" creationId="{7DEECD79-BB1F-41D5-A2D4-C8C92B8C65D5}"/>
          </ac:spMkLst>
        </pc:spChg>
        <pc:spChg chg="add del mod">
          <ac:chgData name="El Bakkouri, Manal" userId="8b130982-2e3f-4164-b881-fd3a2e4b2453" providerId="ADAL" clId="{4457FA57-250B-44AC-8655-05D46C5A3D8A}" dt="2023-05-18T11:16:08.665" v="3447"/>
          <ac:spMkLst>
            <pc:docMk/>
            <pc:sldMk cId="1361074498" sldId="230717619"/>
            <ac:spMk id="149" creationId="{544242E0-073A-4609-B50A-D7184EF3D2BC}"/>
          </ac:spMkLst>
        </pc:spChg>
        <pc:spChg chg="add mod">
          <ac:chgData name="El Bakkouri, Manal" userId="8b130982-2e3f-4164-b881-fd3a2e4b2453" providerId="ADAL" clId="{4457FA57-250B-44AC-8655-05D46C5A3D8A}" dt="2023-05-19T10:07:01.052" v="5657" actId="12788"/>
          <ac:spMkLst>
            <pc:docMk/>
            <pc:sldMk cId="1361074498" sldId="230717619"/>
            <ac:spMk id="149" creationId="{B5A6054A-3505-44E9-B685-A1324FBB9D01}"/>
          </ac:spMkLst>
        </pc:spChg>
        <pc:spChg chg="add del mod">
          <ac:chgData name="El Bakkouri, Manal" userId="8b130982-2e3f-4164-b881-fd3a2e4b2453" providerId="ADAL" clId="{4457FA57-250B-44AC-8655-05D46C5A3D8A}" dt="2023-05-18T11:16:08.665" v="3447"/>
          <ac:spMkLst>
            <pc:docMk/>
            <pc:sldMk cId="1361074498" sldId="230717619"/>
            <ac:spMk id="150" creationId="{E2EE7791-AC69-42F5-858F-C8FE2B3D697F}"/>
          </ac:spMkLst>
        </pc:spChg>
        <pc:spChg chg="add mod">
          <ac:chgData name="El Bakkouri, Manal" userId="8b130982-2e3f-4164-b881-fd3a2e4b2453" providerId="ADAL" clId="{4457FA57-250B-44AC-8655-05D46C5A3D8A}" dt="2023-05-19T10:07:01.052" v="5657" actId="12788"/>
          <ac:spMkLst>
            <pc:docMk/>
            <pc:sldMk cId="1361074498" sldId="230717619"/>
            <ac:spMk id="151" creationId="{4FD60C4D-7426-4120-9BC5-FC0B3E835E20}"/>
          </ac:spMkLst>
        </pc:spChg>
        <pc:spChg chg="add del mod">
          <ac:chgData name="El Bakkouri, Manal" userId="8b130982-2e3f-4164-b881-fd3a2e4b2453" providerId="ADAL" clId="{4457FA57-250B-44AC-8655-05D46C5A3D8A}" dt="2023-05-18T11:16:08.665" v="3447"/>
          <ac:spMkLst>
            <pc:docMk/>
            <pc:sldMk cId="1361074498" sldId="230717619"/>
            <ac:spMk id="151" creationId="{DC767C03-F092-4035-ADA6-068996F698E0}"/>
          </ac:spMkLst>
        </pc:spChg>
        <pc:spChg chg="add del mod">
          <ac:chgData name="El Bakkouri, Manal" userId="8b130982-2e3f-4164-b881-fd3a2e4b2453" providerId="ADAL" clId="{4457FA57-250B-44AC-8655-05D46C5A3D8A}" dt="2023-05-18T11:16:08.665" v="3447"/>
          <ac:spMkLst>
            <pc:docMk/>
            <pc:sldMk cId="1361074498" sldId="230717619"/>
            <ac:spMk id="153" creationId="{044D606A-ECF1-4064-A554-6DA907E86F62}"/>
          </ac:spMkLst>
        </pc:spChg>
        <pc:spChg chg="add mod">
          <ac:chgData name="El Bakkouri, Manal" userId="8b130982-2e3f-4164-b881-fd3a2e4b2453" providerId="ADAL" clId="{4457FA57-250B-44AC-8655-05D46C5A3D8A}" dt="2023-05-19T10:07:01.052" v="5657" actId="12788"/>
          <ac:spMkLst>
            <pc:docMk/>
            <pc:sldMk cId="1361074498" sldId="230717619"/>
            <ac:spMk id="153" creationId="{E1BC123E-2BDC-4BCB-A4F1-C02C6BE91495}"/>
          </ac:spMkLst>
        </pc:spChg>
        <pc:spChg chg="add del mod">
          <ac:chgData name="El Bakkouri, Manal" userId="8b130982-2e3f-4164-b881-fd3a2e4b2453" providerId="ADAL" clId="{4457FA57-250B-44AC-8655-05D46C5A3D8A}" dt="2023-05-18T11:16:08.665" v="3447"/>
          <ac:spMkLst>
            <pc:docMk/>
            <pc:sldMk cId="1361074498" sldId="230717619"/>
            <ac:spMk id="154" creationId="{4EEF571C-A560-4067-BFDA-3FE006649DB8}"/>
          </ac:spMkLst>
        </pc:spChg>
        <pc:spChg chg="add del mod">
          <ac:chgData name="El Bakkouri, Manal" userId="8b130982-2e3f-4164-b881-fd3a2e4b2453" providerId="ADAL" clId="{4457FA57-250B-44AC-8655-05D46C5A3D8A}" dt="2023-05-18T11:16:08.665" v="3447"/>
          <ac:spMkLst>
            <pc:docMk/>
            <pc:sldMk cId="1361074498" sldId="230717619"/>
            <ac:spMk id="155" creationId="{40D70EF2-C05E-4CA1-8A72-F2D816CF31CA}"/>
          </ac:spMkLst>
        </pc:spChg>
        <pc:spChg chg="add mod">
          <ac:chgData name="El Bakkouri, Manal" userId="8b130982-2e3f-4164-b881-fd3a2e4b2453" providerId="ADAL" clId="{4457FA57-250B-44AC-8655-05D46C5A3D8A}" dt="2023-05-19T10:07:01.052" v="5657" actId="12788"/>
          <ac:spMkLst>
            <pc:docMk/>
            <pc:sldMk cId="1361074498" sldId="230717619"/>
            <ac:spMk id="155" creationId="{AB7003C4-C457-4DDD-862A-C07B611793DC}"/>
          </ac:spMkLst>
        </pc:spChg>
        <pc:spChg chg="add del mod">
          <ac:chgData name="El Bakkouri, Manal" userId="8b130982-2e3f-4164-b881-fd3a2e4b2453" providerId="ADAL" clId="{4457FA57-250B-44AC-8655-05D46C5A3D8A}" dt="2023-05-18T11:16:08.665" v="3447"/>
          <ac:spMkLst>
            <pc:docMk/>
            <pc:sldMk cId="1361074498" sldId="230717619"/>
            <ac:spMk id="156" creationId="{8ACFA75E-9584-44D3-99C4-CE8396B19772}"/>
          </ac:spMkLst>
        </pc:spChg>
        <pc:spChg chg="add del mod">
          <ac:chgData name="El Bakkouri, Manal" userId="8b130982-2e3f-4164-b881-fd3a2e4b2453" providerId="ADAL" clId="{4457FA57-250B-44AC-8655-05D46C5A3D8A}" dt="2023-05-18T11:16:08.665" v="3447"/>
          <ac:spMkLst>
            <pc:docMk/>
            <pc:sldMk cId="1361074498" sldId="230717619"/>
            <ac:spMk id="157" creationId="{7BC608A5-AF46-4376-808E-347A779141AB}"/>
          </ac:spMkLst>
        </pc:spChg>
        <pc:spChg chg="add mod">
          <ac:chgData name="El Bakkouri, Manal" userId="8b130982-2e3f-4164-b881-fd3a2e4b2453" providerId="ADAL" clId="{4457FA57-250B-44AC-8655-05D46C5A3D8A}" dt="2023-05-19T10:07:01.052" v="5657" actId="12788"/>
          <ac:spMkLst>
            <pc:docMk/>
            <pc:sldMk cId="1361074498" sldId="230717619"/>
            <ac:spMk id="158" creationId="{9C45D763-B842-4FBD-B4DA-04077917FC39}"/>
          </ac:spMkLst>
        </pc:spChg>
        <pc:spChg chg="add del mod">
          <ac:chgData name="El Bakkouri, Manal" userId="8b130982-2e3f-4164-b881-fd3a2e4b2453" providerId="ADAL" clId="{4457FA57-250B-44AC-8655-05D46C5A3D8A}" dt="2023-05-18T11:16:08.665" v="3447"/>
          <ac:spMkLst>
            <pc:docMk/>
            <pc:sldMk cId="1361074498" sldId="230717619"/>
            <ac:spMk id="159" creationId="{6EB3A463-B0E9-434C-A4E3-123300EDDC55}"/>
          </ac:spMkLst>
        </pc:spChg>
        <pc:spChg chg="add del mod">
          <ac:chgData name="El Bakkouri, Manal" userId="8b130982-2e3f-4164-b881-fd3a2e4b2453" providerId="ADAL" clId="{4457FA57-250B-44AC-8655-05D46C5A3D8A}" dt="2023-05-18T11:16:08.665" v="3447"/>
          <ac:spMkLst>
            <pc:docMk/>
            <pc:sldMk cId="1361074498" sldId="230717619"/>
            <ac:spMk id="160" creationId="{71C107AF-7261-405E-B722-92AE5C6F0E8F}"/>
          </ac:spMkLst>
        </pc:spChg>
        <pc:spChg chg="add mod">
          <ac:chgData name="El Bakkouri, Manal" userId="8b130982-2e3f-4164-b881-fd3a2e4b2453" providerId="ADAL" clId="{4457FA57-250B-44AC-8655-05D46C5A3D8A}" dt="2023-05-19T10:07:01.052" v="5657" actId="12788"/>
          <ac:spMkLst>
            <pc:docMk/>
            <pc:sldMk cId="1361074498" sldId="230717619"/>
            <ac:spMk id="160" creationId="{F9204730-CD39-4F8F-B2A1-1FAE35FC991D}"/>
          </ac:spMkLst>
        </pc:spChg>
        <pc:spChg chg="add del mod">
          <ac:chgData name="El Bakkouri, Manal" userId="8b130982-2e3f-4164-b881-fd3a2e4b2453" providerId="ADAL" clId="{4457FA57-250B-44AC-8655-05D46C5A3D8A}" dt="2023-05-18T11:16:08.665" v="3447"/>
          <ac:spMkLst>
            <pc:docMk/>
            <pc:sldMk cId="1361074498" sldId="230717619"/>
            <ac:spMk id="161" creationId="{F90C3E22-DB0D-4D67-AB6C-C81A82010A8A}"/>
          </ac:spMkLst>
        </pc:spChg>
        <pc:spChg chg="add del mod">
          <ac:chgData name="El Bakkouri, Manal" userId="8b130982-2e3f-4164-b881-fd3a2e4b2453" providerId="ADAL" clId="{4457FA57-250B-44AC-8655-05D46C5A3D8A}" dt="2023-05-18T11:16:08.665" v="3447"/>
          <ac:spMkLst>
            <pc:docMk/>
            <pc:sldMk cId="1361074498" sldId="230717619"/>
            <ac:spMk id="162" creationId="{06D8EB5E-928A-46E2-9F63-434007743B0F}"/>
          </ac:spMkLst>
        </pc:spChg>
        <pc:spChg chg="add mod">
          <ac:chgData name="El Bakkouri, Manal" userId="8b130982-2e3f-4164-b881-fd3a2e4b2453" providerId="ADAL" clId="{4457FA57-250B-44AC-8655-05D46C5A3D8A}" dt="2023-05-19T10:07:01.052" v="5657" actId="12788"/>
          <ac:spMkLst>
            <pc:docMk/>
            <pc:sldMk cId="1361074498" sldId="230717619"/>
            <ac:spMk id="162" creationId="{AE801806-B825-4EB7-B559-04DC2157ECBF}"/>
          </ac:spMkLst>
        </pc:spChg>
        <pc:spChg chg="add del mod">
          <ac:chgData name="El Bakkouri, Manal" userId="8b130982-2e3f-4164-b881-fd3a2e4b2453" providerId="ADAL" clId="{4457FA57-250B-44AC-8655-05D46C5A3D8A}" dt="2023-05-18T11:16:08.665" v="3447"/>
          <ac:spMkLst>
            <pc:docMk/>
            <pc:sldMk cId="1361074498" sldId="230717619"/>
            <ac:spMk id="163" creationId="{5453582B-5CFF-4ECF-BA14-097C10C23381}"/>
          </ac:spMkLst>
        </pc:spChg>
        <pc:spChg chg="add del mod">
          <ac:chgData name="El Bakkouri, Manal" userId="8b130982-2e3f-4164-b881-fd3a2e4b2453" providerId="ADAL" clId="{4457FA57-250B-44AC-8655-05D46C5A3D8A}" dt="2023-05-18T11:16:08.665" v="3447"/>
          <ac:spMkLst>
            <pc:docMk/>
            <pc:sldMk cId="1361074498" sldId="230717619"/>
            <ac:spMk id="164" creationId="{1F8E8A39-5DB6-47AC-B21E-236C86CC49EC}"/>
          </ac:spMkLst>
        </pc:spChg>
        <pc:spChg chg="add mod">
          <ac:chgData name="El Bakkouri, Manal" userId="8b130982-2e3f-4164-b881-fd3a2e4b2453" providerId="ADAL" clId="{4457FA57-250B-44AC-8655-05D46C5A3D8A}" dt="2023-05-19T10:07:01.052" v="5657" actId="12788"/>
          <ac:spMkLst>
            <pc:docMk/>
            <pc:sldMk cId="1361074498" sldId="230717619"/>
            <ac:spMk id="164" creationId="{DC2BD4C7-424E-4C20-9B93-572CD5202BB6}"/>
          </ac:spMkLst>
        </pc:spChg>
        <pc:spChg chg="add del mod">
          <ac:chgData name="El Bakkouri, Manal" userId="8b130982-2e3f-4164-b881-fd3a2e4b2453" providerId="ADAL" clId="{4457FA57-250B-44AC-8655-05D46C5A3D8A}" dt="2023-05-18T11:16:08.665" v="3447"/>
          <ac:spMkLst>
            <pc:docMk/>
            <pc:sldMk cId="1361074498" sldId="230717619"/>
            <ac:spMk id="165" creationId="{7F094347-5DFD-4122-A15D-7895CFFE8486}"/>
          </ac:spMkLst>
        </pc:spChg>
        <pc:spChg chg="add del mod">
          <ac:chgData name="El Bakkouri, Manal" userId="8b130982-2e3f-4164-b881-fd3a2e4b2453" providerId="ADAL" clId="{4457FA57-250B-44AC-8655-05D46C5A3D8A}" dt="2023-05-18T11:16:08.665" v="3447"/>
          <ac:spMkLst>
            <pc:docMk/>
            <pc:sldMk cId="1361074498" sldId="230717619"/>
            <ac:spMk id="166" creationId="{2531BA78-853A-4285-9452-FDAEC40EF32C}"/>
          </ac:spMkLst>
        </pc:spChg>
        <pc:spChg chg="add del mod">
          <ac:chgData name="El Bakkouri, Manal" userId="8b130982-2e3f-4164-b881-fd3a2e4b2453" providerId="ADAL" clId="{4457FA57-250B-44AC-8655-05D46C5A3D8A}" dt="2023-05-18T11:16:08.665" v="3447"/>
          <ac:spMkLst>
            <pc:docMk/>
            <pc:sldMk cId="1361074498" sldId="230717619"/>
            <ac:spMk id="167" creationId="{4B0E8838-D2AB-419F-9068-D390B68108F8}"/>
          </ac:spMkLst>
        </pc:spChg>
        <pc:spChg chg="add del mod">
          <ac:chgData name="El Bakkouri, Manal" userId="8b130982-2e3f-4164-b881-fd3a2e4b2453" providerId="ADAL" clId="{4457FA57-250B-44AC-8655-05D46C5A3D8A}" dt="2023-05-18T11:16:08.665" v="3447"/>
          <ac:spMkLst>
            <pc:docMk/>
            <pc:sldMk cId="1361074498" sldId="230717619"/>
            <ac:spMk id="168" creationId="{8A6F044B-7149-4C22-A61E-6B8C8BCA4C09}"/>
          </ac:spMkLst>
        </pc:spChg>
        <pc:spChg chg="add del mod">
          <ac:chgData name="El Bakkouri, Manal" userId="8b130982-2e3f-4164-b881-fd3a2e4b2453" providerId="ADAL" clId="{4457FA57-250B-44AC-8655-05D46C5A3D8A}" dt="2023-05-18T11:16:08.665" v="3447"/>
          <ac:spMkLst>
            <pc:docMk/>
            <pc:sldMk cId="1361074498" sldId="230717619"/>
            <ac:spMk id="169" creationId="{A8FED9D4-9CA9-4FB1-B13C-F50832450D99}"/>
          </ac:spMkLst>
        </pc:spChg>
        <pc:spChg chg="add del mod">
          <ac:chgData name="El Bakkouri, Manal" userId="8b130982-2e3f-4164-b881-fd3a2e4b2453" providerId="ADAL" clId="{4457FA57-250B-44AC-8655-05D46C5A3D8A}" dt="2023-05-18T11:16:08.665" v="3447"/>
          <ac:spMkLst>
            <pc:docMk/>
            <pc:sldMk cId="1361074498" sldId="230717619"/>
            <ac:spMk id="170" creationId="{63B709A0-E8D8-4012-AC89-5C87E422EEC0}"/>
          </ac:spMkLst>
        </pc:spChg>
        <pc:spChg chg="add del mod">
          <ac:chgData name="El Bakkouri, Manal" userId="8b130982-2e3f-4164-b881-fd3a2e4b2453" providerId="ADAL" clId="{4457FA57-250B-44AC-8655-05D46C5A3D8A}" dt="2023-05-18T11:16:08.665" v="3447"/>
          <ac:spMkLst>
            <pc:docMk/>
            <pc:sldMk cId="1361074498" sldId="230717619"/>
            <ac:spMk id="171" creationId="{FFE2CA36-5897-439C-BDE7-501632C6F03D}"/>
          </ac:spMkLst>
        </pc:spChg>
        <pc:spChg chg="add del mod">
          <ac:chgData name="El Bakkouri, Manal" userId="8b130982-2e3f-4164-b881-fd3a2e4b2453" providerId="ADAL" clId="{4457FA57-250B-44AC-8655-05D46C5A3D8A}" dt="2023-05-18T11:16:08.665" v="3447"/>
          <ac:spMkLst>
            <pc:docMk/>
            <pc:sldMk cId="1361074498" sldId="230717619"/>
            <ac:spMk id="172" creationId="{F95D956D-568F-4E92-985B-B351C8BEFD09}"/>
          </ac:spMkLst>
        </pc:spChg>
        <pc:spChg chg="add del mod">
          <ac:chgData name="El Bakkouri, Manal" userId="8b130982-2e3f-4164-b881-fd3a2e4b2453" providerId="ADAL" clId="{4457FA57-250B-44AC-8655-05D46C5A3D8A}" dt="2023-05-18T11:16:08.665" v="3447"/>
          <ac:spMkLst>
            <pc:docMk/>
            <pc:sldMk cId="1361074498" sldId="230717619"/>
            <ac:spMk id="173" creationId="{871D2784-A2A9-4A8E-BAEB-51F3CD8F6CA7}"/>
          </ac:spMkLst>
        </pc:spChg>
        <pc:spChg chg="add del mod">
          <ac:chgData name="El Bakkouri, Manal" userId="8b130982-2e3f-4164-b881-fd3a2e4b2453" providerId="ADAL" clId="{4457FA57-250B-44AC-8655-05D46C5A3D8A}" dt="2023-05-18T11:16:08.665" v="3447"/>
          <ac:spMkLst>
            <pc:docMk/>
            <pc:sldMk cId="1361074498" sldId="230717619"/>
            <ac:spMk id="174" creationId="{4C907F9B-E788-4D03-8EB9-5EBD1AABD9A4}"/>
          </ac:spMkLst>
        </pc:spChg>
        <pc:spChg chg="add del mod">
          <ac:chgData name="El Bakkouri, Manal" userId="8b130982-2e3f-4164-b881-fd3a2e4b2453" providerId="ADAL" clId="{4457FA57-250B-44AC-8655-05D46C5A3D8A}" dt="2023-05-18T11:16:08.665" v="3447"/>
          <ac:spMkLst>
            <pc:docMk/>
            <pc:sldMk cId="1361074498" sldId="230717619"/>
            <ac:spMk id="175" creationId="{77A8C3BA-E0C5-4189-BCF2-36C9A51F02D4}"/>
          </ac:spMkLst>
        </pc:spChg>
        <pc:spChg chg="add del mod">
          <ac:chgData name="El Bakkouri, Manal" userId="8b130982-2e3f-4164-b881-fd3a2e4b2453" providerId="ADAL" clId="{4457FA57-250B-44AC-8655-05D46C5A3D8A}" dt="2023-05-18T11:16:08.665" v="3447"/>
          <ac:spMkLst>
            <pc:docMk/>
            <pc:sldMk cId="1361074498" sldId="230717619"/>
            <ac:spMk id="176" creationId="{E87537D4-AC19-49E0-8343-A774E3288428}"/>
          </ac:spMkLst>
        </pc:spChg>
        <pc:spChg chg="add del mod">
          <ac:chgData name="El Bakkouri, Manal" userId="8b130982-2e3f-4164-b881-fd3a2e4b2453" providerId="ADAL" clId="{4457FA57-250B-44AC-8655-05D46C5A3D8A}" dt="2023-05-18T11:16:08.665" v="3447"/>
          <ac:spMkLst>
            <pc:docMk/>
            <pc:sldMk cId="1361074498" sldId="230717619"/>
            <ac:spMk id="177" creationId="{DE02B9EF-7556-4105-8E07-678D3AF6DED4}"/>
          </ac:spMkLst>
        </pc:spChg>
        <pc:spChg chg="add del mod">
          <ac:chgData name="El Bakkouri, Manal" userId="8b130982-2e3f-4164-b881-fd3a2e4b2453" providerId="ADAL" clId="{4457FA57-250B-44AC-8655-05D46C5A3D8A}" dt="2023-05-18T11:16:08.665" v="3447"/>
          <ac:spMkLst>
            <pc:docMk/>
            <pc:sldMk cId="1361074498" sldId="230717619"/>
            <ac:spMk id="178" creationId="{E424E141-B052-4DFD-8123-D602E524D0EB}"/>
          </ac:spMkLst>
        </pc:spChg>
        <pc:spChg chg="add del mod">
          <ac:chgData name="El Bakkouri, Manal" userId="8b130982-2e3f-4164-b881-fd3a2e4b2453" providerId="ADAL" clId="{4457FA57-250B-44AC-8655-05D46C5A3D8A}" dt="2023-05-18T11:16:08.665" v="3447"/>
          <ac:spMkLst>
            <pc:docMk/>
            <pc:sldMk cId="1361074498" sldId="230717619"/>
            <ac:spMk id="179" creationId="{B6FB9307-B000-426E-BBEF-5E0AA3568A7C}"/>
          </ac:spMkLst>
        </pc:spChg>
        <pc:spChg chg="add del mod">
          <ac:chgData name="El Bakkouri, Manal" userId="8b130982-2e3f-4164-b881-fd3a2e4b2453" providerId="ADAL" clId="{4457FA57-250B-44AC-8655-05D46C5A3D8A}" dt="2023-05-18T11:16:08.665" v="3447"/>
          <ac:spMkLst>
            <pc:docMk/>
            <pc:sldMk cId="1361074498" sldId="230717619"/>
            <ac:spMk id="180" creationId="{EA08A591-4F2F-44D1-9299-654EB79577F8}"/>
          </ac:spMkLst>
        </pc:spChg>
        <pc:spChg chg="add del mod">
          <ac:chgData name="El Bakkouri, Manal" userId="8b130982-2e3f-4164-b881-fd3a2e4b2453" providerId="ADAL" clId="{4457FA57-250B-44AC-8655-05D46C5A3D8A}" dt="2023-05-18T11:16:08.665" v="3447"/>
          <ac:spMkLst>
            <pc:docMk/>
            <pc:sldMk cId="1361074498" sldId="230717619"/>
            <ac:spMk id="181" creationId="{767BCB97-769E-43F3-B693-8C86BB80A91C}"/>
          </ac:spMkLst>
        </pc:spChg>
        <pc:spChg chg="add del mod">
          <ac:chgData name="El Bakkouri, Manal" userId="8b130982-2e3f-4164-b881-fd3a2e4b2453" providerId="ADAL" clId="{4457FA57-250B-44AC-8655-05D46C5A3D8A}" dt="2023-05-19T09:55:18.986" v="5548" actId="478"/>
          <ac:spMkLst>
            <pc:docMk/>
            <pc:sldMk cId="1361074498" sldId="230717619"/>
            <ac:spMk id="183" creationId="{A8738F16-AAD2-4F9E-8923-A8F19A8EF103}"/>
          </ac:spMkLst>
        </pc:spChg>
        <pc:spChg chg="add del mod">
          <ac:chgData name="El Bakkouri, Manal" userId="8b130982-2e3f-4164-b881-fd3a2e4b2453" providerId="ADAL" clId="{4457FA57-250B-44AC-8655-05D46C5A3D8A}" dt="2023-05-19T09:55:16.661" v="5547" actId="478"/>
          <ac:spMkLst>
            <pc:docMk/>
            <pc:sldMk cId="1361074498" sldId="230717619"/>
            <ac:spMk id="184" creationId="{2E56E2F6-7A06-4DC3-BBBD-2E5D982073D0}"/>
          </ac:spMkLst>
        </pc:spChg>
        <pc:spChg chg="add del mod">
          <ac:chgData name="El Bakkouri, Manal" userId="8b130982-2e3f-4164-b881-fd3a2e4b2453" providerId="ADAL" clId="{4457FA57-250B-44AC-8655-05D46C5A3D8A}" dt="2023-05-19T09:55:18.986" v="5548" actId="478"/>
          <ac:spMkLst>
            <pc:docMk/>
            <pc:sldMk cId="1361074498" sldId="230717619"/>
            <ac:spMk id="185" creationId="{C3537934-5DF0-43BB-AD7C-A52E4CE464DB}"/>
          </ac:spMkLst>
        </pc:spChg>
        <pc:spChg chg="add del mod">
          <ac:chgData name="El Bakkouri, Manal" userId="8b130982-2e3f-4164-b881-fd3a2e4b2453" providerId="ADAL" clId="{4457FA57-250B-44AC-8655-05D46C5A3D8A}" dt="2023-05-19T09:55:18.986" v="5548" actId="478"/>
          <ac:spMkLst>
            <pc:docMk/>
            <pc:sldMk cId="1361074498" sldId="230717619"/>
            <ac:spMk id="186" creationId="{C722F306-1953-4216-ABD8-2D270A00D930}"/>
          </ac:spMkLst>
        </pc:spChg>
        <pc:spChg chg="add del mod">
          <ac:chgData name="El Bakkouri, Manal" userId="8b130982-2e3f-4164-b881-fd3a2e4b2453" providerId="ADAL" clId="{4457FA57-250B-44AC-8655-05D46C5A3D8A}" dt="2023-05-19T09:55:18.986" v="5548" actId="478"/>
          <ac:spMkLst>
            <pc:docMk/>
            <pc:sldMk cId="1361074498" sldId="230717619"/>
            <ac:spMk id="187" creationId="{D27F97AF-E70F-41C9-B4C9-71E504FCFF45}"/>
          </ac:spMkLst>
        </pc:spChg>
        <pc:spChg chg="add del mod">
          <ac:chgData name="El Bakkouri, Manal" userId="8b130982-2e3f-4164-b881-fd3a2e4b2453" providerId="ADAL" clId="{4457FA57-250B-44AC-8655-05D46C5A3D8A}" dt="2023-05-19T09:55:18.986" v="5548" actId="478"/>
          <ac:spMkLst>
            <pc:docMk/>
            <pc:sldMk cId="1361074498" sldId="230717619"/>
            <ac:spMk id="188" creationId="{F4F61132-C7E6-4340-A6A2-20BFA47AD79B}"/>
          </ac:spMkLst>
        </pc:spChg>
        <pc:spChg chg="add del mod">
          <ac:chgData name="El Bakkouri, Manal" userId="8b130982-2e3f-4164-b881-fd3a2e4b2453" providerId="ADAL" clId="{4457FA57-250B-44AC-8655-05D46C5A3D8A}" dt="2023-05-19T09:55:18.986" v="5548" actId="478"/>
          <ac:spMkLst>
            <pc:docMk/>
            <pc:sldMk cId="1361074498" sldId="230717619"/>
            <ac:spMk id="189" creationId="{C689CD1B-E51B-421E-ABB3-23D04EBB1ACD}"/>
          </ac:spMkLst>
        </pc:spChg>
        <pc:spChg chg="add del mod">
          <ac:chgData name="El Bakkouri, Manal" userId="8b130982-2e3f-4164-b881-fd3a2e4b2453" providerId="ADAL" clId="{4457FA57-250B-44AC-8655-05D46C5A3D8A}" dt="2023-05-18T11:17:38.354" v="3451" actId="478"/>
          <ac:spMkLst>
            <pc:docMk/>
            <pc:sldMk cId="1361074498" sldId="230717619"/>
            <ac:spMk id="200" creationId="{142BE354-050C-4E67-BF8C-DE6DD17E79D9}"/>
          </ac:spMkLst>
        </pc:spChg>
        <pc:spChg chg="add del mod">
          <ac:chgData name="El Bakkouri, Manal" userId="8b130982-2e3f-4164-b881-fd3a2e4b2453" providerId="ADAL" clId="{4457FA57-250B-44AC-8655-05D46C5A3D8A}" dt="2023-05-18T11:17:40.671" v="3453" actId="478"/>
          <ac:spMkLst>
            <pc:docMk/>
            <pc:sldMk cId="1361074498" sldId="230717619"/>
            <ac:spMk id="201" creationId="{65B38E6F-56B7-4D41-B6DA-7EC3876AE0F0}"/>
          </ac:spMkLst>
        </pc:spChg>
        <pc:spChg chg="add del mod">
          <ac:chgData name="El Bakkouri, Manal" userId="8b130982-2e3f-4164-b881-fd3a2e4b2453" providerId="ADAL" clId="{4457FA57-250B-44AC-8655-05D46C5A3D8A}" dt="2023-05-19T09:55:18.986" v="5548" actId="478"/>
          <ac:spMkLst>
            <pc:docMk/>
            <pc:sldMk cId="1361074498" sldId="230717619"/>
            <ac:spMk id="203" creationId="{6D06C576-C755-41AF-9E18-8C1A17AC6C4B}"/>
          </ac:spMkLst>
        </pc:spChg>
        <pc:spChg chg="add del mod">
          <ac:chgData name="El Bakkouri, Manal" userId="8b130982-2e3f-4164-b881-fd3a2e4b2453" providerId="ADAL" clId="{4457FA57-250B-44AC-8655-05D46C5A3D8A}" dt="2023-05-18T11:17:44.218" v="3455" actId="478"/>
          <ac:spMkLst>
            <pc:docMk/>
            <pc:sldMk cId="1361074498" sldId="230717619"/>
            <ac:spMk id="204" creationId="{8DC970DC-E51B-4D7C-94D4-C99869656943}"/>
          </ac:spMkLst>
        </pc:spChg>
        <pc:spChg chg="add del mod">
          <ac:chgData name="El Bakkouri, Manal" userId="8b130982-2e3f-4164-b881-fd3a2e4b2453" providerId="ADAL" clId="{4457FA57-250B-44AC-8655-05D46C5A3D8A}" dt="2023-05-19T09:55:18.986" v="5548" actId="478"/>
          <ac:spMkLst>
            <pc:docMk/>
            <pc:sldMk cId="1361074498" sldId="230717619"/>
            <ac:spMk id="206" creationId="{84E1D927-AE43-4432-B391-B92FD93FDE4B}"/>
          </ac:spMkLst>
        </pc:spChg>
        <pc:spChg chg="add del mod">
          <ac:chgData name="El Bakkouri, Manal" userId="8b130982-2e3f-4164-b881-fd3a2e4b2453" providerId="ADAL" clId="{4457FA57-250B-44AC-8655-05D46C5A3D8A}" dt="2023-05-19T09:55:18.986" v="5548" actId="478"/>
          <ac:spMkLst>
            <pc:docMk/>
            <pc:sldMk cId="1361074498" sldId="230717619"/>
            <ac:spMk id="207" creationId="{8C41439A-700E-480A-9092-2AEDA14DAA46}"/>
          </ac:spMkLst>
        </pc:spChg>
        <pc:spChg chg="add del mod">
          <ac:chgData name="El Bakkouri, Manal" userId="8b130982-2e3f-4164-b881-fd3a2e4b2453" providerId="ADAL" clId="{4457FA57-250B-44AC-8655-05D46C5A3D8A}" dt="2023-05-19T09:55:18.986" v="5548" actId="478"/>
          <ac:spMkLst>
            <pc:docMk/>
            <pc:sldMk cId="1361074498" sldId="230717619"/>
            <ac:spMk id="208" creationId="{D6F3B923-0116-4EE3-BB7D-DB2366A6AF47}"/>
          </ac:spMkLst>
        </pc:spChg>
        <pc:spChg chg="add del mod">
          <ac:chgData name="El Bakkouri, Manal" userId="8b130982-2e3f-4164-b881-fd3a2e4b2453" providerId="ADAL" clId="{4457FA57-250B-44AC-8655-05D46C5A3D8A}" dt="2023-05-18T11:17:42.284" v="3454" actId="478"/>
          <ac:spMkLst>
            <pc:docMk/>
            <pc:sldMk cId="1361074498" sldId="230717619"/>
            <ac:spMk id="209" creationId="{D62D6CB9-6751-417E-B453-E11DD7847B4F}"/>
          </ac:spMkLst>
        </pc:spChg>
        <pc:spChg chg="add del mod">
          <ac:chgData name="El Bakkouri, Manal" userId="8b130982-2e3f-4164-b881-fd3a2e4b2453" providerId="ADAL" clId="{4457FA57-250B-44AC-8655-05D46C5A3D8A}" dt="2023-05-18T11:17:37.009" v="3450" actId="478"/>
          <ac:spMkLst>
            <pc:docMk/>
            <pc:sldMk cId="1361074498" sldId="230717619"/>
            <ac:spMk id="210" creationId="{A3CD9EC5-9EF0-4A15-941E-1C50F32BBEDB}"/>
          </ac:spMkLst>
        </pc:spChg>
        <pc:spChg chg="add del mod">
          <ac:chgData name="El Bakkouri, Manal" userId="8b130982-2e3f-4164-b881-fd3a2e4b2453" providerId="ADAL" clId="{4457FA57-250B-44AC-8655-05D46C5A3D8A}" dt="2023-05-19T09:55:18.986" v="5548" actId="478"/>
          <ac:spMkLst>
            <pc:docMk/>
            <pc:sldMk cId="1361074498" sldId="230717619"/>
            <ac:spMk id="211" creationId="{8A4EAA24-F9B7-49A9-950D-B0CA25DC45C8}"/>
          </ac:spMkLst>
        </pc:spChg>
        <pc:spChg chg="add del mod">
          <ac:chgData name="El Bakkouri, Manal" userId="8b130982-2e3f-4164-b881-fd3a2e4b2453" providerId="ADAL" clId="{4457FA57-250B-44AC-8655-05D46C5A3D8A}" dt="2023-05-19T09:55:18.986" v="5548" actId="478"/>
          <ac:spMkLst>
            <pc:docMk/>
            <pc:sldMk cId="1361074498" sldId="230717619"/>
            <ac:spMk id="212" creationId="{089BCC85-AC01-491A-88DC-F2FF567FC6CA}"/>
          </ac:spMkLst>
        </pc:spChg>
        <pc:spChg chg="add del mod">
          <ac:chgData name="El Bakkouri, Manal" userId="8b130982-2e3f-4164-b881-fd3a2e4b2453" providerId="ADAL" clId="{4457FA57-250B-44AC-8655-05D46C5A3D8A}" dt="2023-05-19T09:55:18.986" v="5548" actId="478"/>
          <ac:spMkLst>
            <pc:docMk/>
            <pc:sldMk cId="1361074498" sldId="230717619"/>
            <ac:spMk id="213" creationId="{7D1AA518-F3C3-4F10-98FB-C6D1814137C7}"/>
          </ac:spMkLst>
        </pc:spChg>
        <pc:spChg chg="add del mod">
          <ac:chgData name="El Bakkouri, Manal" userId="8b130982-2e3f-4164-b881-fd3a2e4b2453" providerId="ADAL" clId="{4457FA57-250B-44AC-8655-05D46C5A3D8A}" dt="2023-05-19T09:55:18.986" v="5548" actId="478"/>
          <ac:spMkLst>
            <pc:docMk/>
            <pc:sldMk cId="1361074498" sldId="230717619"/>
            <ac:spMk id="214" creationId="{37B0BB52-1127-48B8-BDB0-77A29FD7CCCC}"/>
          </ac:spMkLst>
        </pc:spChg>
        <pc:spChg chg="add del mod">
          <ac:chgData name="El Bakkouri, Manal" userId="8b130982-2e3f-4164-b881-fd3a2e4b2453" providerId="ADAL" clId="{4457FA57-250B-44AC-8655-05D46C5A3D8A}" dt="2023-05-19T09:55:18.986" v="5548" actId="478"/>
          <ac:spMkLst>
            <pc:docMk/>
            <pc:sldMk cId="1361074498" sldId="230717619"/>
            <ac:spMk id="215" creationId="{10C072ED-D048-4A32-9E18-A76CEDFC8FF4}"/>
          </ac:spMkLst>
        </pc:spChg>
        <pc:spChg chg="add del mod">
          <ac:chgData name="El Bakkouri, Manal" userId="8b130982-2e3f-4164-b881-fd3a2e4b2453" providerId="ADAL" clId="{4457FA57-250B-44AC-8655-05D46C5A3D8A}" dt="2023-05-19T09:55:18.986" v="5548" actId="478"/>
          <ac:spMkLst>
            <pc:docMk/>
            <pc:sldMk cId="1361074498" sldId="230717619"/>
            <ac:spMk id="216" creationId="{37B96572-6502-49BF-8479-3F5EA3D3398C}"/>
          </ac:spMkLst>
        </pc:spChg>
        <pc:spChg chg="add del mod">
          <ac:chgData name="El Bakkouri, Manal" userId="8b130982-2e3f-4164-b881-fd3a2e4b2453" providerId="ADAL" clId="{4457FA57-250B-44AC-8655-05D46C5A3D8A}" dt="2023-05-19T09:55:18.986" v="5548" actId="478"/>
          <ac:spMkLst>
            <pc:docMk/>
            <pc:sldMk cId="1361074498" sldId="230717619"/>
            <ac:spMk id="217" creationId="{80CB46D9-F36D-4A5A-AD38-EE76107CC911}"/>
          </ac:spMkLst>
        </pc:spChg>
        <pc:spChg chg="add del mod">
          <ac:chgData name="El Bakkouri, Manal" userId="8b130982-2e3f-4164-b881-fd3a2e4b2453" providerId="ADAL" clId="{4457FA57-250B-44AC-8655-05D46C5A3D8A}" dt="2023-05-19T09:55:18.986" v="5548" actId="478"/>
          <ac:spMkLst>
            <pc:docMk/>
            <pc:sldMk cId="1361074498" sldId="230717619"/>
            <ac:spMk id="218" creationId="{E0A1C2AF-3F41-41FC-A8AF-3329579E10AE}"/>
          </ac:spMkLst>
        </pc:spChg>
        <pc:spChg chg="add del mod">
          <ac:chgData name="El Bakkouri, Manal" userId="8b130982-2e3f-4164-b881-fd3a2e4b2453" providerId="ADAL" clId="{4457FA57-250B-44AC-8655-05D46C5A3D8A}" dt="2023-05-19T09:55:18.986" v="5548" actId="478"/>
          <ac:spMkLst>
            <pc:docMk/>
            <pc:sldMk cId="1361074498" sldId="230717619"/>
            <ac:spMk id="219" creationId="{94F44A6E-C2CD-4A26-86D8-D86A82811222}"/>
          </ac:spMkLst>
        </pc:spChg>
        <pc:spChg chg="add del mod">
          <ac:chgData name="El Bakkouri, Manal" userId="8b130982-2e3f-4164-b881-fd3a2e4b2453" providerId="ADAL" clId="{4457FA57-250B-44AC-8655-05D46C5A3D8A}" dt="2023-05-19T09:55:18.986" v="5548" actId="478"/>
          <ac:spMkLst>
            <pc:docMk/>
            <pc:sldMk cId="1361074498" sldId="230717619"/>
            <ac:spMk id="220" creationId="{609CD4ED-9069-4172-8AE8-83BED2DBE8E8}"/>
          </ac:spMkLst>
        </pc:spChg>
        <pc:spChg chg="add del mod">
          <ac:chgData name="El Bakkouri, Manal" userId="8b130982-2e3f-4164-b881-fd3a2e4b2453" providerId="ADAL" clId="{4457FA57-250B-44AC-8655-05D46C5A3D8A}" dt="2023-05-19T09:55:18.986" v="5548" actId="478"/>
          <ac:spMkLst>
            <pc:docMk/>
            <pc:sldMk cId="1361074498" sldId="230717619"/>
            <ac:spMk id="221" creationId="{A9A56834-CF61-42E4-91C0-5EF9E6921610}"/>
          </ac:spMkLst>
        </pc:spChg>
        <pc:spChg chg="add del mod">
          <ac:chgData name="El Bakkouri, Manal" userId="8b130982-2e3f-4164-b881-fd3a2e4b2453" providerId="ADAL" clId="{4457FA57-250B-44AC-8655-05D46C5A3D8A}" dt="2023-05-19T09:55:18.986" v="5548" actId="478"/>
          <ac:spMkLst>
            <pc:docMk/>
            <pc:sldMk cId="1361074498" sldId="230717619"/>
            <ac:spMk id="222" creationId="{C5AA17B1-D09F-403C-9A3B-1E5F90D1416A}"/>
          </ac:spMkLst>
        </pc:spChg>
        <pc:spChg chg="add del mod">
          <ac:chgData name="El Bakkouri, Manal" userId="8b130982-2e3f-4164-b881-fd3a2e4b2453" providerId="ADAL" clId="{4457FA57-250B-44AC-8655-05D46C5A3D8A}" dt="2023-05-19T09:55:18.986" v="5548" actId="478"/>
          <ac:spMkLst>
            <pc:docMk/>
            <pc:sldMk cId="1361074498" sldId="230717619"/>
            <ac:spMk id="223" creationId="{F0CC1CB3-1E1E-472A-8C21-6327A49FAEF4}"/>
          </ac:spMkLst>
        </pc:spChg>
        <pc:spChg chg="add del mod">
          <ac:chgData name="El Bakkouri, Manal" userId="8b130982-2e3f-4164-b881-fd3a2e4b2453" providerId="ADAL" clId="{4457FA57-250B-44AC-8655-05D46C5A3D8A}" dt="2023-05-19T09:55:18.986" v="5548" actId="478"/>
          <ac:spMkLst>
            <pc:docMk/>
            <pc:sldMk cId="1361074498" sldId="230717619"/>
            <ac:spMk id="224" creationId="{BB9E18C7-1513-491F-A7F7-447994DAD8B8}"/>
          </ac:spMkLst>
        </pc:spChg>
        <pc:spChg chg="add del mod">
          <ac:chgData name="El Bakkouri, Manal" userId="8b130982-2e3f-4164-b881-fd3a2e4b2453" providerId="ADAL" clId="{4457FA57-250B-44AC-8655-05D46C5A3D8A}" dt="2023-05-19T09:55:18.986" v="5548" actId="478"/>
          <ac:spMkLst>
            <pc:docMk/>
            <pc:sldMk cId="1361074498" sldId="230717619"/>
            <ac:spMk id="225" creationId="{E02882AF-9EE6-4F66-B502-B9CDDEF1A133}"/>
          </ac:spMkLst>
        </pc:spChg>
        <pc:spChg chg="add del mod">
          <ac:chgData name="El Bakkouri, Manal" userId="8b130982-2e3f-4164-b881-fd3a2e4b2453" providerId="ADAL" clId="{4457FA57-250B-44AC-8655-05D46C5A3D8A}" dt="2023-05-19T09:55:18.986" v="5548" actId="478"/>
          <ac:spMkLst>
            <pc:docMk/>
            <pc:sldMk cId="1361074498" sldId="230717619"/>
            <ac:spMk id="226" creationId="{BBB2FD70-7F64-4D0B-8A66-809CE5BC173F}"/>
          </ac:spMkLst>
        </pc:spChg>
        <pc:spChg chg="add del mod">
          <ac:chgData name="El Bakkouri, Manal" userId="8b130982-2e3f-4164-b881-fd3a2e4b2453" providerId="ADAL" clId="{4457FA57-250B-44AC-8655-05D46C5A3D8A}" dt="2023-05-19T09:55:18.986" v="5548" actId="478"/>
          <ac:spMkLst>
            <pc:docMk/>
            <pc:sldMk cId="1361074498" sldId="230717619"/>
            <ac:spMk id="228" creationId="{983679F6-75E6-489C-88FA-26E849EFA7FD}"/>
          </ac:spMkLst>
        </pc:spChg>
        <pc:grpChg chg="add mod">
          <ac:chgData name="El Bakkouri, Manal" userId="8b130982-2e3f-4164-b881-fd3a2e4b2453" providerId="ADAL" clId="{4457FA57-250B-44AC-8655-05D46C5A3D8A}" dt="2023-05-19T10:07:01.052" v="5657" actId="12788"/>
          <ac:grpSpMkLst>
            <pc:docMk/>
            <pc:sldMk cId="1361074498" sldId="230717619"/>
            <ac:grpSpMk id="2" creationId="{7702A1A4-AC36-4414-B4F7-5982F519BC36}"/>
          </ac:grpSpMkLst>
        </pc:grpChg>
        <pc:grpChg chg="add del mod ord">
          <ac:chgData name="El Bakkouri, Manal" userId="8b130982-2e3f-4164-b881-fd3a2e4b2453" providerId="ADAL" clId="{4457FA57-250B-44AC-8655-05D46C5A3D8A}" dt="2023-05-18T11:20:16.699" v="3608" actId="21"/>
          <ac:grpSpMkLst>
            <pc:docMk/>
            <pc:sldMk cId="1361074498" sldId="230717619"/>
            <ac:grpSpMk id="16" creationId="{CDC3BC68-BA64-4F0B-9C26-180F8E3B4F1E}"/>
          </ac:grpSpMkLst>
        </pc:grpChg>
        <pc:grpChg chg="add mod">
          <ac:chgData name="El Bakkouri, Manal" userId="8b130982-2e3f-4164-b881-fd3a2e4b2453" providerId="ADAL" clId="{4457FA57-250B-44AC-8655-05D46C5A3D8A}" dt="2023-05-19T10:07:01.052" v="5657" actId="12788"/>
          <ac:grpSpMkLst>
            <pc:docMk/>
            <pc:sldMk cId="1361074498" sldId="230717619"/>
            <ac:grpSpMk id="56" creationId="{82578D31-DFD9-4E41-BF5D-69494997D76E}"/>
          </ac:grpSpMkLst>
        </pc:grpChg>
        <pc:grpChg chg="add mod">
          <ac:chgData name="El Bakkouri, Manal" userId="8b130982-2e3f-4164-b881-fd3a2e4b2453" providerId="ADAL" clId="{4457FA57-250B-44AC-8655-05D46C5A3D8A}" dt="2023-05-19T10:07:01.052" v="5657" actId="12788"/>
          <ac:grpSpMkLst>
            <pc:docMk/>
            <pc:sldMk cId="1361074498" sldId="230717619"/>
            <ac:grpSpMk id="59" creationId="{231324BE-11B0-4B7C-A08F-C75CF84661AE}"/>
          </ac:grpSpMkLst>
        </pc:grpChg>
        <pc:grpChg chg="mod">
          <ac:chgData name="El Bakkouri, Manal" userId="8b130982-2e3f-4164-b881-fd3a2e4b2453" providerId="ADAL" clId="{4457FA57-250B-44AC-8655-05D46C5A3D8A}" dt="2023-05-19T10:07:01.052" v="5657" actId="12788"/>
          <ac:grpSpMkLst>
            <pc:docMk/>
            <pc:sldMk cId="1361074498" sldId="230717619"/>
            <ac:grpSpMk id="61" creationId="{516D6251-22F3-4B66-9396-04C08AB609FD}"/>
          </ac:grpSpMkLst>
        </pc:grpChg>
        <pc:grpChg chg="add mod">
          <ac:chgData name="El Bakkouri, Manal" userId="8b130982-2e3f-4164-b881-fd3a2e4b2453" providerId="ADAL" clId="{4457FA57-250B-44AC-8655-05D46C5A3D8A}" dt="2023-05-19T10:07:01.052" v="5657" actId="12788"/>
          <ac:grpSpMkLst>
            <pc:docMk/>
            <pc:sldMk cId="1361074498" sldId="230717619"/>
            <ac:grpSpMk id="64" creationId="{E39DAD8E-8532-43CE-96EC-11E1344F0E24}"/>
          </ac:grpSpMkLst>
        </pc:grpChg>
        <pc:grpChg chg="add mod">
          <ac:chgData name="El Bakkouri, Manal" userId="8b130982-2e3f-4164-b881-fd3a2e4b2453" providerId="ADAL" clId="{4457FA57-250B-44AC-8655-05D46C5A3D8A}" dt="2023-05-19T10:07:01.052" v="5657" actId="12788"/>
          <ac:grpSpMkLst>
            <pc:docMk/>
            <pc:sldMk cId="1361074498" sldId="230717619"/>
            <ac:grpSpMk id="67" creationId="{0C326C30-8987-4982-963E-E03947B090AE}"/>
          </ac:grpSpMkLst>
        </pc:grpChg>
        <pc:grpChg chg="mod">
          <ac:chgData name="El Bakkouri, Manal" userId="8b130982-2e3f-4164-b881-fd3a2e4b2453" providerId="ADAL" clId="{4457FA57-250B-44AC-8655-05D46C5A3D8A}" dt="2023-05-19T10:07:01.052" v="5657" actId="12788"/>
          <ac:grpSpMkLst>
            <pc:docMk/>
            <pc:sldMk cId="1361074498" sldId="230717619"/>
            <ac:grpSpMk id="69" creationId="{7D7D4257-FE06-4877-A354-A42E424514D7}"/>
          </ac:grpSpMkLst>
        </pc:grpChg>
        <pc:grpChg chg="add mod">
          <ac:chgData name="El Bakkouri, Manal" userId="8b130982-2e3f-4164-b881-fd3a2e4b2453" providerId="ADAL" clId="{4457FA57-250B-44AC-8655-05D46C5A3D8A}" dt="2023-05-19T10:07:01.052" v="5657" actId="12788"/>
          <ac:grpSpMkLst>
            <pc:docMk/>
            <pc:sldMk cId="1361074498" sldId="230717619"/>
            <ac:grpSpMk id="73" creationId="{4301C399-B51B-4D6A-923C-33DB5D562B56}"/>
          </ac:grpSpMkLst>
        </pc:grpChg>
        <pc:grpChg chg="add mod">
          <ac:chgData name="El Bakkouri, Manal" userId="8b130982-2e3f-4164-b881-fd3a2e4b2453" providerId="ADAL" clId="{4457FA57-250B-44AC-8655-05D46C5A3D8A}" dt="2023-05-19T10:07:01.052" v="5657" actId="12788"/>
          <ac:grpSpMkLst>
            <pc:docMk/>
            <pc:sldMk cId="1361074498" sldId="230717619"/>
            <ac:grpSpMk id="76" creationId="{622AE634-0957-465D-B011-3E9E3B279C9E}"/>
          </ac:grpSpMkLst>
        </pc:grpChg>
        <pc:grpChg chg="mod">
          <ac:chgData name="El Bakkouri, Manal" userId="8b130982-2e3f-4164-b881-fd3a2e4b2453" providerId="ADAL" clId="{4457FA57-250B-44AC-8655-05D46C5A3D8A}" dt="2023-05-19T10:07:01.052" v="5657" actId="12788"/>
          <ac:grpSpMkLst>
            <pc:docMk/>
            <pc:sldMk cId="1361074498" sldId="230717619"/>
            <ac:grpSpMk id="78" creationId="{5F6B0A23-E523-4929-B188-FF43867CB3D6}"/>
          </ac:grpSpMkLst>
        </pc:grpChg>
        <pc:grpChg chg="add mod">
          <ac:chgData name="El Bakkouri, Manal" userId="8b130982-2e3f-4164-b881-fd3a2e4b2453" providerId="ADAL" clId="{4457FA57-250B-44AC-8655-05D46C5A3D8A}" dt="2023-05-19T10:07:01.052" v="5657" actId="12788"/>
          <ac:grpSpMkLst>
            <pc:docMk/>
            <pc:sldMk cId="1361074498" sldId="230717619"/>
            <ac:grpSpMk id="85" creationId="{19CF1472-1C93-4280-82FE-FDDF33ADAD1F}"/>
          </ac:grpSpMkLst>
        </pc:grpChg>
        <pc:grpChg chg="add mod">
          <ac:chgData name="El Bakkouri, Manal" userId="8b130982-2e3f-4164-b881-fd3a2e4b2453" providerId="ADAL" clId="{4457FA57-250B-44AC-8655-05D46C5A3D8A}" dt="2023-05-19T10:07:01.052" v="5657" actId="12788"/>
          <ac:grpSpMkLst>
            <pc:docMk/>
            <pc:sldMk cId="1361074498" sldId="230717619"/>
            <ac:grpSpMk id="88" creationId="{E26E135B-F9EA-424F-97CB-EEE4831C0EF2}"/>
          </ac:grpSpMkLst>
        </pc:grpChg>
        <pc:grpChg chg="add mod">
          <ac:chgData name="El Bakkouri, Manal" userId="8b130982-2e3f-4164-b881-fd3a2e4b2453" providerId="ADAL" clId="{4457FA57-250B-44AC-8655-05D46C5A3D8A}" dt="2023-05-19T10:07:01.052" v="5657" actId="12788"/>
          <ac:grpSpMkLst>
            <pc:docMk/>
            <pc:sldMk cId="1361074498" sldId="230717619"/>
            <ac:grpSpMk id="111" creationId="{25B8827E-0F28-4C51-BCF9-A307A4CB7305}"/>
          </ac:grpSpMkLst>
        </pc:grpChg>
        <pc:grpChg chg="add mod">
          <ac:chgData name="El Bakkouri, Manal" userId="8b130982-2e3f-4164-b881-fd3a2e4b2453" providerId="ADAL" clId="{4457FA57-250B-44AC-8655-05D46C5A3D8A}" dt="2023-05-19T10:07:01.052" v="5657" actId="12788"/>
          <ac:grpSpMkLst>
            <pc:docMk/>
            <pc:sldMk cId="1361074498" sldId="230717619"/>
            <ac:grpSpMk id="114" creationId="{95E37F1D-B282-4861-98F7-125223D282D3}"/>
          </ac:grpSpMkLst>
        </pc:grpChg>
        <pc:grpChg chg="add mod">
          <ac:chgData name="El Bakkouri, Manal" userId="8b130982-2e3f-4164-b881-fd3a2e4b2453" providerId="ADAL" clId="{4457FA57-250B-44AC-8655-05D46C5A3D8A}" dt="2023-05-19T10:07:01.052" v="5657" actId="12788"/>
          <ac:grpSpMkLst>
            <pc:docMk/>
            <pc:sldMk cId="1361074498" sldId="230717619"/>
            <ac:grpSpMk id="117" creationId="{2EFC7F1F-4DCB-465E-8EE4-5E420A516CD5}"/>
          </ac:grpSpMkLst>
        </pc:grpChg>
        <pc:grpChg chg="mod">
          <ac:chgData name="El Bakkouri, Manal" userId="8b130982-2e3f-4164-b881-fd3a2e4b2453" providerId="ADAL" clId="{4457FA57-250B-44AC-8655-05D46C5A3D8A}" dt="2023-05-18T11:08:25.133" v="3366"/>
          <ac:grpSpMkLst>
            <pc:docMk/>
            <pc:sldMk cId="1361074498" sldId="230717619"/>
            <ac:grpSpMk id="120" creationId="{65A73E21-12B8-485D-AF1B-70654E975C54}"/>
          </ac:grpSpMkLst>
        </pc:grpChg>
        <pc:grpChg chg="add mod">
          <ac:chgData name="El Bakkouri, Manal" userId="8b130982-2e3f-4164-b881-fd3a2e4b2453" providerId="ADAL" clId="{4457FA57-250B-44AC-8655-05D46C5A3D8A}" dt="2023-05-19T10:07:01.052" v="5657" actId="12788"/>
          <ac:grpSpMkLst>
            <pc:docMk/>
            <pc:sldMk cId="1361074498" sldId="230717619"/>
            <ac:grpSpMk id="120" creationId="{8DB5CC26-BD76-4E50-ABE3-40A82E92701D}"/>
          </ac:grpSpMkLst>
        </pc:grpChg>
        <pc:grpChg chg="add del mod">
          <ac:chgData name="El Bakkouri, Manal" userId="8b130982-2e3f-4164-b881-fd3a2e4b2453" providerId="ADAL" clId="{4457FA57-250B-44AC-8655-05D46C5A3D8A}" dt="2023-05-19T09:55:50.217" v="5557" actId="165"/>
          <ac:grpSpMkLst>
            <pc:docMk/>
            <pc:sldMk cId="1361074498" sldId="230717619"/>
            <ac:grpSpMk id="129" creationId="{602378F9-7694-4B92-8844-9DAA94F7E0AD}"/>
          </ac:grpSpMkLst>
        </pc:grpChg>
        <pc:grpChg chg="add mod">
          <ac:chgData name="El Bakkouri, Manal" userId="8b130982-2e3f-4164-b881-fd3a2e4b2453" providerId="ADAL" clId="{4457FA57-250B-44AC-8655-05D46C5A3D8A}" dt="2023-05-19T10:07:01.052" v="5657" actId="12788"/>
          <ac:grpSpMkLst>
            <pc:docMk/>
            <pc:sldMk cId="1361074498" sldId="230717619"/>
            <ac:grpSpMk id="130" creationId="{6249CB17-9EB4-4B9F-A2C7-BDF994770F68}"/>
          </ac:grpSpMkLst>
        </pc:grpChg>
        <pc:grpChg chg="add mod">
          <ac:chgData name="El Bakkouri, Manal" userId="8b130982-2e3f-4164-b881-fd3a2e4b2453" providerId="ADAL" clId="{4457FA57-250B-44AC-8655-05D46C5A3D8A}" dt="2023-05-19T10:07:01.052" v="5657" actId="12788"/>
          <ac:grpSpMkLst>
            <pc:docMk/>
            <pc:sldMk cId="1361074498" sldId="230717619"/>
            <ac:grpSpMk id="133" creationId="{EB242B42-7528-4B79-A1C8-3DBF46F92736}"/>
          </ac:grpSpMkLst>
        </pc:grpChg>
        <pc:grpChg chg="add mod">
          <ac:chgData name="El Bakkouri, Manal" userId="8b130982-2e3f-4164-b881-fd3a2e4b2453" providerId="ADAL" clId="{4457FA57-250B-44AC-8655-05D46C5A3D8A}" dt="2023-05-19T10:07:01.052" v="5657" actId="12788"/>
          <ac:grpSpMkLst>
            <pc:docMk/>
            <pc:sldMk cId="1361074498" sldId="230717619"/>
            <ac:grpSpMk id="136" creationId="{D7913670-263B-4A46-90B9-E3E597CEE152}"/>
          </ac:grpSpMkLst>
        </pc:grpChg>
        <pc:grpChg chg="add del mod">
          <ac:chgData name="El Bakkouri, Manal" userId="8b130982-2e3f-4164-b881-fd3a2e4b2453" providerId="ADAL" clId="{4457FA57-250B-44AC-8655-05D46C5A3D8A}" dt="2023-05-18T11:16:08.665" v="3447"/>
          <ac:grpSpMkLst>
            <pc:docMk/>
            <pc:sldMk cId="1361074498" sldId="230717619"/>
            <ac:grpSpMk id="137" creationId="{3FB0DA38-F316-4E2B-8D72-E03EC66CD57D}"/>
          </ac:grpSpMkLst>
        </pc:grpChg>
        <pc:grpChg chg="mod">
          <ac:chgData name="El Bakkouri, Manal" userId="8b130982-2e3f-4164-b881-fd3a2e4b2453" providerId="ADAL" clId="{4457FA57-250B-44AC-8655-05D46C5A3D8A}" dt="2023-05-18T11:16:08.117" v="3446" actId="164"/>
          <ac:grpSpMkLst>
            <pc:docMk/>
            <pc:sldMk cId="1361074498" sldId="230717619"/>
            <ac:grpSpMk id="138" creationId="{4C22973C-1231-4D58-B639-B86069CE4764}"/>
          </ac:grpSpMkLst>
        </pc:grpChg>
        <pc:grpChg chg="mod">
          <ac:chgData name="El Bakkouri, Manal" userId="8b130982-2e3f-4164-b881-fd3a2e4b2453" providerId="ADAL" clId="{4457FA57-250B-44AC-8655-05D46C5A3D8A}" dt="2023-05-18T11:16:08.117" v="3446" actId="164"/>
          <ac:grpSpMkLst>
            <pc:docMk/>
            <pc:sldMk cId="1361074498" sldId="230717619"/>
            <ac:grpSpMk id="139" creationId="{78212606-C3B8-4C0D-82FD-45509B07C0CB}"/>
          </ac:grpSpMkLst>
        </pc:grpChg>
        <pc:grpChg chg="add mod">
          <ac:chgData name="El Bakkouri, Manal" userId="8b130982-2e3f-4164-b881-fd3a2e4b2453" providerId="ADAL" clId="{4457FA57-250B-44AC-8655-05D46C5A3D8A}" dt="2023-05-19T10:07:01.052" v="5657" actId="12788"/>
          <ac:grpSpMkLst>
            <pc:docMk/>
            <pc:sldMk cId="1361074498" sldId="230717619"/>
            <ac:grpSpMk id="139" creationId="{B88DADEB-461A-4245-BC6F-6C6E7986348F}"/>
          </ac:grpSpMkLst>
        </pc:grpChg>
        <pc:grpChg chg="mod">
          <ac:chgData name="El Bakkouri, Manal" userId="8b130982-2e3f-4164-b881-fd3a2e4b2453" providerId="ADAL" clId="{4457FA57-250B-44AC-8655-05D46C5A3D8A}" dt="2023-05-18T11:16:08.117" v="3446" actId="164"/>
          <ac:grpSpMkLst>
            <pc:docMk/>
            <pc:sldMk cId="1361074498" sldId="230717619"/>
            <ac:grpSpMk id="140" creationId="{C337241A-7CAF-44C3-8D76-227F37C54070}"/>
          </ac:grpSpMkLst>
        </pc:grpChg>
        <pc:grpChg chg="add mod">
          <ac:chgData name="El Bakkouri, Manal" userId="8b130982-2e3f-4164-b881-fd3a2e4b2453" providerId="ADAL" clId="{4457FA57-250B-44AC-8655-05D46C5A3D8A}" dt="2023-05-19T10:07:01.052" v="5657" actId="12788"/>
          <ac:grpSpMkLst>
            <pc:docMk/>
            <pc:sldMk cId="1361074498" sldId="230717619"/>
            <ac:grpSpMk id="142" creationId="{216E790E-1723-4C0A-B7C5-1576DF413790}"/>
          </ac:grpSpMkLst>
        </pc:grpChg>
        <pc:grpChg chg="mod">
          <ac:chgData name="El Bakkouri, Manal" userId="8b130982-2e3f-4164-b881-fd3a2e4b2453" providerId="ADAL" clId="{4457FA57-250B-44AC-8655-05D46C5A3D8A}" dt="2023-05-19T10:07:01.052" v="5657" actId="12788"/>
          <ac:grpSpMkLst>
            <pc:docMk/>
            <pc:sldMk cId="1361074498" sldId="230717619"/>
            <ac:grpSpMk id="144" creationId="{326AD863-064B-49A6-84BE-59FE24E121A0}"/>
          </ac:grpSpMkLst>
        </pc:grpChg>
        <pc:grpChg chg="add mod">
          <ac:chgData name="El Bakkouri, Manal" userId="8b130982-2e3f-4164-b881-fd3a2e4b2453" providerId="ADAL" clId="{4457FA57-250B-44AC-8655-05D46C5A3D8A}" dt="2023-05-18T11:16:08.117" v="3446" actId="164"/>
          <ac:grpSpMkLst>
            <pc:docMk/>
            <pc:sldMk cId="1361074498" sldId="230717619"/>
            <ac:grpSpMk id="182" creationId="{5232CB72-CD39-4A19-A4CB-6FA205BE0FD9}"/>
          </ac:grpSpMkLst>
        </pc:grpChg>
        <pc:grpChg chg="add del mod">
          <ac:chgData name="El Bakkouri, Manal" userId="8b130982-2e3f-4164-b881-fd3a2e4b2453" providerId="ADAL" clId="{4457FA57-250B-44AC-8655-05D46C5A3D8A}" dt="2023-05-19T09:55:18.986" v="5548" actId="478"/>
          <ac:grpSpMkLst>
            <pc:docMk/>
            <pc:sldMk cId="1361074498" sldId="230717619"/>
            <ac:grpSpMk id="190" creationId="{70D28B58-DD8B-4D8B-A92E-9E5C7D3A01DE}"/>
          </ac:grpSpMkLst>
        </pc:grpChg>
        <pc:grpChg chg="del mod">
          <ac:chgData name="El Bakkouri, Manal" userId="8b130982-2e3f-4164-b881-fd3a2e4b2453" providerId="ADAL" clId="{4457FA57-250B-44AC-8655-05D46C5A3D8A}" dt="2023-05-18T11:18:01.998" v="3459" actId="478"/>
          <ac:grpSpMkLst>
            <pc:docMk/>
            <pc:sldMk cId="1361074498" sldId="230717619"/>
            <ac:grpSpMk id="191" creationId="{8F7F0C37-842A-4576-B280-2C04086B2A94}"/>
          </ac:grpSpMkLst>
        </pc:grpChg>
        <pc:grpChg chg="mod">
          <ac:chgData name="El Bakkouri, Manal" userId="8b130982-2e3f-4164-b881-fd3a2e4b2453" providerId="ADAL" clId="{4457FA57-250B-44AC-8655-05D46C5A3D8A}" dt="2023-05-18T11:17:13.951" v="3448"/>
          <ac:grpSpMkLst>
            <pc:docMk/>
            <pc:sldMk cId="1361074498" sldId="230717619"/>
            <ac:grpSpMk id="192" creationId="{35448A4B-50D9-4943-9E3D-DB8C5AC90DA1}"/>
          </ac:grpSpMkLst>
        </pc:grpChg>
        <pc:grpChg chg="mod">
          <ac:chgData name="El Bakkouri, Manal" userId="8b130982-2e3f-4164-b881-fd3a2e4b2453" providerId="ADAL" clId="{4457FA57-250B-44AC-8655-05D46C5A3D8A}" dt="2023-05-18T11:17:13.951" v="3448"/>
          <ac:grpSpMkLst>
            <pc:docMk/>
            <pc:sldMk cId="1361074498" sldId="230717619"/>
            <ac:grpSpMk id="193" creationId="{B5FBC403-937D-4912-98C6-4799F353B16E}"/>
          </ac:grpSpMkLst>
        </pc:grpChg>
        <pc:picChg chg="add mod topLvl">
          <ac:chgData name="El Bakkouri, Manal" userId="8b130982-2e3f-4164-b881-fd3a2e4b2453" providerId="ADAL" clId="{4457FA57-250B-44AC-8655-05D46C5A3D8A}" dt="2023-05-19T10:06:46.663" v="5652" actId="1038"/>
          <ac:picMkLst>
            <pc:docMk/>
            <pc:sldMk cId="1361074498" sldId="230717619"/>
            <ac:picMk id="126" creationId="{FDBA6B7C-AD70-4C6D-9DEE-6A3379C4FE6D}"/>
          </ac:picMkLst>
        </pc:picChg>
        <pc:picChg chg="add mod topLvl">
          <ac:chgData name="El Bakkouri, Manal" userId="8b130982-2e3f-4164-b881-fd3a2e4b2453" providerId="ADAL" clId="{4457FA57-250B-44AC-8655-05D46C5A3D8A}" dt="2023-05-19T10:06:46.663" v="5652" actId="1038"/>
          <ac:picMkLst>
            <pc:docMk/>
            <pc:sldMk cId="1361074498" sldId="230717619"/>
            <ac:picMk id="127" creationId="{76A19B8E-547B-4518-A3F2-2E5D3517DF36}"/>
          </ac:picMkLst>
        </pc:picChg>
        <pc:picChg chg="add del mod topLvl">
          <ac:chgData name="El Bakkouri, Manal" userId="8b130982-2e3f-4164-b881-fd3a2e4b2453" providerId="ADAL" clId="{4457FA57-250B-44AC-8655-05D46C5A3D8A}" dt="2023-05-19T10:06:46.663" v="5652" actId="1038"/>
          <ac:picMkLst>
            <pc:docMk/>
            <pc:sldMk cId="1361074498" sldId="230717619"/>
            <ac:picMk id="128" creationId="{85BA6109-DB5D-4284-A3A9-CF3F46066AEE}"/>
          </ac:picMkLst>
        </pc:picChg>
        <pc:cxnChg chg="add mod">
          <ac:chgData name="El Bakkouri, Manal" userId="8b130982-2e3f-4164-b881-fd3a2e4b2453" providerId="ADAL" clId="{4457FA57-250B-44AC-8655-05D46C5A3D8A}" dt="2023-05-19T10:06:02.335" v="5629" actId="1076"/>
          <ac:cxnSpMkLst>
            <pc:docMk/>
            <pc:sldMk cId="1361074498" sldId="230717619"/>
            <ac:cxnSpMk id="124" creationId="{BD20DAFE-748A-484B-9125-03C008425EEA}"/>
          </ac:cxnSpMkLst>
        </pc:cxnChg>
        <pc:cxnChg chg="mod">
          <ac:chgData name="El Bakkouri, Manal" userId="8b130982-2e3f-4164-b881-fd3a2e4b2453" providerId="ADAL" clId="{4457FA57-250B-44AC-8655-05D46C5A3D8A}" dt="2023-05-18T11:16:08.117" v="3446" actId="164"/>
          <ac:cxnSpMkLst>
            <pc:docMk/>
            <pc:sldMk cId="1361074498" sldId="230717619"/>
            <ac:cxnSpMk id="141" creationId="{922EE75D-7553-48B2-B344-AFA0D5AD76DB}"/>
          </ac:cxnSpMkLst>
        </pc:cxnChg>
        <pc:cxnChg chg="mod">
          <ac:chgData name="El Bakkouri, Manal" userId="8b130982-2e3f-4164-b881-fd3a2e4b2453" providerId="ADAL" clId="{4457FA57-250B-44AC-8655-05D46C5A3D8A}" dt="2023-05-18T11:16:08.117" v="3446" actId="164"/>
          <ac:cxnSpMkLst>
            <pc:docMk/>
            <pc:sldMk cId="1361074498" sldId="230717619"/>
            <ac:cxnSpMk id="142" creationId="{387C055C-2BB1-4F80-8455-34A5542AFF86}"/>
          </ac:cxnSpMkLst>
        </pc:cxnChg>
        <pc:cxnChg chg="mod">
          <ac:chgData name="El Bakkouri, Manal" userId="8b130982-2e3f-4164-b881-fd3a2e4b2453" providerId="ADAL" clId="{4457FA57-250B-44AC-8655-05D46C5A3D8A}" dt="2023-05-18T11:16:08.117" v="3446" actId="164"/>
          <ac:cxnSpMkLst>
            <pc:docMk/>
            <pc:sldMk cId="1361074498" sldId="230717619"/>
            <ac:cxnSpMk id="143" creationId="{20DD60BD-19A2-4B62-B9A9-39AAD90CD1DB}"/>
          </ac:cxnSpMkLst>
        </pc:cxnChg>
        <pc:cxnChg chg="mod">
          <ac:chgData name="El Bakkouri, Manal" userId="8b130982-2e3f-4164-b881-fd3a2e4b2453" providerId="ADAL" clId="{4457FA57-250B-44AC-8655-05D46C5A3D8A}" dt="2023-05-18T11:16:08.117" v="3446" actId="164"/>
          <ac:cxnSpMkLst>
            <pc:docMk/>
            <pc:sldMk cId="1361074498" sldId="230717619"/>
            <ac:cxnSpMk id="144" creationId="{50387A21-3E53-4D57-873A-A1DE8F9E31C5}"/>
          </ac:cxnSpMkLst>
        </pc:cxnChg>
        <pc:cxnChg chg="mod">
          <ac:chgData name="El Bakkouri, Manal" userId="8b130982-2e3f-4164-b881-fd3a2e4b2453" providerId="ADAL" clId="{4457FA57-250B-44AC-8655-05D46C5A3D8A}" dt="2023-05-18T11:16:08.117" v="3446" actId="164"/>
          <ac:cxnSpMkLst>
            <pc:docMk/>
            <pc:sldMk cId="1361074498" sldId="230717619"/>
            <ac:cxnSpMk id="145" creationId="{1034D421-DB73-431F-91E2-6BEDD9146AF4}"/>
          </ac:cxnSpMkLst>
        </pc:cxnChg>
        <pc:cxnChg chg="mod">
          <ac:chgData name="El Bakkouri, Manal" userId="8b130982-2e3f-4164-b881-fd3a2e4b2453" providerId="ADAL" clId="{4457FA57-250B-44AC-8655-05D46C5A3D8A}" dt="2023-05-18T11:16:08.117" v="3446" actId="164"/>
          <ac:cxnSpMkLst>
            <pc:docMk/>
            <pc:sldMk cId="1361074498" sldId="230717619"/>
            <ac:cxnSpMk id="146" creationId="{9D4C3CA4-7CD9-4717-8D89-B4FDF0AD24A5}"/>
          </ac:cxnSpMkLst>
        </pc:cxnChg>
        <pc:cxnChg chg="add mod">
          <ac:chgData name="El Bakkouri, Manal" userId="8b130982-2e3f-4164-b881-fd3a2e4b2453" providerId="ADAL" clId="{4457FA57-250B-44AC-8655-05D46C5A3D8A}" dt="2023-05-19T10:07:01.052" v="5657" actId="12788"/>
          <ac:cxnSpMkLst>
            <pc:docMk/>
            <pc:sldMk cId="1361074498" sldId="230717619"/>
            <ac:cxnSpMk id="148" creationId="{FC30F9E2-3286-4620-8D50-F1DE297E2176}"/>
          </ac:cxnSpMkLst>
        </pc:cxnChg>
        <pc:cxnChg chg="add mod">
          <ac:chgData name="El Bakkouri, Manal" userId="8b130982-2e3f-4164-b881-fd3a2e4b2453" providerId="ADAL" clId="{4457FA57-250B-44AC-8655-05D46C5A3D8A}" dt="2023-05-19T10:07:01.052" v="5657" actId="12788"/>
          <ac:cxnSpMkLst>
            <pc:docMk/>
            <pc:sldMk cId="1361074498" sldId="230717619"/>
            <ac:cxnSpMk id="150" creationId="{419487D7-B4F0-46D8-9974-DA06C96951FC}"/>
          </ac:cxnSpMkLst>
        </pc:cxnChg>
        <pc:cxnChg chg="add mod">
          <ac:chgData name="El Bakkouri, Manal" userId="8b130982-2e3f-4164-b881-fd3a2e4b2453" providerId="ADAL" clId="{4457FA57-250B-44AC-8655-05D46C5A3D8A}" dt="2023-05-19T10:07:01.052" v="5657" actId="12788"/>
          <ac:cxnSpMkLst>
            <pc:docMk/>
            <pc:sldMk cId="1361074498" sldId="230717619"/>
            <ac:cxnSpMk id="152" creationId="{CAECBBC6-2266-4745-AA47-F091C6DE775B}"/>
          </ac:cxnSpMkLst>
        </pc:cxnChg>
        <pc:cxnChg chg="add del mod">
          <ac:chgData name="El Bakkouri, Manal" userId="8b130982-2e3f-4164-b881-fd3a2e4b2453" providerId="ADAL" clId="{4457FA57-250B-44AC-8655-05D46C5A3D8A}" dt="2023-05-18T11:16:08.665" v="3447"/>
          <ac:cxnSpMkLst>
            <pc:docMk/>
            <pc:sldMk cId="1361074498" sldId="230717619"/>
            <ac:cxnSpMk id="152" creationId="{EC3EF1A7-0B16-4D50-AF45-60EEA31600C0}"/>
          </ac:cxnSpMkLst>
        </pc:cxnChg>
        <pc:cxnChg chg="add mod">
          <ac:chgData name="El Bakkouri, Manal" userId="8b130982-2e3f-4164-b881-fd3a2e4b2453" providerId="ADAL" clId="{4457FA57-250B-44AC-8655-05D46C5A3D8A}" dt="2023-05-19T10:07:01.052" v="5657" actId="12788"/>
          <ac:cxnSpMkLst>
            <pc:docMk/>
            <pc:sldMk cId="1361074498" sldId="230717619"/>
            <ac:cxnSpMk id="154" creationId="{AA6978DA-04E3-4ED1-8F5D-CB24DE563ACD}"/>
          </ac:cxnSpMkLst>
        </pc:cxnChg>
        <pc:cxnChg chg="add mod">
          <ac:chgData name="El Bakkouri, Manal" userId="8b130982-2e3f-4164-b881-fd3a2e4b2453" providerId="ADAL" clId="{4457FA57-250B-44AC-8655-05D46C5A3D8A}" dt="2023-05-19T10:07:01.052" v="5657" actId="12788"/>
          <ac:cxnSpMkLst>
            <pc:docMk/>
            <pc:sldMk cId="1361074498" sldId="230717619"/>
            <ac:cxnSpMk id="156" creationId="{41C59A57-2EEE-4C7C-92B1-0F464A475133}"/>
          </ac:cxnSpMkLst>
        </pc:cxnChg>
        <pc:cxnChg chg="add mod">
          <ac:chgData name="El Bakkouri, Manal" userId="8b130982-2e3f-4164-b881-fd3a2e4b2453" providerId="ADAL" clId="{4457FA57-250B-44AC-8655-05D46C5A3D8A}" dt="2023-05-19T10:07:01.052" v="5657" actId="12788"/>
          <ac:cxnSpMkLst>
            <pc:docMk/>
            <pc:sldMk cId="1361074498" sldId="230717619"/>
            <ac:cxnSpMk id="157" creationId="{24A6D885-C91D-4952-895F-72360834E90B}"/>
          </ac:cxnSpMkLst>
        </pc:cxnChg>
        <pc:cxnChg chg="add del mod">
          <ac:chgData name="El Bakkouri, Manal" userId="8b130982-2e3f-4164-b881-fd3a2e4b2453" providerId="ADAL" clId="{4457FA57-250B-44AC-8655-05D46C5A3D8A}" dt="2023-05-18T11:16:08.665" v="3447"/>
          <ac:cxnSpMkLst>
            <pc:docMk/>
            <pc:sldMk cId="1361074498" sldId="230717619"/>
            <ac:cxnSpMk id="158" creationId="{B90F00C6-2DB3-497F-912D-0A13D079AAB1}"/>
          </ac:cxnSpMkLst>
        </pc:cxnChg>
        <pc:cxnChg chg="add mod">
          <ac:chgData name="El Bakkouri, Manal" userId="8b130982-2e3f-4164-b881-fd3a2e4b2453" providerId="ADAL" clId="{4457FA57-250B-44AC-8655-05D46C5A3D8A}" dt="2023-05-19T10:07:01.052" v="5657" actId="12788"/>
          <ac:cxnSpMkLst>
            <pc:docMk/>
            <pc:sldMk cId="1361074498" sldId="230717619"/>
            <ac:cxnSpMk id="159" creationId="{569791D7-AD26-4DFA-A1E4-68CD036FDE97}"/>
          </ac:cxnSpMkLst>
        </pc:cxnChg>
        <pc:cxnChg chg="add mod">
          <ac:chgData name="El Bakkouri, Manal" userId="8b130982-2e3f-4164-b881-fd3a2e4b2453" providerId="ADAL" clId="{4457FA57-250B-44AC-8655-05D46C5A3D8A}" dt="2023-05-19T10:07:01.052" v="5657" actId="12788"/>
          <ac:cxnSpMkLst>
            <pc:docMk/>
            <pc:sldMk cId="1361074498" sldId="230717619"/>
            <ac:cxnSpMk id="161" creationId="{51924092-64D9-4C3E-BEDA-39281D757EDA}"/>
          </ac:cxnSpMkLst>
        </pc:cxnChg>
        <pc:cxnChg chg="add mod">
          <ac:chgData name="El Bakkouri, Manal" userId="8b130982-2e3f-4164-b881-fd3a2e4b2453" providerId="ADAL" clId="{4457FA57-250B-44AC-8655-05D46C5A3D8A}" dt="2023-05-19T10:07:01.052" v="5657" actId="12788"/>
          <ac:cxnSpMkLst>
            <pc:docMk/>
            <pc:sldMk cId="1361074498" sldId="230717619"/>
            <ac:cxnSpMk id="163" creationId="{D63F5672-6427-4F3E-AB61-F683BED272E6}"/>
          </ac:cxnSpMkLst>
        </pc:cxnChg>
        <pc:cxnChg chg="mod">
          <ac:chgData name="El Bakkouri, Manal" userId="8b130982-2e3f-4164-b881-fd3a2e4b2453" providerId="ADAL" clId="{4457FA57-250B-44AC-8655-05D46C5A3D8A}" dt="2023-05-18T11:17:13.951" v="3448"/>
          <ac:cxnSpMkLst>
            <pc:docMk/>
            <pc:sldMk cId="1361074498" sldId="230717619"/>
            <ac:cxnSpMk id="194" creationId="{41CDA36A-5AA1-47C7-93D8-9D2205B918E4}"/>
          </ac:cxnSpMkLst>
        </pc:cxnChg>
        <pc:cxnChg chg="mod">
          <ac:chgData name="El Bakkouri, Manal" userId="8b130982-2e3f-4164-b881-fd3a2e4b2453" providerId="ADAL" clId="{4457FA57-250B-44AC-8655-05D46C5A3D8A}" dt="2023-05-18T11:17:13.951" v="3448"/>
          <ac:cxnSpMkLst>
            <pc:docMk/>
            <pc:sldMk cId="1361074498" sldId="230717619"/>
            <ac:cxnSpMk id="195" creationId="{D6B65C27-D915-403F-9236-5CAC39F72527}"/>
          </ac:cxnSpMkLst>
        </pc:cxnChg>
        <pc:cxnChg chg="mod">
          <ac:chgData name="El Bakkouri, Manal" userId="8b130982-2e3f-4164-b881-fd3a2e4b2453" providerId="ADAL" clId="{4457FA57-250B-44AC-8655-05D46C5A3D8A}" dt="2023-05-18T11:17:13.951" v="3448"/>
          <ac:cxnSpMkLst>
            <pc:docMk/>
            <pc:sldMk cId="1361074498" sldId="230717619"/>
            <ac:cxnSpMk id="196" creationId="{E3DB1F6A-684A-4219-BC06-065FF29DF703}"/>
          </ac:cxnSpMkLst>
        </pc:cxnChg>
        <pc:cxnChg chg="mod">
          <ac:chgData name="El Bakkouri, Manal" userId="8b130982-2e3f-4164-b881-fd3a2e4b2453" providerId="ADAL" clId="{4457FA57-250B-44AC-8655-05D46C5A3D8A}" dt="2023-05-18T11:17:13.951" v="3448"/>
          <ac:cxnSpMkLst>
            <pc:docMk/>
            <pc:sldMk cId="1361074498" sldId="230717619"/>
            <ac:cxnSpMk id="197" creationId="{25A9CEAF-68D2-411C-86C7-AA502A982730}"/>
          </ac:cxnSpMkLst>
        </pc:cxnChg>
        <pc:cxnChg chg="del mod">
          <ac:chgData name="El Bakkouri, Manal" userId="8b130982-2e3f-4164-b881-fd3a2e4b2453" providerId="ADAL" clId="{4457FA57-250B-44AC-8655-05D46C5A3D8A}" dt="2023-05-18T11:18:01.998" v="3459" actId="478"/>
          <ac:cxnSpMkLst>
            <pc:docMk/>
            <pc:sldMk cId="1361074498" sldId="230717619"/>
            <ac:cxnSpMk id="198" creationId="{B503D168-FA8F-434C-9D3F-507C9F967730}"/>
          </ac:cxnSpMkLst>
        </pc:cxnChg>
        <pc:cxnChg chg="mod">
          <ac:chgData name="El Bakkouri, Manal" userId="8b130982-2e3f-4164-b881-fd3a2e4b2453" providerId="ADAL" clId="{4457FA57-250B-44AC-8655-05D46C5A3D8A}" dt="2023-05-18T11:17:13.951" v="3448"/>
          <ac:cxnSpMkLst>
            <pc:docMk/>
            <pc:sldMk cId="1361074498" sldId="230717619"/>
            <ac:cxnSpMk id="199" creationId="{5C92F110-9F3E-489C-9E9B-3103BE95167D}"/>
          </ac:cxnSpMkLst>
        </pc:cxnChg>
        <pc:cxnChg chg="add del mod">
          <ac:chgData name="El Bakkouri, Manal" userId="8b130982-2e3f-4164-b881-fd3a2e4b2453" providerId="ADAL" clId="{4457FA57-250B-44AC-8655-05D46C5A3D8A}" dt="2023-05-18T11:17:39.319" v="3452" actId="478"/>
          <ac:cxnSpMkLst>
            <pc:docMk/>
            <pc:sldMk cId="1361074498" sldId="230717619"/>
            <ac:cxnSpMk id="202" creationId="{552A7017-31A7-4DA1-8BBE-B1B0EBF46D96}"/>
          </ac:cxnSpMkLst>
        </pc:cxnChg>
        <pc:cxnChg chg="add del mod">
          <ac:chgData name="El Bakkouri, Manal" userId="8b130982-2e3f-4164-b881-fd3a2e4b2453" providerId="ADAL" clId="{4457FA57-250B-44AC-8655-05D46C5A3D8A}" dt="2023-05-18T11:17:45.476" v="3456" actId="478"/>
          <ac:cxnSpMkLst>
            <pc:docMk/>
            <pc:sldMk cId="1361074498" sldId="230717619"/>
            <ac:cxnSpMk id="205" creationId="{32347B5B-08DF-43C7-9A22-FC1BC1EB4ACA}"/>
          </ac:cxnSpMkLst>
        </pc:cxnChg>
        <pc:cxnChg chg="add del mod">
          <ac:chgData name="El Bakkouri, Manal" userId="8b130982-2e3f-4164-b881-fd3a2e4b2453" providerId="ADAL" clId="{4457FA57-250B-44AC-8655-05D46C5A3D8A}" dt="2023-05-19T09:55:21.820" v="5549" actId="478"/>
          <ac:cxnSpMkLst>
            <pc:docMk/>
            <pc:sldMk cId="1361074498" sldId="230717619"/>
            <ac:cxnSpMk id="229" creationId="{842D0FB2-0FEA-4B4E-927D-9BA2E3D68793}"/>
          </ac:cxnSpMkLst>
        </pc:cxnChg>
      </pc:sldChg>
      <pc:sldChg chg="addSp delSp modSp new mod modTransition modAnim">
        <pc:chgData name="El Bakkouri, Manal" userId="8b130982-2e3f-4164-b881-fd3a2e4b2453" providerId="ADAL" clId="{4457FA57-250B-44AC-8655-05D46C5A3D8A}" dt="2023-06-12T13:29:12.106" v="15813" actId="1036"/>
        <pc:sldMkLst>
          <pc:docMk/>
          <pc:sldMk cId="819422060" sldId="230717620"/>
        </pc:sldMkLst>
        <pc:spChg chg="del">
          <ac:chgData name="El Bakkouri, Manal" userId="8b130982-2e3f-4164-b881-fd3a2e4b2453" providerId="ADAL" clId="{4457FA57-250B-44AC-8655-05D46C5A3D8A}" dt="2023-05-18T15:49:38.549" v="4085" actId="478"/>
          <ac:spMkLst>
            <pc:docMk/>
            <pc:sldMk cId="819422060" sldId="230717620"/>
            <ac:spMk id="2" creationId="{19D04100-7FA0-4769-9394-4E1EB987DD47}"/>
          </ac:spMkLst>
        </pc:spChg>
        <pc:spChg chg="add mod">
          <ac:chgData name="El Bakkouri, Manal" userId="8b130982-2e3f-4164-b881-fd3a2e4b2453" providerId="ADAL" clId="{4457FA57-250B-44AC-8655-05D46C5A3D8A}" dt="2023-05-18T15:49:39.660" v="4086"/>
          <ac:spMkLst>
            <pc:docMk/>
            <pc:sldMk cId="819422060" sldId="230717620"/>
            <ac:spMk id="3" creationId="{782A4630-8A07-488A-B2EE-582DD3F2BB66}"/>
          </ac:spMkLst>
        </pc:spChg>
        <pc:spChg chg="add mod">
          <ac:chgData name="El Bakkouri, Manal" userId="8b130982-2e3f-4164-b881-fd3a2e4b2453" providerId="ADAL" clId="{4457FA57-250B-44AC-8655-05D46C5A3D8A}" dt="2023-05-18T15:49:39.660" v="4086"/>
          <ac:spMkLst>
            <pc:docMk/>
            <pc:sldMk cId="819422060" sldId="230717620"/>
            <ac:spMk id="4" creationId="{60F8BEA3-3FFA-4DCC-9E05-248B2DFE3A6C}"/>
          </ac:spMkLst>
        </pc:spChg>
        <pc:spChg chg="add mod">
          <ac:chgData name="El Bakkouri, Manal" userId="8b130982-2e3f-4164-b881-fd3a2e4b2453" providerId="ADAL" clId="{4457FA57-250B-44AC-8655-05D46C5A3D8A}" dt="2023-05-18T15:49:39.660" v="4086"/>
          <ac:spMkLst>
            <pc:docMk/>
            <pc:sldMk cId="819422060" sldId="230717620"/>
            <ac:spMk id="5" creationId="{8C40113C-49C9-4B08-93C2-8621080A610C}"/>
          </ac:spMkLst>
        </pc:spChg>
        <pc:spChg chg="add mod">
          <ac:chgData name="El Bakkouri, Manal" userId="8b130982-2e3f-4164-b881-fd3a2e4b2453" providerId="ADAL" clId="{4457FA57-250B-44AC-8655-05D46C5A3D8A}" dt="2023-05-18T15:49:39.660" v="4086"/>
          <ac:spMkLst>
            <pc:docMk/>
            <pc:sldMk cId="819422060" sldId="230717620"/>
            <ac:spMk id="6" creationId="{25EACFCA-2018-4F1E-A4A5-4CA51E1683D7}"/>
          </ac:spMkLst>
        </pc:spChg>
        <pc:spChg chg="add mod">
          <ac:chgData name="El Bakkouri, Manal" userId="8b130982-2e3f-4164-b881-fd3a2e4b2453" providerId="ADAL" clId="{4457FA57-250B-44AC-8655-05D46C5A3D8A}" dt="2023-05-18T15:49:39.660" v="4086"/>
          <ac:spMkLst>
            <pc:docMk/>
            <pc:sldMk cId="819422060" sldId="230717620"/>
            <ac:spMk id="7" creationId="{FE915977-9A19-49DE-8DAA-3B473F005622}"/>
          </ac:spMkLst>
        </pc:spChg>
        <pc:spChg chg="add mod">
          <ac:chgData name="El Bakkouri, Manal" userId="8b130982-2e3f-4164-b881-fd3a2e4b2453" providerId="ADAL" clId="{4457FA57-250B-44AC-8655-05D46C5A3D8A}" dt="2023-05-18T15:49:39.660" v="4086"/>
          <ac:spMkLst>
            <pc:docMk/>
            <pc:sldMk cId="819422060" sldId="230717620"/>
            <ac:spMk id="8" creationId="{A2521567-CAB3-4E1C-B33C-0983A6728DFE}"/>
          </ac:spMkLst>
        </pc:spChg>
        <pc:spChg chg="add mod">
          <ac:chgData name="El Bakkouri, Manal" userId="8b130982-2e3f-4164-b881-fd3a2e4b2453" providerId="ADAL" clId="{4457FA57-250B-44AC-8655-05D46C5A3D8A}" dt="2023-05-18T15:49:39.660" v="4086"/>
          <ac:spMkLst>
            <pc:docMk/>
            <pc:sldMk cId="819422060" sldId="230717620"/>
            <ac:spMk id="9" creationId="{1BFDFBCC-5BC2-4299-848F-1552C1BB2296}"/>
          </ac:spMkLst>
        </pc:spChg>
        <pc:spChg chg="add mod">
          <ac:chgData name="El Bakkouri, Manal" userId="8b130982-2e3f-4164-b881-fd3a2e4b2453" providerId="ADAL" clId="{4457FA57-250B-44AC-8655-05D46C5A3D8A}" dt="2023-05-18T15:49:39.660" v="4086"/>
          <ac:spMkLst>
            <pc:docMk/>
            <pc:sldMk cId="819422060" sldId="230717620"/>
            <ac:spMk id="10" creationId="{2AC8980D-553B-4386-9DAB-602A45483F12}"/>
          </ac:spMkLst>
        </pc:spChg>
        <pc:spChg chg="add mod">
          <ac:chgData name="El Bakkouri, Manal" userId="8b130982-2e3f-4164-b881-fd3a2e4b2453" providerId="ADAL" clId="{4457FA57-250B-44AC-8655-05D46C5A3D8A}" dt="2023-05-18T15:49:39.660" v="4086"/>
          <ac:spMkLst>
            <pc:docMk/>
            <pc:sldMk cId="819422060" sldId="230717620"/>
            <ac:spMk id="11" creationId="{468C8FB4-8826-43C8-AF70-DE7A53B24F80}"/>
          </ac:spMkLst>
        </pc:spChg>
        <pc:spChg chg="add mod">
          <ac:chgData name="El Bakkouri, Manal" userId="8b130982-2e3f-4164-b881-fd3a2e4b2453" providerId="ADAL" clId="{4457FA57-250B-44AC-8655-05D46C5A3D8A}" dt="2023-05-18T15:49:39.660" v="4086"/>
          <ac:spMkLst>
            <pc:docMk/>
            <pc:sldMk cId="819422060" sldId="230717620"/>
            <ac:spMk id="12" creationId="{1D26EFED-D0FF-4A85-A37B-2523993856D7}"/>
          </ac:spMkLst>
        </pc:spChg>
        <pc:spChg chg="add mod ord topLvl">
          <ac:chgData name="El Bakkouri, Manal" userId="8b130982-2e3f-4164-b881-fd3a2e4b2453" providerId="ADAL" clId="{4457FA57-250B-44AC-8655-05D46C5A3D8A}" dt="2023-05-19T10:54:28.291" v="5802" actId="165"/>
          <ac:spMkLst>
            <pc:docMk/>
            <pc:sldMk cId="819422060" sldId="230717620"/>
            <ac:spMk id="13" creationId="{83398356-7396-4559-9440-E3C5F2EBAED3}"/>
          </ac:spMkLst>
        </pc:spChg>
        <pc:spChg chg="mod">
          <ac:chgData name="El Bakkouri, Manal" userId="8b130982-2e3f-4164-b881-fd3a2e4b2453" providerId="ADAL" clId="{4457FA57-250B-44AC-8655-05D46C5A3D8A}" dt="2023-06-12T13:29:12.106" v="15813" actId="1036"/>
          <ac:spMkLst>
            <pc:docMk/>
            <pc:sldMk cId="819422060" sldId="230717620"/>
            <ac:spMk id="20" creationId="{6FF58794-93A4-4250-8CAC-98C4B2C638F6}"/>
          </ac:spMkLst>
        </pc:spChg>
        <pc:spChg chg="del mod">
          <ac:chgData name="El Bakkouri, Manal" userId="8b130982-2e3f-4164-b881-fd3a2e4b2453" providerId="ADAL" clId="{4457FA57-250B-44AC-8655-05D46C5A3D8A}" dt="2023-05-19T08:55:51.328" v="4783" actId="478"/>
          <ac:spMkLst>
            <pc:docMk/>
            <pc:sldMk cId="819422060" sldId="230717620"/>
            <ac:spMk id="20" creationId="{A835C167-B57A-465F-9D31-58884F41250A}"/>
          </ac:spMkLst>
        </pc:spChg>
        <pc:spChg chg="mod">
          <ac:chgData name="El Bakkouri, Manal" userId="8b130982-2e3f-4164-b881-fd3a2e4b2453" providerId="ADAL" clId="{4457FA57-250B-44AC-8655-05D46C5A3D8A}" dt="2023-06-12T13:29:12.106" v="15813" actId="1036"/>
          <ac:spMkLst>
            <pc:docMk/>
            <pc:sldMk cId="819422060" sldId="230717620"/>
            <ac:spMk id="21" creationId="{C2AFAF79-CDAA-4F3D-98CA-03E65E7CA3BD}"/>
          </ac:spMkLst>
        </pc:spChg>
        <pc:spChg chg="mod">
          <ac:chgData name="El Bakkouri, Manal" userId="8b130982-2e3f-4164-b881-fd3a2e4b2453" providerId="ADAL" clId="{4457FA57-250B-44AC-8655-05D46C5A3D8A}" dt="2023-06-12T13:28:56.711" v="15811" actId="14100"/>
          <ac:spMkLst>
            <pc:docMk/>
            <pc:sldMk cId="819422060" sldId="230717620"/>
            <ac:spMk id="23" creationId="{5C4ADF1D-988B-4B33-9E84-B795E0604443}"/>
          </ac:spMkLst>
        </pc:spChg>
        <pc:spChg chg="del mod">
          <ac:chgData name="El Bakkouri, Manal" userId="8b130982-2e3f-4164-b881-fd3a2e4b2453" providerId="ADAL" clId="{4457FA57-250B-44AC-8655-05D46C5A3D8A}" dt="2023-05-19T08:56:35.521" v="4792" actId="478"/>
          <ac:spMkLst>
            <pc:docMk/>
            <pc:sldMk cId="819422060" sldId="230717620"/>
            <ac:spMk id="23" creationId="{DC505809-C1A8-44A5-AB5D-92B5DC63E507}"/>
          </ac:spMkLst>
        </pc:spChg>
        <pc:spChg chg="mod">
          <ac:chgData name="El Bakkouri, Manal" userId="8b130982-2e3f-4164-b881-fd3a2e4b2453" providerId="ADAL" clId="{4457FA57-250B-44AC-8655-05D46C5A3D8A}" dt="2023-06-12T13:28:56.711" v="15811" actId="14100"/>
          <ac:spMkLst>
            <pc:docMk/>
            <pc:sldMk cId="819422060" sldId="230717620"/>
            <ac:spMk id="24" creationId="{3C6579A0-8C47-41B6-B342-C84B383F8D70}"/>
          </ac:spMkLst>
        </pc:spChg>
        <pc:spChg chg="del mod topLvl">
          <ac:chgData name="El Bakkouri, Manal" userId="8b130982-2e3f-4164-b881-fd3a2e4b2453" providerId="ADAL" clId="{4457FA57-250B-44AC-8655-05D46C5A3D8A}" dt="2023-05-19T08:56:40.379" v="4793" actId="478"/>
          <ac:spMkLst>
            <pc:docMk/>
            <pc:sldMk cId="819422060" sldId="230717620"/>
            <ac:spMk id="24" creationId="{C0A8093D-6620-48E6-9F57-CED2EBA671F4}"/>
          </ac:spMkLst>
        </pc:spChg>
        <pc:spChg chg="mod">
          <ac:chgData name="El Bakkouri, Manal" userId="8b130982-2e3f-4164-b881-fd3a2e4b2453" providerId="ADAL" clId="{4457FA57-250B-44AC-8655-05D46C5A3D8A}" dt="2023-06-12T13:28:56.711" v="15811" actId="14100"/>
          <ac:spMkLst>
            <pc:docMk/>
            <pc:sldMk cId="819422060" sldId="230717620"/>
            <ac:spMk id="25" creationId="{752EA5E0-FD69-4D57-B58B-AD5741EAB711}"/>
          </ac:spMkLst>
        </pc:spChg>
        <pc:spChg chg="del mod">
          <ac:chgData name="El Bakkouri, Manal" userId="8b130982-2e3f-4164-b881-fd3a2e4b2453" providerId="ADAL" clId="{4457FA57-250B-44AC-8655-05D46C5A3D8A}" dt="2023-05-19T08:56:31.579" v="4791" actId="478"/>
          <ac:spMkLst>
            <pc:docMk/>
            <pc:sldMk cId="819422060" sldId="230717620"/>
            <ac:spMk id="25" creationId="{E61CEF0B-DAB5-4AB9-A6EB-ED78A646F05D}"/>
          </ac:spMkLst>
        </pc:spChg>
        <pc:spChg chg="del mod">
          <ac:chgData name="El Bakkouri, Manal" userId="8b130982-2e3f-4164-b881-fd3a2e4b2453" providerId="ADAL" clId="{4457FA57-250B-44AC-8655-05D46C5A3D8A}" dt="2023-05-19T08:56:22.104" v="4790" actId="478"/>
          <ac:spMkLst>
            <pc:docMk/>
            <pc:sldMk cId="819422060" sldId="230717620"/>
            <ac:spMk id="26" creationId="{12361203-DC26-4E65-96F3-9E8093792CCF}"/>
          </ac:spMkLst>
        </pc:spChg>
        <pc:spChg chg="mod">
          <ac:chgData name="El Bakkouri, Manal" userId="8b130982-2e3f-4164-b881-fd3a2e4b2453" providerId="ADAL" clId="{4457FA57-250B-44AC-8655-05D46C5A3D8A}" dt="2023-06-12T13:29:12.106" v="15813" actId="1036"/>
          <ac:spMkLst>
            <pc:docMk/>
            <pc:sldMk cId="819422060" sldId="230717620"/>
            <ac:spMk id="26" creationId="{4E0B0CDC-119C-46E8-B50E-2ED2184FDF5C}"/>
          </ac:spMkLst>
        </pc:spChg>
        <pc:spChg chg="mod">
          <ac:chgData name="El Bakkouri, Manal" userId="8b130982-2e3f-4164-b881-fd3a2e4b2453" providerId="ADAL" clId="{4457FA57-250B-44AC-8655-05D46C5A3D8A}" dt="2023-06-12T13:28:45.764" v="15809" actId="403"/>
          <ac:spMkLst>
            <pc:docMk/>
            <pc:sldMk cId="819422060" sldId="230717620"/>
            <ac:spMk id="27" creationId="{3D6C0129-87D4-409D-80A8-23059C93FFB5}"/>
          </ac:spMkLst>
        </pc:spChg>
        <pc:spChg chg="del mod">
          <ac:chgData name="El Bakkouri, Manal" userId="8b130982-2e3f-4164-b881-fd3a2e4b2453" providerId="ADAL" clId="{4457FA57-250B-44AC-8655-05D46C5A3D8A}" dt="2023-05-19T08:56:11.853" v="4787" actId="478"/>
          <ac:spMkLst>
            <pc:docMk/>
            <pc:sldMk cId="819422060" sldId="230717620"/>
            <ac:spMk id="27" creationId="{9AC25CB3-7F24-409F-B532-C0080374FD6E}"/>
          </ac:spMkLst>
        </pc:spChg>
        <pc:spChg chg="mod">
          <ac:chgData name="El Bakkouri, Manal" userId="8b130982-2e3f-4164-b881-fd3a2e4b2453" providerId="ADAL" clId="{4457FA57-250B-44AC-8655-05D46C5A3D8A}" dt="2023-06-12T13:28:45.764" v="15809" actId="403"/>
          <ac:spMkLst>
            <pc:docMk/>
            <pc:sldMk cId="819422060" sldId="230717620"/>
            <ac:spMk id="28" creationId="{0DD9691D-A21B-4BF5-BB44-FBD57F16B0E1}"/>
          </ac:spMkLst>
        </pc:spChg>
        <pc:spChg chg="del mod">
          <ac:chgData name="El Bakkouri, Manal" userId="8b130982-2e3f-4164-b881-fd3a2e4b2453" providerId="ADAL" clId="{4457FA57-250B-44AC-8655-05D46C5A3D8A}" dt="2023-05-19T08:56:02.115" v="4786" actId="478"/>
          <ac:spMkLst>
            <pc:docMk/>
            <pc:sldMk cId="819422060" sldId="230717620"/>
            <ac:spMk id="28" creationId="{73168E4C-AEE7-473B-AF83-220D4AEFA5CC}"/>
          </ac:spMkLst>
        </pc:spChg>
        <pc:spChg chg="mod">
          <ac:chgData name="El Bakkouri, Manal" userId="8b130982-2e3f-4164-b881-fd3a2e4b2453" providerId="ADAL" clId="{4457FA57-250B-44AC-8655-05D46C5A3D8A}" dt="2023-06-12T13:28:45.764" v="15809" actId="403"/>
          <ac:spMkLst>
            <pc:docMk/>
            <pc:sldMk cId="819422060" sldId="230717620"/>
            <ac:spMk id="29" creationId="{01E40990-57A4-4B17-B1E1-80C36A30D78E}"/>
          </ac:spMkLst>
        </pc:spChg>
        <pc:spChg chg="del mod">
          <ac:chgData name="El Bakkouri, Manal" userId="8b130982-2e3f-4164-b881-fd3a2e4b2453" providerId="ADAL" clId="{4457FA57-250B-44AC-8655-05D46C5A3D8A}" dt="2023-05-19T08:56:13.958" v="4788" actId="478"/>
          <ac:spMkLst>
            <pc:docMk/>
            <pc:sldMk cId="819422060" sldId="230717620"/>
            <ac:spMk id="29" creationId="{6716B654-22BA-4CF8-BC9E-729A8FBB353A}"/>
          </ac:spMkLst>
        </pc:spChg>
        <pc:spChg chg="mod">
          <ac:chgData name="El Bakkouri, Manal" userId="8b130982-2e3f-4164-b881-fd3a2e4b2453" providerId="ADAL" clId="{4457FA57-250B-44AC-8655-05D46C5A3D8A}" dt="2023-06-12T13:28:45.764" v="15809" actId="403"/>
          <ac:spMkLst>
            <pc:docMk/>
            <pc:sldMk cId="819422060" sldId="230717620"/>
            <ac:spMk id="30" creationId="{3458C3F1-CB4E-4791-8359-8A9650902F44}"/>
          </ac:spMkLst>
        </pc:spChg>
        <pc:spChg chg="del mod">
          <ac:chgData name="El Bakkouri, Manal" userId="8b130982-2e3f-4164-b881-fd3a2e4b2453" providerId="ADAL" clId="{4457FA57-250B-44AC-8655-05D46C5A3D8A}" dt="2023-05-19T08:54:54.717" v="4772" actId="478"/>
          <ac:spMkLst>
            <pc:docMk/>
            <pc:sldMk cId="819422060" sldId="230717620"/>
            <ac:spMk id="30" creationId="{68212FD5-019C-4145-A0E3-922E3A8215BA}"/>
          </ac:spMkLst>
        </pc:spChg>
        <pc:spChg chg="del mod">
          <ac:chgData name="El Bakkouri, Manal" userId="8b130982-2e3f-4164-b881-fd3a2e4b2453" providerId="ADAL" clId="{4457FA57-250B-44AC-8655-05D46C5A3D8A}" dt="2023-05-19T08:54:59.157" v="4773" actId="478"/>
          <ac:spMkLst>
            <pc:docMk/>
            <pc:sldMk cId="819422060" sldId="230717620"/>
            <ac:spMk id="31" creationId="{D2E52E3F-89F2-4955-8F65-AF57B76DDE4D}"/>
          </ac:spMkLst>
        </pc:spChg>
        <pc:spChg chg="del mod">
          <ac:chgData name="El Bakkouri, Manal" userId="8b130982-2e3f-4164-b881-fd3a2e4b2453" providerId="ADAL" clId="{4457FA57-250B-44AC-8655-05D46C5A3D8A}" dt="2023-05-19T08:55:04.614" v="4774" actId="478"/>
          <ac:spMkLst>
            <pc:docMk/>
            <pc:sldMk cId="819422060" sldId="230717620"/>
            <ac:spMk id="32" creationId="{FAFE2515-248B-4CBD-8867-C3F022E451BF}"/>
          </ac:spMkLst>
        </pc:spChg>
        <pc:spChg chg="del mod">
          <ac:chgData name="El Bakkouri, Manal" userId="8b130982-2e3f-4164-b881-fd3a2e4b2453" providerId="ADAL" clId="{4457FA57-250B-44AC-8655-05D46C5A3D8A}" dt="2023-05-19T08:54:42.859" v="4767" actId="478"/>
          <ac:spMkLst>
            <pc:docMk/>
            <pc:sldMk cId="819422060" sldId="230717620"/>
            <ac:spMk id="33" creationId="{40011EC1-F7E0-4523-B21D-3657F05FFE25}"/>
          </ac:spMkLst>
        </pc:spChg>
        <pc:spChg chg="del mod">
          <ac:chgData name="El Bakkouri, Manal" userId="8b130982-2e3f-4164-b881-fd3a2e4b2453" providerId="ADAL" clId="{4457FA57-250B-44AC-8655-05D46C5A3D8A}" dt="2023-05-19T08:54:52.416" v="4771" actId="478"/>
          <ac:spMkLst>
            <pc:docMk/>
            <pc:sldMk cId="819422060" sldId="230717620"/>
            <ac:spMk id="34" creationId="{0F400191-D417-4D85-A43E-4A082801BC4A}"/>
          </ac:spMkLst>
        </pc:spChg>
        <pc:spChg chg="del mod">
          <ac:chgData name="El Bakkouri, Manal" userId="8b130982-2e3f-4164-b881-fd3a2e4b2453" providerId="ADAL" clId="{4457FA57-250B-44AC-8655-05D46C5A3D8A}" dt="2023-05-19T08:55:45.025" v="4781" actId="478"/>
          <ac:spMkLst>
            <pc:docMk/>
            <pc:sldMk cId="819422060" sldId="230717620"/>
            <ac:spMk id="35" creationId="{6BA9C673-5C73-46DF-9C07-8D046EB7CF9A}"/>
          </ac:spMkLst>
        </pc:spChg>
        <pc:spChg chg="del mod">
          <ac:chgData name="El Bakkouri, Manal" userId="8b130982-2e3f-4164-b881-fd3a2e4b2453" providerId="ADAL" clId="{4457FA57-250B-44AC-8655-05D46C5A3D8A}" dt="2023-05-19T08:55:36.353" v="4780" actId="478"/>
          <ac:spMkLst>
            <pc:docMk/>
            <pc:sldMk cId="819422060" sldId="230717620"/>
            <ac:spMk id="36" creationId="{F8DFE16F-B72B-4697-A7A6-683EA8760739}"/>
          </ac:spMkLst>
        </pc:spChg>
        <pc:spChg chg="del mod">
          <ac:chgData name="El Bakkouri, Manal" userId="8b130982-2e3f-4164-b881-fd3a2e4b2453" providerId="ADAL" clId="{4457FA57-250B-44AC-8655-05D46C5A3D8A}" dt="2023-05-19T08:54:48.508" v="4770" actId="478"/>
          <ac:spMkLst>
            <pc:docMk/>
            <pc:sldMk cId="819422060" sldId="230717620"/>
            <ac:spMk id="38" creationId="{F63C9EDA-DAF2-4E5B-95D3-26C6A2EB8BFD}"/>
          </ac:spMkLst>
        </pc:spChg>
        <pc:spChg chg="del mod">
          <ac:chgData name="El Bakkouri, Manal" userId="8b130982-2e3f-4164-b881-fd3a2e4b2453" providerId="ADAL" clId="{4457FA57-250B-44AC-8655-05D46C5A3D8A}" dt="2023-05-19T08:55:08.117" v="4775" actId="478"/>
          <ac:spMkLst>
            <pc:docMk/>
            <pc:sldMk cId="819422060" sldId="230717620"/>
            <ac:spMk id="39" creationId="{55BB7969-01A3-4C7F-9312-20DD586BC0A3}"/>
          </ac:spMkLst>
        </pc:spChg>
        <pc:spChg chg="del mod">
          <ac:chgData name="El Bakkouri, Manal" userId="8b130982-2e3f-4164-b881-fd3a2e4b2453" providerId="ADAL" clId="{4457FA57-250B-44AC-8655-05D46C5A3D8A}" dt="2023-05-19T08:55:21.974" v="4777" actId="478"/>
          <ac:spMkLst>
            <pc:docMk/>
            <pc:sldMk cId="819422060" sldId="230717620"/>
            <ac:spMk id="40" creationId="{E44E10FA-4893-4797-B9F5-599FF89F8A07}"/>
          </ac:spMkLst>
        </pc:spChg>
        <pc:spChg chg="del mod">
          <ac:chgData name="El Bakkouri, Manal" userId="8b130982-2e3f-4164-b881-fd3a2e4b2453" providerId="ADAL" clId="{4457FA57-250B-44AC-8655-05D46C5A3D8A}" dt="2023-05-19T08:55:54.181" v="4784" actId="478"/>
          <ac:spMkLst>
            <pc:docMk/>
            <pc:sldMk cId="819422060" sldId="230717620"/>
            <ac:spMk id="41" creationId="{315DC41A-0C6E-4CD9-80F4-335DD6768577}"/>
          </ac:spMkLst>
        </pc:spChg>
        <pc:spChg chg="del mod">
          <ac:chgData name="El Bakkouri, Manal" userId="8b130982-2e3f-4164-b881-fd3a2e4b2453" providerId="ADAL" clId="{4457FA57-250B-44AC-8655-05D46C5A3D8A}" dt="2023-05-19T08:55:59.658" v="4785" actId="478"/>
          <ac:spMkLst>
            <pc:docMk/>
            <pc:sldMk cId="819422060" sldId="230717620"/>
            <ac:spMk id="42" creationId="{CBB6BD45-3D52-42F8-B9B1-8048D3EC2270}"/>
          </ac:spMkLst>
        </pc:spChg>
        <pc:spChg chg="del mod">
          <ac:chgData name="El Bakkouri, Manal" userId="8b130982-2e3f-4164-b881-fd3a2e4b2453" providerId="ADAL" clId="{4457FA57-250B-44AC-8655-05D46C5A3D8A}" dt="2023-05-19T08:56:18.995" v="4789" actId="478"/>
          <ac:spMkLst>
            <pc:docMk/>
            <pc:sldMk cId="819422060" sldId="230717620"/>
            <ac:spMk id="43" creationId="{406EF600-C3FD-4AE1-9A57-FD05E8017880}"/>
          </ac:spMkLst>
        </pc:spChg>
        <pc:spChg chg="del mod topLvl">
          <ac:chgData name="El Bakkouri, Manal" userId="8b130982-2e3f-4164-b881-fd3a2e4b2453" providerId="ADAL" clId="{4457FA57-250B-44AC-8655-05D46C5A3D8A}" dt="2023-05-19T08:56:43.303" v="4794" actId="478"/>
          <ac:spMkLst>
            <pc:docMk/>
            <pc:sldMk cId="819422060" sldId="230717620"/>
            <ac:spMk id="44" creationId="{802C4A6F-12D1-4C54-9BCF-058A8FBFA77B}"/>
          </ac:spMkLst>
        </pc:spChg>
        <pc:spChg chg="add del mod topLvl">
          <ac:chgData name="El Bakkouri, Manal" userId="8b130982-2e3f-4164-b881-fd3a2e4b2453" providerId="ADAL" clId="{4457FA57-250B-44AC-8655-05D46C5A3D8A}" dt="2023-05-19T09:01:41.343" v="4827" actId="164"/>
          <ac:spMkLst>
            <pc:docMk/>
            <pc:sldMk cId="819422060" sldId="230717620"/>
            <ac:spMk id="45" creationId="{8F93939B-4DA2-48C9-9566-750470EC46E4}"/>
          </ac:spMkLst>
        </pc:spChg>
        <pc:spChg chg="mod topLvl">
          <ac:chgData name="El Bakkouri, Manal" userId="8b130982-2e3f-4164-b881-fd3a2e4b2453" providerId="ADAL" clId="{4457FA57-250B-44AC-8655-05D46C5A3D8A}" dt="2023-05-19T09:01:41.343" v="4827" actId="164"/>
          <ac:spMkLst>
            <pc:docMk/>
            <pc:sldMk cId="819422060" sldId="230717620"/>
            <ac:spMk id="46" creationId="{2C9AAF68-7AF4-409A-95A1-F1F8F9C37DE6}"/>
          </ac:spMkLst>
        </pc:spChg>
        <pc:spChg chg="mod topLvl">
          <ac:chgData name="El Bakkouri, Manal" userId="8b130982-2e3f-4164-b881-fd3a2e4b2453" providerId="ADAL" clId="{4457FA57-250B-44AC-8655-05D46C5A3D8A}" dt="2023-05-19T09:03:00.972" v="4840" actId="1036"/>
          <ac:spMkLst>
            <pc:docMk/>
            <pc:sldMk cId="819422060" sldId="230717620"/>
            <ac:spMk id="47" creationId="{8A71FB4A-4B41-4568-B9BA-743FDA179D30}"/>
          </ac:spMkLst>
        </pc:spChg>
        <pc:spChg chg="mod topLvl">
          <ac:chgData name="El Bakkouri, Manal" userId="8b130982-2e3f-4164-b881-fd3a2e4b2453" providerId="ADAL" clId="{4457FA57-250B-44AC-8655-05D46C5A3D8A}" dt="2023-05-19T09:02:01.047" v="4830" actId="1035"/>
          <ac:spMkLst>
            <pc:docMk/>
            <pc:sldMk cId="819422060" sldId="230717620"/>
            <ac:spMk id="48" creationId="{8FB09E43-F7F0-4681-834C-64EBCE1F8616}"/>
          </ac:spMkLst>
        </pc:spChg>
        <pc:spChg chg="mod topLvl">
          <ac:chgData name="El Bakkouri, Manal" userId="8b130982-2e3f-4164-b881-fd3a2e4b2453" providerId="ADAL" clId="{4457FA57-250B-44AC-8655-05D46C5A3D8A}" dt="2023-05-19T09:02:04.995" v="4831" actId="1038"/>
          <ac:spMkLst>
            <pc:docMk/>
            <pc:sldMk cId="819422060" sldId="230717620"/>
            <ac:spMk id="49" creationId="{D5A192DF-0AE2-42A4-B214-AB4B5AAF24E3}"/>
          </ac:spMkLst>
        </pc:spChg>
        <pc:spChg chg="mod topLvl">
          <ac:chgData name="El Bakkouri, Manal" userId="8b130982-2e3f-4164-b881-fd3a2e4b2453" providerId="ADAL" clId="{4457FA57-250B-44AC-8655-05D46C5A3D8A}" dt="2023-05-19T09:02:12.484" v="4832" actId="1038"/>
          <ac:spMkLst>
            <pc:docMk/>
            <pc:sldMk cId="819422060" sldId="230717620"/>
            <ac:spMk id="50" creationId="{53EB8DEC-A16B-42CC-944C-766179666F26}"/>
          </ac:spMkLst>
        </pc:spChg>
        <pc:spChg chg="mod topLvl">
          <ac:chgData name="El Bakkouri, Manal" userId="8b130982-2e3f-4164-b881-fd3a2e4b2453" providerId="ADAL" clId="{4457FA57-250B-44AC-8655-05D46C5A3D8A}" dt="2023-05-19T09:02:17.909" v="4833" actId="1035"/>
          <ac:spMkLst>
            <pc:docMk/>
            <pc:sldMk cId="819422060" sldId="230717620"/>
            <ac:spMk id="51" creationId="{DF22A33B-B56A-4F4A-BFA5-988DD9FACCAF}"/>
          </ac:spMkLst>
        </pc:spChg>
        <pc:spChg chg="mod topLvl">
          <ac:chgData name="El Bakkouri, Manal" userId="8b130982-2e3f-4164-b881-fd3a2e4b2453" providerId="ADAL" clId="{4457FA57-250B-44AC-8655-05D46C5A3D8A}" dt="2023-05-19T09:01:41.343" v="4827" actId="164"/>
          <ac:spMkLst>
            <pc:docMk/>
            <pc:sldMk cId="819422060" sldId="230717620"/>
            <ac:spMk id="52" creationId="{1CDB5A04-6ACD-449E-B7D0-60C24D0CC868}"/>
          </ac:spMkLst>
        </pc:spChg>
        <pc:spChg chg="add del mod ord">
          <ac:chgData name="El Bakkouri, Manal" userId="8b130982-2e3f-4164-b881-fd3a2e4b2453" providerId="ADAL" clId="{4457FA57-250B-44AC-8655-05D46C5A3D8A}" dt="2023-05-19T09:23:24.671" v="5183" actId="11529"/>
          <ac:spMkLst>
            <pc:docMk/>
            <pc:sldMk cId="819422060" sldId="230717620"/>
            <ac:spMk id="65" creationId="{53B313BF-A6B6-4CDC-A41B-4A9EECB8066B}"/>
          </ac:spMkLst>
        </pc:spChg>
        <pc:spChg chg="add del mod">
          <ac:chgData name="El Bakkouri, Manal" userId="8b130982-2e3f-4164-b881-fd3a2e4b2453" providerId="ADAL" clId="{4457FA57-250B-44AC-8655-05D46C5A3D8A}" dt="2023-05-19T09:23:48.473" v="5187" actId="11529"/>
          <ac:spMkLst>
            <pc:docMk/>
            <pc:sldMk cId="819422060" sldId="230717620"/>
            <ac:spMk id="66" creationId="{A2634CCF-7B95-4D1D-87ED-F002693617BE}"/>
          </ac:spMkLst>
        </pc:spChg>
        <pc:spChg chg="add del mod ord">
          <ac:chgData name="El Bakkouri, Manal" userId="8b130982-2e3f-4164-b881-fd3a2e4b2453" providerId="ADAL" clId="{4457FA57-250B-44AC-8655-05D46C5A3D8A}" dt="2023-05-19T09:25:56.228" v="5212" actId="478"/>
          <ac:spMkLst>
            <pc:docMk/>
            <pc:sldMk cId="819422060" sldId="230717620"/>
            <ac:spMk id="67" creationId="{9C65B8CA-A3C1-441C-86BB-FCC9020A2726}"/>
          </ac:spMkLst>
        </pc:spChg>
        <pc:spChg chg="add mod ord topLvl">
          <ac:chgData name="El Bakkouri, Manal" userId="8b130982-2e3f-4164-b881-fd3a2e4b2453" providerId="ADAL" clId="{4457FA57-250B-44AC-8655-05D46C5A3D8A}" dt="2023-05-19T10:54:43.532" v="5803" actId="14100"/>
          <ac:spMkLst>
            <pc:docMk/>
            <pc:sldMk cId="819422060" sldId="230717620"/>
            <ac:spMk id="70" creationId="{12DED6B2-D20C-42EE-A3F3-D85C39109C25}"/>
          </ac:spMkLst>
        </pc:spChg>
        <pc:spChg chg="mod topLvl">
          <ac:chgData name="El Bakkouri, Manal" userId="8b130982-2e3f-4164-b881-fd3a2e4b2453" providerId="ADAL" clId="{4457FA57-250B-44AC-8655-05D46C5A3D8A}" dt="2023-05-19T09:46:03.116" v="5461" actId="338"/>
          <ac:spMkLst>
            <pc:docMk/>
            <pc:sldMk cId="819422060" sldId="230717620"/>
            <ac:spMk id="77" creationId="{4C5B210E-4CC4-4592-A5E5-8CFAE6271796}"/>
          </ac:spMkLst>
        </pc:spChg>
        <pc:spChg chg="mod topLvl">
          <ac:chgData name="El Bakkouri, Manal" userId="8b130982-2e3f-4164-b881-fd3a2e4b2453" providerId="ADAL" clId="{4457FA57-250B-44AC-8655-05D46C5A3D8A}" dt="2023-05-19T09:46:03.116" v="5461" actId="338"/>
          <ac:spMkLst>
            <pc:docMk/>
            <pc:sldMk cId="819422060" sldId="230717620"/>
            <ac:spMk id="78" creationId="{A3C64D32-14DD-4C15-910D-8D29E9980949}"/>
          </ac:spMkLst>
        </pc:spChg>
        <pc:spChg chg="add">
          <ac:chgData name="El Bakkouri, Manal" userId="8b130982-2e3f-4164-b881-fd3a2e4b2453" providerId="ADAL" clId="{4457FA57-250B-44AC-8655-05D46C5A3D8A}" dt="2023-05-26T16:30:02.953" v="14261" actId="11529"/>
          <ac:spMkLst>
            <pc:docMk/>
            <pc:sldMk cId="819422060" sldId="230717620"/>
            <ac:spMk id="85" creationId="{5F895BFB-F69F-4227-8B47-425C2ABB1B72}"/>
          </ac:spMkLst>
        </pc:spChg>
        <pc:grpChg chg="add del mod ord">
          <ac:chgData name="El Bakkouri, Manal" userId="8b130982-2e3f-4164-b881-fd3a2e4b2453" providerId="ADAL" clId="{4457FA57-250B-44AC-8655-05D46C5A3D8A}" dt="2023-05-19T08:56:40.379" v="4793" actId="478"/>
          <ac:grpSpMkLst>
            <pc:docMk/>
            <pc:sldMk cId="819422060" sldId="230717620"/>
            <ac:grpSpMk id="14" creationId="{D4E08665-E44A-4A75-B33C-E21460E1E92D}"/>
          </ac:grpSpMkLst>
        </pc:grpChg>
        <pc:grpChg chg="del mod topLvl">
          <ac:chgData name="El Bakkouri, Manal" userId="8b130982-2e3f-4164-b881-fd3a2e4b2453" providerId="ADAL" clId="{4457FA57-250B-44AC-8655-05D46C5A3D8A}" dt="2023-05-19T08:56:43.303" v="4794" actId="478"/>
          <ac:grpSpMkLst>
            <pc:docMk/>
            <pc:sldMk cId="819422060" sldId="230717620"/>
            <ac:grpSpMk id="15" creationId="{32BFE295-850D-4B1B-9F9A-D2C7CA09D856}"/>
          </ac:grpSpMkLst>
        </pc:grpChg>
        <pc:grpChg chg="del mod">
          <ac:chgData name="El Bakkouri, Manal" userId="8b130982-2e3f-4164-b881-fd3a2e4b2453" providerId="ADAL" clId="{4457FA57-250B-44AC-8655-05D46C5A3D8A}" dt="2023-05-19T08:55:36.353" v="4780" actId="478"/>
          <ac:grpSpMkLst>
            <pc:docMk/>
            <pc:sldMk cId="819422060" sldId="230717620"/>
            <ac:grpSpMk id="16" creationId="{06B9046A-1F58-47DF-BBAF-E92E8F37EB3D}"/>
          </ac:grpSpMkLst>
        </pc:grpChg>
        <pc:grpChg chg="del mod">
          <ac:chgData name="El Bakkouri, Manal" userId="8b130982-2e3f-4164-b881-fd3a2e4b2453" providerId="ADAL" clId="{4457FA57-250B-44AC-8655-05D46C5A3D8A}" dt="2023-05-19T08:54:42.859" v="4767" actId="478"/>
          <ac:grpSpMkLst>
            <pc:docMk/>
            <pc:sldMk cId="819422060" sldId="230717620"/>
            <ac:grpSpMk id="17" creationId="{8C981C73-2062-48EF-8218-E9A1C2ECF747}"/>
          </ac:grpSpMkLst>
        </pc:grpChg>
        <pc:grpChg chg="del mod">
          <ac:chgData name="El Bakkouri, Manal" userId="8b130982-2e3f-4164-b881-fd3a2e4b2453" providerId="ADAL" clId="{4457FA57-250B-44AC-8655-05D46C5A3D8A}" dt="2023-05-19T08:54:59.157" v="4773" actId="478"/>
          <ac:grpSpMkLst>
            <pc:docMk/>
            <pc:sldMk cId="819422060" sldId="230717620"/>
            <ac:grpSpMk id="18" creationId="{64473E89-DBBE-4943-BA98-A03623E96A37}"/>
          </ac:grpSpMkLst>
        </pc:grpChg>
        <pc:grpChg chg="del mod">
          <ac:chgData name="El Bakkouri, Manal" userId="8b130982-2e3f-4164-b881-fd3a2e4b2453" providerId="ADAL" clId="{4457FA57-250B-44AC-8655-05D46C5A3D8A}" dt="2023-05-19T08:56:11.853" v="4787" actId="478"/>
          <ac:grpSpMkLst>
            <pc:docMk/>
            <pc:sldMk cId="819422060" sldId="230717620"/>
            <ac:grpSpMk id="19" creationId="{0C55FF87-2CC3-489F-BBD3-0AAAB7610138}"/>
          </ac:grpSpMkLst>
        </pc:grpChg>
        <pc:grpChg chg="del mod">
          <ac:chgData name="El Bakkouri, Manal" userId="8b130982-2e3f-4164-b881-fd3a2e4b2453" providerId="ADAL" clId="{4457FA57-250B-44AC-8655-05D46C5A3D8A}" dt="2023-05-19T08:56:22.104" v="4790" actId="478"/>
          <ac:grpSpMkLst>
            <pc:docMk/>
            <pc:sldMk cId="819422060" sldId="230717620"/>
            <ac:grpSpMk id="21" creationId="{BF7DD163-AF60-4B7C-8B83-27668F847B06}"/>
          </ac:grpSpMkLst>
        </pc:grpChg>
        <pc:grpChg chg="del mod">
          <ac:chgData name="El Bakkouri, Manal" userId="8b130982-2e3f-4164-b881-fd3a2e4b2453" providerId="ADAL" clId="{4457FA57-250B-44AC-8655-05D46C5A3D8A}" dt="2023-05-19T08:56:35.521" v="4792" actId="478"/>
          <ac:grpSpMkLst>
            <pc:docMk/>
            <pc:sldMk cId="819422060" sldId="230717620"/>
            <ac:grpSpMk id="22" creationId="{D393C7CF-2D54-4C6D-9634-57F43D8A621D}"/>
          </ac:grpSpMkLst>
        </pc:grpChg>
        <pc:grpChg chg="del mod topLvl">
          <ac:chgData name="El Bakkouri, Manal" userId="8b130982-2e3f-4164-b881-fd3a2e4b2453" providerId="ADAL" clId="{4457FA57-250B-44AC-8655-05D46C5A3D8A}" dt="2023-05-19T09:01:37.756" v="4826" actId="165"/>
          <ac:grpSpMkLst>
            <pc:docMk/>
            <pc:sldMk cId="819422060" sldId="230717620"/>
            <ac:grpSpMk id="37" creationId="{FF94CF84-5597-4C39-A47D-5915C24990C2}"/>
          </ac:grpSpMkLst>
        </pc:grpChg>
        <pc:grpChg chg="add del mod">
          <ac:chgData name="El Bakkouri, Manal" userId="8b130982-2e3f-4164-b881-fd3a2e4b2453" providerId="ADAL" clId="{4457FA57-250B-44AC-8655-05D46C5A3D8A}" dt="2023-05-19T09:03:42.283" v="4846" actId="478"/>
          <ac:grpSpMkLst>
            <pc:docMk/>
            <pc:sldMk cId="819422060" sldId="230717620"/>
            <ac:grpSpMk id="53" creationId="{5881A25B-6471-4049-9CCA-A9DEECC9AB66}"/>
          </ac:grpSpMkLst>
        </pc:grpChg>
        <pc:grpChg chg="add del mod">
          <ac:chgData name="El Bakkouri, Manal" userId="8b130982-2e3f-4164-b881-fd3a2e4b2453" providerId="ADAL" clId="{4457FA57-250B-44AC-8655-05D46C5A3D8A}" dt="2023-05-26T16:05:18.159" v="14102" actId="1076"/>
          <ac:grpSpMkLst>
            <pc:docMk/>
            <pc:sldMk cId="819422060" sldId="230717620"/>
            <ac:grpSpMk id="73" creationId="{CD5395D2-CF36-4C6D-8CAD-57609E8B6B7F}"/>
          </ac:grpSpMkLst>
        </pc:grpChg>
        <pc:grpChg chg="del mod">
          <ac:chgData name="El Bakkouri, Manal" userId="8b130982-2e3f-4164-b881-fd3a2e4b2453" providerId="ADAL" clId="{4457FA57-250B-44AC-8655-05D46C5A3D8A}" dt="2023-05-19T09:45:57.196" v="5460" actId="165"/>
          <ac:grpSpMkLst>
            <pc:docMk/>
            <pc:sldMk cId="819422060" sldId="230717620"/>
            <ac:grpSpMk id="76" creationId="{284A9447-273E-426A-B4C9-2EA36A8ED11D}"/>
          </ac:grpSpMkLst>
        </pc:grpChg>
        <pc:grpChg chg="add mod">
          <ac:chgData name="El Bakkouri, Manal" userId="8b130982-2e3f-4164-b881-fd3a2e4b2453" providerId="ADAL" clId="{4457FA57-250B-44AC-8655-05D46C5A3D8A}" dt="2023-05-19T09:46:03.116" v="5461" actId="338"/>
          <ac:grpSpMkLst>
            <pc:docMk/>
            <pc:sldMk cId="819422060" sldId="230717620"/>
            <ac:grpSpMk id="79" creationId="{76387FC5-8544-495A-9427-0B04886943A0}"/>
          </ac:grpSpMkLst>
        </pc:grpChg>
        <pc:grpChg chg="add mod">
          <ac:chgData name="El Bakkouri, Manal" userId="8b130982-2e3f-4164-b881-fd3a2e4b2453" providerId="ADAL" clId="{4457FA57-250B-44AC-8655-05D46C5A3D8A}" dt="2023-05-19T10:54:27.521" v="5801" actId="338"/>
          <ac:grpSpMkLst>
            <pc:docMk/>
            <pc:sldMk cId="819422060" sldId="230717620"/>
            <ac:grpSpMk id="82" creationId="{727F8010-7C7E-4CA0-98E8-7266E0DFA720}"/>
          </ac:grpSpMkLst>
        </pc:grpChg>
        <pc:picChg chg="add del mod topLvl">
          <ac:chgData name="El Bakkouri, Manal" userId="8b130982-2e3f-4164-b881-fd3a2e4b2453" providerId="ADAL" clId="{4457FA57-250B-44AC-8655-05D46C5A3D8A}" dt="2023-05-19T10:54:28.291" v="5802" actId="165"/>
          <ac:picMkLst>
            <pc:docMk/>
            <pc:sldMk cId="819422060" sldId="230717620"/>
            <ac:picMk id="55" creationId="{91EB74D2-A698-4CCA-94EF-81646BC9428F}"/>
          </ac:picMkLst>
        </pc:picChg>
        <pc:picChg chg="add del mod">
          <ac:chgData name="El Bakkouri, Manal" userId="8b130982-2e3f-4164-b881-fd3a2e4b2453" providerId="ADAL" clId="{4457FA57-250B-44AC-8655-05D46C5A3D8A}" dt="2023-05-19T09:20:38.564" v="5134" actId="478"/>
          <ac:picMkLst>
            <pc:docMk/>
            <pc:sldMk cId="819422060" sldId="230717620"/>
            <ac:picMk id="56" creationId="{0C8ACB2F-6A7B-4EBE-BE02-C0CCBC8871BF}"/>
          </ac:picMkLst>
        </pc:picChg>
        <pc:picChg chg="add del mod ord">
          <ac:chgData name="El Bakkouri, Manal" userId="8b130982-2e3f-4164-b881-fd3a2e4b2453" providerId="ADAL" clId="{4457FA57-250B-44AC-8655-05D46C5A3D8A}" dt="2023-05-19T09:10:06.780" v="4974" actId="478"/>
          <ac:picMkLst>
            <pc:docMk/>
            <pc:sldMk cId="819422060" sldId="230717620"/>
            <ac:picMk id="58" creationId="{632A62BF-5080-46B9-9CC0-94AFD0D75233}"/>
          </ac:picMkLst>
        </pc:picChg>
        <pc:picChg chg="add del mod ord">
          <ac:chgData name="El Bakkouri, Manal" userId="8b130982-2e3f-4164-b881-fd3a2e4b2453" providerId="ADAL" clId="{4457FA57-250B-44AC-8655-05D46C5A3D8A}" dt="2023-05-19T09:13:03.548" v="5014" actId="931"/>
          <ac:picMkLst>
            <pc:docMk/>
            <pc:sldMk cId="819422060" sldId="230717620"/>
            <ac:picMk id="60" creationId="{7F866F97-BCCE-4200-BD65-13D171958A89}"/>
          </ac:picMkLst>
        </pc:picChg>
        <pc:picChg chg="add del mod ord">
          <ac:chgData name="El Bakkouri, Manal" userId="8b130982-2e3f-4164-b881-fd3a2e4b2453" providerId="ADAL" clId="{4457FA57-250B-44AC-8655-05D46C5A3D8A}" dt="2023-05-19T09:13:01.536" v="5010" actId="931"/>
          <ac:picMkLst>
            <pc:docMk/>
            <pc:sldMk cId="819422060" sldId="230717620"/>
            <ac:picMk id="62" creationId="{C57CB993-A213-4DCE-943E-8435D9011C3E}"/>
          </ac:picMkLst>
        </pc:picChg>
        <pc:picChg chg="add del mod">
          <ac:chgData name="El Bakkouri, Manal" userId="8b130982-2e3f-4164-b881-fd3a2e4b2453" providerId="ADAL" clId="{4457FA57-250B-44AC-8655-05D46C5A3D8A}" dt="2023-05-19T09:19:10.402" v="5068" actId="478"/>
          <ac:picMkLst>
            <pc:docMk/>
            <pc:sldMk cId="819422060" sldId="230717620"/>
            <ac:picMk id="64" creationId="{C0F1C5E6-EB7A-49DE-827B-40209F76876F}"/>
          </ac:picMkLst>
        </pc:picChg>
        <pc:picChg chg="add del mod">
          <ac:chgData name="El Bakkouri, Manal" userId="8b130982-2e3f-4164-b881-fd3a2e4b2453" providerId="ADAL" clId="{4457FA57-250B-44AC-8655-05D46C5A3D8A}" dt="2023-05-19T09:27:50.375" v="5256" actId="478"/>
          <ac:picMkLst>
            <pc:docMk/>
            <pc:sldMk cId="819422060" sldId="230717620"/>
            <ac:picMk id="69" creationId="{842E84FB-A050-47F7-8544-D9659D031503}"/>
          </ac:picMkLst>
        </pc:picChg>
        <pc:picChg chg="add del mod">
          <ac:chgData name="El Bakkouri, Manal" userId="8b130982-2e3f-4164-b881-fd3a2e4b2453" providerId="ADAL" clId="{4457FA57-250B-44AC-8655-05D46C5A3D8A}" dt="2023-05-19T09:44:32.064" v="5444" actId="27803"/>
          <ac:picMkLst>
            <pc:docMk/>
            <pc:sldMk cId="819422060" sldId="230717620"/>
            <ac:picMk id="72" creationId="{39157BA9-3733-43AC-8E59-C9578AFF6321}"/>
          </ac:picMkLst>
        </pc:picChg>
        <pc:picChg chg="add del mod">
          <ac:chgData name="El Bakkouri, Manal" userId="8b130982-2e3f-4164-b881-fd3a2e4b2453" providerId="ADAL" clId="{4457FA57-250B-44AC-8655-05D46C5A3D8A}" dt="2023-05-19T09:31:56.620" v="5278" actId="21"/>
          <ac:picMkLst>
            <pc:docMk/>
            <pc:sldMk cId="819422060" sldId="230717620"/>
            <ac:picMk id="75" creationId="{BE5BC975-9742-4F60-B7A9-B5116EFFC7AD}"/>
          </ac:picMkLst>
        </pc:picChg>
        <pc:picChg chg="add mod">
          <ac:chgData name="El Bakkouri, Manal" userId="8b130982-2e3f-4164-b881-fd3a2e4b2453" providerId="ADAL" clId="{4457FA57-250B-44AC-8655-05D46C5A3D8A}" dt="2023-05-19T10:23:38.055" v="5733" actId="1076"/>
          <ac:picMkLst>
            <pc:docMk/>
            <pc:sldMk cId="819422060" sldId="230717620"/>
            <ac:picMk id="81" creationId="{28DF0334-837A-4330-A885-F3E6A87CD463}"/>
          </ac:picMkLst>
        </pc:picChg>
        <pc:picChg chg="add del mod ord">
          <ac:chgData name="El Bakkouri, Manal" userId="8b130982-2e3f-4164-b881-fd3a2e4b2453" providerId="ADAL" clId="{4457FA57-250B-44AC-8655-05D46C5A3D8A}" dt="2023-05-23T18:52:35.695" v="9488" actId="478"/>
          <ac:picMkLst>
            <pc:docMk/>
            <pc:sldMk cId="819422060" sldId="230717620"/>
            <ac:picMk id="83" creationId="{3B6D9757-5327-4398-9978-EAD53F1AFF8B}"/>
          </ac:picMkLst>
        </pc:picChg>
        <pc:picChg chg="add del mod ord">
          <ac:chgData name="El Bakkouri, Manal" userId="8b130982-2e3f-4164-b881-fd3a2e4b2453" providerId="ADAL" clId="{4457FA57-250B-44AC-8655-05D46C5A3D8A}" dt="2023-05-26T16:05:26.016" v="14104" actId="478"/>
          <ac:picMkLst>
            <pc:docMk/>
            <pc:sldMk cId="819422060" sldId="230717620"/>
            <ac:picMk id="84" creationId="{AD2C1047-96BC-45E4-B9BC-FCCA38258146}"/>
          </ac:picMkLst>
        </pc:picChg>
      </pc:sldChg>
      <pc:sldChg chg="addSp delSp modSp new del mod">
        <pc:chgData name="El Bakkouri, Manal" userId="8b130982-2e3f-4164-b881-fd3a2e4b2453" providerId="ADAL" clId="{4457FA57-250B-44AC-8655-05D46C5A3D8A}" dt="2023-05-18T15:43:36.293" v="4076" actId="2696"/>
        <pc:sldMkLst>
          <pc:docMk/>
          <pc:sldMk cId="2708932309" sldId="230717620"/>
        </pc:sldMkLst>
        <pc:spChg chg="mod">
          <ac:chgData name="El Bakkouri, Manal" userId="8b130982-2e3f-4164-b881-fd3a2e4b2453" providerId="ADAL" clId="{4457FA57-250B-44AC-8655-05D46C5A3D8A}" dt="2023-05-18T15:21:27.374" v="3919" actId="20577"/>
          <ac:spMkLst>
            <pc:docMk/>
            <pc:sldMk cId="2708932309" sldId="230717620"/>
            <ac:spMk id="4" creationId="{258A3E7F-D1E6-4641-B70F-7DBD2FF17E8B}"/>
          </ac:spMkLst>
        </pc:spChg>
        <pc:spChg chg="mod">
          <ac:chgData name="El Bakkouri, Manal" userId="8b130982-2e3f-4164-b881-fd3a2e4b2453" providerId="ADAL" clId="{4457FA57-250B-44AC-8655-05D46C5A3D8A}" dt="2023-05-18T15:11:56.946" v="3833" actId="207"/>
          <ac:spMkLst>
            <pc:docMk/>
            <pc:sldMk cId="2708932309" sldId="230717620"/>
            <ac:spMk id="5" creationId="{B0A74765-6303-466D-84B7-99B784A71AB0}"/>
          </ac:spMkLst>
        </pc:spChg>
        <pc:spChg chg="mod">
          <ac:chgData name="El Bakkouri, Manal" userId="8b130982-2e3f-4164-b881-fd3a2e4b2453" providerId="ADAL" clId="{4457FA57-250B-44AC-8655-05D46C5A3D8A}" dt="2023-05-18T15:13:32.807" v="3864" actId="207"/>
          <ac:spMkLst>
            <pc:docMk/>
            <pc:sldMk cId="2708932309" sldId="230717620"/>
            <ac:spMk id="6" creationId="{377BE62E-222B-48C8-A947-E5C98B274BFB}"/>
          </ac:spMkLst>
        </pc:spChg>
        <pc:spChg chg="mod">
          <ac:chgData name="El Bakkouri, Manal" userId="8b130982-2e3f-4164-b881-fd3a2e4b2453" providerId="ADAL" clId="{4457FA57-250B-44AC-8655-05D46C5A3D8A}" dt="2023-05-18T15:14:15.751" v="3873" actId="20577"/>
          <ac:spMkLst>
            <pc:docMk/>
            <pc:sldMk cId="2708932309" sldId="230717620"/>
            <ac:spMk id="7" creationId="{766AE3B9-3156-49D6-A994-6DB8357705D5}"/>
          </ac:spMkLst>
        </pc:spChg>
        <pc:spChg chg="mod">
          <ac:chgData name="El Bakkouri, Manal" userId="8b130982-2e3f-4164-b881-fd3a2e4b2453" providerId="ADAL" clId="{4457FA57-250B-44AC-8655-05D46C5A3D8A}" dt="2023-05-18T15:13:58.550" v="3869" actId="207"/>
          <ac:spMkLst>
            <pc:docMk/>
            <pc:sldMk cId="2708932309" sldId="230717620"/>
            <ac:spMk id="8" creationId="{B02A92C2-64D7-43A1-96C0-2A32BAD2D8D0}"/>
          </ac:spMkLst>
        </pc:spChg>
        <pc:spChg chg="mod">
          <ac:chgData name="El Bakkouri, Manal" userId="8b130982-2e3f-4164-b881-fd3a2e4b2453" providerId="ADAL" clId="{4457FA57-250B-44AC-8655-05D46C5A3D8A}" dt="2023-05-18T15:12:55.753" v="3860" actId="20577"/>
          <ac:spMkLst>
            <pc:docMk/>
            <pc:sldMk cId="2708932309" sldId="230717620"/>
            <ac:spMk id="9" creationId="{B208673E-B8AD-4A1C-8725-5166684585C3}"/>
          </ac:spMkLst>
        </pc:spChg>
        <pc:spChg chg="mod">
          <ac:chgData name="El Bakkouri, Manal" userId="8b130982-2e3f-4164-b881-fd3a2e4b2453" providerId="ADAL" clId="{4457FA57-250B-44AC-8655-05D46C5A3D8A}" dt="2023-05-18T15:18:04.484" v="3889" actId="207"/>
          <ac:spMkLst>
            <pc:docMk/>
            <pc:sldMk cId="2708932309" sldId="230717620"/>
            <ac:spMk id="10" creationId="{72301177-FB8E-427F-8898-C0D26DB14761}"/>
          </ac:spMkLst>
        </pc:spChg>
        <pc:spChg chg="mod">
          <ac:chgData name="El Bakkouri, Manal" userId="8b130982-2e3f-4164-b881-fd3a2e4b2453" providerId="ADAL" clId="{4457FA57-250B-44AC-8655-05D46C5A3D8A}" dt="2023-05-18T15:13:39.414" v="3866" actId="207"/>
          <ac:spMkLst>
            <pc:docMk/>
            <pc:sldMk cId="2708932309" sldId="230717620"/>
            <ac:spMk id="11" creationId="{1E48326B-C096-48C7-9654-A0401C5FD055}"/>
          </ac:spMkLst>
        </pc:spChg>
        <pc:spChg chg="mod">
          <ac:chgData name="El Bakkouri, Manal" userId="8b130982-2e3f-4164-b881-fd3a2e4b2453" providerId="ADAL" clId="{4457FA57-250B-44AC-8655-05D46C5A3D8A}" dt="2023-05-18T15:28:28.879" v="3996" actId="1076"/>
          <ac:spMkLst>
            <pc:docMk/>
            <pc:sldMk cId="2708932309" sldId="230717620"/>
            <ac:spMk id="15" creationId="{83CF50DE-6C29-431A-B66E-0D5840459B88}"/>
          </ac:spMkLst>
        </pc:spChg>
        <pc:spChg chg="mod">
          <ac:chgData name="El Bakkouri, Manal" userId="8b130982-2e3f-4164-b881-fd3a2e4b2453" providerId="ADAL" clId="{4457FA57-250B-44AC-8655-05D46C5A3D8A}" dt="2023-05-18T15:27:09.666" v="3973" actId="552"/>
          <ac:spMkLst>
            <pc:docMk/>
            <pc:sldMk cId="2708932309" sldId="230717620"/>
            <ac:spMk id="21" creationId="{D29AC555-1563-464F-ADB2-4C4065BE113F}"/>
          </ac:spMkLst>
        </pc:spChg>
        <pc:spChg chg="mod">
          <ac:chgData name="El Bakkouri, Manal" userId="8b130982-2e3f-4164-b881-fd3a2e4b2453" providerId="ADAL" clId="{4457FA57-250B-44AC-8655-05D46C5A3D8A}" dt="2023-05-18T15:26:31.401" v="3971" actId="1076"/>
          <ac:spMkLst>
            <pc:docMk/>
            <pc:sldMk cId="2708932309" sldId="230717620"/>
            <ac:spMk id="29" creationId="{1C255BAC-BDAA-463E-B084-10B5EB6D42E5}"/>
          </ac:spMkLst>
        </pc:spChg>
        <pc:spChg chg="mod">
          <ac:chgData name="El Bakkouri, Manal" userId="8b130982-2e3f-4164-b881-fd3a2e4b2453" providerId="ADAL" clId="{4457FA57-250B-44AC-8655-05D46C5A3D8A}" dt="2023-05-18T15:26:05.610" v="3966" actId="12788"/>
          <ac:spMkLst>
            <pc:docMk/>
            <pc:sldMk cId="2708932309" sldId="230717620"/>
            <ac:spMk id="30" creationId="{50A59313-AE1D-4784-922B-BEBB2E62448C}"/>
          </ac:spMkLst>
        </pc:spChg>
        <pc:spChg chg="mod">
          <ac:chgData name="El Bakkouri, Manal" userId="8b130982-2e3f-4164-b881-fd3a2e4b2453" providerId="ADAL" clId="{4457FA57-250B-44AC-8655-05D46C5A3D8A}" dt="2023-05-18T15:27:09.666" v="3973" actId="552"/>
          <ac:spMkLst>
            <pc:docMk/>
            <pc:sldMk cId="2708932309" sldId="230717620"/>
            <ac:spMk id="31" creationId="{FC9AA53E-8B67-4EF3-9DD4-43700A7103C5}"/>
          </ac:spMkLst>
        </pc:spChg>
        <pc:spChg chg="mod">
          <ac:chgData name="El Bakkouri, Manal" userId="8b130982-2e3f-4164-b881-fd3a2e4b2453" providerId="ADAL" clId="{4457FA57-250B-44AC-8655-05D46C5A3D8A}" dt="2023-05-18T15:25:19.285" v="3960" actId="554"/>
          <ac:spMkLst>
            <pc:docMk/>
            <pc:sldMk cId="2708932309" sldId="230717620"/>
            <ac:spMk id="32" creationId="{7AADFEBA-B2FE-4E1B-ABCD-CF50B01EEDD0}"/>
          </ac:spMkLst>
        </pc:spChg>
        <pc:spChg chg="mod">
          <ac:chgData name="El Bakkouri, Manal" userId="8b130982-2e3f-4164-b881-fd3a2e4b2453" providerId="ADAL" clId="{4457FA57-250B-44AC-8655-05D46C5A3D8A}" dt="2023-05-18T15:24:34.698" v="3957" actId="12788"/>
          <ac:spMkLst>
            <pc:docMk/>
            <pc:sldMk cId="2708932309" sldId="230717620"/>
            <ac:spMk id="33" creationId="{C55D0D67-E52B-49AF-B354-283456A9FEA2}"/>
          </ac:spMkLst>
        </pc:spChg>
        <pc:spChg chg="mod">
          <ac:chgData name="El Bakkouri, Manal" userId="8b130982-2e3f-4164-b881-fd3a2e4b2453" providerId="ADAL" clId="{4457FA57-250B-44AC-8655-05D46C5A3D8A}" dt="2023-05-18T15:27:00.900" v="3972" actId="12789"/>
          <ac:spMkLst>
            <pc:docMk/>
            <pc:sldMk cId="2708932309" sldId="230717620"/>
            <ac:spMk id="34" creationId="{0F6DFB4F-6383-460D-87B0-2250F004664A}"/>
          </ac:spMkLst>
        </pc:spChg>
        <pc:spChg chg="mod">
          <ac:chgData name="El Bakkouri, Manal" userId="8b130982-2e3f-4164-b881-fd3a2e4b2453" providerId="ADAL" clId="{4457FA57-250B-44AC-8655-05D46C5A3D8A}" dt="2023-05-18T15:24:34.698" v="3957" actId="12788"/>
          <ac:spMkLst>
            <pc:docMk/>
            <pc:sldMk cId="2708932309" sldId="230717620"/>
            <ac:spMk id="35" creationId="{A4D2E604-79DF-47F7-85E0-0766427E13EC}"/>
          </ac:spMkLst>
        </pc:spChg>
        <pc:spChg chg="del mod">
          <ac:chgData name="El Bakkouri, Manal" userId="8b130982-2e3f-4164-b881-fd3a2e4b2453" providerId="ADAL" clId="{4457FA57-250B-44AC-8655-05D46C5A3D8A}" dt="2023-05-18T15:18:31.715" v="3893" actId="478"/>
          <ac:spMkLst>
            <pc:docMk/>
            <pc:sldMk cId="2708932309" sldId="230717620"/>
            <ac:spMk id="36" creationId="{98D87FBA-FC47-492C-9B71-8925F0D09FE1}"/>
          </ac:spMkLst>
        </pc:spChg>
        <pc:spChg chg="del mod">
          <ac:chgData name="El Bakkouri, Manal" userId="8b130982-2e3f-4164-b881-fd3a2e4b2453" providerId="ADAL" clId="{4457FA57-250B-44AC-8655-05D46C5A3D8A}" dt="2023-05-18T15:18:25.607" v="3892" actId="478"/>
          <ac:spMkLst>
            <pc:docMk/>
            <pc:sldMk cId="2708932309" sldId="230717620"/>
            <ac:spMk id="37" creationId="{0B388D0D-0C65-428A-BB93-C4F97C06A863}"/>
          </ac:spMkLst>
        </pc:spChg>
        <pc:spChg chg="del mod">
          <ac:chgData name="El Bakkouri, Manal" userId="8b130982-2e3f-4164-b881-fd3a2e4b2453" providerId="ADAL" clId="{4457FA57-250B-44AC-8655-05D46C5A3D8A}" dt="2023-05-18T15:22:49.076" v="3937" actId="478"/>
          <ac:spMkLst>
            <pc:docMk/>
            <pc:sldMk cId="2708932309" sldId="230717620"/>
            <ac:spMk id="38" creationId="{1E3DDDF9-2551-48A3-BF51-180610023CE8}"/>
          </ac:spMkLst>
        </pc:spChg>
        <pc:spChg chg="del mod">
          <ac:chgData name="El Bakkouri, Manal" userId="8b130982-2e3f-4164-b881-fd3a2e4b2453" providerId="ADAL" clId="{4457FA57-250B-44AC-8655-05D46C5A3D8A}" dt="2023-05-18T15:22:49.076" v="3937" actId="478"/>
          <ac:spMkLst>
            <pc:docMk/>
            <pc:sldMk cId="2708932309" sldId="230717620"/>
            <ac:spMk id="39" creationId="{CF12B775-B01A-47A2-A91F-3A756B5352A5}"/>
          </ac:spMkLst>
        </pc:spChg>
        <pc:spChg chg="del mod">
          <ac:chgData name="El Bakkouri, Manal" userId="8b130982-2e3f-4164-b881-fd3a2e4b2453" providerId="ADAL" clId="{4457FA57-250B-44AC-8655-05D46C5A3D8A}" dt="2023-05-18T15:24:05.367" v="3954" actId="478"/>
          <ac:spMkLst>
            <pc:docMk/>
            <pc:sldMk cId="2708932309" sldId="230717620"/>
            <ac:spMk id="40" creationId="{490A001A-6885-47B4-8DD6-B0DA95422D56}"/>
          </ac:spMkLst>
        </pc:spChg>
        <pc:spChg chg="del mod">
          <ac:chgData name="El Bakkouri, Manal" userId="8b130982-2e3f-4164-b881-fd3a2e4b2453" providerId="ADAL" clId="{4457FA57-250B-44AC-8655-05D46C5A3D8A}" dt="2023-05-18T15:24:05.367" v="3954" actId="478"/>
          <ac:spMkLst>
            <pc:docMk/>
            <pc:sldMk cId="2708932309" sldId="230717620"/>
            <ac:spMk id="41" creationId="{D3ECB8F0-2AE1-47EE-B4ED-22A608AD88D0}"/>
          </ac:spMkLst>
        </pc:spChg>
        <pc:spChg chg="del mod">
          <ac:chgData name="El Bakkouri, Manal" userId="8b130982-2e3f-4164-b881-fd3a2e4b2453" providerId="ADAL" clId="{4457FA57-250B-44AC-8655-05D46C5A3D8A}" dt="2023-05-18T15:17:46.045" v="3886" actId="478"/>
          <ac:spMkLst>
            <pc:docMk/>
            <pc:sldMk cId="2708932309" sldId="230717620"/>
            <ac:spMk id="42" creationId="{BA73928B-FB0B-4003-8B9D-D649846660F1}"/>
          </ac:spMkLst>
        </pc:spChg>
        <pc:spChg chg="del mod">
          <ac:chgData name="El Bakkouri, Manal" userId="8b130982-2e3f-4164-b881-fd3a2e4b2453" providerId="ADAL" clId="{4457FA57-250B-44AC-8655-05D46C5A3D8A}" dt="2023-05-18T15:17:49.757" v="3887" actId="478"/>
          <ac:spMkLst>
            <pc:docMk/>
            <pc:sldMk cId="2708932309" sldId="230717620"/>
            <ac:spMk id="43" creationId="{6294E6C2-927D-4D23-A684-92CFE5C10D12}"/>
          </ac:spMkLst>
        </pc:spChg>
        <pc:spChg chg="del mod">
          <ac:chgData name="El Bakkouri, Manal" userId="8b130982-2e3f-4164-b881-fd3a2e4b2453" providerId="ADAL" clId="{4457FA57-250B-44AC-8655-05D46C5A3D8A}" dt="2023-05-18T15:23:25.567" v="3946" actId="478"/>
          <ac:spMkLst>
            <pc:docMk/>
            <pc:sldMk cId="2708932309" sldId="230717620"/>
            <ac:spMk id="44" creationId="{DD312290-20E5-4772-9D4E-975C99E123B0}"/>
          </ac:spMkLst>
        </pc:spChg>
        <pc:spChg chg="del mod">
          <ac:chgData name="El Bakkouri, Manal" userId="8b130982-2e3f-4164-b881-fd3a2e4b2453" providerId="ADAL" clId="{4457FA57-250B-44AC-8655-05D46C5A3D8A}" dt="2023-05-18T15:23:25.567" v="3946" actId="478"/>
          <ac:spMkLst>
            <pc:docMk/>
            <pc:sldMk cId="2708932309" sldId="230717620"/>
            <ac:spMk id="45" creationId="{BBBB7EBA-9E62-4A28-A986-8CCCB83A0144}"/>
          </ac:spMkLst>
        </pc:spChg>
        <pc:spChg chg="del mod">
          <ac:chgData name="El Bakkouri, Manal" userId="8b130982-2e3f-4164-b881-fd3a2e4b2453" providerId="ADAL" clId="{4457FA57-250B-44AC-8655-05D46C5A3D8A}" dt="2023-05-18T15:21:47.293" v="3924" actId="478"/>
          <ac:spMkLst>
            <pc:docMk/>
            <pc:sldMk cId="2708932309" sldId="230717620"/>
            <ac:spMk id="46" creationId="{DFBDC187-3E48-42E7-954A-488A334F85BA}"/>
          </ac:spMkLst>
        </pc:spChg>
        <pc:spChg chg="del mod">
          <ac:chgData name="El Bakkouri, Manal" userId="8b130982-2e3f-4164-b881-fd3a2e4b2453" providerId="ADAL" clId="{4457FA57-250B-44AC-8655-05D46C5A3D8A}" dt="2023-05-18T15:21:50.171" v="3925" actId="478"/>
          <ac:spMkLst>
            <pc:docMk/>
            <pc:sldMk cId="2708932309" sldId="230717620"/>
            <ac:spMk id="47" creationId="{AFDCA88D-CF81-4D20-82B4-858D99D1B4C8}"/>
          </ac:spMkLst>
        </pc:spChg>
        <pc:spChg chg="del mod">
          <ac:chgData name="El Bakkouri, Manal" userId="8b130982-2e3f-4164-b881-fd3a2e4b2453" providerId="ADAL" clId="{4457FA57-250B-44AC-8655-05D46C5A3D8A}" dt="2023-05-18T15:22:08.343" v="3930" actId="478"/>
          <ac:spMkLst>
            <pc:docMk/>
            <pc:sldMk cId="2708932309" sldId="230717620"/>
            <ac:spMk id="48" creationId="{26C7FB6D-9826-4300-99D0-E35407F84665}"/>
          </ac:spMkLst>
        </pc:spChg>
        <pc:spChg chg="del mod">
          <ac:chgData name="El Bakkouri, Manal" userId="8b130982-2e3f-4164-b881-fd3a2e4b2453" providerId="ADAL" clId="{4457FA57-250B-44AC-8655-05D46C5A3D8A}" dt="2023-05-18T15:22:01.104" v="3928" actId="478"/>
          <ac:spMkLst>
            <pc:docMk/>
            <pc:sldMk cId="2708932309" sldId="230717620"/>
            <ac:spMk id="49" creationId="{9029FD35-E169-4E15-8140-CFEA1BA2EEF3}"/>
          </ac:spMkLst>
        </pc:spChg>
        <pc:spChg chg="del mod">
          <ac:chgData name="El Bakkouri, Manal" userId="8b130982-2e3f-4164-b881-fd3a2e4b2453" providerId="ADAL" clId="{4457FA57-250B-44AC-8655-05D46C5A3D8A}" dt="2023-05-18T15:21:58.541" v="3927" actId="478"/>
          <ac:spMkLst>
            <pc:docMk/>
            <pc:sldMk cId="2708932309" sldId="230717620"/>
            <ac:spMk id="50" creationId="{33CBABB7-424F-452D-AF3A-2AB86C2CB6C3}"/>
          </ac:spMkLst>
        </pc:spChg>
        <pc:spChg chg="del mod">
          <ac:chgData name="El Bakkouri, Manal" userId="8b130982-2e3f-4164-b881-fd3a2e4b2453" providerId="ADAL" clId="{4457FA57-250B-44AC-8655-05D46C5A3D8A}" dt="2023-05-18T15:21:53.766" v="3926" actId="478"/>
          <ac:spMkLst>
            <pc:docMk/>
            <pc:sldMk cId="2708932309" sldId="230717620"/>
            <ac:spMk id="51" creationId="{8BA16CD3-DC90-4FCE-A231-54AEF897B2B8}"/>
          </ac:spMkLst>
        </pc:spChg>
        <pc:spChg chg="del mod">
          <ac:chgData name="El Bakkouri, Manal" userId="8b130982-2e3f-4164-b881-fd3a2e4b2453" providerId="ADAL" clId="{4457FA57-250B-44AC-8655-05D46C5A3D8A}" dt="2023-05-18T15:21:03.805" v="3913" actId="478"/>
          <ac:spMkLst>
            <pc:docMk/>
            <pc:sldMk cId="2708932309" sldId="230717620"/>
            <ac:spMk id="52" creationId="{3DB145B3-454D-46E7-A800-173272AD2754}"/>
          </ac:spMkLst>
        </pc:spChg>
        <pc:spChg chg="del mod">
          <ac:chgData name="El Bakkouri, Manal" userId="8b130982-2e3f-4164-b881-fd3a2e4b2453" providerId="ADAL" clId="{4457FA57-250B-44AC-8655-05D46C5A3D8A}" dt="2023-05-18T15:21:03.805" v="3913" actId="478"/>
          <ac:spMkLst>
            <pc:docMk/>
            <pc:sldMk cId="2708932309" sldId="230717620"/>
            <ac:spMk id="53" creationId="{A354FC70-E692-4BFB-A7F5-4772B1F25EF3}"/>
          </ac:spMkLst>
        </pc:spChg>
        <pc:spChg chg="del mod">
          <ac:chgData name="El Bakkouri, Manal" userId="8b130982-2e3f-4164-b881-fd3a2e4b2453" providerId="ADAL" clId="{4457FA57-250B-44AC-8655-05D46C5A3D8A}" dt="2023-05-18T15:20:09.769" v="3904" actId="478"/>
          <ac:spMkLst>
            <pc:docMk/>
            <pc:sldMk cId="2708932309" sldId="230717620"/>
            <ac:spMk id="54" creationId="{10977A3F-21BF-4418-935F-EDAE8B9B449F}"/>
          </ac:spMkLst>
        </pc:spChg>
        <pc:spChg chg="del mod">
          <ac:chgData name="El Bakkouri, Manal" userId="8b130982-2e3f-4164-b881-fd3a2e4b2453" providerId="ADAL" clId="{4457FA57-250B-44AC-8655-05D46C5A3D8A}" dt="2023-05-18T15:20:09.769" v="3904" actId="478"/>
          <ac:spMkLst>
            <pc:docMk/>
            <pc:sldMk cId="2708932309" sldId="230717620"/>
            <ac:spMk id="55" creationId="{F2CFEF79-3C91-4E1C-8F67-1A04FCC41B19}"/>
          </ac:spMkLst>
        </pc:spChg>
        <pc:spChg chg="mod">
          <ac:chgData name="El Bakkouri, Manal" userId="8b130982-2e3f-4164-b881-fd3a2e4b2453" providerId="ADAL" clId="{4457FA57-250B-44AC-8655-05D46C5A3D8A}" dt="2023-05-18T15:17:25.036" v="3879"/>
          <ac:spMkLst>
            <pc:docMk/>
            <pc:sldMk cId="2708932309" sldId="230717620"/>
            <ac:spMk id="60" creationId="{86B1BAA5-E238-414B-99CB-CABBD2699E38}"/>
          </ac:spMkLst>
        </pc:spChg>
        <pc:spChg chg="mod">
          <ac:chgData name="El Bakkouri, Manal" userId="8b130982-2e3f-4164-b881-fd3a2e4b2453" providerId="ADAL" clId="{4457FA57-250B-44AC-8655-05D46C5A3D8A}" dt="2023-05-18T15:17:25.036" v="3879"/>
          <ac:spMkLst>
            <pc:docMk/>
            <pc:sldMk cId="2708932309" sldId="230717620"/>
            <ac:spMk id="61" creationId="{E7C3751C-BE14-45A4-BFE2-A56868898075}"/>
          </ac:spMkLst>
        </pc:spChg>
        <pc:spChg chg="mod">
          <ac:chgData name="El Bakkouri, Manal" userId="8b130982-2e3f-4164-b881-fd3a2e4b2453" providerId="ADAL" clId="{4457FA57-250B-44AC-8655-05D46C5A3D8A}" dt="2023-05-18T15:17:25.036" v="3879"/>
          <ac:spMkLst>
            <pc:docMk/>
            <pc:sldMk cId="2708932309" sldId="230717620"/>
            <ac:spMk id="62" creationId="{95E8A395-B1D4-4CB8-8FDD-CE4DA40644E8}"/>
          </ac:spMkLst>
        </pc:spChg>
        <pc:spChg chg="mod">
          <ac:chgData name="El Bakkouri, Manal" userId="8b130982-2e3f-4164-b881-fd3a2e4b2453" providerId="ADAL" clId="{4457FA57-250B-44AC-8655-05D46C5A3D8A}" dt="2023-05-18T15:17:25.036" v="3879"/>
          <ac:spMkLst>
            <pc:docMk/>
            <pc:sldMk cId="2708932309" sldId="230717620"/>
            <ac:spMk id="63" creationId="{366CD9B9-5781-46D4-928F-1F6B2FDA2849}"/>
          </ac:spMkLst>
        </pc:spChg>
        <pc:spChg chg="mod">
          <ac:chgData name="El Bakkouri, Manal" userId="8b130982-2e3f-4164-b881-fd3a2e4b2453" providerId="ADAL" clId="{4457FA57-250B-44AC-8655-05D46C5A3D8A}" dt="2023-05-18T15:17:25.036" v="3879"/>
          <ac:spMkLst>
            <pc:docMk/>
            <pc:sldMk cId="2708932309" sldId="230717620"/>
            <ac:spMk id="64" creationId="{74E1B4B5-1F03-4280-A938-1F1548C36704}"/>
          </ac:spMkLst>
        </pc:spChg>
        <pc:spChg chg="mod">
          <ac:chgData name="El Bakkouri, Manal" userId="8b130982-2e3f-4164-b881-fd3a2e4b2453" providerId="ADAL" clId="{4457FA57-250B-44AC-8655-05D46C5A3D8A}" dt="2023-05-18T15:17:25.036" v="3879"/>
          <ac:spMkLst>
            <pc:docMk/>
            <pc:sldMk cId="2708932309" sldId="230717620"/>
            <ac:spMk id="65" creationId="{AC350892-E6D5-4DF4-8ED9-B26D2CFE81AA}"/>
          </ac:spMkLst>
        </pc:spChg>
        <pc:spChg chg="mod">
          <ac:chgData name="El Bakkouri, Manal" userId="8b130982-2e3f-4164-b881-fd3a2e4b2453" providerId="ADAL" clId="{4457FA57-250B-44AC-8655-05D46C5A3D8A}" dt="2023-05-18T15:17:25.036" v="3879"/>
          <ac:spMkLst>
            <pc:docMk/>
            <pc:sldMk cId="2708932309" sldId="230717620"/>
            <ac:spMk id="66" creationId="{56AE02AD-963E-42FD-A671-0F1E229264F4}"/>
          </ac:spMkLst>
        </pc:spChg>
        <pc:spChg chg="mod">
          <ac:chgData name="El Bakkouri, Manal" userId="8b130982-2e3f-4164-b881-fd3a2e4b2453" providerId="ADAL" clId="{4457FA57-250B-44AC-8655-05D46C5A3D8A}" dt="2023-05-18T15:17:25.036" v="3879"/>
          <ac:spMkLst>
            <pc:docMk/>
            <pc:sldMk cId="2708932309" sldId="230717620"/>
            <ac:spMk id="67" creationId="{B0754B53-099C-4D4E-BA5F-5FBFEB001A1F}"/>
          </ac:spMkLst>
        </pc:spChg>
        <pc:spChg chg="mod">
          <ac:chgData name="El Bakkouri, Manal" userId="8b130982-2e3f-4164-b881-fd3a2e4b2453" providerId="ADAL" clId="{4457FA57-250B-44AC-8655-05D46C5A3D8A}" dt="2023-05-18T15:17:25.036" v="3879"/>
          <ac:spMkLst>
            <pc:docMk/>
            <pc:sldMk cId="2708932309" sldId="230717620"/>
            <ac:spMk id="68" creationId="{50003D7E-1969-46DB-936F-68C1671AB2A8}"/>
          </ac:spMkLst>
        </pc:spChg>
        <pc:spChg chg="mod">
          <ac:chgData name="El Bakkouri, Manal" userId="8b130982-2e3f-4164-b881-fd3a2e4b2453" providerId="ADAL" clId="{4457FA57-250B-44AC-8655-05D46C5A3D8A}" dt="2023-05-18T15:17:25.036" v="3879"/>
          <ac:spMkLst>
            <pc:docMk/>
            <pc:sldMk cId="2708932309" sldId="230717620"/>
            <ac:spMk id="69" creationId="{8F74BD0C-D4C5-49F7-A186-3DECA6D3FBE9}"/>
          </ac:spMkLst>
        </pc:spChg>
        <pc:spChg chg="mod">
          <ac:chgData name="El Bakkouri, Manal" userId="8b130982-2e3f-4164-b881-fd3a2e4b2453" providerId="ADAL" clId="{4457FA57-250B-44AC-8655-05D46C5A3D8A}" dt="2023-05-18T15:17:25.036" v="3879"/>
          <ac:spMkLst>
            <pc:docMk/>
            <pc:sldMk cId="2708932309" sldId="230717620"/>
            <ac:spMk id="70" creationId="{494DFCAD-C23A-4BF9-AB49-9802D15E2122}"/>
          </ac:spMkLst>
        </pc:spChg>
        <pc:spChg chg="mod">
          <ac:chgData name="El Bakkouri, Manal" userId="8b130982-2e3f-4164-b881-fd3a2e4b2453" providerId="ADAL" clId="{4457FA57-250B-44AC-8655-05D46C5A3D8A}" dt="2023-05-18T15:17:25.036" v="3879"/>
          <ac:spMkLst>
            <pc:docMk/>
            <pc:sldMk cId="2708932309" sldId="230717620"/>
            <ac:spMk id="71" creationId="{F873D315-5552-4EB1-849C-07021D447ACC}"/>
          </ac:spMkLst>
        </pc:spChg>
        <pc:spChg chg="mod">
          <ac:chgData name="El Bakkouri, Manal" userId="8b130982-2e3f-4164-b881-fd3a2e4b2453" providerId="ADAL" clId="{4457FA57-250B-44AC-8655-05D46C5A3D8A}" dt="2023-05-18T15:17:25.036" v="3879"/>
          <ac:spMkLst>
            <pc:docMk/>
            <pc:sldMk cId="2708932309" sldId="230717620"/>
            <ac:spMk id="72" creationId="{A138DEE6-B0E5-4964-A64A-3900D4A9E22B}"/>
          </ac:spMkLst>
        </pc:spChg>
        <pc:spChg chg="mod">
          <ac:chgData name="El Bakkouri, Manal" userId="8b130982-2e3f-4164-b881-fd3a2e4b2453" providerId="ADAL" clId="{4457FA57-250B-44AC-8655-05D46C5A3D8A}" dt="2023-05-18T15:17:25.036" v="3879"/>
          <ac:spMkLst>
            <pc:docMk/>
            <pc:sldMk cId="2708932309" sldId="230717620"/>
            <ac:spMk id="73" creationId="{AF924B41-52D3-477E-8313-7C0A43C6F3F2}"/>
          </ac:spMkLst>
        </pc:spChg>
        <pc:spChg chg="mod">
          <ac:chgData name="El Bakkouri, Manal" userId="8b130982-2e3f-4164-b881-fd3a2e4b2453" providerId="ADAL" clId="{4457FA57-250B-44AC-8655-05D46C5A3D8A}" dt="2023-05-18T15:17:25.036" v="3879"/>
          <ac:spMkLst>
            <pc:docMk/>
            <pc:sldMk cId="2708932309" sldId="230717620"/>
            <ac:spMk id="74" creationId="{83C6A401-3FB6-4117-807B-07B62B6D52E3}"/>
          </ac:spMkLst>
        </pc:spChg>
        <pc:spChg chg="mod">
          <ac:chgData name="El Bakkouri, Manal" userId="8b130982-2e3f-4164-b881-fd3a2e4b2453" providerId="ADAL" clId="{4457FA57-250B-44AC-8655-05D46C5A3D8A}" dt="2023-05-18T15:17:25.036" v="3879"/>
          <ac:spMkLst>
            <pc:docMk/>
            <pc:sldMk cId="2708932309" sldId="230717620"/>
            <ac:spMk id="75" creationId="{B17D2BC9-D622-4661-ABDD-5B43266AB000}"/>
          </ac:spMkLst>
        </pc:spChg>
        <pc:spChg chg="mod">
          <ac:chgData name="El Bakkouri, Manal" userId="8b130982-2e3f-4164-b881-fd3a2e4b2453" providerId="ADAL" clId="{4457FA57-250B-44AC-8655-05D46C5A3D8A}" dt="2023-05-18T15:17:25.036" v="3879"/>
          <ac:spMkLst>
            <pc:docMk/>
            <pc:sldMk cId="2708932309" sldId="230717620"/>
            <ac:spMk id="76" creationId="{FB666693-7B72-41C0-A635-E58F5CD19D77}"/>
          </ac:spMkLst>
        </pc:spChg>
        <pc:spChg chg="mod">
          <ac:chgData name="El Bakkouri, Manal" userId="8b130982-2e3f-4164-b881-fd3a2e4b2453" providerId="ADAL" clId="{4457FA57-250B-44AC-8655-05D46C5A3D8A}" dt="2023-05-18T15:17:25.036" v="3879"/>
          <ac:spMkLst>
            <pc:docMk/>
            <pc:sldMk cId="2708932309" sldId="230717620"/>
            <ac:spMk id="77" creationId="{13152752-67A5-4567-9BF9-F37306374DD7}"/>
          </ac:spMkLst>
        </pc:spChg>
        <pc:spChg chg="mod">
          <ac:chgData name="El Bakkouri, Manal" userId="8b130982-2e3f-4164-b881-fd3a2e4b2453" providerId="ADAL" clId="{4457FA57-250B-44AC-8655-05D46C5A3D8A}" dt="2023-05-18T15:17:25.036" v="3879"/>
          <ac:spMkLst>
            <pc:docMk/>
            <pc:sldMk cId="2708932309" sldId="230717620"/>
            <ac:spMk id="78" creationId="{26358370-372D-4D22-A28C-9156059CF01D}"/>
          </ac:spMkLst>
        </pc:spChg>
        <pc:spChg chg="mod">
          <ac:chgData name="El Bakkouri, Manal" userId="8b130982-2e3f-4164-b881-fd3a2e4b2453" providerId="ADAL" clId="{4457FA57-250B-44AC-8655-05D46C5A3D8A}" dt="2023-05-18T15:17:25.036" v="3879"/>
          <ac:spMkLst>
            <pc:docMk/>
            <pc:sldMk cId="2708932309" sldId="230717620"/>
            <ac:spMk id="79" creationId="{D6CA38ED-2597-422D-817D-B44976A5D419}"/>
          </ac:spMkLst>
        </pc:spChg>
        <pc:spChg chg="mod">
          <ac:chgData name="El Bakkouri, Manal" userId="8b130982-2e3f-4164-b881-fd3a2e4b2453" providerId="ADAL" clId="{4457FA57-250B-44AC-8655-05D46C5A3D8A}" dt="2023-05-18T15:17:25.036" v="3879"/>
          <ac:spMkLst>
            <pc:docMk/>
            <pc:sldMk cId="2708932309" sldId="230717620"/>
            <ac:spMk id="80" creationId="{6F793BC1-76EE-4FA7-9645-E4429029A0E3}"/>
          </ac:spMkLst>
        </pc:spChg>
        <pc:spChg chg="mod">
          <ac:chgData name="El Bakkouri, Manal" userId="8b130982-2e3f-4164-b881-fd3a2e4b2453" providerId="ADAL" clId="{4457FA57-250B-44AC-8655-05D46C5A3D8A}" dt="2023-05-18T15:17:25.036" v="3879"/>
          <ac:spMkLst>
            <pc:docMk/>
            <pc:sldMk cId="2708932309" sldId="230717620"/>
            <ac:spMk id="81" creationId="{501E3176-C387-4CF0-9357-BBD84AB6DFFA}"/>
          </ac:spMkLst>
        </pc:spChg>
        <pc:spChg chg="mod">
          <ac:chgData name="El Bakkouri, Manal" userId="8b130982-2e3f-4164-b881-fd3a2e4b2453" providerId="ADAL" clId="{4457FA57-250B-44AC-8655-05D46C5A3D8A}" dt="2023-05-18T15:17:25.036" v="3879"/>
          <ac:spMkLst>
            <pc:docMk/>
            <pc:sldMk cId="2708932309" sldId="230717620"/>
            <ac:spMk id="82" creationId="{A8E5794A-34D2-42AB-BC1E-440D2818134C}"/>
          </ac:spMkLst>
        </pc:spChg>
        <pc:spChg chg="mod">
          <ac:chgData name="El Bakkouri, Manal" userId="8b130982-2e3f-4164-b881-fd3a2e4b2453" providerId="ADAL" clId="{4457FA57-250B-44AC-8655-05D46C5A3D8A}" dt="2023-05-18T15:17:25.036" v="3879"/>
          <ac:spMkLst>
            <pc:docMk/>
            <pc:sldMk cId="2708932309" sldId="230717620"/>
            <ac:spMk id="83" creationId="{61762D8F-9242-4E14-BCF1-809E53586CC1}"/>
          </ac:spMkLst>
        </pc:spChg>
        <pc:grpChg chg="add mod">
          <ac:chgData name="El Bakkouri, Manal" userId="8b130982-2e3f-4164-b881-fd3a2e4b2453" providerId="ADAL" clId="{4457FA57-250B-44AC-8655-05D46C5A3D8A}" dt="2023-05-18T15:17:23.334" v="3878" actId="1076"/>
          <ac:grpSpMkLst>
            <pc:docMk/>
            <pc:sldMk cId="2708932309" sldId="230717620"/>
            <ac:grpSpMk id="3" creationId="{088A6030-EE9E-4A80-B909-C4CB8F1499A0}"/>
          </ac:grpSpMkLst>
        </pc:grpChg>
        <pc:grpChg chg="add mod">
          <ac:chgData name="El Bakkouri, Manal" userId="8b130982-2e3f-4164-b881-fd3a2e4b2453" providerId="ADAL" clId="{4457FA57-250B-44AC-8655-05D46C5A3D8A}" dt="2023-05-18T15:22:06.627" v="3929" actId="1076"/>
          <ac:grpSpMkLst>
            <pc:docMk/>
            <pc:sldMk cId="2708932309" sldId="230717620"/>
            <ac:grpSpMk id="12" creationId="{9C683087-99D0-41C9-A337-32E6FE0FA3B7}"/>
          </ac:grpSpMkLst>
        </pc:grpChg>
        <pc:grpChg chg="mod">
          <ac:chgData name="El Bakkouri, Manal" userId="8b130982-2e3f-4164-b881-fd3a2e4b2453" providerId="ADAL" clId="{4457FA57-250B-44AC-8655-05D46C5A3D8A}" dt="2023-05-18T15:17:25.036" v="3879"/>
          <ac:grpSpMkLst>
            <pc:docMk/>
            <pc:sldMk cId="2708932309" sldId="230717620"/>
            <ac:grpSpMk id="13" creationId="{97A0FED5-A6AA-4F4A-9BC7-E9B424EDEEDC}"/>
          </ac:grpSpMkLst>
        </pc:grpChg>
        <pc:grpChg chg="mod">
          <ac:chgData name="El Bakkouri, Manal" userId="8b130982-2e3f-4164-b881-fd3a2e4b2453" providerId="ADAL" clId="{4457FA57-250B-44AC-8655-05D46C5A3D8A}" dt="2023-05-18T15:17:25.036" v="3879"/>
          <ac:grpSpMkLst>
            <pc:docMk/>
            <pc:sldMk cId="2708932309" sldId="230717620"/>
            <ac:grpSpMk id="14" creationId="{29149417-0137-4A33-80E6-D674D64D5BC9}"/>
          </ac:grpSpMkLst>
        </pc:grpChg>
        <pc:grpChg chg="mod">
          <ac:chgData name="El Bakkouri, Manal" userId="8b130982-2e3f-4164-b881-fd3a2e4b2453" providerId="ADAL" clId="{4457FA57-250B-44AC-8655-05D46C5A3D8A}" dt="2023-05-18T15:17:25.036" v="3879"/>
          <ac:grpSpMkLst>
            <pc:docMk/>
            <pc:sldMk cId="2708932309" sldId="230717620"/>
            <ac:grpSpMk id="16" creationId="{8F07B35A-B612-40F9-A50F-6FAC6B58A70A}"/>
          </ac:grpSpMkLst>
        </pc:grpChg>
        <pc:grpChg chg="mod">
          <ac:chgData name="El Bakkouri, Manal" userId="8b130982-2e3f-4164-b881-fd3a2e4b2453" providerId="ADAL" clId="{4457FA57-250B-44AC-8655-05D46C5A3D8A}" dt="2023-05-18T15:17:25.036" v="3879"/>
          <ac:grpSpMkLst>
            <pc:docMk/>
            <pc:sldMk cId="2708932309" sldId="230717620"/>
            <ac:grpSpMk id="17" creationId="{E975E81E-67E7-40BB-BBC2-C29EC896A7FD}"/>
          </ac:grpSpMkLst>
        </pc:grpChg>
        <pc:grpChg chg="mod">
          <ac:chgData name="El Bakkouri, Manal" userId="8b130982-2e3f-4164-b881-fd3a2e4b2453" providerId="ADAL" clId="{4457FA57-250B-44AC-8655-05D46C5A3D8A}" dt="2023-05-18T15:17:25.036" v="3879"/>
          <ac:grpSpMkLst>
            <pc:docMk/>
            <pc:sldMk cId="2708932309" sldId="230717620"/>
            <ac:grpSpMk id="18" creationId="{28B1F592-037D-491F-A381-21C4CF4F262C}"/>
          </ac:grpSpMkLst>
        </pc:grpChg>
        <pc:grpChg chg="mod">
          <ac:chgData name="El Bakkouri, Manal" userId="8b130982-2e3f-4164-b881-fd3a2e4b2453" providerId="ADAL" clId="{4457FA57-250B-44AC-8655-05D46C5A3D8A}" dt="2023-05-18T15:17:25.036" v="3879"/>
          <ac:grpSpMkLst>
            <pc:docMk/>
            <pc:sldMk cId="2708932309" sldId="230717620"/>
            <ac:grpSpMk id="19" creationId="{9F9CE8D1-96F8-45D4-86FC-A496264E54E9}"/>
          </ac:grpSpMkLst>
        </pc:grpChg>
        <pc:grpChg chg="del mod">
          <ac:chgData name="El Bakkouri, Manal" userId="8b130982-2e3f-4164-b881-fd3a2e4b2453" providerId="ADAL" clId="{4457FA57-250B-44AC-8655-05D46C5A3D8A}" dt="2023-05-18T15:20:09.769" v="3904" actId="478"/>
          <ac:grpSpMkLst>
            <pc:docMk/>
            <pc:sldMk cId="2708932309" sldId="230717620"/>
            <ac:grpSpMk id="20" creationId="{607F03F5-66FD-465B-A805-1B8784DCEA5E}"/>
          </ac:grpSpMkLst>
        </pc:grpChg>
        <pc:grpChg chg="del mod">
          <ac:chgData name="El Bakkouri, Manal" userId="8b130982-2e3f-4164-b881-fd3a2e4b2453" providerId="ADAL" clId="{4457FA57-250B-44AC-8655-05D46C5A3D8A}" dt="2023-05-18T15:21:03.805" v="3913" actId="478"/>
          <ac:grpSpMkLst>
            <pc:docMk/>
            <pc:sldMk cId="2708932309" sldId="230717620"/>
            <ac:grpSpMk id="22" creationId="{65DFF9A2-ECC0-4342-999B-9B68B090BBE5}"/>
          </ac:grpSpMkLst>
        </pc:grpChg>
        <pc:grpChg chg="del mod">
          <ac:chgData name="El Bakkouri, Manal" userId="8b130982-2e3f-4164-b881-fd3a2e4b2453" providerId="ADAL" clId="{4457FA57-250B-44AC-8655-05D46C5A3D8A}" dt="2023-05-18T15:22:01.104" v="3928" actId="478"/>
          <ac:grpSpMkLst>
            <pc:docMk/>
            <pc:sldMk cId="2708932309" sldId="230717620"/>
            <ac:grpSpMk id="23" creationId="{0B4977C4-8016-41C8-A6A9-B81C0EF124C2}"/>
          </ac:grpSpMkLst>
        </pc:grpChg>
        <pc:grpChg chg="del mod">
          <ac:chgData name="El Bakkouri, Manal" userId="8b130982-2e3f-4164-b881-fd3a2e4b2453" providerId="ADAL" clId="{4457FA57-250B-44AC-8655-05D46C5A3D8A}" dt="2023-05-18T15:23:25.567" v="3946" actId="478"/>
          <ac:grpSpMkLst>
            <pc:docMk/>
            <pc:sldMk cId="2708932309" sldId="230717620"/>
            <ac:grpSpMk id="24" creationId="{A98DD156-0A36-4343-87E3-B8CFD5DFB641}"/>
          </ac:grpSpMkLst>
        </pc:grpChg>
        <pc:grpChg chg="del mod">
          <ac:chgData name="El Bakkouri, Manal" userId="8b130982-2e3f-4164-b881-fd3a2e4b2453" providerId="ADAL" clId="{4457FA57-250B-44AC-8655-05D46C5A3D8A}" dt="2023-05-18T15:17:46.045" v="3886" actId="478"/>
          <ac:grpSpMkLst>
            <pc:docMk/>
            <pc:sldMk cId="2708932309" sldId="230717620"/>
            <ac:grpSpMk id="25" creationId="{28330320-6D08-4493-A71D-36517D6FE6CC}"/>
          </ac:grpSpMkLst>
        </pc:grpChg>
        <pc:grpChg chg="del mod">
          <ac:chgData name="El Bakkouri, Manal" userId="8b130982-2e3f-4164-b881-fd3a2e4b2453" providerId="ADAL" clId="{4457FA57-250B-44AC-8655-05D46C5A3D8A}" dt="2023-05-18T15:24:05.367" v="3954" actId="478"/>
          <ac:grpSpMkLst>
            <pc:docMk/>
            <pc:sldMk cId="2708932309" sldId="230717620"/>
            <ac:grpSpMk id="26" creationId="{5BC34898-496B-44CC-9560-F80D502924A2}"/>
          </ac:grpSpMkLst>
        </pc:grpChg>
        <pc:grpChg chg="del mod">
          <ac:chgData name="El Bakkouri, Manal" userId="8b130982-2e3f-4164-b881-fd3a2e4b2453" providerId="ADAL" clId="{4457FA57-250B-44AC-8655-05D46C5A3D8A}" dt="2023-05-18T15:22:49.076" v="3937" actId="478"/>
          <ac:grpSpMkLst>
            <pc:docMk/>
            <pc:sldMk cId="2708932309" sldId="230717620"/>
            <ac:grpSpMk id="27" creationId="{935797FD-E20E-4B25-93BD-96EEF94C08A2}"/>
          </ac:grpSpMkLst>
        </pc:grpChg>
        <pc:grpChg chg="del mod">
          <ac:chgData name="El Bakkouri, Manal" userId="8b130982-2e3f-4164-b881-fd3a2e4b2453" providerId="ADAL" clId="{4457FA57-250B-44AC-8655-05D46C5A3D8A}" dt="2023-05-18T15:18:25.607" v="3892" actId="478"/>
          <ac:grpSpMkLst>
            <pc:docMk/>
            <pc:sldMk cId="2708932309" sldId="230717620"/>
            <ac:grpSpMk id="28" creationId="{1F6C64A9-5BD2-410B-B5F7-876875E330D1}"/>
          </ac:grpSpMkLst>
        </pc:grpChg>
        <pc:grpChg chg="mod">
          <ac:chgData name="El Bakkouri, Manal" userId="8b130982-2e3f-4164-b881-fd3a2e4b2453" providerId="ADAL" clId="{4457FA57-250B-44AC-8655-05D46C5A3D8A}" dt="2023-05-18T15:17:25.036" v="3879"/>
          <ac:grpSpMkLst>
            <pc:docMk/>
            <pc:sldMk cId="2708932309" sldId="230717620"/>
            <ac:grpSpMk id="56" creationId="{F9745E18-AA89-4BDC-AA03-C2DD553FA050}"/>
          </ac:grpSpMkLst>
        </pc:grpChg>
        <pc:grpChg chg="mod">
          <ac:chgData name="El Bakkouri, Manal" userId="8b130982-2e3f-4164-b881-fd3a2e4b2453" providerId="ADAL" clId="{4457FA57-250B-44AC-8655-05D46C5A3D8A}" dt="2023-05-18T15:17:25.036" v="3879"/>
          <ac:grpSpMkLst>
            <pc:docMk/>
            <pc:sldMk cId="2708932309" sldId="230717620"/>
            <ac:grpSpMk id="57" creationId="{D4596ABA-5EF5-4E92-824C-8453A89ED2D6}"/>
          </ac:grpSpMkLst>
        </pc:grpChg>
        <pc:grpChg chg="mod">
          <ac:chgData name="El Bakkouri, Manal" userId="8b130982-2e3f-4164-b881-fd3a2e4b2453" providerId="ADAL" clId="{4457FA57-250B-44AC-8655-05D46C5A3D8A}" dt="2023-05-18T15:17:25.036" v="3879"/>
          <ac:grpSpMkLst>
            <pc:docMk/>
            <pc:sldMk cId="2708932309" sldId="230717620"/>
            <ac:grpSpMk id="58" creationId="{27FE19CC-EE2F-4FEC-9674-783A236CAD47}"/>
          </ac:grpSpMkLst>
        </pc:grpChg>
        <pc:grpChg chg="mod">
          <ac:chgData name="El Bakkouri, Manal" userId="8b130982-2e3f-4164-b881-fd3a2e4b2453" providerId="ADAL" clId="{4457FA57-250B-44AC-8655-05D46C5A3D8A}" dt="2023-05-18T15:17:25.036" v="3879"/>
          <ac:grpSpMkLst>
            <pc:docMk/>
            <pc:sldMk cId="2708932309" sldId="230717620"/>
            <ac:grpSpMk id="59" creationId="{EE876F18-E772-4CAA-A29B-22692006A170}"/>
          </ac:grpSpMkLst>
        </pc:grpChg>
      </pc:sldChg>
      <pc:sldChg chg="modSp add del mod modAnim">
        <pc:chgData name="El Bakkouri, Manal" userId="8b130982-2e3f-4164-b881-fd3a2e4b2453" providerId="ADAL" clId="{4457FA57-250B-44AC-8655-05D46C5A3D8A}" dt="2023-05-19T10:01:47.686" v="5583" actId="2696"/>
        <pc:sldMkLst>
          <pc:docMk/>
          <pc:sldMk cId="2455979523" sldId="230717621"/>
        </pc:sldMkLst>
        <pc:spChg chg="mod">
          <ac:chgData name="El Bakkouri, Manal" userId="8b130982-2e3f-4164-b881-fd3a2e4b2453" providerId="ADAL" clId="{4457FA57-250B-44AC-8655-05D46C5A3D8A}" dt="2023-05-18T16:13:10.774" v="4287" actId="403"/>
          <ac:spMkLst>
            <pc:docMk/>
            <pc:sldMk cId="2455979523" sldId="230717621"/>
            <ac:spMk id="13" creationId="{83398356-7396-4559-9440-E3C5F2EBAED3}"/>
          </ac:spMkLst>
        </pc:spChg>
      </pc:sldChg>
      <pc:sldChg chg="addSp delSp modSp new del mod modClrScheme modAnim chgLayout">
        <pc:chgData name="El Bakkouri, Manal" userId="8b130982-2e3f-4164-b881-fd3a2e4b2453" providerId="ADAL" clId="{4457FA57-250B-44AC-8655-05D46C5A3D8A}" dt="2023-05-18T16:40:49.248" v="4478" actId="2696"/>
        <pc:sldMkLst>
          <pc:docMk/>
          <pc:sldMk cId="1169252246" sldId="230717622"/>
        </pc:sldMkLst>
        <pc:spChg chg="add del mod ord">
          <ac:chgData name="El Bakkouri, Manal" userId="8b130982-2e3f-4164-b881-fd3a2e4b2453" providerId="ADAL" clId="{4457FA57-250B-44AC-8655-05D46C5A3D8A}" dt="2023-05-18T16:40:08.564" v="4476" actId="700"/>
          <ac:spMkLst>
            <pc:docMk/>
            <pc:sldMk cId="1169252246" sldId="230717622"/>
            <ac:spMk id="2" creationId="{98B41DEA-AE91-4719-A79D-D84807AA47A7}"/>
          </ac:spMkLst>
        </pc:spChg>
        <pc:spChg chg="add mod">
          <ac:chgData name="El Bakkouri, Manal" userId="8b130982-2e3f-4164-b881-fd3a2e4b2453" providerId="ADAL" clId="{4457FA57-250B-44AC-8655-05D46C5A3D8A}" dt="2023-05-18T16:29:15.058" v="4378"/>
          <ac:spMkLst>
            <pc:docMk/>
            <pc:sldMk cId="1169252246" sldId="230717622"/>
            <ac:spMk id="3" creationId="{ED0E09F8-8CD7-478C-919A-25D5E12FBDEE}"/>
          </ac:spMkLst>
        </pc:spChg>
        <pc:spChg chg="add mod">
          <ac:chgData name="El Bakkouri, Manal" userId="8b130982-2e3f-4164-b881-fd3a2e4b2453" providerId="ADAL" clId="{4457FA57-250B-44AC-8655-05D46C5A3D8A}" dt="2023-05-18T16:29:15.058" v="4378"/>
          <ac:spMkLst>
            <pc:docMk/>
            <pc:sldMk cId="1169252246" sldId="230717622"/>
            <ac:spMk id="4" creationId="{E29F6D6E-1960-43F2-85D5-48E2AA741B21}"/>
          </ac:spMkLst>
        </pc:spChg>
        <pc:spChg chg="mod">
          <ac:chgData name="El Bakkouri, Manal" userId="8b130982-2e3f-4164-b881-fd3a2e4b2453" providerId="ADAL" clId="{4457FA57-250B-44AC-8655-05D46C5A3D8A}" dt="2023-05-18T16:29:15.058" v="4378"/>
          <ac:spMkLst>
            <pc:docMk/>
            <pc:sldMk cId="1169252246" sldId="230717622"/>
            <ac:spMk id="6" creationId="{FFFC842F-7A5F-4EBE-BA56-EE9BF1B7C577}"/>
          </ac:spMkLst>
        </pc:spChg>
        <pc:spChg chg="mod">
          <ac:chgData name="El Bakkouri, Manal" userId="8b130982-2e3f-4164-b881-fd3a2e4b2453" providerId="ADAL" clId="{4457FA57-250B-44AC-8655-05D46C5A3D8A}" dt="2023-05-18T16:29:15.058" v="4378"/>
          <ac:spMkLst>
            <pc:docMk/>
            <pc:sldMk cId="1169252246" sldId="230717622"/>
            <ac:spMk id="7" creationId="{E61558A1-CDE2-47F6-9381-3C6882518467}"/>
          </ac:spMkLst>
        </pc:spChg>
        <pc:spChg chg="mod">
          <ac:chgData name="El Bakkouri, Manal" userId="8b130982-2e3f-4164-b881-fd3a2e4b2453" providerId="ADAL" clId="{4457FA57-250B-44AC-8655-05D46C5A3D8A}" dt="2023-05-18T16:29:15.058" v="4378"/>
          <ac:spMkLst>
            <pc:docMk/>
            <pc:sldMk cId="1169252246" sldId="230717622"/>
            <ac:spMk id="8" creationId="{05F4C48F-A0A5-46FF-AD0C-7329625EA328}"/>
          </ac:spMkLst>
        </pc:spChg>
        <pc:spChg chg="add mod">
          <ac:chgData name="El Bakkouri, Manal" userId="8b130982-2e3f-4164-b881-fd3a2e4b2453" providerId="ADAL" clId="{4457FA57-250B-44AC-8655-05D46C5A3D8A}" dt="2023-05-18T16:29:15.058" v="4378"/>
          <ac:spMkLst>
            <pc:docMk/>
            <pc:sldMk cId="1169252246" sldId="230717622"/>
            <ac:spMk id="9" creationId="{31C1CA1B-1CD2-4880-8F5A-ED2E1AD9EE96}"/>
          </ac:spMkLst>
        </pc:spChg>
        <pc:spChg chg="mod">
          <ac:chgData name="El Bakkouri, Manal" userId="8b130982-2e3f-4164-b881-fd3a2e4b2453" providerId="ADAL" clId="{4457FA57-250B-44AC-8655-05D46C5A3D8A}" dt="2023-05-18T16:29:15.058" v="4378"/>
          <ac:spMkLst>
            <pc:docMk/>
            <pc:sldMk cId="1169252246" sldId="230717622"/>
            <ac:spMk id="11" creationId="{B9ED65E8-5CCB-47C1-BF41-1B2D36C6080E}"/>
          </ac:spMkLst>
        </pc:spChg>
        <pc:spChg chg="mod">
          <ac:chgData name="El Bakkouri, Manal" userId="8b130982-2e3f-4164-b881-fd3a2e4b2453" providerId="ADAL" clId="{4457FA57-250B-44AC-8655-05D46C5A3D8A}" dt="2023-05-18T16:29:15.058" v="4378"/>
          <ac:spMkLst>
            <pc:docMk/>
            <pc:sldMk cId="1169252246" sldId="230717622"/>
            <ac:spMk id="12" creationId="{A1FEE49F-25AC-4DA9-BA44-A15AD5640FCA}"/>
          </ac:spMkLst>
        </pc:spChg>
        <pc:spChg chg="mod">
          <ac:chgData name="El Bakkouri, Manal" userId="8b130982-2e3f-4164-b881-fd3a2e4b2453" providerId="ADAL" clId="{4457FA57-250B-44AC-8655-05D46C5A3D8A}" dt="2023-05-18T16:29:15.058" v="4378"/>
          <ac:spMkLst>
            <pc:docMk/>
            <pc:sldMk cId="1169252246" sldId="230717622"/>
            <ac:spMk id="13" creationId="{30F819CF-A0A8-490B-99BA-62EE03FC6495}"/>
          </ac:spMkLst>
        </pc:spChg>
        <pc:spChg chg="add mod">
          <ac:chgData name="El Bakkouri, Manal" userId="8b130982-2e3f-4164-b881-fd3a2e4b2453" providerId="ADAL" clId="{4457FA57-250B-44AC-8655-05D46C5A3D8A}" dt="2023-05-18T16:29:15.058" v="4378"/>
          <ac:spMkLst>
            <pc:docMk/>
            <pc:sldMk cId="1169252246" sldId="230717622"/>
            <ac:spMk id="14" creationId="{821FA4BD-D3AE-4328-9335-A1B471C58347}"/>
          </ac:spMkLst>
        </pc:spChg>
        <pc:spChg chg="add mod">
          <ac:chgData name="El Bakkouri, Manal" userId="8b130982-2e3f-4164-b881-fd3a2e4b2453" providerId="ADAL" clId="{4457FA57-250B-44AC-8655-05D46C5A3D8A}" dt="2023-05-18T16:29:15.058" v="4378"/>
          <ac:spMkLst>
            <pc:docMk/>
            <pc:sldMk cId="1169252246" sldId="230717622"/>
            <ac:spMk id="15" creationId="{66FEA0A2-5572-4446-9CE1-834776C1B50A}"/>
          </ac:spMkLst>
        </pc:spChg>
        <pc:spChg chg="mod">
          <ac:chgData name="El Bakkouri, Manal" userId="8b130982-2e3f-4164-b881-fd3a2e4b2453" providerId="ADAL" clId="{4457FA57-250B-44AC-8655-05D46C5A3D8A}" dt="2023-05-18T16:29:15.058" v="4378"/>
          <ac:spMkLst>
            <pc:docMk/>
            <pc:sldMk cId="1169252246" sldId="230717622"/>
            <ac:spMk id="17" creationId="{7AEF3AF1-420A-4357-8579-D58E727681D4}"/>
          </ac:spMkLst>
        </pc:spChg>
        <pc:spChg chg="mod">
          <ac:chgData name="El Bakkouri, Manal" userId="8b130982-2e3f-4164-b881-fd3a2e4b2453" providerId="ADAL" clId="{4457FA57-250B-44AC-8655-05D46C5A3D8A}" dt="2023-05-18T16:29:15.058" v="4378"/>
          <ac:spMkLst>
            <pc:docMk/>
            <pc:sldMk cId="1169252246" sldId="230717622"/>
            <ac:spMk id="18" creationId="{54CA7A20-7188-44D9-B7B1-8318B28398EE}"/>
          </ac:spMkLst>
        </pc:spChg>
        <pc:spChg chg="mod">
          <ac:chgData name="El Bakkouri, Manal" userId="8b130982-2e3f-4164-b881-fd3a2e4b2453" providerId="ADAL" clId="{4457FA57-250B-44AC-8655-05D46C5A3D8A}" dt="2023-05-18T16:29:15.058" v="4378"/>
          <ac:spMkLst>
            <pc:docMk/>
            <pc:sldMk cId="1169252246" sldId="230717622"/>
            <ac:spMk id="19" creationId="{E557337A-5939-4874-836B-CCEE87E745D6}"/>
          </ac:spMkLst>
        </pc:spChg>
        <pc:spChg chg="add mod">
          <ac:chgData name="El Bakkouri, Manal" userId="8b130982-2e3f-4164-b881-fd3a2e4b2453" providerId="ADAL" clId="{4457FA57-250B-44AC-8655-05D46C5A3D8A}" dt="2023-05-18T16:29:15.058" v="4378"/>
          <ac:spMkLst>
            <pc:docMk/>
            <pc:sldMk cId="1169252246" sldId="230717622"/>
            <ac:spMk id="20" creationId="{6E19B340-860B-4C79-88D1-940667FAE9C3}"/>
          </ac:spMkLst>
        </pc:spChg>
        <pc:spChg chg="mod">
          <ac:chgData name="El Bakkouri, Manal" userId="8b130982-2e3f-4164-b881-fd3a2e4b2453" providerId="ADAL" clId="{4457FA57-250B-44AC-8655-05D46C5A3D8A}" dt="2023-05-18T16:29:15.058" v="4378"/>
          <ac:spMkLst>
            <pc:docMk/>
            <pc:sldMk cId="1169252246" sldId="230717622"/>
            <ac:spMk id="22" creationId="{DC2080E8-4568-4D37-AE7F-F9B335B2921B}"/>
          </ac:spMkLst>
        </pc:spChg>
        <pc:spChg chg="mod">
          <ac:chgData name="El Bakkouri, Manal" userId="8b130982-2e3f-4164-b881-fd3a2e4b2453" providerId="ADAL" clId="{4457FA57-250B-44AC-8655-05D46C5A3D8A}" dt="2023-05-18T16:29:15.058" v="4378"/>
          <ac:spMkLst>
            <pc:docMk/>
            <pc:sldMk cId="1169252246" sldId="230717622"/>
            <ac:spMk id="23" creationId="{10FA6D1E-38E0-4B9D-BBE5-17C5C96D1FEE}"/>
          </ac:spMkLst>
        </pc:spChg>
        <pc:spChg chg="mod">
          <ac:chgData name="El Bakkouri, Manal" userId="8b130982-2e3f-4164-b881-fd3a2e4b2453" providerId="ADAL" clId="{4457FA57-250B-44AC-8655-05D46C5A3D8A}" dt="2023-05-18T16:29:15.058" v="4378"/>
          <ac:spMkLst>
            <pc:docMk/>
            <pc:sldMk cId="1169252246" sldId="230717622"/>
            <ac:spMk id="25" creationId="{79D5FAD9-DADB-44F9-B51B-27C8591DEC74}"/>
          </ac:spMkLst>
        </pc:spChg>
        <pc:spChg chg="mod">
          <ac:chgData name="El Bakkouri, Manal" userId="8b130982-2e3f-4164-b881-fd3a2e4b2453" providerId="ADAL" clId="{4457FA57-250B-44AC-8655-05D46C5A3D8A}" dt="2023-05-18T16:29:15.058" v="4378"/>
          <ac:spMkLst>
            <pc:docMk/>
            <pc:sldMk cId="1169252246" sldId="230717622"/>
            <ac:spMk id="26" creationId="{7D836C2A-5729-40AE-AEAF-1FE5712A0C69}"/>
          </ac:spMkLst>
        </pc:spChg>
        <pc:spChg chg="mod">
          <ac:chgData name="El Bakkouri, Manal" userId="8b130982-2e3f-4164-b881-fd3a2e4b2453" providerId="ADAL" clId="{4457FA57-250B-44AC-8655-05D46C5A3D8A}" dt="2023-05-18T16:29:15.058" v="4378"/>
          <ac:spMkLst>
            <pc:docMk/>
            <pc:sldMk cId="1169252246" sldId="230717622"/>
            <ac:spMk id="28" creationId="{8A753754-176A-4913-9823-4D6DCF36CE22}"/>
          </ac:spMkLst>
        </pc:spChg>
        <pc:spChg chg="mod">
          <ac:chgData name="El Bakkouri, Manal" userId="8b130982-2e3f-4164-b881-fd3a2e4b2453" providerId="ADAL" clId="{4457FA57-250B-44AC-8655-05D46C5A3D8A}" dt="2023-05-18T16:29:15.058" v="4378"/>
          <ac:spMkLst>
            <pc:docMk/>
            <pc:sldMk cId="1169252246" sldId="230717622"/>
            <ac:spMk id="29" creationId="{ADF4AA56-C134-44F6-9405-F168131A9A1F}"/>
          </ac:spMkLst>
        </pc:spChg>
        <pc:spChg chg="mod">
          <ac:chgData name="El Bakkouri, Manal" userId="8b130982-2e3f-4164-b881-fd3a2e4b2453" providerId="ADAL" clId="{4457FA57-250B-44AC-8655-05D46C5A3D8A}" dt="2023-05-18T16:29:15.058" v="4378"/>
          <ac:spMkLst>
            <pc:docMk/>
            <pc:sldMk cId="1169252246" sldId="230717622"/>
            <ac:spMk id="30" creationId="{D2A1B8A1-BBD3-449F-BE24-48055B144D2F}"/>
          </ac:spMkLst>
        </pc:spChg>
        <pc:spChg chg="add del mod ord">
          <ac:chgData name="El Bakkouri, Manal" userId="8b130982-2e3f-4164-b881-fd3a2e4b2453" providerId="ADAL" clId="{4457FA57-250B-44AC-8655-05D46C5A3D8A}" dt="2023-05-18T16:40:08.564" v="4476" actId="700"/>
          <ac:spMkLst>
            <pc:docMk/>
            <pc:sldMk cId="1169252246" sldId="230717622"/>
            <ac:spMk id="31" creationId="{D64A6F28-AF18-42AE-ADCE-8559BA8B0E07}"/>
          </ac:spMkLst>
        </pc:spChg>
        <pc:spChg chg="add del mod ord">
          <ac:chgData name="El Bakkouri, Manal" userId="8b130982-2e3f-4164-b881-fd3a2e4b2453" providerId="ADAL" clId="{4457FA57-250B-44AC-8655-05D46C5A3D8A}" dt="2023-05-18T16:40:08.564" v="4476" actId="700"/>
          <ac:spMkLst>
            <pc:docMk/>
            <pc:sldMk cId="1169252246" sldId="230717622"/>
            <ac:spMk id="32" creationId="{110AC54B-1B9C-408B-9C21-F85F5844B522}"/>
          </ac:spMkLst>
        </pc:spChg>
        <pc:spChg chg="add del mod ord">
          <ac:chgData name="El Bakkouri, Manal" userId="8b130982-2e3f-4164-b881-fd3a2e4b2453" providerId="ADAL" clId="{4457FA57-250B-44AC-8655-05D46C5A3D8A}" dt="2023-05-18T16:40:08.564" v="4476" actId="700"/>
          <ac:spMkLst>
            <pc:docMk/>
            <pc:sldMk cId="1169252246" sldId="230717622"/>
            <ac:spMk id="33" creationId="{E089CEF0-6F1A-4E43-BB66-B3F64F17E75C}"/>
          </ac:spMkLst>
        </pc:spChg>
        <pc:spChg chg="add del mod ord">
          <ac:chgData name="El Bakkouri, Manal" userId="8b130982-2e3f-4164-b881-fd3a2e4b2453" providerId="ADAL" clId="{4457FA57-250B-44AC-8655-05D46C5A3D8A}" dt="2023-05-18T16:40:08.564" v="4476" actId="700"/>
          <ac:spMkLst>
            <pc:docMk/>
            <pc:sldMk cId="1169252246" sldId="230717622"/>
            <ac:spMk id="34" creationId="{BFA7E8D5-4D8C-4D35-AFBF-70D688F0E91D}"/>
          </ac:spMkLst>
        </pc:spChg>
        <pc:spChg chg="add del mod ord">
          <ac:chgData name="El Bakkouri, Manal" userId="8b130982-2e3f-4164-b881-fd3a2e4b2453" providerId="ADAL" clId="{4457FA57-250B-44AC-8655-05D46C5A3D8A}" dt="2023-05-18T16:40:08.564" v="4476" actId="700"/>
          <ac:spMkLst>
            <pc:docMk/>
            <pc:sldMk cId="1169252246" sldId="230717622"/>
            <ac:spMk id="35" creationId="{29BA4B64-8B19-41FE-8DC5-1DC65C670C2B}"/>
          </ac:spMkLst>
        </pc:spChg>
        <pc:grpChg chg="add mod">
          <ac:chgData name="El Bakkouri, Manal" userId="8b130982-2e3f-4164-b881-fd3a2e4b2453" providerId="ADAL" clId="{4457FA57-250B-44AC-8655-05D46C5A3D8A}" dt="2023-05-18T16:29:15.058" v="4378"/>
          <ac:grpSpMkLst>
            <pc:docMk/>
            <pc:sldMk cId="1169252246" sldId="230717622"/>
            <ac:grpSpMk id="5" creationId="{AF4E8073-4576-45CB-8B12-6DF725470C43}"/>
          </ac:grpSpMkLst>
        </pc:grpChg>
        <pc:grpChg chg="add mod">
          <ac:chgData name="El Bakkouri, Manal" userId="8b130982-2e3f-4164-b881-fd3a2e4b2453" providerId="ADAL" clId="{4457FA57-250B-44AC-8655-05D46C5A3D8A}" dt="2023-05-18T16:29:15.058" v="4378"/>
          <ac:grpSpMkLst>
            <pc:docMk/>
            <pc:sldMk cId="1169252246" sldId="230717622"/>
            <ac:grpSpMk id="10" creationId="{0053522E-3CF2-47C3-8619-5444E585F504}"/>
          </ac:grpSpMkLst>
        </pc:grpChg>
        <pc:grpChg chg="add mod">
          <ac:chgData name="El Bakkouri, Manal" userId="8b130982-2e3f-4164-b881-fd3a2e4b2453" providerId="ADAL" clId="{4457FA57-250B-44AC-8655-05D46C5A3D8A}" dt="2023-05-18T16:29:15.058" v="4378"/>
          <ac:grpSpMkLst>
            <pc:docMk/>
            <pc:sldMk cId="1169252246" sldId="230717622"/>
            <ac:grpSpMk id="16" creationId="{DE441440-4F09-4F19-B293-A51DE6F0625B}"/>
          </ac:grpSpMkLst>
        </pc:grpChg>
        <pc:grpChg chg="add mod">
          <ac:chgData name="El Bakkouri, Manal" userId="8b130982-2e3f-4164-b881-fd3a2e4b2453" providerId="ADAL" clId="{4457FA57-250B-44AC-8655-05D46C5A3D8A}" dt="2023-05-18T16:29:15.058" v="4378"/>
          <ac:grpSpMkLst>
            <pc:docMk/>
            <pc:sldMk cId="1169252246" sldId="230717622"/>
            <ac:grpSpMk id="21" creationId="{02924551-AC62-478A-A2BA-4A3A4A48B80F}"/>
          </ac:grpSpMkLst>
        </pc:grpChg>
        <pc:grpChg chg="add mod">
          <ac:chgData name="El Bakkouri, Manal" userId="8b130982-2e3f-4164-b881-fd3a2e4b2453" providerId="ADAL" clId="{4457FA57-250B-44AC-8655-05D46C5A3D8A}" dt="2023-05-18T16:29:15.058" v="4378"/>
          <ac:grpSpMkLst>
            <pc:docMk/>
            <pc:sldMk cId="1169252246" sldId="230717622"/>
            <ac:grpSpMk id="24" creationId="{63EFD82A-FBBA-4CC1-889D-642BE7AE921E}"/>
          </ac:grpSpMkLst>
        </pc:grpChg>
        <pc:grpChg chg="add mod">
          <ac:chgData name="El Bakkouri, Manal" userId="8b130982-2e3f-4164-b881-fd3a2e4b2453" providerId="ADAL" clId="{4457FA57-250B-44AC-8655-05D46C5A3D8A}" dt="2023-05-18T16:29:15.058" v="4378"/>
          <ac:grpSpMkLst>
            <pc:docMk/>
            <pc:sldMk cId="1169252246" sldId="230717622"/>
            <ac:grpSpMk id="27" creationId="{3FC4F196-6522-46F0-BD6F-39C837FC552A}"/>
          </ac:grpSpMkLst>
        </pc:grpChg>
      </pc:sldChg>
      <pc:sldChg chg="addSp delSp modSp add del mod ord modTransition modAnim">
        <pc:chgData name="El Bakkouri, Manal" userId="8b130982-2e3f-4164-b881-fd3a2e4b2453" providerId="ADAL" clId="{4457FA57-250B-44AC-8655-05D46C5A3D8A}" dt="2023-05-26T16:02:27.554" v="13958" actId="47"/>
        <pc:sldMkLst>
          <pc:docMk/>
          <pc:sldMk cId="3675957020" sldId="230717622"/>
        </pc:sldMkLst>
        <pc:spChg chg="mod">
          <ac:chgData name="El Bakkouri, Manal" userId="8b130982-2e3f-4164-b881-fd3a2e4b2453" providerId="ADAL" clId="{4457FA57-250B-44AC-8655-05D46C5A3D8A}" dt="2023-05-24T16:38:34.879" v="13194" actId="1035"/>
          <ac:spMkLst>
            <pc:docMk/>
            <pc:sldMk cId="3675957020" sldId="230717622"/>
            <ac:spMk id="3" creationId="{BD8A55B4-B4F6-4B30-BC80-A479E08DF4C9}"/>
          </ac:spMkLst>
        </pc:spChg>
        <pc:spChg chg="mod">
          <ac:chgData name="El Bakkouri, Manal" userId="8b130982-2e3f-4164-b881-fd3a2e4b2453" providerId="ADAL" clId="{4457FA57-250B-44AC-8655-05D46C5A3D8A}" dt="2023-05-19T08:17:26.984" v="4691" actId="404"/>
          <ac:spMkLst>
            <pc:docMk/>
            <pc:sldMk cId="3675957020" sldId="230717622"/>
            <ac:spMk id="13" creationId="{114F29FB-8199-4271-8413-57B0ACE5DE12}"/>
          </ac:spMkLst>
        </pc:spChg>
        <pc:spChg chg="mod">
          <ac:chgData name="El Bakkouri, Manal" userId="8b130982-2e3f-4164-b881-fd3a2e4b2453" providerId="ADAL" clId="{4457FA57-250B-44AC-8655-05D46C5A3D8A}" dt="2023-05-19T08:17:26.984" v="4691" actId="404"/>
          <ac:spMkLst>
            <pc:docMk/>
            <pc:sldMk cId="3675957020" sldId="230717622"/>
            <ac:spMk id="14" creationId="{EF785489-4E84-41CC-8B52-19810BE53C71}"/>
          </ac:spMkLst>
        </pc:spChg>
        <pc:spChg chg="mod">
          <ac:chgData name="El Bakkouri, Manal" userId="8b130982-2e3f-4164-b881-fd3a2e4b2453" providerId="ADAL" clId="{4457FA57-250B-44AC-8655-05D46C5A3D8A}" dt="2023-05-24T09:33:51.859" v="10506" actId="20577"/>
          <ac:spMkLst>
            <pc:docMk/>
            <pc:sldMk cId="3675957020" sldId="230717622"/>
            <ac:spMk id="19" creationId="{4B3B7FDF-BAF1-492C-BEF5-B15E68EA58B2}"/>
          </ac:spMkLst>
        </pc:spChg>
        <pc:spChg chg="mod">
          <ac:chgData name="El Bakkouri, Manal" userId="8b130982-2e3f-4164-b881-fd3a2e4b2453" providerId="ADAL" clId="{4457FA57-250B-44AC-8655-05D46C5A3D8A}" dt="2023-05-24T16:38:22.386" v="13109" actId="404"/>
          <ac:spMkLst>
            <pc:docMk/>
            <pc:sldMk cId="3675957020" sldId="230717622"/>
            <ac:spMk id="25" creationId="{84EE46E7-72E4-4F1F-87C0-45FEC49750D8}"/>
          </ac:spMkLst>
        </pc:spChg>
        <pc:spChg chg="mod">
          <ac:chgData name="El Bakkouri, Manal" userId="8b130982-2e3f-4164-b881-fd3a2e4b2453" providerId="ADAL" clId="{4457FA57-250B-44AC-8655-05D46C5A3D8A}" dt="2023-05-24T16:38:22.386" v="13109" actId="404"/>
          <ac:spMkLst>
            <pc:docMk/>
            <pc:sldMk cId="3675957020" sldId="230717622"/>
            <ac:spMk id="26" creationId="{9926691B-4621-40C1-ACC5-46216BF245CD}"/>
          </ac:spMkLst>
        </pc:spChg>
        <pc:grpChg chg="del mod ord">
          <ac:chgData name="El Bakkouri, Manal" userId="8b130982-2e3f-4164-b881-fd3a2e4b2453" providerId="ADAL" clId="{4457FA57-250B-44AC-8655-05D46C5A3D8A}" dt="2023-05-24T16:37:25.369" v="12976" actId="478"/>
          <ac:grpSpMkLst>
            <pc:docMk/>
            <pc:sldMk cId="3675957020" sldId="230717622"/>
            <ac:grpSpMk id="8" creationId="{A2D83CBF-515F-4F55-B324-C8E8F07B252C}"/>
          </ac:grpSpMkLst>
        </pc:grpChg>
        <pc:grpChg chg="mod ord">
          <ac:chgData name="El Bakkouri, Manal" userId="8b130982-2e3f-4164-b881-fd3a2e4b2453" providerId="ADAL" clId="{4457FA57-250B-44AC-8655-05D46C5A3D8A}" dt="2023-05-23T16:42:48.052" v="8766" actId="1076"/>
          <ac:grpSpMkLst>
            <pc:docMk/>
            <pc:sldMk cId="3675957020" sldId="230717622"/>
            <ac:grpSpMk id="12" creationId="{EB575078-816F-4FBE-AD85-C5EB1FC5D3B1}"/>
          </ac:grpSpMkLst>
        </pc:grpChg>
        <pc:grpChg chg="add mod ord">
          <ac:chgData name="El Bakkouri, Manal" userId="8b130982-2e3f-4164-b881-fd3a2e4b2453" providerId="ADAL" clId="{4457FA57-250B-44AC-8655-05D46C5A3D8A}" dt="2023-05-24T16:37:37.818" v="12980" actId="167"/>
          <ac:grpSpMkLst>
            <pc:docMk/>
            <pc:sldMk cId="3675957020" sldId="230717622"/>
            <ac:grpSpMk id="24" creationId="{5EC6B691-5871-4984-8DC6-A6E768AB856E}"/>
          </ac:grpSpMkLst>
        </pc:grpChg>
        <pc:graphicFrameChg chg="add del modGraphic">
          <ac:chgData name="El Bakkouri, Manal" userId="8b130982-2e3f-4164-b881-fd3a2e4b2453" providerId="ADAL" clId="{4457FA57-250B-44AC-8655-05D46C5A3D8A}" dt="2023-05-19T10:25:02.750" v="5735" actId="27309"/>
          <ac:graphicFrameMkLst>
            <pc:docMk/>
            <pc:sldMk cId="3675957020" sldId="230717622"/>
            <ac:graphicFrameMk id="4" creationId="{04D8905D-43D9-4BFF-9818-77C28D7D24E5}"/>
          </ac:graphicFrameMkLst>
        </pc:graphicFrameChg>
        <pc:graphicFrameChg chg="add del modGraphic">
          <ac:chgData name="El Bakkouri, Manal" userId="8b130982-2e3f-4164-b881-fd3a2e4b2453" providerId="ADAL" clId="{4457FA57-250B-44AC-8655-05D46C5A3D8A}" dt="2023-05-19T10:25:11.925" v="5737" actId="27309"/>
          <ac:graphicFrameMkLst>
            <pc:docMk/>
            <pc:sldMk cId="3675957020" sldId="230717622"/>
            <ac:graphicFrameMk id="10" creationId="{59CCEFF9-7852-43EE-9366-0E2DFDA0C621}"/>
          </ac:graphicFrameMkLst>
        </pc:graphicFrameChg>
        <pc:picChg chg="add del mod ord">
          <ac:chgData name="El Bakkouri, Manal" userId="8b130982-2e3f-4164-b881-fd3a2e4b2453" providerId="ADAL" clId="{4457FA57-250B-44AC-8655-05D46C5A3D8A}" dt="2023-05-24T16:38:19.874" v="13108" actId="167"/>
          <ac:picMkLst>
            <pc:docMk/>
            <pc:sldMk cId="3675957020" sldId="230717622"/>
            <ac:picMk id="5" creationId="{3B968451-5753-4F94-9D25-462CBF10B4E9}"/>
          </ac:picMkLst>
        </pc:picChg>
      </pc:sldChg>
      <pc:sldChg chg="addSp delSp modSp new del mod">
        <pc:chgData name="El Bakkouri, Manal" userId="8b130982-2e3f-4164-b881-fd3a2e4b2453" providerId="ADAL" clId="{4457FA57-250B-44AC-8655-05D46C5A3D8A}" dt="2023-05-19T10:01:51.888" v="5584" actId="2696"/>
        <pc:sldMkLst>
          <pc:docMk/>
          <pc:sldMk cId="2740682511" sldId="230717623"/>
        </pc:sldMkLst>
        <pc:picChg chg="add del mod">
          <ac:chgData name="El Bakkouri, Manal" userId="8b130982-2e3f-4164-b881-fd3a2e4b2453" providerId="ADAL" clId="{4457FA57-250B-44AC-8655-05D46C5A3D8A}" dt="2023-05-19T10:01:33.923" v="5582" actId="478"/>
          <ac:picMkLst>
            <pc:docMk/>
            <pc:sldMk cId="2740682511" sldId="230717623"/>
            <ac:picMk id="3" creationId="{7099A480-0475-4703-A258-880FD6014AE9}"/>
          </ac:picMkLst>
        </pc:picChg>
      </pc:sldChg>
      <pc:sldChg chg="add del">
        <pc:chgData name="El Bakkouri, Manal" userId="8b130982-2e3f-4164-b881-fd3a2e4b2453" providerId="ADAL" clId="{4457FA57-250B-44AC-8655-05D46C5A3D8A}" dt="2023-05-19T08:16:43.492" v="4647" actId="2696"/>
        <pc:sldMkLst>
          <pc:docMk/>
          <pc:sldMk cId="3604929821" sldId="230717623"/>
        </pc:sldMkLst>
      </pc:sldChg>
      <pc:sldChg chg="addSp delSp modSp add mod modTransition delAnim modAnim">
        <pc:chgData name="El Bakkouri, Manal" userId="8b130982-2e3f-4164-b881-fd3a2e4b2453" providerId="ADAL" clId="{4457FA57-250B-44AC-8655-05D46C5A3D8A}" dt="2023-06-12T13:29:36.828" v="15815"/>
        <pc:sldMkLst>
          <pc:docMk/>
          <pc:sldMk cId="691375642" sldId="230717624"/>
        </pc:sldMkLst>
        <pc:spChg chg="add del mod">
          <ac:chgData name="El Bakkouri, Manal" userId="8b130982-2e3f-4164-b881-fd3a2e4b2453" providerId="ADAL" clId="{4457FA57-250B-44AC-8655-05D46C5A3D8A}" dt="2023-05-19T09:35:41.931" v="5312" actId="478"/>
          <ac:spMkLst>
            <pc:docMk/>
            <pc:sldMk cId="691375642" sldId="230717624"/>
            <ac:spMk id="2" creationId="{2C314E23-2BFD-4DB2-83AC-945CADD7CF7B}"/>
          </ac:spMkLst>
        </pc:spChg>
        <pc:spChg chg="add del mod">
          <ac:chgData name="El Bakkouri, Manal" userId="8b130982-2e3f-4164-b881-fd3a2e4b2453" providerId="ADAL" clId="{4457FA57-250B-44AC-8655-05D46C5A3D8A}" dt="2023-05-19T09:40:55.625" v="5424" actId="478"/>
          <ac:spMkLst>
            <pc:docMk/>
            <pc:sldMk cId="691375642" sldId="230717624"/>
            <ac:spMk id="14" creationId="{14877DC4-645F-4CAE-B31C-64B0C931EC62}"/>
          </ac:spMkLst>
        </pc:spChg>
        <pc:spChg chg="add mod">
          <ac:chgData name="El Bakkouri, Manal" userId="8b130982-2e3f-4164-b881-fd3a2e4b2453" providerId="ADAL" clId="{4457FA57-250B-44AC-8655-05D46C5A3D8A}" dt="2023-05-19T09:59:47.707" v="5574" actId="164"/>
          <ac:spMkLst>
            <pc:docMk/>
            <pc:sldMk cId="691375642" sldId="230717624"/>
            <ac:spMk id="19" creationId="{711A4463-86F1-48FD-B2D7-7CA00A902C71}"/>
          </ac:spMkLst>
        </pc:spChg>
        <pc:spChg chg="del">
          <ac:chgData name="El Bakkouri, Manal" userId="8b130982-2e3f-4164-b881-fd3a2e4b2453" providerId="ADAL" clId="{4457FA57-250B-44AC-8655-05D46C5A3D8A}" dt="2023-06-12T13:29:36.009" v="15814" actId="478"/>
          <ac:spMkLst>
            <pc:docMk/>
            <pc:sldMk cId="691375642" sldId="230717624"/>
            <ac:spMk id="21" creationId="{E069C6E6-7817-4E66-8E67-829ACE1E7540}"/>
          </ac:spMkLst>
        </pc:spChg>
        <pc:spChg chg="del">
          <ac:chgData name="El Bakkouri, Manal" userId="8b130982-2e3f-4164-b881-fd3a2e4b2453" providerId="ADAL" clId="{4457FA57-250B-44AC-8655-05D46C5A3D8A}" dt="2023-06-12T13:29:36.009" v="15814" actId="478"/>
          <ac:spMkLst>
            <pc:docMk/>
            <pc:sldMk cId="691375642" sldId="230717624"/>
            <ac:spMk id="22" creationId="{2A90AFDC-07A0-46A2-9112-B72BC8C1BE12}"/>
          </ac:spMkLst>
        </pc:spChg>
        <pc:spChg chg="mod topLvl">
          <ac:chgData name="El Bakkouri, Manal" userId="8b130982-2e3f-4164-b881-fd3a2e4b2453" providerId="ADAL" clId="{4457FA57-250B-44AC-8655-05D46C5A3D8A}" dt="2023-05-19T09:59:47.707" v="5574" actId="164"/>
          <ac:spMkLst>
            <pc:docMk/>
            <pc:sldMk cId="691375642" sldId="230717624"/>
            <ac:spMk id="23" creationId="{FC313D76-E7BA-43FD-AD6B-6AD5770E468A}"/>
          </ac:spMkLst>
        </pc:spChg>
        <pc:spChg chg="mod topLvl">
          <ac:chgData name="El Bakkouri, Manal" userId="8b130982-2e3f-4164-b881-fd3a2e4b2453" providerId="ADAL" clId="{4457FA57-250B-44AC-8655-05D46C5A3D8A}" dt="2023-05-19T09:44:58.727" v="5453" actId="14100"/>
          <ac:spMkLst>
            <pc:docMk/>
            <pc:sldMk cId="691375642" sldId="230717624"/>
            <ac:spMk id="24" creationId="{73DA98BA-DF33-46AB-A50F-4250F979BE33}"/>
          </ac:spMkLst>
        </pc:spChg>
        <pc:spChg chg="add mod">
          <ac:chgData name="El Bakkouri, Manal" userId="8b130982-2e3f-4164-b881-fd3a2e4b2453" providerId="ADAL" clId="{4457FA57-250B-44AC-8655-05D46C5A3D8A}" dt="2023-06-12T13:29:36.828" v="15815"/>
          <ac:spMkLst>
            <pc:docMk/>
            <pc:sldMk cId="691375642" sldId="230717624"/>
            <ac:spMk id="25" creationId="{06FC41A0-236C-4B5E-B602-FB289FCC3CB0}"/>
          </ac:spMkLst>
        </pc:spChg>
        <pc:spChg chg="del mod topLvl">
          <ac:chgData name="El Bakkouri, Manal" userId="8b130982-2e3f-4164-b881-fd3a2e4b2453" providerId="ADAL" clId="{4457FA57-250B-44AC-8655-05D46C5A3D8A}" dt="2023-05-19T09:44:37.767" v="5445" actId="478"/>
          <ac:spMkLst>
            <pc:docMk/>
            <pc:sldMk cId="691375642" sldId="230717624"/>
            <ac:spMk id="25" creationId="{4AAD794B-391F-4AAB-AF3D-F4B6AA1AED6B}"/>
          </ac:spMkLst>
        </pc:spChg>
        <pc:spChg chg="add del mod">
          <ac:chgData name="El Bakkouri, Manal" userId="8b130982-2e3f-4164-b881-fd3a2e4b2453" providerId="ADAL" clId="{4457FA57-250B-44AC-8655-05D46C5A3D8A}" dt="2023-05-19T09:46:58.098" v="5465" actId="11529"/>
          <ac:spMkLst>
            <pc:docMk/>
            <pc:sldMk cId="691375642" sldId="230717624"/>
            <ac:spMk id="26" creationId="{54C17639-842C-4249-9E70-6C6D7357D700}"/>
          </ac:spMkLst>
        </pc:spChg>
        <pc:spChg chg="del">
          <ac:chgData name="El Bakkouri, Manal" userId="8b130982-2e3f-4164-b881-fd3a2e4b2453" providerId="ADAL" clId="{4457FA57-250B-44AC-8655-05D46C5A3D8A}" dt="2023-06-12T13:29:36.009" v="15814" actId="478"/>
          <ac:spMkLst>
            <pc:docMk/>
            <pc:sldMk cId="691375642" sldId="230717624"/>
            <ac:spMk id="26" creationId="{954AE213-E8A2-429E-9E90-9D5D8379CF06}"/>
          </ac:spMkLst>
        </pc:spChg>
        <pc:spChg chg="add mod ord">
          <ac:chgData name="El Bakkouri, Manal" userId="8b130982-2e3f-4164-b881-fd3a2e4b2453" providerId="ADAL" clId="{4457FA57-250B-44AC-8655-05D46C5A3D8A}" dt="2023-05-19T09:59:47.707" v="5574" actId="164"/>
          <ac:spMkLst>
            <pc:docMk/>
            <pc:sldMk cId="691375642" sldId="230717624"/>
            <ac:spMk id="27" creationId="{64DFCE42-165F-41B8-8FA3-9749DC703B7D}"/>
          </ac:spMkLst>
        </pc:spChg>
        <pc:spChg chg="add del mod">
          <ac:chgData name="El Bakkouri, Manal" userId="8b130982-2e3f-4164-b881-fd3a2e4b2453" providerId="ADAL" clId="{4457FA57-250B-44AC-8655-05D46C5A3D8A}" dt="2023-05-19T09:49:58.828" v="5509"/>
          <ac:spMkLst>
            <pc:docMk/>
            <pc:sldMk cId="691375642" sldId="230717624"/>
            <ac:spMk id="28" creationId="{34EFEF71-58CF-47D1-B5E1-FC2FDCEE21F6}"/>
          </ac:spMkLst>
        </pc:spChg>
        <pc:spChg chg="del">
          <ac:chgData name="El Bakkouri, Manal" userId="8b130982-2e3f-4164-b881-fd3a2e4b2453" providerId="ADAL" clId="{4457FA57-250B-44AC-8655-05D46C5A3D8A}" dt="2023-06-12T13:29:36.009" v="15814" actId="478"/>
          <ac:spMkLst>
            <pc:docMk/>
            <pc:sldMk cId="691375642" sldId="230717624"/>
            <ac:spMk id="28" creationId="{DD461D1B-636B-4BFD-B716-9D4F200B4BEF}"/>
          </ac:spMkLst>
        </pc:spChg>
        <pc:spChg chg="add mod">
          <ac:chgData name="El Bakkouri, Manal" userId="8b130982-2e3f-4164-b881-fd3a2e4b2453" providerId="ADAL" clId="{4457FA57-250B-44AC-8655-05D46C5A3D8A}" dt="2023-05-19T09:53:28.766" v="5542" actId="1582"/>
          <ac:spMkLst>
            <pc:docMk/>
            <pc:sldMk cId="691375642" sldId="230717624"/>
            <ac:spMk id="30" creationId="{5EC182A3-C022-4B35-8CB8-89097A56693F}"/>
          </ac:spMkLst>
        </pc:spChg>
        <pc:spChg chg="del">
          <ac:chgData name="El Bakkouri, Manal" userId="8b130982-2e3f-4164-b881-fd3a2e4b2453" providerId="ADAL" clId="{4457FA57-250B-44AC-8655-05D46C5A3D8A}" dt="2023-06-12T13:29:36.009" v="15814" actId="478"/>
          <ac:spMkLst>
            <pc:docMk/>
            <pc:sldMk cId="691375642" sldId="230717624"/>
            <ac:spMk id="31" creationId="{15B027B3-D413-4C72-81C2-CE461E9E354F}"/>
          </ac:spMkLst>
        </pc:spChg>
        <pc:spChg chg="add">
          <ac:chgData name="El Bakkouri, Manal" userId="8b130982-2e3f-4164-b881-fd3a2e4b2453" providerId="ADAL" clId="{4457FA57-250B-44AC-8655-05D46C5A3D8A}" dt="2023-05-26T16:30:09.406" v="14262" actId="11529"/>
          <ac:spMkLst>
            <pc:docMk/>
            <pc:sldMk cId="691375642" sldId="230717624"/>
            <ac:spMk id="31" creationId="{A3CB5561-D3EA-42B8-AA04-BA12F2F93FE4}"/>
          </ac:spMkLst>
        </pc:spChg>
        <pc:spChg chg="del">
          <ac:chgData name="El Bakkouri, Manal" userId="8b130982-2e3f-4164-b881-fd3a2e4b2453" providerId="ADAL" clId="{4457FA57-250B-44AC-8655-05D46C5A3D8A}" dt="2023-06-12T13:29:36.009" v="15814" actId="478"/>
          <ac:spMkLst>
            <pc:docMk/>
            <pc:sldMk cId="691375642" sldId="230717624"/>
            <ac:spMk id="32" creationId="{90E60874-86D7-4E79-B440-542E586D6F60}"/>
          </ac:spMkLst>
        </pc:spChg>
        <pc:spChg chg="del">
          <ac:chgData name="El Bakkouri, Manal" userId="8b130982-2e3f-4164-b881-fd3a2e4b2453" providerId="ADAL" clId="{4457FA57-250B-44AC-8655-05D46C5A3D8A}" dt="2023-06-12T13:29:36.009" v="15814" actId="478"/>
          <ac:spMkLst>
            <pc:docMk/>
            <pc:sldMk cId="691375642" sldId="230717624"/>
            <ac:spMk id="33" creationId="{3C74BCF5-B7A9-4F3D-82DB-240E08655445}"/>
          </ac:spMkLst>
        </pc:spChg>
        <pc:spChg chg="del">
          <ac:chgData name="El Bakkouri, Manal" userId="8b130982-2e3f-4164-b881-fd3a2e4b2453" providerId="ADAL" clId="{4457FA57-250B-44AC-8655-05D46C5A3D8A}" dt="2023-06-12T13:29:36.009" v="15814" actId="478"/>
          <ac:spMkLst>
            <pc:docMk/>
            <pc:sldMk cId="691375642" sldId="230717624"/>
            <ac:spMk id="34" creationId="{4D2BC69D-A924-4F72-BAB4-484C97A7D661}"/>
          </ac:spMkLst>
        </pc:spChg>
        <pc:spChg chg="del">
          <ac:chgData name="El Bakkouri, Manal" userId="8b130982-2e3f-4164-b881-fd3a2e4b2453" providerId="ADAL" clId="{4457FA57-250B-44AC-8655-05D46C5A3D8A}" dt="2023-06-12T13:29:36.009" v="15814" actId="478"/>
          <ac:spMkLst>
            <pc:docMk/>
            <pc:sldMk cId="691375642" sldId="230717624"/>
            <ac:spMk id="36" creationId="{5796B8AC-EE2C-4ACB-A306-7E1B94FFF49D}"/>
          </ac:spMkLst>
        </pc:spChg>
        <pc:spChg chg="del">
          <ac:chgData name="El Bakkouri, Manal" userId="8b130982-2e3f-4164-b881-fd3a2e4b2453" providerId="ADAL" clId="{4457FA57-250B-44AC-8655-05D46C5A3D8A}" dt="2023-06-12T13:29:36.009" v="15814" actId="478"/>
          <ac:spMkLst>
            <pc:docMk/>
            <pc:sldMk cId="691375642" sldId="230717624"/>
            <ac:spMk id="37" creationId="{F875BD7F-CE0F-4430-A963-8BED61B7B46E}"/>
          </ac:spMkLst>
        </pc:spChg>
        <pc:spChg chg="add mod">
          <ac:chgData name="El Bakkouri, Manal" userId="8b130982-2e3f-4164-b881-fd3a2e4b2453" providerId="ADAL" clId="{4457FA57-250B-44AC-8655-05D46C5A3D8A}" dt="2023-06-12T13:29:36.828" v="15815"/>
          <ac:spMkLst>
            <pc:docMk/>
            <pc:sldMk cId="691375642" sldId="230717624"/>
            <ac:spMk id="38" creationId="{A277E185-E823-4B78-9CFD-F4EAEE8B88D4}"/>
          </ac:spMkLst>
        </pc:spChg>
        <pc:spChg chg="add mod">
          <ac:chgData name="El Bakkouri, Manal" userId="8b130982-2e3f-4164-b881-fd3a2e4b2453" providerId="ADAL" clId="{4457FA57-250B-44AC-8655-05D46C5A3D8A}" dt="2023-06-12T13:29:36.828" v="15815"/>
          <ac:spMkLst>
            <pc:docMk/>
            <pc:sldMk cId="691375642" sldId="230717624"/>
            <ac:spMk id="39" creationId="{6BA86156-344A-438F-85FF-475EFD8B7403}"/>
          </ac:spMkLst>
        </pc:spChg>
        <pc:spChg chg="add mod">
          <ac:chgData name="El Bakkouri, Manal" userId="8b130982-2e3f-4164-b881-fd3a2e4b2453" providerId="ADAL" clId="{4457FA57-250B-44AC-8655-05D46C5A3D8A}" dt="2023-06-12T13:29:36.828" v="15815"/>
          <ac:spMkLst>
            <pc:docMk/>
            <pc:sldMk cId="691375642" sldId="230717624"/>
            <ac:spMk id="40" creationId="{4DBF8A78-F10B-4013-935A-6279D2AF5D12}"/>
          </ac:spMkLst>
        </pc:spChg>
        <pc:spChg chg="add mod">
          <ac:chgData name="El Bakkouri, Manal" userId="8b130982-2e3f-4164-b881-fd3a2e4b2453" providerId="ADAL" clId="{4457FA57-250B-44AC-8655-05D46C5A3D8A}" dt="2023-06-12T13:29:36.828" v="15815"/>
          <ac:spMkLst>
            <pc:docMk/>
            <pc:sldMk cId="691375642" sldId="230717624"/>
            <ac:spMk id="41" creationId="{56F8E6B0-AA77-4E21-97AC-6FEF223244B5}"/>
          </ac:spMkLst>
        </pc:spChg>
        <pc:spChg chg="add mod">
          <ac:chgData name="El Bakkouri, Manal" userId="8b130982-2e3f-4164-b881-fd3a2e4b2453" providerId="ADAL" clId="{4457FA57-250B-44AC-8655-05D46C5A3D8A}" dt="2023-06-12T13:29:36.828" v="15815"/>
          <ac:spMkLst>
            <pc:docMk/>
            <pc:sldMk cId="691375642" sldId="230717624"/>
            <ac:spMk id="42" creationId="{0C07D793-8320-4F34-9466-74C3D3A2FF3D}"/>
          </ac:spMkLst>
        </pc:spChg>
        <pc:spChg chg="add mod">
          <ac:chgData name="El Bakkouri, Manal" userId="8b130982-2e3f-4164-b881-fd3a2e4b2453" providerId="ADAL" clId="{4457FA57-250B-44AC-8655-05D46C5A3D8A}" dt="2023-06-12T13:29:36.828" v="15815"/>
          <ac:spMkLst>
            <pc:docMk/>
            <pc:sldMk cId="691375642" sldId="230717624"/>
            <ac:spMk id="43" creationId="{23AEF1C4-9337-449F-9C7B-DAB1F3D2DE10}"/>
          </ac:spMkLst>
        </pc:spChg>
        <pc:spChg chg="add mod">
          <ac:chgData name="El Bakkouri, Manal" userId="8b130982-2e3f-4164-b881-fd3a2e4b2453" providerId="ADAL" clId="{4457FA57-250B-44AC-8655-05D46C5A3D8A}" dt="2023-06-12T13:29:36.828" v="15815"/>
          <ac:spMkLst>
            <pc:docMk/>
            <pc:sldMk cId="691375642" sldId="230717624"/>
            <ac:spMk id="44" creationId="{A924C82E-4462-4A88-ACA9-135F41627593}"/>
          </ac:spMkLst>
        </pc:spChg>
        <pc:spChg chg="add mod">
          <ac:chgData name="El Bakkouri, Manal" userId="8b130982-2e3f-4164-b881-fd3a2e4b2453" providerId="ADAL" clId="{4457FA57-250B-44AC-8655-05D46C5A3D8A}" dt="2023-06-12T13:29:36.828" v="15815"/>
          <ac:spMkLst>
            <pc:docMk/>
            <pc:sldMk cId="691375642" sldId="230717624"/>
            <ac:spMk id="45" creationId="{46995204-309C-4BBA-B5EC-D4A928CAA8AE}"/>
          </ac:spMkLst>
        </pc:spChg>
        <pc:spChg chg="add mod">
          <ac:chgData name="El Bakkouri, Manal" userId="8b130982-2e3f-4164-b881-fd3a2e4b2453" providerId="ADAL" clId="{4457FA57-250B-44AC-8655-05D46C5A3D8A}" dt="2023-06-12T13:29:36.828" v="15815"/>
          <ac:spMkLst>
            <pc:docMk/>
            <pc:sldMk cId="691375642" sldId="230717624"/>
            <ac:spMk id="46" creationId="{16494CBA-B009-4492-BDC7-7555CED0779B}"/>
          </ac:spMkLst>
        </pc:spChg>
        <pc:spChg chg="del">
          <ac:chgData name="El Bakkouri, Manal" userId="8b130982-2e3f-4164-b881-fd3a2e4b2453" providerId="ADAL" clId="{4457FA57-250B-44AC-8655-05D46C5A3D8A}" dt="2023-05-19T09:35:05.203" v="5307" actId="478"/>
          <ac:spMkLst>
            <pc:docMk/>
            <pc:sldMk cId="691375642" sldId="230717624"/>
            <ac:spMk id="70" creationId="{12DED6B2-D20C-42EE-A3F3-D85C39109C25}"/>
          </ac:spMkLst>
        </pc:spChg>
        <pc:grpChg chg="del mod">
          <ac:chgData name="El Bakkouri, Manal" userId="8b130982-2e3f-4164-b881-fd3a2e4b2453" providerId="ADAL" clId="{4457FA57-250B-44AC-8655-05D46C5A3D8A}" dt="2023-05-19T09:44:13.251" v="5443" actId="165"/>
          <ac:grpSpMkLst>
            <pc:docMk/>
            <pc:sldMk cId="691375642" sldId="230717624"/>
            <ac:grpSpMk id="22" creationId="{1821369E-1D6F-4E38-BE75-25D193C5BCCE}"/>
          </ac:grpSpMkLst>
        </pc:grpChg>
        <pc:grpChg chg="add mod ord">
          <ac:chgData name="El Bakkouri, Manal" userId="8b130982-2e3f-4164-b881-fd3a2e4b2453" providerId="ADAL" clId="{4457FA57-250B-44AC-8655-05D46C5A3D8A}" dt="2023-05-19T09:59:55.828" v="5575" actId="167"/>
          <ac:grpSpMkLst>
            <pc:docMk/>
            <pc:sldMk cId="691375642" sldId="230717624"/>
            <ac:grpSpMk id="29" creationId="{25416DE6-97DA-4AAB-80D6-E35DD0663BC5}"/>
          </ac:grpSpMkLst>
        </pc:grpChg>
        <pc:grpChg chg="del">
          <ac:chgData name="El Bakkouri, Manal" userId="8b130982-2e3f-4164-b881-fd3a2e4b2453" providerId="ADAL" clId="{4457FA57-250B-44AC-8655-05D46C5A3D8A}" dt="2023-05-19T09:35:07.850" v="5308" actId="478"/>
          <ac:grpSpMkLst>
            <pc:docMk/>
            <pc:sldMk cId="691375642" sldId="230717624"/>
            <ac:grpSpMk id="73" creationId="{CD5395D2-CF36-4C6D-8CAD-57609E8B6B7F}"/>
          </ac:grpSpMkLst>
        </pc:grpChg>
        <pc:picChg chg="add mod">
          <ac:chgData name="El Bakkouri, Manal" userId="8b130982-2e3f-4164-b881-fd3a2e4b2453" providerId="ADAL" clId="{4457FA57-250B-44AC-8655-05D46C5A3D8A}" dt="2023-05-19T09:59:47.707" v="5574" actId="164"/>
          <ac:picMkLst>
            <pc:docMk/>
            <pc:sldMk cId="691375642" sldId="230717624"/>
            <ac:picMk id="16" creationId="{2D24B78C-2916-42BE-99A8-AB5F72507FDC}"/>
          </ac:picMkLst>
        </pc:picChg>
        <pc:picChg chg="add del mod modCrop">
          <ac:chgData name="El Bakkouri, Manal" userId="8b130982-2e3f-4164-b881-fd3a2e4b2453" providerId="ADAL" clId="{4457FA57-250B-44AC-8655-05D46C5A3D8A}" dt="2023-05-19T09:40:50.184" v="5422" actId="478"/>
          <ac:picMkLst>
            <pc:docMk/>
            <pc:sldMk cId="691375642" sldId="230717624"/>
            <ac:picMk id="17" creationId="{2F8CB1B4-3527-46C9-9040-2BC1FA8646CD}"/>
          </ac:picMkLst>
        </pc:picChg>
        <pc:picChg chg="add del mod ord">
          <ac:chgData name="El Bakkouri, Manal" userId="8b130982-2e3f-4164-b881-fd3a2e4b2453" providerId="ADAL" clId="{4457FA57-250B-44AC-8655-05D46C5A3D8A}" dt="2023-05-19T09:40:50.670" v="5423" actId="478"/>
          <ac:picMkLst>
            <pc:docMk/>
            <pc:sldMk cId="691375642" sldId="230717624"/>
            <ac:picMk id="18" creationId="{3614B1EE-4056-4C18-A06D-E60EA3F31496}"/>
          </ac:picMkLst>
        </pc:picChg>
        <pc:picChg chg="add del mod ord">
          <ac:chgData name="El Bakkouri, Manal" userId="8b130982-2e3f-4164-b881-fd3a2e4b2453" providerId="ADAL" clId="{4457FA57-250B-44AC-8655-05D46C5A3D8A}" dt="2023-05-19T09:44:02.848" v="5442" actId="27803"/>
          <ac:picMkLst>
            <pc:docMk/>
            <pc:sldMk cId="691375642" sldId="230717624"/>
            <ac:picMk id="21" creationId="{958FE2F4-EB3D-4E1B-8E8E-8A59ED5464DC}"/>
          </ac:picMkLst>
        </pc:picChg>
        <pc:picChg chg="add mod ord">
          <ac:chgData name="El Bakkouri, Manal" userId="8b130982-2e3f-4164-b881-fd3a2e4b2453" providerId="ADAL" clId="{4457FA57-250B-44AC-8655-05D46C5A3D8A}" dt="2023-05-19T10:22:41.265" v="5725" actId="171"/>
          <ac:picMkLst>
            <pc:docMk/>
            <pc:sldMk cId="691375642" sldId="230717624"/>
            <ac:picMk id="35" creationId="{071CE6CA-96B4-4EE4-9995-0088254ECED4}"/>
          </ac:picMkLst>
        </pc:picChg>
        <pc:picChg chg="del">
          <ac:chgData name="El Bakkouri, Manal" userId="8b130982-2e3f-4164-b881-fd3a2e4b2453" providerId="ADAL" clId="{4457FA57-250B-44AC-8655-05D46C5A3D8A}" dt="2023-05-19T09:33:17.066" v="5284" actId="478"/>
          <ac:picMkLst>
            <pc:docMk/>
            <pc:sldMk cId="691375642" sldId="230717624"/>
            <ac:picMk id="72" creationId="{39157BA9-3733-43AC-8E59-C9578AFF6321}"/>
          </ac:picMkLst>
        </pc:picChg>
      </pc:sldChg>
      <pc:sldChg chg="addSp delSp modSp new del mod modShow">
        <pc:chgData name="El Bakkouri, Manal" userId="8b130982-2e3f-4164-b881-fd3a2e4b2453" providerId="ADAL" clId="{4457FA57-250B-44AC-8655-05D46C5A3D8A}" dt="2023-05-24T09:35:04.382" v="10534" actId="2696"/>
        <pc:sldMkLst>
          <pc:docMk/>
          <pc:sldMk cId="2627167286" sldId="230717625"/>
        </pc:sldMkLst>
        <pc:spChg chg="del">
          <ac:chgData name="El Bakkouri, Manal" userId="8b130982-2e3f-4164-b881-fd3a2e4b2453" providerId="ADAL" clId="{4457FA57-250B-44AC-8655-05D46C5A3D8A}" dt="2023-05-23T10:06:49.726" v="6016" actId="478"/>
          <ac:spMkLst>
            <pc:docMk/>
            <pc:sldMk cId="2627167286" sldId="230717625"/>
            <ac:spMk id="2" creationId="{6949602C-026F-4002-AA78-392F0E8AED6E}"/>
          </ac:spMkLst>
        </pc:spChg>
        <pc:spChg chg="add del mod">
          <ac:chgData name="El Bakkouri, Manal" userId="8b130982-2e3f-4164-b881-fd3a2e4b2453" providerId="ADAL" clId="{4457FA57-250B-44AC-8655-05D46C5A3D8A}" dt="2023-05-23T10:10:45.318" v="6018" actId="478"/>
          <ac:spMkLst>
            <pc:docMk/>
            <pc:sldMk cId="2627167286" sldId="230717625"/>
            <ac:spMk id="3" creationId="{281A205B-37D3-4505-BE6F-731CEC1F21DC}"/>
          </ac:spMkLst>
        </pc:spChg>
        <pc:spChg chg="add del mod">
          <ac:chgData name="El Bakkouri, Manal" userId="8b130982-2e3f-4164-b881-fd3a2e4b2453" providerId="ADAL" clId="{4457FA57-250B-44AC-8655-05D46C5A3D8A}" dt="2023-05-23T10:51:52.461" v="6479" actId="478"/>
          <ac:spMkLst>
            <pc:docMk/>
            <pc:sldMk cId="2627167286" sldId="230717625"/>
            <ac:spMk id="4" creationId="{BAEF0739-4B79-4F62-82B9-09A8E9C51886}"/>
          </ac:spMkLst>
        </pc:spChg>
        <pc:spChg chg="add mod">
          <ac:chgData name="El Bakkouri, Manal" userId="8b130982-2e3f-4164-b881-fd3a2e4b2453" providerId="ADAL" clId="{4457FA57-250B-44AC-8655-05D46C5A3D8A}" dt="2023-05-23T10:06:50.883" v="6017"/>
          <ac:spMkLst>
            <pc:docMk/>
            <pc:sldMk cId="2627167286" sldId="230717625"/>
            <ac:spMk id="5" creationId="{FB6137BA-8F16-4876-B5CA-4272642D7209}"/>
          </ac:spMkLst>
        </pc:spChg>
        <pc:spChg chg="add mod">
          <ac:chgData name="El Bakkouri, Manal" userId="8b130982-2e3f-4164-b881-fd3a2e4b2453" providerId="ADAL" clId="{4457FA57-250B-44AC-8655-05D46C5A3D8A}" dt="2023-05-23T10:06:50.883" v="6017"/>
          <ac:spMkLst>
            <pc:docMk/>
            <pc:sldMk cId="2627167286" sldId="230717625"/>
            <ac:spMk id="6" creationId="{D3B2706A-D047-403A-BE7A-E6E2C96DCC98}"/>
          </ac:spMkLst>
        </pc:spChg>
        <pc:spChg chg="add mod">
          <ac:chgData name="El Bakkouri, Manal" userId="8b130982-2e3f-4164-b881-fd3a2e4b2453" providerId="ADAL" clId="{4457FA57-250B-44AC-8655-05D46C5A3D8A}" dt="2023-05-23T10:06:50.883" v="6017"/>
          <ac:spMkLst>
            <pc:docMk/>
            <pc:sldMk cId="2627167286" sldId="230717625"/>
            <ac:spMk id="7" creationId="{FECBF124-CA5B-4215-919E-479E7D20CC62}"/>
          </ac:spMkLst>
        </pc:spChg>
        <pc:spChg chg="add mod">
          <ac:chgData name="El Bakkouri, Manal" userId="8b130982-2e3f-4164-b881-fd3a2e4b2453" providerId="ADAL" clId="{4457FA57-250B-44AC-8655-05D46C5A3D8A}" dt="2023-05-23T10:06:50.883" v="6017"/>
          <ac:spMkLst>
            <pc:docMk/>
            <pc:sldMk cId="2627167286" sldId="230717625"/>
            <ac:spMk id="8" creationId="{35B41E9C-6D2D-40A1-9F6D-589268412AD3}"/>
          </ac:spMkLst>
        </pc:spChg>
        <pc:spChg chg="add mod">
          <ac:chgData name="El Bakkouri, Manal" userId="8b130982-2e3f-4164-b881-fd3a2e4b2453" providerId="ADAL" clId="{4457FA57-250B-44AC-8655-05D46C5A3D8A}" dt="2023-05-23T10:06:50.883" v="6017"/>
          <ac:spMkLst>
            <pc:docMk/>
            <pc:sldMk cId="2627167286" sldId="230717625"/>
            <ac:spMk id="9" creationId="{78E6AE88-A03C-4F73-A7CF-D284D4809CEC}"/>
          </ac:spMkLst>
        </pc:spChg>
        <pc:spChg chg="add mod">
          <ac:chgData name="El Bakkouri, Manal" userId="8b130982-2e3f-4164-b881-fd3a2e4b2453" providerId="ADAL" clId="{4457FA57-250B-44AC-8655-05D46C5A3D8A}" dt="2023-05-23T10:06:50.883" v="6017"/>
          <ac:spMkLst>
            <pc:docMk/>
            <pc:sldMk cId="2627167286" sldId="230717625"/>
            <ac:spMk id="10" creationId="{14A281EB-026E-4FE0-85CB-5B7EE1348335}"/>
          </ac:spMkLst>
        </pc:spChg>
        <pc:spChg chg="add mod">
          <ac:chgData name="El Bakkouri, Manal" userId="8b130982-2e3f-4164-b881-fd3a2e4b2453" providerId="ADAL" clId="{4457FA57-250B-44AC-8655-05D46C5A3D8A}" dt="2023-05-23T10:06:50.883" v="6017"/>
          <ac:spMkLst>
            <pc:docMk/>
            <pc:sldMk cId="2627167286" sldId="230717625"/>
            <ac:spMk id="11" creationId="{7333E056-F87D-4FA0-8E4B-0E69ABC8192F}"/>
          </ac:spMkLst>
        </pc:spChg>
        <pc:spChg chg="add mod">
          <ac:chgData name="El Bakkouri, Manal" userId="8b130982-2e3f-4164-b881-fd3a2e4b2453" providerId="ADAL" clId="{4457FA57-250B-44AC-8655-05D46C5A3D8A}" dt="2023-05-23T10:06:50.883" v="6017"/>
          <ac:spMkLst>
            <pc:docMk/>
            <pc:sldMk cId="2627167286" sldId="230717625"/>
            <ac:spMk id="12" creationId="{B9D4D486-9697-472E-99D4-7D31210FAF94}"/>
          </ac:spMkLst>
        </pc:spChg>
        <pc:spChg chg="add mod">
          <ac:chgData name="El Bakkouri, Manal" userId="8b130982-2e3f-4164-b881-fd3a2e4b2453" providerId="ADAL" clId="{4457FA57-250B-44AC-8655-05D46C5A3D8A}" dt="2023-05-23T10:06:50.883" v="6017"/>
          <ac:spMkLst>
            <pc:docMk/>
            <pc:sldMk cId="2627167286" sldId="230717625"/>
            <ac:spMk id="13" creationId="{935B5F5B-0E0A-4340-A42A-434636E8672C}"/>
          </ac:spMkLst>
        </pc:spChg>
        <pc:spChg chg="add mod">
          <ac:chgData name="El Bakkouri, Manal" userId="8b130982-2e3f-4164-b881-fd3a2e4b2453" providerId="ADAL" clId="{4457FA57-250B-44AC-8655-05D46C5A3D8A}" dt="2023-05-23T10:06:50.883" v="6017"/>
          <ac:spMkLst>
            <pc:docMk/>
            <pc:sldMk cId="2627167286" sldId="230717625"/>
            <ac:spMk id="14" creationId="{C34D3E6E-AB9E-4354-9C16-266F2DB6115C}"/>
          </ac:spMkLst>
        </pc:spChg>
        <pc:spChg chg="add mod">
          <ac:chgData name="El Bakkouri, Manal" userId="8b130982-2e3f-4164-b881-fd3a2e4b2453" providerId="ADAL" clId="{4457FA57-250B-44AC-8655-05D46C5A3D8A}" dt="2023-05-23T10:16:34.012" v="6142" actId="164"/>
          <ac:spMkLst>
            <pc:docMk/>
            <pc:sldMk cId="2627167286" sldId="230717625"/>
            <ac:spMk id="15" creationId="{AC61ACC4-110C-488F-8537-2B20492F2BA4}"/>
          </ac:spMkLst>
        </pc:spChg>
        <pc:spChg chg="add mod">
          <ac:chgData name="El Bakkouri, Manal" userId="8b130982-2e3f-4164-b881-fd3a2e4b2453" providerId="ADAL" clId="{4457FA57-250B-44AC-8655-05D46C5A3D8A}" dt="2023-05-23T10:16:30.358" v="6141" actId="164"/>
          <ac:spMkLst>
            <pc:docMk/>
            <pc:sldMk cId="2627167286" sldId="230717625"/>
            <ac:spMk id="16" creationId="{7779D18B-DE66-4B14-B62A-1DD99F9C9846}"/>
          </ac:spMkLst>
        </pc:spChg>
        <pc:spChg chg="add mod">
          <ac:chgData name="El Bakkouri, Manal" userId="8b130982-2e3f-4164-b881-fd3a2e4b2453" providerId="ADAL" clId="{4457FA57-250B-44AC-8655-05D46C5A3D8A}" dt="2023-05-23T10:16:24.294" v="6140" actId="164"/>
          <ac:spMkLst>
            <pc:docMk/>
            <pc:sldMk cId="2627167286" sldId="230717625"/>
            <ac:spMk id="17" creationId="{1D384CED-EBE8-465C-9552-4B62C816D359}"/>
          </ac:spMkLst>
        </pc:spChg>
        <pc:spChg chg="mod">
          <ac:chgData name="El Bakkouri, Manal" userId="8b130982-2e3f-4164-b881-fd3a2e4b2453" providerId="ADAL" clId="{4457FA57-250B-44AC-8655-05D46C5A3D8A}" dt="2023-05-23T10:15:26.646" v="6089" actId="207"/>
          <ac:spMkLst>
            <pc:docMk/>
            <pc:sldMk cId="2627167286" sldId="230717625"/>
            <ac:spMk id="19" creationId="{2E3C3E25-F8F2-4544-A91E-0F3A533D2131}"/>
          </ac:spMkLst>
        </pc:spChg>
        <pc:spChg chg="mod">
          <ac:chgData name="El Bakkouri, Manal" userId="8b130982-2e3f-4164-b881-fd3a2e4b2453" providerId="ADAL" clId="{4457FA57-250B-44AC-8655-05D46C5A3D8A}" dt="2023-05-23T10:15:48.181" v="6092" actId="208"/>
          <ac:spMkLst>
            <pc:docMk/>
            <pc:sldMk cId="2627167286" sldId="230717625"/>
            <ac:spMk id="21" creationId="{305646F9-C882-4338-A505-C645C40BD777}"/>
          </ac:spMkLst>
        </pc:spChg>
        <pc:spChg chg="mod">
          <ac:chgData name="El Bakkouri, Manal" userId="8b130982-2e3f-4164-b881-fd3a2e4b2453" providerId="ADAL" clId="{4457FA57-250B-44AC-8655-05D46C5A3D8A}" dt="2023-05-23T10:15:35.208" v="6091" actId="2085"/>
          <ac:spMkLst>
            <pc:docMk/>
            <pc:sldMk cId="2627167286" sldId="230717625"/>
            <ac:spMk id="22" creationId="{F01A88C6-9D10-4AE5-B247-3FA8E4C987EA}"/>
          </ac:spMkLst>
        </pc:spChg>
        <pc:spChg chg="mod">
          <ac:chgData name="El Bakkouri, Manal" userId="8b130982-2e3f-4164-b881-fd3a2e4b2453" providerId="ADAL" clId="{4457FA57-250B-44AC-8655-05D46C5A3D8A}" dt="2023-05-23T10:14:52.595" v="6085" actId="207"/>
          <ac:spMkLst>
            <pc:docMk/>
            <pc:sldMk cId="2627167286" sldId="230717625"/>
            <ac:spMk id="24" creationId="{F660E2B1-669C-4357-8DC4-0D925D556BEC}"/>
          </ac:spMkLst>
        </pc:spChg>
        <pc:spChg chg="mod">
          <ac:chgData name="El Bakkouri, Manal" userId="8b130982-2e3f-4164-b881-fd3a2e4b2453" providerId="ADAL" clId="{4457FA57-250B-44AC-8655-05D46C5A3D8A}" dt="2023-05-23T10:14:52.595" v="6085" actId="207"/>
          <ac:spMkLst>
            <pc:docMk/>
            <pc:sldMk cId="2627167286" sldId="230717625"/>
            <ac:spMk id="25" creationId="{B109C0EB-1F86-4194-85CF-F365E3B758E5}"/>
          </ac:spMkLst>
        </pc:spChg>
        <pc:spChg chg="mod">
          <ac:chgData name="El Bakkouri, Manal" userId="8b130982-2e3f-4164-b881-fd3a2e4b2453" providerId="ADAL" clId="{4457FA57-250B-44AC-8655-05D46C5A3D8A}" dt="2023-05-23T10:14:54.963" v="6086" actId="207"/>
          <ac:spMkLst>
            <pc:docMk/>
            <pc:sldMk cId="2627167286" sldId="230717625"/>
            <ac:spMk id="26" creationId="{0E460AA9-3818-44B1-9060-7A759CC4C437}"/>
          </ac:spMkLst>
        </pc:spChg>
        <pc:spChg chg="mod">
          <ac:chgData name="El Bakkouri, Manal" userId="8b130982-2e3f-4164-b881-fd3a2e4b2453" providerId="ADAL" clId="{4457FA57-250B-44AC-8655-05D46C5A3D8A}" dt="2023-05-23T10:10:46.458" v="6019"/>
          <ac:spMkLst>
            <pc:docMk/>
            <pc:sldMk cId="2627167286" sldId="230717625"/>
            <ac:spMk id="28" creationId="{5B957CC3-E932-4033-9F12-BEFF4BFD0438}"/>
          </ac:spMkLst>
        </pc:spChg>
        <pc:spChg chg="mod">
          <ac:chgData name="El Bakkouri, Manal" userId="8b130982-2e3f-4164-b881-fd3a2e4b2453" providerId="ADAL" clId="{4457FA57-250B-44AC-8655-05D46C5A3D8A}" dt="2023-05-23T10:10:46.458" v="6019"/>
          <ac:spMkLst>
            <pc:docMk/>
            <pc:sldMk cId="2627167286" sldId="230717625"/>
            <ac:spMk id="29" creationId="{993C4828-4859-4B7A-8E43-78A9BF604811}"/>
          </ac:spMkLst>
        </pc:spChg>
        <pc:spChg chg="mod">
          <ac:chgData name="El Bakkouri, Manal" userId="8b130982-2e3f-4164-b881-fd3a2e4b2453" providerId="ADAL" clId="{4457FA57-250B-44AC-8655-05D46C5A3D8A}" dt="2023-05-23T10:10:46.458" v="6019"/>
          <ac:spMkLst>
            <pc:docMk/>
            <pc:sldMk cId="2627167286" sldId="230717625"/>
            <ac:spMk id="30" creationId="{3457B4BC-9F0F-47EB-BB95-04D85343B9A2}"/>
          </ac:spMkLst>
        </pc:spChg>
        <pc:spChg chg="add del mod">
          <ac:chgData name="El Bakkouri, Manal" userId="8b130982-2e3f-4164-b881-fd3a2e4b2453" providerId="ADAL" clId="{4457FA57-250B-44AC-8655-05D46C5A3D8A}" dt="2023-05-23T10:13:37.200" v="6074" actId="478"/>
          <ac:spMkLst>
            <pc:docMk/>
            <pc:sldMk cId="2627167286" sldId="230717625"/>
            <ac:spMk id="31" creationId="{5D4333A7-9960-4A58-8988-2798F05C7F77}"/>
          </ac:spMkLst>
        </pc:spChg>
        <pc:spChg chg="add mod">
          <ac:chgData name="El Bakkouri, Manal" userId="8b130982-2e3f-4164-b881-fd3a2e4b2453" providerId="ADAL" clId="{4457FA57-250B-44AC-8655-05D46C5A3D8A}" dt="2023-05-23T13:32:10.133" v="6846"/>
          <ac:spMkLst>
            <pc:docMk/>
            <pc:sldMk cId="2627167286" sldId="230717625"/>
            <ac:spMk id="35" creationId="{AA4CDBE4-84FA-4660-8D68-D9B81733B59D}"/>
          </ac:spMkLst>
        </pc:spChg>
        <pc:grpChg chg="add mod">
          <ac:chgData name="El Bakkouri, Manal" userId="8b130982-2e3f-4164-b881-fd3a2e4b2453" providerId="ADAL" clId="{4457FA57-250B-44AC-8655-05D46C5A3D8A}" dt="2023-05-23T10:16:30.358" v="6141" actId="164"/>
          <ac:grpSpMkLst>
            <pc:docMk/>
            <pc:sldMk cId="2627167286" sldId="230717625"/>
            <ac:grpSpMk id="18" creationId="{273C4550-7C13-40D2-8972-DA91FEDE01A7}"/>
          </ac:grpSpMkLst>
        </pc:grpChg>
        <pc:grpChg chg="mod">
          <ac:chgData name="El Bakkouri, Manal" userId="8b130982-2e3f-4164-b881-fd3a2e4b2453" providerId="ADAL" clId="{4457FA57-250B-44AC-8655-05D46C5A3D8A}" dt="2023-05-23T10:10:46.458" v="6019"/>
          <ac:grpSpMkLst>
            <pc:docMk/>
            <pc:sldMk cId="2627167286" sldId="230717625"/>
            <ac:grpSpMk id="20" creationId="{68E7490C-07BE-405F-934C-43A450B75B0C}"/>
          </ac:grpSpMkLst>
        </pc:grpChg>
        <pc:grpChg chg="add mod">
          <ac:chgData name="El Bakkouri, Manal" userId="8b130982-2e3f-4164-b881-fd3a2e4b2453" providerId="ADAL" clId="{4457FA57-250B-44AC-8655-05D46C5A3D8A}" dt="2023-05-23T10:16:24.294" v="6140" actId="164"/>
          <ac:grpSpMkLst>
            <pc:docMk/>
            <pc:sldMk cId="2627167286" sldId="230717625"/>
            <ac:grpSpMk id="23" creationId="{DA0F8541-D4A1-42F1-BECA-B1700DD68EBC}"/>
          </ac:grpSpMkLst>
        </pc:grpChg>
        <pc:grpChg chg="add mod">
          <ac:chgData name="El Bakkouri, Manal" userId="8b130982-2e3f-4164-b881-fd3a2e4b2453" providerId="ADAL" clId="{4457FA57-250B-44AC-8655-05D46C5A3D8A}" dt="2023-05-23T10:16:34.012" v="6142" actId="164"/>
          <ac:grpSpMkLst>
            <pc:docMk/>
            <pc:sldMk cId="2627167286" sldId="230717625"/>
            <ac:grpSpMk id="27" creationId="{BCFEA204-DBF0-4F2C-9ACD-A5C52B560C85}"/>
          </ac:grpSpMkLst>
        </pc:grpChg>
        <pc:grpChg chg="add mod">
          <ac:chgData name="El Bakkouri, Manal" userId="8b130982-2e3f-4164-b881-fd3a2e4b2453" providerId="ADAL" clId="{4457FA57-250B-44AC-8655-05D46C5A3D8A}" dt="2023-05-23T10:17:10.009" v="6149" actId="552"/>
          <ac:grpSpMkLst>
            <pc:docMk/>
            <pc:sldMk cId="2627167286" sldId="230717625"/>
            <ac:grpSpMk id="32" creationId="{C075093E-DF93-43E1-A1EA-9EB8D23F608B}"/>
          </ac:grpSpMkLst>
        </pc:grpChg>
        <pc:grpChg chg="add mod">
          <ac:chgData name="El Bakkouri, Manal" userId="8b130982-2e3f-4164-b881-fd3a2e4b2453" providerId="ADAL" clId="{4457FA57-250B-44AC-8655-05D46C5A3D8A}" dt="2023-05-23T10:17:10.009" v="6149" actId="552"/>
          <ac:grpSpMkLst>
            <pc:docMk/>
            <pc:sldMk cId="2627167286" sldId="230717625"/>
            <ac:grpSpMk id="33" creationId="{5E601876-86A0-427F-9D45-94F7975D9FE3}"/>
          </ac:grpSpMkLst>
        </pc:grpChg>
        <pc:grpChg chg="add mod">
          <ac:chgData name="El Bakkouri, Manal" userId="8b130982-2e3f-4164-b881-fd3a2e4b2453" providerId="ADAL" clId="{4457FA57-250B-44AC-8655-05D46C5A3D8A}" dt="2023-05-23T10:17:10.009" v="6149" actId="552"/>
          <ac:grpSpMkLst>
            <pc:docMk/>
            <pc:sldMk cId="2627167286" sldId="230717625"/>
            <ac:grpSpMk id="34" creationId="{33CCD96F-260E-4A08-A57B-DA40BA3F4A59}"/>
          </ac:grpSpMkLst>
        </pc:grpChg>
      </pc:sldChg>
      <pc:sldChg chg="modSp add del mod">
        <pc:chgData name="El Bakkouri, Manal" userId="8b130982-2e3f-4164-b881-fd3a2e4b2453" providerId="ADAL" clId="{4457FA57-250B-44AC-8655-05D46C5A3D8A}" dt="2023-05-23T09:50:43.481" v="5889" actId="47"/>
        <pc:sldMkLst>
          <pc:docMk/>
          <pc:sldMk cId="1462273889" sldId="230717626"/>
        </pc:sldMkLst>
        <pc:spChg chg="mod">
          <ac:chgData name="El Bakkouri, Manal" userId="8b130982-2e3f-4164-b881-fd3a2e4b2453" providerId="ADAL" clId="{4457FA57-250B-44AC-8655-05D46C5A3D8A}" dt="2023-05-23T09:26:13.843" v="5852" actId="14100"/>
          <ac:spMkLst>
            <pc:docMk/>
            <pc:sldMk cId="1462273889" sldId="230717626"/>
            <ac:spMk id="117" creationId="{106CD99C-D06C-4500-8C85-1DF22392E543}"/>
          </ac:spMkLst>
        </pc:spChg>
        <pc:spChg chg="mod">
          <ac:chgData name="El Bakkouri, Manal" userId="8b130982-2e3f-4164-b881-fd3a2e4b2453" providerId="ADAL" clId="{4457FA57-250B-44AC-8655-05D46C5A3D8A}" dt="2023-05-23T09:26:13.843" v="5852" actId="14100"/>
          <ac:spMkLst>
            <pc:docMk/>
            <pc:sldMk cId="1462273889" sldId="230717626"/>
            <ac:spMk id="118" creationId="{D6230F0A-3089-4FE2-8CA2-9F4872ED312A}"/>
          </ac:spMkLst>
        </pc:spChg>
        <pc:spChg chg="mod">
          <ac:chgData name="El Bakkouri, Manal" userId="8b130982-2e3f-4164-b881-fd3a2e4b2453" providerId="ADAL" clId="{4457FA57-250B-44AC-8655-05D46C5A3D8A}" dt="2023-05-23T09:27:09.081" v="5866" actId="14100"/>
          <ac:spMkLst>
            <pc:docMk/>
            <pc:sldMk cId="1462273889" sldId="230717626"/>
            <ac:spMk id="132" creationId="{4562122B-A6A5-47CA-B6C1-375FC34CF071}"/>
          </ac:spMkLst>
        </pc:spChg>
        <pc:spChg chg="mod">
          <ac:chgData name="El Bakkouri, Manal" userId="8b130982-2e3f-4164-b881-fd3a2e4b2453" providerId="ADAL" clId="{4457FA57-250B-44AC-8655-05D46C5A3D8A}" dt="2023-05-23T09:27:09.081" v="5866" actId="14100"/>
          <ac:spMkLst>
            <pc:docMk/>
            <pc:sldMk cId="1462273889" sldId="230717626"/>
            <ac:spMk id="146" creationId="{320A3C98-E4C7-48B6-ABCC-EB3CB87CFA10}"/>
          </ac:spMkLst>
        </pc:spChg>
        <pc:spChg chg="mod">
          <ac:chgData name="El Bakkouri, Manal" userId="8b130982-2e3f-4164-b881-fd3a2e4b2453" providerId="ADAL" clId="{4457FA57-250B-44AC-8655-05D46C5A3D8A}" dt="2023-05-23T09:26:22.246" v="5855" actId="1076"/>
          <ac:spMkLst>
            <pc:docMk/>
            <pc:sldMk cId="1462273889" sldId="230717626"/>
            <ac:spMk id="162" creationId="{F304A6DC-172E-4ABC-80E5-27A0DFC66EA2}"/>
          </ac:spMkLst>
        </pc:spChg>
        <pc:spChg chg="mod">
          <ac:chgData name="El Bakkouri, Manal" userId="8b130982-2e3f-4164-b881-fd3a2e4b2453" providerId="ADAL" clId="{4457FA57-250B-44AC-8655-05D46C5A3D8A}" dt="2023-05-23T09:27:11.409" v="5868" actId="1076"/>
          <ac:spMkLst>
            <pc:docMk/>
            <pc:sldMk cId="1462273889" sldId="230717626"/>
            <ac:spMk id="163" creationId="{85611E3E-9EA2-439F-A0D8-419697612AD8}"/>
          </ac:spMkLst>
        </pc:spChg>
      </pc:sldChg>
      <pc:sldChg chg="addSp delSp modSp add mod modTransition">
        <pc:chgData name="El Bakkouri, Manal" userId="8b130982-2e3f-4164-b881-fd3a2e4b2453" providerId="ADAL" clId="{4457FA57-250B-44AC-8655-05D46C5A3D8A}" dt="2023-05-26T16:05:42.245" v="14108" actId="478"/>
        <pc:sldMkLst>
          <pc:docMk/>
          <pc:sldMk cId="1782207499" sldId="230717626"/>
        </pc:sldMkLst>
        <pc:spChg chg="mod">
          <ac:chgData name="El Bakkouri, Manal" userId="8b130982-2e3f-4164-b881-fd3a2e4b2453" providerId="ADAL" clId="{4457FA57-250B-44AC-8655-05D46C5A3D8A}" dt="2023-05-23T09:50:58.391" v="5893" actId="14100"/>
          <ac:spMkLst>
            <pc:docMk/>
            <pc:sldMk cId="1782207499" sldId="230717626"/>
            <ac:spMk id="118" creationId="{D6230F0A-3089-4FE2-8CA2-9F4872ED312A}"/>
          </ac:spMkLst>
        </pc:spChg>
        <pc:spChg chg="mod">
          <ac:chgData name="El Bakkouri, Manal" userId="8b130982-2e3f-4164-b881-fd3a2e4b2453" providerId="ADAL" clId="{4457FA57-250B-44AC-8655-05D46C5A3D8A}" dt="2023-05-23T09:52:21.606" v="5912" actId="14100"/>
          <ac:spMkLst>
            <pc:docMk/>
            <pc:sldMk cId="1782207499" sldId="230717626"/>
            <ac:spMk id="163" creationId="{85611E3E-9EA2-439F-A0D8-419697612AD8}"/>
          </ac:spMkLst>
        </pc:spChg>
        <pc:picChg chg="add del mod ord">
          <ac:chgData name="El Bakkouri, Manal" userId="8b130982-2e3f-4164-b881-fd3a2e4b2453" providerId="ADAL" clId="{4457FA57-250B-44AC-8655-05D46C5A3D8A}" dt="2023-05-26T16:05:42.245" v="14108" actId="478"/>
          <ac:picMkLst>
            <pc:docMk/>
            <pc:sldMk cId="1782207499" sldId="230717626"/>
            <ac:picMk id="68" creationId="{2EE4273D-BC8B-460D-BA20-6F26D4675B81}"/>
          </ac:picMkLst>
        </pc:picChg>
      </pc:sldChg>
      <pc:sldChg chg="modSp add del ord">
        <pc:chgData name="El Bakkouri, Manal" userId="8b130982-2e3f-4164-b881-fd3a2e4b2453" providerId="ADAL" clId="{4457FA57-250B-44AC-8655-05D46C5A3D8A}" dt="2023-05-23T09:50:43.481" v="5889" actId="47"/>
        <pc:sldMkLst>
          <pc:docMk/>
          <pc:sldMk cId="397441919" sldId="230717627"/>
        </pc:sldMkLst>
        <pc:spChg chg="mod">
          <ac:chgData name="El Bakkouri, Manal" userId="8b130982-2e3f-4164-b881-fd3a2e4b2453" providerId="ADAL" clId="{4457FA57-250B-44AC-8655-05D46C5A3D8A}" dt="2023-05-23T09:48:49.565" v="5875" actId="14100"/>
          <ac:spMkLst>
            <pc:docMk/>
            <pc:sldMk cId="397441919" sldId="230717627"/>
            <ac:spMk id="119" creationId="{8BB3E113-DBDC-4943-BC20-08A1D8647163}"/>
          </ac:spMkLst>
        </pc:spChg>
        <pc:spChg chg="mod">
          <ac:chgData name="El Bakkouri, Manal" userId="8b130982-2e3f-4164-b881-fd3a2e4b2453" providerId="ADAL" clId="{4457FA57-250B-44AC-8655-05D46C5A3D8A}" dt="2023-05-23T09:49:17.562" v="5876" actId="14100"/>
          <ac:spMkLst>
            <pc:docMk/>
            <pc:sldMk cId="397441919" sldId="230717627"/>
            <ac:spMk id="120" creationId="{DBA511E5-8029-4BAF-B020-F9BACBA7C36A}"/>
          </ac:spMkLst>
        </pc:spChg>
      </pc:sldChg>
      <pc:sldChg chg="modSp add mod modTransition">
        <pc:chgData name="El Bakkouri, Manal" userId="8b130982-2e3f-4164-b881-fd3a2e4b2453" providerId="ADAL" clId="{4457FA57-250B-44AC-8655-05D46C5A3D8A}" dt="2023-05-23T09:54:41.133" v="5928"/>
        <pc:sldMkLst>
          <pc:docMk/>
          <pc:sldMk cId="1666637574" sldId="230717627"/>
        </pc:sldMkLst>
        <pc:spChg chg="mod">
          <ac:chgData name="El Bakkouri, Manal" userId="8b130982-2e3f-4164-b881-fd3a2e4b2453" providerId="ADAL" clId="{4457FA57-250B-44AC-8655-05D46C5A3D8A}" dt="2023-05-23T09:51:14.648" v="5896" actId="14100"/>
          <ac:spMkLst>
            <pc:docMk/>
            <pc:sldMk cId="1666637574" sldId="230717627"/>
            <ac:spMk id="118" creationId="{D6230F0A-3089-4FE2-8CA2-9F4872ED312A}"/>
          </ac:spMkLst>
        </pc:spChg>
        <pc:spChg chg="mod">
          <ac:chgData name="El Bakkouri, Manal" userId="8b130982-2e3f-4164-b881-fd3a2e4b2453" providerId="ADAL" clId="{4457FA57-250B-44AC-8655-05D46C5A3D8A}" dt="2023-05-23T09:51:11.423" v="5895" actId="14100"/>
          <ac:spMkLst>
            <pc:docMk/>
            <pc:sldMk cId="1666637574" sldId="230717627"/>
            <ac:spMk id="120" creationId="{DBA511E5-8029-4BAF-B020-F9BACBA7C36A}"/>
          </ac:spMkLst>
        </pc:spChg>
        <pc:spChg chg="mod">
          <ac:chgData name="El Bakkouri, Manal" userId="8b130982-2e3f-4164-b881-fd3a2e4b2453" providerId="ADAL" clId="{4457FA57-250B-44AC-8655-05D46C5A3D8A}" dt="2023-05-23T09:52:27.039" v="5913" actId="14100"/>
          <ac:spMkLst>
            <pc:docMk/>
            <pc:sldMk cId="1666637574" sldId="230717627"/>
            <ac:spMk id="167" creationId="{3DDDC167-0805-4D3B-AE2C-251C02306ACE}"/>
          </ac:spMkLst>
        </pc:spChg>
      </pc:sldChg>
      <pc:sldChg chg="modSp add mod modTransition">
        <pc:chgData name="El Bakkouri, Manal" userId="8b130982-2e3f-4164-b881-fd3a2e4b2453" providerId="ADAL" clId="{4457FA57-250B-44AC-8655-05D46C5A3D8A}" dt="2023-05-23T09:54:46.079" v="5930"/>
        <pc:sldMkLst>
          <pc:docMk/>
          <pc:sldMk cId="593440848" sldId="230717628"/>
        </pc:sldMkLst>
        <pc:spChg chg="mod">
          <ac:chgData name="El Bakkouri, Manal" userId="8b130982-2e3f-4164-b881-fd3a2e4b2453" providerId="ADAL" clId="{4457FA57-250B-44AC-8655-05D46C5A3D8A}" dt="2023-05-23T09:51:28.149" v="5899" actId="14100"/>
          <ac:spMkLst>
            <pc:docMk/>
            <pc:sldMk cId="593440848" sldId="230717628"/>
            <ac:spMk id="120" creationId="{DBA511E5-8029-4BAF-B020-F9BACBA7C36A}"/>
          </ac:spMkLst>
        </pc:spChg>
        <pc:spChg chg="mod">
          <ac:chgData name="El Bakkouri, Manal" userId="8b130982-2e3f-4164-b881-fd3a2e4b2453" providerId="ADAL" clId="{4457FA57-250B-44AC-8655-05D46C5A3D8A}" dt="2023-05-23T09:51:24.838" v="5898" actId="14100"/>
          <ac:spMkLst>
            <pc:docMk/>
            <pc:sldMk cId="593440848" sldId="230717628"/>
            <ac:spMk id="122" creationId="{4799DAD5-7EDB-4FB6-9D0D-6E4A79685091}"/>
          </ac:spMkLst>
        </pc:spChg>
        <pc:spChg chg="mod">
          <ac:chgData name="El Bakkouri, Manal" userId="8b130982-2e3f-4164-b881-fd3a2e4b2453" providerId="ADAL" clId="{4457FA57-250B-44AC-8655-05D46C5A3D8A}" dt="2023-05-23T09:52:32.989" v="5914" actId="14100"/>
          <ac:spMkLst>
            <pc:docMk/>
            <pc:sldMk cId="593440848" sldId="230717628"/>
            <ac:spMk id="171" creationId="{D628E6C3-A266-430E-8C58-90D97AB26078}"/>
          </ac:spMkLst>
        </pc:spChg>
      </pc:sldChg>
      <pc:sldChg chg="modSp add del ord">
        <pc:chgData name="El Bakkouri, Manal" userId="8b130982-2e3f-4164-b881-fd3a2e4b2453" providerId="ADAL" clId="{4457FA57-250B-44AC-8655-05D46C5A3D8A}" dt="2023-05-23T09:50:43.481" v="5889" actId="47"/>
        <pc:sldMkLst>
          <pc:docMk/>
          <pc:sldMk cId="2722235164" sldId="230717628"/>
        </pc:sldMkLst>
        <pc:spChg chg="mod">
          <ac:chgData name="El Bakkouri, Manal" userId="8b130982-2e3f-4164-b881-fd3a2e4b2453" providerId="ADAL" clId="{4457FA57-250B-44AC-8655-05D46C5A3D8A}" dt="2023-05-23T09:49:39.382" v="5880" actId="14100"/>
          <ac:spMkLst>
            <pc:docMk/>
            <pc:sldMk cId="2722235164" sldId="230717628"/>
            <ac:spMk id="122" creationId="{4799DAD5-7EDB-4FB6-9D0D-6E4A79685091}"/>
          </ac:spMkLst>
        </pc:spChg>
      </pc:sldChg>
      <pc:sldChg chg="addSp delSp modSp add mod modTransition">
        <pc:chgData name="El Bakkouri, Manal" userId="8b130982-2e3f-4164-b881-fd3a2e4b2453" providerId="ADAL" clId="{4457FA57-250B-44AC-8655-05D46C5A3D8A}" dt="2023-05-23T18:52:15.640" v="9484" actId="478"/>
        <pc:sldMkLst>
          <pc:docMk/>
          <pc:sldMk cId="1486000369" sldId="230717629"/>
        </pc:sldMkLst>
        <pc:spChg chg="mod">
          <ac:chgData name="El Bakkouri, Manal" userId="8b130982-2e3f-4164-b881-fd3a2e4b2453" providerId="ADAL" clId="{4457FA57-250B-44AC-8655-05D46C5A3D8A}" dt="2023-05-23T09:51:41.350" v="5902" actId="14100"/>
          <ac:spMkLst>
            <pc:docMk/>
            <pc:sldMk cId="1486000369" sldId="230717629"/>
            <ac:spMk id="122" creationId="{4799DAD5-7EDB-4FB6-9D0D-6E4A79685091}"/>
          </ac:spMkLst>
        </pc:spChg>
        <pc:spChg chg="mod">
          <ac:chgData name="El Bakkouri, Manal" userId="8b130982-2e3f-4164-b881-fd3a2e4b2453" providerId="ADAL" clId="{4457FA57-250B-44AC-8655-05D46C5A3D8A}" dt="2023-05-23T09:51:37.982" v="5901" actId="14100"/>
          <ac:spMkLst>
            <pc:docMk/>
            <pc:sldMk cId="1486000369" sldId="230717629"/>
            <ac:spMk id="124" creationId="{E857176A-FBF5-4E21-8BF9-C39F31B9B9E2}"/>
          </ac:spMkLst>
        </pc:spChg>
        <pc:spChg chg="mod">
          <ac:chgData name="El Bakkouri, Manal" userId="8b130982-2e3f-4164-b881-fd3a2e4b2453" providerId="ADAL" clId="{4457FA57-250B-44AC-8655-05D46C5A3D8A}" dt="2023-05-23T09:52:39.574" v="5915" actId="14100"/>
          <ac:spMkLst>
            <pc:docMk/>
            <pc:sldMk cId="1486000369" sldId="230717629"/>
            <ac:spMk id="169" creationId="{9AF0E39F-EB50-4D24-84CD-CD9285E99B54}"/>
          </ac:spMkLst>
        </pc:spChg>
        <pc:picChg chg="add del mod ord">
          <ac:chgData name="El Bakkouri, Manal" userId="8b130982-2e3f-4164-b881-fd3a2e4b2453" providerId="ADAL" clId="{4457FA57-250B-44AC-8655-05D46C5A3D8A}" dt="2023-05-23T18:52:15.640" v="9484" actId="478"/>
          <ac:picMkLst>
            <pc:docMk/>
            <pc:sldMk cId="1486000369" sldId="230717629"/>
            <ac:picMk id="68" creationId="{AA7815EA-FF1B-4135-BD65-BEA6E8837880}"/>
          </ac:picMkLst>
        </pc:picChg>
      </pc:sldChg>
      <pc:sldChg chg="add del">
        <pc:chgData name="El Bakkouri, Manal" userId="8b130982-2e3f-4164-b881-fd3a2e4b2453" providerId="ADAL" clId="{4457FA57-250B-44AC-8655-05D46C5A3D8A}" dt="2023-05-23T09:50:45.926" v="5890" actId="47"/>
        <pc:sldMkLst>
          <pc:docMk/>
          <pc:sldMk cId="2661936428" sldId="230717629"/>
        </pc:sldMkLst>
      </pc:sldChg>
      <pc:sldChg chg="modSp add del ord">
        <pc:chgData name="El Bakkouri, Manal" userId="8b130982-2e3f-4164-b881-fd3a2e4b2453" providerId="ADAL" clId="{4457FA57-250B-44AC-8655-05D46C5A3D8A}" dt="2023-05-23T09:50:37.769" v="5888" actId="47"/>
        <pc:sldMkLst>
          <pc:docMk/>
          <pc:sldMk cId="1369033523" sldId="230717630"/>
        </pc:sldMkLst>
        <pc:spChg chg="mod">
          <ac:chgData name="El Bakkouri, Manal" userId="8b130982-2e3f-4164-b881-fd3a2e4b2453" providerId="ADAL" clId="{4457FA57-250B-44AC-8655-05D46C5A3D8A}" dt="2023-05-23T09:50:04.082" v="5885" actId="14100"/>
          <ac:spMkLst>
            <pc:docMk/>
            <pc:sldMk cId="1369033523" sldId="230717630"/>
            <ac:spMk id="124" creationId="{E857176A-FBF5-4E21-8BF9-C39F31B9B9E2}"/>
          </ac:spMkLst>
        </pc:spChg>
        <pc:spChg chg="mod">
          <ac:chgData name="El Bakkouri, Manal" userId="8b130982-2e3f-4164-b881-fd3a2e4b2453" providerId="ADAL" clId="{4457FA57-250B-44AC-8655-05D46C5A3D8A}" dt="2023-05-23T09:50:29.823" v="5887" actId="14100"/>
          <ac:spMkLst>
            <pc:docMk/>
            <pc:sldMk cId="1369033523" sldId="230717630"/>
            <ac:spMk id="126" creationId="{77FC47C5-7F1B-4A3B-82CB-2BCBDE2864E8}"/>
          </ac:spMkLst>
        </pc:spChg>
      </pc:sldChg>
      <pc:sldChg chg="addSp delSp modSp add mod modTransition">
        <pc:chgData name="El Bakkouri, Manal" userId="8b130982-2e3f-4164-b881-fd3a2e4b2453" providerId="ADAL" clId="{4457FA57-250B-44AC-8655-05D46C5A3D8A}" dt="2023-06-12T13:30:04.924" v="15821"/>
        <pc:sldMkLst>
          <pc:docMk/>
          <pc:sldMk cId="3911279721" sldId="230717630"/>
        </pc:sldMkLst>
        <pc:spChg chg="add mod">
          <ac:chgData name="El Bakkouri, Manal" userId="8b130982-2e3f-4164-b881-fd3a2e4b2453" providerId="ADAL" clId="{4457FA57-250B-44AC-8655-05D46C5A3D8A}" dt="2023-06-12T13:30:04.924" v="15821"/>
          <ac:spMkLst>
            <pc:docMk/>
            <pc:sldMk cId="3911279721" sldId="230717630"/>
            <ac:spMk id="67" creationId="{9C87BCE3-8BEC-4B81-BC00-EC91A35D9A67}"/>
          </ac:spMkLst>
        </pc:spChg>
        <pc:spChg chg="del mod">
          <ac:chgData name="El Bakkouri, Manal" userId="8b130982-2e3f-4164-b881-fd3a2e4b2453" providerId="ADAL" clId="{4457FA57-250B-44AC-8655-05D46C5A3D8A}" dt="2023-06-12T13:30:04.362" v="15820" actId="478"/>
          <ac:spMkLst>
            <pc:docMk/>
            <pc:sldMk cId="3911279721" sldId="230717630"/>
            <ac:spMk id="68" creationId="{FD8F25BB-D593-4C1F-981C-8909BF9597A3}"/>
          </ac:spMkLst>
        </pc:spChg>
        <pc:spChg chg="del mod">
          <ac:chgData name="El Bakkouri, Manal" userId="8b130982-2e3f-4164-b881-fd3a2e4b2453" providerId="ADAL" clId="{4457FA57-250B-44AC-8655-05D46C5A3D8A}" dt="2023-06-12T13:30:04.362" v="15820" actId="478"/>
          <ac:spMkLst>
            <pc:docMk/>
            <pc:sldMk cId="3911279721" sldId="230717630"/>
            <ac:spMk id="69" creationId="{0441BAA3-B9DC-4F6F-B134-357633BE5B3B}"/>
          </ac:spMkLst>
        </pc:spChg>
        <pc:spChg chg="del mod">
          <ac:chgData name="El Bakkouri, Manal" userId="8b130982-2e3f-4164-b881-fd3a2e4b2453" providerId="ADAL" clId="{4457FA57-250B-44AC-8655-05D46C5A3D8A}" dt="2023-06-12T13:30:04.362" v="15820" actId="478"/>
          <ac:spMkLst>
            <pc:docMk/>
            <pc:sldMk cId="3911279721" sldId="230717630"/>
            <ac:spMk id="70" creationId="{33814CB9-B132-4B00-8F75-1E36D5C3CA63}"/>
          </ac:spMkLst>
        </pc:spChg>
        <pc:spChg chg="del mod">
          <ac:chgData name="El Bakkouri, Manal" userId="8b130982-2e3f-4164-b881-fd3a2e4b2453" providerId="ADAL" clId="{4457FA57-250B-44AC-8655-05D46C5A3D8A}" dt="2023-06-12T13:30:04.362" v="15820" actId="478"/>
          <ac:spMkLst>
            <pc:docMk/>
            <pc:sldMk cId="3911279721" sldId="230717630"/>
            <ac:spMk id="71" creationId="{FA210F54-AE7A-4D11-92DC-758E6B0FF2A4}"/>
          </ac:spMkLst>
        </pc:spChg>
        <pc:spChg chg="add mod">
          <ac:chgData name="El Bakkouri, Manal" userId="8b130982-2e3f-4164-b881-fd3a2e4b2453" providerId="ADAL" clId="{4457FA57-250B-44AC-8655-05D46C5A3D8A}" dt="2023-06-12T13:30:04.924" v="15821"/>
          <ac:spMkLst>
            <pc:docMk/>
            <pc:sldMk cId="3911279721" sldId="230717630"/>
            <ac:spMk id="72" creationId="{4F65D99B-B459-45F4-A065-22FB2C6EF1B6}"/>
          </ac:spMkLst>
        </pc:spChg>
        <pc:spChg chg="add mod">
          <ac:chgData name="El Bakkouri, Manal" userId="8b130982-2e3f-4164-b881-fd3a2e4b2453" providerId="ADAL" clId="{4457FA57-250B-44AC-8655-05D46C5A3D8A}" dt="2023-06-12T13:30:04.924" v="15821"/>
          <ac:spMkLst>
            <pc:docMk/>
            <pc:sldMk cId="3911279721" sldId="230717630"/>
            <ac:spMk id="73" creationId="{261272EB-798A-4D25-A0CA-B7FA8A95C70E}"/>
          </ac:spMkLst>
        </pc:spChg>
        <pc:spChg chg="add mod">
          <ac:chgData name="El Bakkouri, Manal" userId="8b130982-2e3f-4164-b881-fd3a2e4b2453" providerId="ADAL" clId="{4457FA57-250B-44AC-8655-05D46C5A3D8A}" dt="2023-06-12T13:30:04.924" v="15821"/>
          <ac:spMkLst>
            <pc:docMk/>
            <pc:sldMk cId="3911279721" sldId="230717630"/>
            <ac:spMk id="74" creationId="{61F02B5D-16D0-4FED-B556-C14E4E94A4EF}"/>
          </ac:spMkLst>
        </pc:spChg>
        <pc:spChg chg="del">
          <ac:chgData name="El Bakkouri, Manal" userId="8b130982-2e3f-4164-b881-fd3a2e4b2453" providerId="ADAL" clId="{4457FA57-250B-44AC-8655-05D46C5A3D8A}" dt="2023-06-12T13:30:04.362" v="15820" actId="478"/>
          <ac:spMkLst>
            <pc:docMk/>
            <pc:sldMk cId="3911279721" sldId="230717630"/>
            <ac:spMk id="75" creationId="{CB4896AB-BF01-489F-9609-B12B0CCD17AC}"/>
          </ac:spMkLst>
        </pc:spChg>
        <pc:spChg chg="del">
          <ac:chgData name="El Bakkouri, Manal" userId="8b130982-2e3f-4164-b881-fd3a2e4b2453" providerId="ADAL" clId="{4457FA57-250B-44AC-8655-05D46C5A3D8A}" dt="2023-06-12T13:30:04.362" v="15820" actId="478"/>
          <ac:spMkLst>
            <pc:docMk/>
            <pc:sldMk cId="3911279721" sldId="230717630"/>
            <ac:spMk id="76" creationId="{DAA005E4-40A9-4D49-8571-24594C171603}"/>
          </ac:spMkLst>
        </pc:spChg>
        <pc:spChg chg="add mod">
          <ac:chgData name="El Bakkouri, Manal" userId="8b130982-2e3f-4164-b881-fd3a2e4b2453" providerId="ADAL" clId="{4457FA57-250B-44AC-8655-05D46C5A3D8A}" dt="2023-06-12T13:30:04.924" v="15821"/>
          <ac:spMkLst>
            <pc:docMk/>
            <pc:sldMk cId="3911279721" sldId="230717630"/>
            <ac:spMk id="77" creationId="{3075BFA1-C20F-4717-939F-64AFE6DBDF15}"/>
          </ac:spMkLst>
        </pc:spChg>
        <pc:spChg chg="del mod">
          <ac:chgData name="El Bakkouri, Manal" userId="8b130982-2e3f-4164-b881-fd3a2e4b2453" providerId="ADAL" clId="{4457FA57-250B-44AC-8655-05D46C5A3D8A}" dt="2023-06-12T13:30:04.362" v="15820" actId="478"/>
          <ac:spMkLst>
            <pc:docMk/>
            <pc:sldMk cId="3911279721" sldId="230717630"/>
            <ac:spMk id="78" creationId="{B0C60EF5-3048-40DE-BF4A-65F9E4D72BCD}"/>
          </ac:spMkLst>
        </pc:spChg>
        <pc:spChg chg="del mod">
          <ac:chgData name="El Bakkouri, Manal" userId="8b130982-2e3f-4164-b881-fd3a2e4b2453" providerId="ADAL" clId="{4457FA57-250B-44AC-8655-05D46C5A3D8A}" dt="2023-06-12T13:30:04.362" v="15820" actId="478"/>
          <ac:spMkLst>
            <pc:docMk/>
            <pc:sldMk cId="3911279721" sldId="230717630"/>
            <ac:spMk id="79" creationId="{737529D2-E5BC-4121-84A7-D1EA515EC88A}"/>
          </ac:spMkLst>
        </pc:spChg>
        <pc:spChg chg="del mod">
          <ac:chgData name="El Bakkouri, Manal" userId="8b130982-2e3f-4164-b881-fd3a2e4b2453" providerId="ADAL" clId="{4457FA57-250B-44AC-8655-05D46C5A3D8A}" dt="2023-06-12T13:30:04.362" v="15820" actId="478"/>
          <ac:spMkLst>
            <pc:docMk/>
            <pc:sldMk cId="3911279721" sldId="230717630"/>
            <ac:spMk id="80" creationId="{B6248E2D-2A6B-40BD-9F3A-D2DC50C0D106}"/>
          </ac:spMkLst>
        </pc:spChg>
        <pc:spChg chg="del">
          <ac:chgData name="El Bakkouri, Manal" userId="8b130982-2e3f-4164-b881-fd3a2e4b2453" providerId="ADAL" clId="{4457FA57-250B-44AC-8655-05D46C5A3D8A}" dt="2023-06-12T13:30:04.362" v="15820" actId="478"/>
          <ac:spMkLst>
            <pc:docMk/>
            <pc:sldMk cId="3911279721" sldId="230717630"/>
            <ac:spMk id="81" creationId="{9804FF7E-BFF3-41DD-9420-17E4AFEC4386}"/>
          </ac:spMkLst>
        </pc:spChg>
        <pc:spChg chg="add mod">
          <ac:chgData name="El Bakkouri, Manal" userId="8b130982-2e3f-4164-b881-fd3a2e4b2453" providerId="ADAL" clId="{4457FA57-250B-44AC-8655-05D46C5A3D8A}" dt="2023-06-12T13:30:04.924" v="15821"/>
          <ac:spMkLst>
            <pc:docMk/>
            <pc:sldMk cId="3911279721" sldId="230717630"/>
            <ac:spMk id="82" creationId="{D9E596C3-D9D0-4C90-86FA-C6948AF557CF}"/>
          </ac:spMkLst>
        </pc:spChg>
        <pc:spChg chg="add mod">
          <ac:chgData name="El Bakkouri, Manal" userId="8b130982-2e3f-4164-b881-fd3a2e4b2453" providerId="ADAL" clId="{4457FA57-250B-44AC-8655-05D46C5A3D8A}" dt="2023-06-12T13:30:04.924" v="15821"/>
          <ac:spMkLst>
            <pc:docMk/>
            <pc:sldMk cId="3911279721" sldId="230717630"/>
            <ac:spMk id="83" creationId="{D9A04349-B2EB-48F8-9B71-3A71D1C85E30}"/>
          </ac:spMkLst>
        </pc:spChg>
        <pc:spChg chg="add mod">
          <ac:chgData name="El Bakkouri, Manal" userId="8b130982-2e3f-4164-b881-fd3a2e4b2453" providerId="ADAL" clId="{4457FA57-250B-44AC-8655-05D46C5A3D8A}" dt="2023-06-12T13:30:04.924" v="15821"/>
          <ac:spMkLst>
            <pc:docMk/>
            <pc:sldMk cId="3911279721" sldId="230717630"/>
            <ac:spMk id="84" creationId="{46C52FD7-7E4F-4875-8BA7-83F1841126FD}"/>
          </ac:spMkLst>
        </pc:spChg>
        <pc:spChg chg="add mod">
          <ac:chgData name="El Bakkouri, Manal" userId="8b130982-2e3f-4164-b881-fd3a2e4b2453" providerId="ADAL" clId="{4457FA57-250B-44AC-8655-05D46C5A3D8A}" dt="2023-06-12T13:30:04.924" v="15821"/>
          <ac:spMkLst>
            <pc:docMk/>
            <pc:sldMk cId="3911279721" sldId="230717630"/>
            <ac:spMk id="85" creationId="{72559064-76C7-4122-A9B1-578B14785BAB}"/>
          </ac:spMkLst>
        </pc:spChg>
        <pc:spChg chg="add mod">
          <ac:chgData name="El Bakkouri, Manal" userId="8b130982-2e3f-4164-b881-fd3a2e4b2453" providerId="ADAL" clId="{4457FA57-250B-44AC-8655-05D46C5A3D8A}" dt="2023-06-12T13:30:04.924" v="15821"/>
          <ac:spMkLst>
            <pc:docMk/>
            <pc:sldMk cId="3911279721" sldId="230717630"/>
            <ac:spMk id="86" creationId="{0DFCCBA6-A9A0-4ACA-8C7B-5AAB6C41A30D}"/>
          </ac:spMkLst>
        </pc:spChg>
        <pc:spChg chg="mod">
          <ac:chgData name="El Bakkouri, Manal" userId="8b130982-2e3f-4164-b881-fd3a2e4b2453" providerId="ADAL" clId="{4457FA57-250B-44AC-8655-05D46C5A3D8A}" dt="2023-05-23T09:51:57.253" v="5905" actId="14100"/>
          <ac:spMkLst>
            <pc:docMk/>
            <pc:sldMk cId="3911279721" sldId="230717630"/>
            <ac:spMk id="124" creationId="{E857176A-FBF5-4E21-8BF9-C39F31B9B9E2}"/>
          </ac:spMkLst>
        </pc:spChg>
        <pc:spChg chg="mod">
          <ac:chgData name="El Bakkouri, Manal" userId="8b130982-2e3f-4164-b881-fd3a2e4b2453" providerId="ADAL" clId="{4457FA57-250B-44AC-8655-05D46C5A3D8A}" dt="2023-05-23T09:51:54.551" v="5904" actId="14100"/>
          <ac:spMkLst>
            <pc:docMk/>
            <pc:sldMk cId="3911279721" sldId="230717630"/>
            <ac:spMk id="126" creationId="{77FC47C5-7F1B-4A3B-82CB-2BCBDE2864E8}"/>
          </ac:spMkLst>
        </pc:spChg>
        <pc:spChg chg="mod">
          <ac:chgData name="El Bakkouri, Manal" userId="8b130982-2e3f-4164-b881-fd3a2e4b2453" providerId="ADAL" clId="{4457FA57-250B-44AC-8655-05D46C5A3D8A}" dt="2023-05-23T18:52:00.475" v="9483" actId="167"/>
          <ac:spMkLst>
            <pc:docMk/>
            <pc:sldMk cId="3911279721" sldId="230717630"/>
            <ac:spMk id="127" creationId="{36D2A68F-A686-4C36-B5F1-3B7F8C1B8339}"/>
          </ac:spMkLst>
        </pc:spChg>
        <pc:spChg chg="mod">
          <ac:chgData name="El Bakkouri, Manal" userId="8b130982-2e3f-4164-b881-fd3a2e4b2453" providerId="ADAL" clId="{4457FA57-250B-44AC-8655-05D46C5A3D8A}" dt="2023-05-23T09:55:19.916" v="5935" actId="14100"/>
          <ac:spMkLst>
            <pc:docMk/>
            <pc:sldMk cId="3911279721" sldId="230717630"/>
            <ac:spMk id="165" creationId="{F413437A-2C06-42B3-A5EE-895BD0130AE9}"/>
          </ac:spMkLst>
        </pc:spChg>
      </pc:sldChg>
      <pc:sldChg chg="modSp add del mod modTransition">
        <pc:chgData name="El Bakkouri, Manal" userId="8b130982-2e3f-4164-b881-fd3a2e4b2453" providerId="ADAL" clId="{4457FA57-250B-44AC-8655-05D46C5A3D8A}" dt="2023-05-23T10:02:33.164" v="5990" actId="2696"/>
        <pc:sldMkLst>
          <pc:docMk/>
          <pc:sldMk cId="4223039793" sldId="230717631"/>
        </pc:sldMkLst>
        <pc:spChg chg="mod">
          <ac:chgData name="El Bakkouri, Manal" userId="8b130982-2e3f-4164-b881-fd3a2e4b2453" providerId="ADAL" clId="{4457FA57-250B-44AC-8655-05D46C5A3D8A}" dt="2023-05-23T10:01:03.182" v="5945" actId="1035"/>
          <ac:spMkLst>
            <pc:docMk/>
            <pc:sldMk cId="4223039793" sldId="230717631"/>
            <ac:spMk id="58" creationId="{B79148E4-9412-4B9E-A7E9-EEE3C6FAB6A2}"/>
          </ac:spMkLst>
        </pc:spChg>
        <pc:spChg chg="mod">
          <ac:chgData name="El Bakkouri, Manal" userId="8b130982-2e3f-4164-b881-fd3a2e4b2453" providerId="ADAL" clId="{4457FA57-250B-44AC-8655-05D46C5A3D8A}" dt="2023-05-23T10:00:48.949" v="5938" actId="14100"/>
          <ac:spMkLst>
            <pc:docMk/>
            <pc:sldMk cId="4223039793" sldId="230717631"/>
            <ac:spMk id="85" creationId="{243080FD-2EDB-452F-9E2A-F499F02E09D1}"/>
          </ac:spMkLst>
        </pc:spChg>
      </pc:sldChg>
      <pc:sldChg chg="addSp modSp add mod modTransition modNotesTx">
        <pc:chgData name="El Bakkouri, Manal" userId="8b130982-2e3f-4164-b881-fd3a2e4b2453" providerId="ADAL" clId="{4457FA57-250B-44AC-8655-05D46C5A3D8A}" dt="2023-06-12T13:25:55.479" v="15805" actId="1036"/>
        <pc:sldMkLst>
          <pc:docMk/>
          <pc:sldMk cId="4904049" sldId="230717632"/>
        </pc:sldMkLst>
        <pc:spChg chg="add mod">
          <ac:chgData name="El Bakkouri, Manal" userId="8b130982-2e3f-4164-b881-fd3a2e4b2453" providerId="ADAL" clId="{4457FA57-250B-44AC-8655-05D46C5A3D8A}" dt="2023-05-26T16:28:52.146" v="14260" actId="14100"/>
          <ac:spMkLst>
            <pc:docMk/>
            <pc:sldMk cId="4904049" sldId="230717632"/>
            <ac:spMk id="2" creationId="{55346C15-3AAF-4D4F-9F35-0C3B400C8E3C}"/>
          </ac:spMkLst>
        </pc:spChg>
        <pc:spChg chg="mod">
          <ac:chgData name="El Bakkouri, Manal" userId="8b130982-2e3f-4164-b881-fd3a2e4b2453" providerId="ADAL" clId="{4457FA57-250B-44AC-8655-05D46C5A3D8A}" dt="2023-06-12T13:25:33.260" v="15799" actId="403"/>
          <ac:spMkLst>
            <pc:docMk/>
            <pc:sldMk cId="4904049" sldId="230717632"/>
            <ac:spMk id="73" creationId="{6707E31D-9636-40E8-ABD9-0E85D9896DE4}"/>
          </ac:spMkLst>
        </pc:spChg>
        <pc:spChg chg="mod">
          <ac:chgData name="El Bakkouri, Manal" userId="8b130982-2e3f-4164-b881-fd3a2e4b2453" providerId="ADAL" clId="{4457FA57-250B-44AC-8655-05D46C5A3D8A}" dt="2023-06-12T13:25:33.260" v="15799" actId="403"/>
          <ac:spMkLst>
            <pc:docMk/>
            <pc:sldMk cId="4904049" sldId="230717632"/>
            <ac:spMk id="74" creationId="{15581664-2866-4315-B853-19E21551EF0E}"/>
          </ac:spMkLst>
        </pc:spChg>
        <pc:spChg chg="mod">
          <ac:chgData name="El Bakkouri, Manal" userId="8b130982-2e3f-4164-b881-fd3a2e4b2453" providerId="ADAL" clId="{4457FA57-250B-44AC-8655-05D46C5A3D8A}" dt="2023-06-12T13:25:33.260" v="15799" actId="403"/>
          <ac:spMkLst>
            <pc:docMk/>
            <pc:sldMk cId="4904049" sldId="230717632"/>
            <ac:spMk id="75" creationId="{953A7E7F-9656-4D23-9789-B6B4269C8B36}"/>
          </ac:spMkLst>
        </pc:spChg>
        <pc:spChg chg="mod">
          <ac:chgData name="El Bakkouri, Manal" userId="8b130982-2e3f-4164-b881-fd3a2e4b2453" providerId="ADAL" clId="{4457FA57-250B-44AC-8655-05D46C5A3D8A}" dt="2023-06-12T13:25:33.260" v="15799" actId="403"/>
          <ac:spMkLst>
            <pc:docMk/>
            <pc:sldMk cId="4904049" sldId="230717632"/>
            <ac:spMk id="76" creationId="{A87BF8C2-72CF-43AC-B95E-D7BF11FD3C08}"/>
          </ac:spMkLst>
        </pc:spChg>
        <pc:spChg chg="mod">
          <ac:chgData name="El Bakkouri, Manal" userId="8b130982-2e3f-4164-b881-fd3a2e4b2453" providerId="ADAL" clId="{4457FA57-250B-44AC-8655-05D46C5A3D8A}" dt="2023-06-12T13:25:55.479" v="15805" actId="1036"/>
          <ac:spMkLst>
            <pc:docMk/>
            <pc:sldMk cId="4904049" sldId="230717632"/>
            <ac:spMk id="85" creationId="{E537C2A7-CE28-4891-9EB3-AAE5C5D95FF3}"/>
          </ac:spMkLst>
        </pc:spChg>
        <pc:spChg chg="mod">
          <ac:chgData name="El Bakkouri, Manal" userId="8b130982-2e3f-4164-b881-fd3a2e4b2453" providerId="ADAL" clId="{4457FA57-250B-44AC-8655-05D46C5A3D8A}" dt="2023-06-12T13:25:55.479" v="15805" actId="1036"/>
          <ac:spMkLst>
            <pc:docMk/>
            <pc:sldMk cId="4904049" sldId="230717632"/>
            <ac:spMk id="86" creationId="{95E1A0ED-BCB7-484D-AAA3-70F8869576C5}"/>
          </ac:spMkLst>
        </pc:spChg>
        <pc:spChg chg="mod">
          <ac:chgData name="El Bakkouri, Manal" userId="8b130982-2e3f-4164-b881-fd3a2e4b2453" providerId="ADAL" clId="{4457FA57-250B-44AC-8655-05D46C5A3D8A}" dt="2023-06-12T13:25:37.484" v="15800" actId="403"/>
          <ac:spMkLst>
            <pc:docMk/>
            <pc:sldMk cId="4904049" sldId="230717632"/>
            <ac:spMk id="88" creationId="{340879CE-E927-4D1E-8AE4-A7B4DD2A8BCB}"/>
          </ac:spMkLst>
        </pc:spChg>
        <pc:spChg chg="mod">
          <ac:chgData name="El Bakkouri, Manal" userId="8b130982-2e3f-4164-b881-fd3a2e4b2453" providerId="ADAL" clId="{4457FA57-250B-44AC-8655-05D46C5A3D8A}" dt="2023-06-12T13:25:43.749" v="15802" actId="14100"/>
          <ac:spMkLst>
            <pc:docMk/>
            <pc:sldMk cId="4904049" sldId="230717632"/>
            <ac:spMk id="89" creationId="{4C385A1D-7B7B-42D2-851F-C89796DE135A}"/>
          </ac:spMkLst>
        </pc:spChg>
        <pc:spChg chg="mod">
          <ac:chgData name="El Bakkouri, Manal" userId="8b130982-2e3f-4164-b881-fd3a2e4b2453" providerId="ADAL" clId="{4457FA57-250B-44AC-8655-05D46C5A3D8A}" dt="2023-06-12T13:25:45.439" v="15803" actId="403"/>
          <ac:spMkLst>
            <pc:docMk/>
            <pc:sldMk cId="4904049" sldId="230717632"/>
            <ac:spMk id="90" creationId="{7B349D85-575D-4FFC-9ED0-4A87A775E7D3}"/>
          </ac:spMkLst>
        </pc:spChg>
        <pc:spChg chg="mod">
          <ac:chgData name="El Bakkouri, Manal" userId="8b130982-2e3f-4164-b881-fd3a2e4b2453" providerId="ADAL" clId="{4457FA57-250B-44AC-8655-05D46C5A3D8A}" dt="2023-06-12T13:25:55.479" v="15805" actId="1036"/>
          <ac:spMkLst>
            <pc:docMk/>
            <pc:sldMk cId="4904049" sldId="230717632"/>
            <ac:spMk id="91" creationId="{0F498FA9-9964-4AA7-95A2-14B7B7ADC703}"/>
          </ac:spMkLst>
        </pc:spChg>
      </pc:sldChg>
      <pc:sldChg chg="addSp delSp modSp add del mod modTransition modAnim">
        <pc:chgData name="El Bakkouri, Manal" userId="8b130982-2e3f-4164-b881-fd3a2e4b2453" providerId="ADAL" clId="{4457FA57-250B-44AC-8655-05D46C5A3D8A}" dt="2023-05-24T09:35:00.952" v="10533" actId="2696"/>
        <pc:sldMkLst>
          <pc:docMk/>
          <pc:sldMk cId="958857942" sldId="230717633"/>
        </pc:sldMkLst>
        <pc:spChg chg="del">
          <ac:chgData name="El Bakkouri, Manal" userId="8b130982-2e3f-4164-b881-fd3a2e4b2453" providerId="ADAL" clId="{4457FA57-250B-44AC-8655-05D46C5A3D8A}" dt="2023-05-23T10:28:46.410" v="6238" actId="478"/>
          <ac:spMkLst>
            <pc:docMk/>
            <pc:sldMk cId="958857942" sldId="230717633"/>
            <ac:spMk id="4" creationId="{BAEF0739-4B79-4F62-82B9-09A8E9C51886}"/>
          </ac:spMkLst>
        </pc:spChg>
        <pc:spChg chg="mod">
          <ac:chgData name="El Bakkouri, Manal" userId="8b130982-2e3f-4164-b881-fd3a2e4b2453" providerId="ADAL" clId="{4457FA57-250B-44AC-8655-05D46C5A3D8A}" dt="2023-05-23T10:18:46.047" v="6154" actId="20577"/>
          <ac:spMkLst>
            <pc:docMk/>
            <pc:sldMk cId="958857942" sldId="230717633"/>
            <ac:spMk id="15" creationId="{AC61ACC4-110C-488F-8537-2B20492F2BA4}"/>
          </ac:spMkLst>
        </pc:spChg>
        <pc:spChg chg="del topLvl">
          <ac:chgData name="El Bakkouri, Manal" userId="8b130982-2e3f-4164-b881-fd3a2e4b2453" providerId="ADAL" clId="{4457FA57-250B-44AC-8655-05D46C5A3D8A}" dt="2023-05-23T10:18:49.289" v="6156" actId="478"/>
          <ac:spMkLst>
            <pc:docMk/>
            <pc:sldMk cId="958857942" sldId="230717633"/>
            <ac:spMk id="16" creationId="{7779D18B-DE66-4B14-B62A-1DD99F9C9846}"/>
          </ac:spMkLst>
        </pc:spChg>
        <pc:spChg chg="del">
          <ac:chgData name="El Bakkouri, Manal" userId="8b130982-2e3f-4164-b881-fd3a2e4b2453" providerId="ADAL" clId="{4457FA57-250B-44AC-8655-05D46C5A3D8A}" dt="2023-05-23T10:28:37.596" v="6236" actId="478"/>
          <ac:spMkLst>
            <pc:docMk/>
            <pc:sldMk cId="958857942" sldId="230717633"/>
            <ac:spMk id="26" creationId="{0E460AA9-3818-44B1-9060-7A759CC4C437}"/>
          </ac:spMkLst>
        </pc:spChg>
        <pc:spChg chg="add del mod">
          <ac:chgData name="El Bakkouri, Manal" userId="8b130982-2e3f-4164-b881-fd3a2e4b2453" providerId="ADAL" clId="{4457FA57-250B-44AC-8655-05D46C5A3D8A}" dt="2023-05-23T13:32:07.104" v="6844" actId="478"/>
          <ac:spMkLst>
            <pc:docMk/>
            <pc:sldMk cId="958857942" sldId="230717633"/>
            <ac:spMk id="35" creationId="{ACE10888-AB57-4D03-B5B9-7ADB33B0494E}"/>
          </ac:spMkLst>
        </pc:spChg>
        <pc:spChg chg="add mod">
          <ac:chgData name="El Bakkouri, Manal" userId="8b130982-2e3f-4164-b881-fd3a2e4b2453" providerId="ADAL" clId="{4457FA57-250B-44AC-8655-05D46C5A3D8A}" dt="2023-05-23T13:32:08.181" v="6845"/>
          <ac:spMkLst>
            <pc:docMk/>
            <pc:sldMk cId="958857942" sldId="230717633"/>
            <ac:spMk id="36" creationId="{B92CE341-0FBE-4A2E-AAFE-AF35B302A7DC}"/>
          </ac:spMkLst>
        </pc:spChg>
        <pc:grpChg chg="del topLvl">
          <ac:chgData name="El Bakkouri, Manal" userId="8b130982-2e3f-4164-b881-fd3a2e4b2453" providerId="ADAL" clId="{4457FA57-250B-44AC-8655-05D46C5A3D8A}" dt="2023-05-23T10:19:36.816" v="6163" actId="478"/>
          <ac:grpSpMkLst>
            <pc:docMk/>
            <pc:sldMk cId="958857942" sldId="230717633"/>
            <ac:grpSpMk id="18" creationId="{273C4550-7C13-40D2-8972-DA91FEDE01A7}"/>
          </ac:grpSpMkLst>
        </pc:grpChg>
        <pc:grpChg chg="del">
          <ac:chgData name="El Bakkouri, Manal" userId="8b130982-2e3f-4164-b881-fd3a2e4b2453" providerId="ADAL" clId="{4457FA57-250B-44AC-8655-05D46C5A3D8A}" dt="2023-05-23T10:18:49.289" v="6156" actId="478"/>
          <ac:grpSpMkLst>
            <pc:docMk/>
            <pc:sldMk cId="958857942" sldId="230717633"/>
            <ac:grpSpMk id="33" creationId="{5E601876-86A0-427F-9D45-94F7975D9FE3}"/>
          </ac:grpSpMkLst>
        </pc:grpChg>
        <pc:grpChg chg="del">
          <ac:chgData name="El Bakkouri, Manal" userId="8b130982-2e3f-4164-b881-fd3a2e4b2453" providerId="ADAL" clId="{4457FA57-250B-44AC-8655-05D46C5A3D8A}" dt="2023-05-23T10:18:47.946" v="6155" actId="478"/>
          <ac:grpSpMkLst>
            <pc:docMk/>
            <pc:sldMk cId="958857942" sldId="230717633"/>
            <ac:grpSpMk id="34" creationId="{33CCD96F-260E-4A08-A57B-DA40BA3F4A59}"/>
          </ac:grpSpMkLst>
        </pc:grpChg>
      </pc:sldChg>
      <pc:sldChg chg="addSp delSp modSp add del mod modTransition modAnim">
        <pc:chgData name="El Bakkouri, Manal" userId="8b130982-2e3f-4164-b881-fd3a2e4b2453" providerId="ADAL" clId="{4457FA57-250B-44AC-8655-05D46C5A3D8A}" dt="2023-05-24T09:35:00.952" v="10533" actId="2696"/>
        <pc:sldMkLst>
          <pc:docMk/>
          <pc:sldMk cId="1219166090" sldId="230717634"/>
        </pc:sldMkLst>
        <pc:spChg chg="del">
          <ac:chgData name="El Bakkouri, Manal" userId="8b130982-2e3f-4164-b881-fd3a2e4b2453" providerId="ADAL" clId="{4457FA57-250B-44AC-8655-05D46C5A3D8A}" dt="2023-05-23T10:28:44.811" v="6237" actId="478"/>
          <ac:spMkLst>
            <pc:docMk/>
            <pc:sldMk cId="1219166090" sldId="230717634"/>
            <ac:spMk id="4" creationId="{BAEF0739-4B79-4F62-82B9-09A8E9C51886}"/>
          </ac:spMkLst>
        </pc:spChg>
        <pc:spChg chg="del">
          <ac:chgData name="El Bakkouri, Manal" userId="8b130982-2e3f-4164-b881-fd3a2e4b2453" providerId="ADAL" clId="{4457FA57-250B-44AC-8655-05D46C5A3D8A}" dt="2023-05-23T10:28:31.247" v="6234" actId="478"/>
          <ac:spMkLst>
            <pc:docMk/>
            <pc:sldMk cId="1219166090" sldId="230717634"/>
            <ac:spMk id="22" creationId="{F01A88C6-9D10-4AE5-B247-3FA8E4C987EA}"/>
          </ac:spMkLst>
        </pc:spChg>
        <pc:spChg chg="add del">
          <ac:chgData name="El Bakkouri, Manal" userId="8b130982-2e3f-4164-b881-fd3a2e4b2453" providerId="ADAL" clId="{4457FA57-250B-44AC-8655-05D46C5A3D8A}" dt="2023-05-23T10:28:24.669" v="6231" actId="478"/>
          <ac:spMkLst>
            <pc:docMk/>
            <pc:sldMk cId="1219166090" sldId="230717634"/>
            <ac:spMk id="24" creationId="{F660E2B1-669C-4357-8DC4-0D925D556BEC}"/>
          </ac:spMkLst>
        </pc:spChg>
        <pc:spChg chg="del">
          <ac:chgData name="El Bakkouri, Manal" userId="8b130982-2e3f-4164-b881-fd3a2e4b2453" providerId="ADAL" clId="{4457FA57-250B-44AC-8655-05D46C5A3D8A}" dt="2023-05-23T10:28:33.249" v="6235" actId="478"/>
          <ac:spMkLst>
            <pc:docMk/>
            <pc:sldMk cId="1219166090" sldId="230717634"/>
            <ac:spMk id="26" creationId="{0E460AA9-3818-44B1-9060-7A759CC4C437}"/>
          </ac:spMkLst>
        </pc:spChg>
        <pc:spChg chg="add del mod">
          <ac:chgData name="El Bakkouri, Manal" userId="8b130982-2e3f-4164-b881-fd3a2e4b2453" providerId="ADAL" clId="{4457FA57-250B-44AC-8655-05D46C5A3D8A}" dt="2023-05-23T13:32:02.441" v="6842" actId="478"/>
          <ac:spMkLst>
            <pc:docMk/>
            <pc:sldMk cId="1219166090" sldId="230717634"/>
            <ac:spMk id="35" creationId="{7A1FD657-10A2-41D2-9E62-038C53D57E9D}"/>
          </ac:spMkLst>
        </pc:spChg>
        <pc:spChg chg="mod">
          <ac:chgData name="El Bakkouri, Manal" userId="8b130982-2e3f-4164-b881-fd3a2e4b2453" providerId="ADAL" clId="{4457FA57-250B-44AC-8655-05D46C5A3D8A}" dt="2023-05-23T10:54:30.776" v="6495"/>
          <ac:spMkLst>
            <pc:docMk/>
            <pc:sldMk cId="1219166090" sldId="230717634"/>
            <ac:spMk id="37" creationId="{03E159D7-D2E6-480F-B299-968878C55765}"/>
          </ac:spMkLst>
        </pc:spChg>
        <pc:spChg chg="mod">
          <ac:chgData name="El Bakkouri, Manal" userId="8b130982-2e3f-4164-b881-fd3a2e4b2453" providerId="ADAL" clId="{4457FA57-250B-44AC-8655-05D46C5A3D8A}" dt="2023-05-23T10:54:30.776" v="6495"/>
          <ac:spMkLst>
            <pc:docMk/>
            <pc:sldMk cId="1219166090" sldId="230717634"/>
            <ac:spMk id="39" creationId="{1D33606D-A61D-4E34-A937-B85716BC0AD0}"/>
          </ac:spMkLst>
        </pc:spChg>
        <pc:spChg chg="mod">
          <ac:chgData name="El Bakkouri, Manal" userId="8b130982-2e3f-4164-b881-fd3a2e4b2453" providerId="ADAL" clId="{4457FA57-250B-44AC-8655-05D46C5A3D8A}" dt="2023-05-23T10:54:30.776" v="6495"/>
          <ac:spMkLst>
            <pc:docMk/>
            <pc:sldMk cId="1219166090" sldId="230717634"/>
            <ac:spMk id="40" creationId="{65A2FE94-54A5-4DA2-A67D-C2DCEA00867D}"/>
          </ac:spMkLst>
        </pc:spChg>
        <pc:spChg chg="add mod">
          <ac:chgData name="El Bakkouri, Manal" userId="8b130982-2e3f-4164-b881-fd3a2e4b2453" providerId="ADAL" clId="{4457FA57-250B-44AC-8655-05D46C5A3D8A}" dt="2023-05-23T13:32:03.734" v="6843"/>
          <ac:spMkLst>
            <pc:docMk/>
            <pc:sldMk cId="1219166090" sldId="230717634"/>
            <ac:spMk id="41" creationId="{E87D33F3-D26D-4BF7-946F-A65F8AB711B2}"/>
          </ac:spMkLst>
        </pc:spChg>
        <pc:grpChg chg="del">
          <ac:chgData name="El Bakkouri, Manal" userId="8b130982-2e3f-4164-b881-fd3a2e4b2453" providerId="ADAL" clId="{4457FA57-250B-44AC-8655-05D46C5A3D8A}" dt="2023-05-23T10:28:31.247" v="6234" actId="478"/>
          <ac:grpSpMkLst>
            <pc:docMk/>
            <pc:sldMk cId="1219166090" sldId="230717634"/>
            <ac:grpSpMk id="20" creationId="{68E7490C-07BE-405F-934C-43A450B75B0C}"/>
          </ac:grpSpMkLst>
        </pc:grpChg>
        <pc:grpChg chg="del">
          <ac:chgData name="El Bakkouri, Manal" userId="8b130982-2e3f-4164-b881-fd3a2e4b2453" providerId="ADAL" clId="{4457FA57-250B-44AC-8655-05D46C5A3D8A}" dt="2023-05-23T10:18:43.039" v="6153" actId="478"/>
          <ac:grpSpMkLst>
            <pc:docMk/>
            <pc:sldMk cId="1219166090" sldId="230717634"/>
            <ac:grpSpMk id="34" creationId="{33CCD96F-260E-4A08-A57B-DA40BA3F4A59}"/>
          </ac:grpSpMkLst>
        </pc:grpChg>
        <pc:grpChg chg="add del mod">
          <ac:chgData name="El Bakkouri, Manal" userId="8b130982-2e3f-4164-b881-fd3a2e4b2453" providerId="ADAL" clId="{4457FA57-250B-44AC-8655-05D46C5A3D8A}" dt="2023-05-23T10:54:32.778" v="6496"/>
          <ac:grpSpMkLst>
            <pc:docMk/>
            <pc:sldMk cId="1219166090" sldId="230717634"/>
            <ac:grpSpMk id="36" creationId="{6C895075-67A7-4541-ADAF-836241BB9B12}"/>
          </ac:grpSpMkLst>
        </pc:grpChg>
        <pc:grpChg chg="mod">
          <ac:chgData name="El Bakkouri, Manal" userId="8b130982-2e3f-4164-b881-fd3a2e4b2453" providerId="ADAL" clId="{4457FA57-250B-44AC-8655-05D46C5A3D8A}" dt="2023-05-23T10:54:30.776" v="6495"/>
          <ac:grpSpMkLst>
            <pc:docMk/>
            <pc:sldMk cId="1219166090" sldId="230717634"/>
            <ac:grpSpMk id="38" creationId="{AE1B7803-4794-4DC0-8A1A-0047213265A6}"/>
          </ac:grpSpMkLst>
        </pc:grpChg>
      </pc:sldChg>
      <pc:sldChg chg="addSp delSp modSp add mod modTransition modAnim modNotesTx">
        <pc:chgData name="El Bakkouri, Manal" userId="8b130982-2e3f-4164-b881-fd3a2e4b2453" providerId="ADAL" clId="{4457FA57-250B-44AC-8655-05D46C5A3D8A}" dt="2023-06-12T13:30:52.354" v="15829"/>
        <pc:sldMkLst>
          <pc:docMk/>
          <pc:sldMk cId="3657640766" sldId="230717635"/>
        </pc:sldMkLst>
        <pc:spChg chg="del">
          <ac:chgData name="El Bakkouri, Manal" userId="8b130982-2e3f-4164-b881-fd3a2e4b2453" providerId="ADAL" clId="{4457FA57-250B-44AC-8655-05D46C5A3D8A}" dt="2023-05-23T10:27:25.636" v="6201" actId="478"/>
          <ac:spMkLst>
            <pc:docMk/>
            <pc:sldMk cId="3657640766" sldId="230717635"/>
            <ac:spMk id="4" creationId="{BAEF0739-4B79-4F62-82B9-09A8E9C51886}"/>
          </ac:spMkLst>
        </pc:spChg>
        <pc:spChg chg="mod">
          <ac:chgData name="El Bakkouri, Manal" userId="8b130982-2e3f-4164-b881-fd3a2e4b2453" providerId="ADAL" clId="{4457FA57-250B-44AC-8655-05D46C5A3D8A}" dt="2023-05-24T08:50:31.546" v="10160" actId="20577"/>
          <ac:spMkLst>
            <pc:docMk/>
            <pc:sldMk cId="3657640766" sldId="230717635"/>
            <ac:spMk id="17" creationId="{1D384CED-EBE8-465C-9552-4B62C816D359}"/>
          </ac:spMkLst>
        </pc:spChg>
        <pc:spChg chg="del">
          <ac:chgData name="El Bakkouri, Manal" userId="8b130982-2e3f-4164-b881-fd3a2e4b2453" providerId="ADAL" clId="{4457FA57-250B-44AC-8655-05D46C5A3D8A}" dt="2023-05-23T10:28:09.573" v="6228" actId="478"/>
          <ac:spMkLst>
            <pc:docMk/>
            <pc:sldMk cId="3657640766" sldId="230717635"/>
            <ac:spMk id="22" creationId="{F01A88C6-9D10-4AE5-B247-3FA8E4C987EA}"/>
          </ac:spMkLst>
        </pc:spChg>
        <pc:spChg chg="add del">
          <ac:chgData name="El Bakkouri, Manal" userId="8b130982-2e3f-4164-b881-fd3a2e4b2453" providerId="ADAL" clId="{4457FA57-250B-44AC-8655-05D46C5A3D8A}" dt="2023-05-23T10:28:06.710" v="6227" actId="478"/>
          <ac:spMkLst>
            <pc:docMk/>
            <pc:sldMk cId="3657640766" sldId="230717635"/>
            <ac:spMk id="26" creationId="{0E460AA9-3818-44B1-9060-7A759CC4C437}"/>
          </ac:spMkLst>
        </pc:spChg>
        <pc:spChg chg="add del">
          <ac:chgData name="El Bakkouri, Manal" userId="8b130982-2e3f-4164-b881-fd3a2e4b2453" providerId="ADAL" clId="{4457FA57-250B-44AC-8655-05D46C5A3D8A}" dt="2023-05-23T10:28:27.677" v="6233" actId="478"/>
          <ac:spMkLst>
            <pc:docMk/>
            <pc:sldMk cId="3657640766" sldId="230717635"/>
            <ac:spMk id="29" creationId="{993C4828-4859-4B7A-8E43-78A9BF604811}"/>
          </ac:spMkLst>
        </pc:spChg>
        <pc:spChg chg="add mod">
          <ac:chgData name="El Bakkouri, Manal" userId="8b130982-2e3f-4164-b881-fd3a2e4b2453" providerId="ADAL" clId="{4457FA57-250B-44AC-8655-05D46C5A3D8A}" dt="2023-05-24T08:59:30.669" v="10254" actId="14100"/>
          <ac:spMkLst>
            <pc:docMk/>
            <pc:sldMk cId="3657640766" sldId="230717635"/>
            <ac:spMk id="35" creationId="{E6D612F7-9FDA-4FDF-B414-A84944B56B6B}"/>
          </ac:spMkLst>
        </pc:spChg>
        <pc:spChg chg="add mod">
          <ac:chgData name="El Bakkouri, Manal" userId="8b130982-2e3f-4164-b881-fd3a2e4b2453" providerId="ADAL" clId="{4457FA57-250B-44AC-8655-05D46C5A3D8A}" dt="2023-05-24T09:03:33.990" v="10317" actId="14100"/>
          <ac:spMkLst>
            <pc:docMk/>
            <pc:sldMk cId="3657640766" sldId="230717635"/>
            <ac:spMk id="36" creationId="{822E3831-BAE9-4AF5-8A6E-231B947D72C8}"/>
          </ac:spMkLst>
        </pc:spChg>
        <pc:spChg chg="mod">
          <ac:chgData name="El Bakkouri, Manal" userId="8b130982-2e3f-4164-b881-fd3a2e4b2453" providerId="ADAL" clId="{4457FA57-250B-44AC-8655-05D46C5A3D8A}" dt="2023-05-23T10:34:34.589" v="6254"/>
          <ac:spMkLst>
            <pc:docMk/>
            <pc:sldMk cId="3657640766" sldId="230717635"/>
            <ac:spMk id="38" creationId="{A6B3B4C7-816D-40CD-B70F-5E6390FAAE73}"/>
          </ac:spMkLst>
        </pc:spChg>
        <pc:spChg chg="mod">
          <ac:chgData name="El Bakkouri, Manal" userId="8b130982-2e3f-4164-b881-fd3a2e4b2453" providerId="ADAL" clId="{4457FA57-250B-44AC-8655-05D46C5A3D8A}" dt="2023-05-23T10:34:34.589" v="6254"/>
          <ac:spMkLst>
            <pc:docMk/>
            <pc:sldMk cId="3657640766" sldId="230717635"/>
            <ac:spMk id="39" creationId="{B30C8562-A669-48E2-B2DE-E00CBAA1CADE}"/>
          </ac:spMkLst>
        </pc:spChg>
        <pc:spChg chg="mod">
          <ac:chgData name="El Bakkouri, Manal" userId="8b130982-2e3f-4164-b881-fd3a2e4b2453" providerId="ADAL" clId="{4457FA57-250B-44AC-8655-05D46C5A3D8A}" dt="2023-05-23T10:34:34.589" v="6254"/>
          <ac:spMkLst>
            <pc:docMk/>
            <pc:sldMk cId="3657640766" sldId="230717635"/>
            <ac:spMk id="40" creationId="{A8AA5E60-3A91-4C4F-A08C-F4ACF7B3440B}"/>
          </ac:spMkLst>
        </pc:spChg>
        <pc:spChg chg="mod">
          <ac:chgData name="El Bakkouri, Manal" userId="8b130982-2e3f-4164-b881-fd3a2e4b2453" providerId="ADAL" clId="{4457FA57-250B-44AC-8655-05D46C5A3D8A}" dt="2023-05-23T10:34:34.589" v="6254"/>
          <ac:spMkLst>
            <pc:docMk/>
            <pc:sldMk cId="3657640766" sldId="230717635"/>
            <ac:spMk id="41" creationId="{3581AA72-4324-499B-ACC8-FA0B5402DDDE}"/>
          </ac:spMkLst>
        </pc:spChg>
        <pc:spChg chg="add mod">
          <ac:chgData name="El Bakkouri, Manal" userId="8b130982-2e3f-4164-b881-fd3a2e4b2453" providerId="ADAL" clId="{4457FA57-250B-44AC-8655-05D46C5A3D8A}" dt="2023-05-23T10:53:47.939" v="6490" actId="164"/>
          <ac:spMkLst>
            <pc:docMk/>
            <pc:sldMk cId="3657640766" sldId="230717635"/>
            <ac:spMk id="42" creationId="{9A999B21-2D48-4975-8A77-CBDD9B020962}"/>
          </ac:spMkLst>
        </pc:spChg>
        <pc:spChg chg="add mod">
          <ac:chgData name="El Bakkouri, Manal" userId="8b130982-2e3f-4164-b881-fd3a2e4b2453" providerId="ADAL" clId="{4457FA57-250B-44AC-8655-05D46C5A3D8A}" dt="2023-05-23T10:53:47.939" v="6490" actId="164"/>
          <ac:spMkLst>
            <pc:docMk/>
            <pc:sldMk cId="3657640766" sldId="230717635"/>
            <ac:spMk id="43" creationId="{01CE5753-E5F9-4EB6-AD05-B708BD81B799}"/>
          </ac:spMkLst>
        </pc:spChg>
        <pc:spChg chg="add mod">
          <ac:chgData name="El Bakkouri, Manal" userId="8b130982-2e3f-4164-b881-fd3a2e4b2453" providerId="ADAL" clId="{4457FA57-250B-44AC-8655-05D46C5A3D8A}" dt="2023-05-23T10:53:47.939" v="6490" actId="164"/>
          <ac:spMkLst>
            <pc:docMk/>
            <pc:sldMk cId="3657640766" sldId="230717635"/>
            <ac:spMk id="44" creationId="{638032A9-63CA-46B2-BD04-1BB4DD4CA7AB}"/>
          </ac:spMkLst>
        </pc:spChg>
        <pc:spChg chg="add mod">
          <ac:chgData name="El Bakkouri, Manal" userId="8b130982-2e3f-4164-b881-fd3a2e4b2453" providerId="ADAL" clId="{4457FA57-250B-44AC-8655-05D46C5A3D8A}" dt="2023-05-23T10:53:47.939" v="6490" actId="164"/>
          <ac:spMkLst>
            <pc:docMk/>
            <pc:sldMk cId="3657640766" sldId="230717635"/>
            <ac:spMk id="45" creationId="{778420CA-ECF8-42A8-8C05-B38AC2705AF7}"/>
          </ac:spMkLst>
        </pc:spChg>
        <pc:spChg chg="add mod">
          <ac:chgData name="El Bakkouri, Manal" userId="8b130982-2e3f-4164-b881-fd3a2e4b2453" providerId="ADAL" clId="{4457FA57-250B-44AC-8655-05D46C5A3D8A}" dt="2023-05-23T10:53:54.506" v="6491" actId="164"/>
          <ac:spMkLst>
            <pc:docMk/>
            <pc:sldMk cId="3657640766" sldId="230717635"/>
            <ac:spMk id="46" creationId="{AC0F648F-D13C-47C6-B7E1-7B8BED841B9C}"/>
          </ac:spMkLst>
        </pc:spChg>
        <pc:spChg chg="add mod">
          <ac:chgData name="El Bakkouri, Manal" userId="8b130982-2e3f-4164-b881-fd3a2e4b2453" providerId="ADAL" clId="{4457FA57-250B-44AC-8655-05D46C5A3D8A}" dt="2023-05-23T10:51:27.431" v="6476" actId="1036"/>
          <ac:spMkLst>
            <pc:docMk/>
            <pc:sldMk cId="3657640766" sldId="230717635"/>
            <ac:spMk id="47" creationId="{F4F1E1D5-A62C-4EFC-BB42-01AAE7300082}"/>
          </ac:spMkLst>
        </pc:spChg>
        <pc:spChg chg="add mod">
          <ac:chgData name="El Bakkouri, Manal" userId="8b130982-2e3f-4164-b881-fd3a2e4b2453" providerId="ADAL" clId="{4457FA57-250B-44AC-8655-05D46C5A3D8A}" dt="2023-05-23T10:51:27.431" v="6476" actId="1036"/>
          <ac:spMkLst>
            <pc:docMk/>
            <pc:sldMk cId="3657640766" sldId="230717635"/>
            <ac:spMk id="48" creationId="{E82F1E43-1883-486F-B446-B42AC862C7CB}"/>
          </ac:spMkLst>
        </pc:spChg>
        <pc:spChg chg="add del mod">
          <ac:chgData name="El Bakkouri, Manal" userId="8b130982-2e3f-4164-b881-fd3a2e4b2453" providerId="ADAL" clId="{4457FA57-250B-44AC-8655-05D46C5A3D8A}" dt="2023-05-23T10:36:09.564" v="6262" actId="478"/>
          <ac:spMkLst>
            <pc:docMk/>
            <pc:sldMk cId="3657640766" sldId="230717635"/>
            <ac:spMk id="49" creationId="{0DEEBB90-0BC1-4B78-97EB-7F94CF0E9465}"/>
          </ac:spMkLst>
        </pc:spChg>
        <pc:spChg chg="add del mod">
          <ac:chgData name="El Bakkouri, Manal" userId="8b130982-2e3f-4164-b881-fd3a2e4b2453" providerId="ADAL" clId="{4457FA57-250B-44AC-8655-05D46C5A3D8A}" dt="2023-05-23T10:51:27.431" v="6476" actId="1036"/>
          <ac:spMkLst>
            <pc:docMk/>
            <pc:sldMk cId="3657640766" sldId="230717635"/>
            <ac:spMk id="50" creationId="{79061608-6E99-416D-A6E8-47EC88FC25A0}"/>
          </ac:spMkLst>
        </pc:spChg>
        <pc:spChg chg="add mod">
          <ac:chgData name="El Bakkouri, Manal" userId="8b130982-2e3f-4164-b881-fd3a2e4b2453" providerId="ADAL" clId="{4457FA57-250B-44AC-8655-05D46C5A3D8A}" dt="2023-05-23T10:51:27.431" v="6476" actId="1036"/>
          <ac:spMkLst>
            <pc:docMk/>
            <pc:sldMk cId="3657640766" sldId="230717635"/>
            <ac:spMk id="51" creationId="{FC30FA69-043A-4EFE-9602-086EF30990CF}"/>
          </ac:spMkLst>
        </pc:spChg>
        <pc:spChg chg="add mod">
          <ac:chgData name="El Bakkouri, Manal" userId="8b130982-2e3f-4164-b881-fd3a2e4b2453" providerId="ADAL" clId="{4457FA57-250B-44AC-8655-05D46C5A3D8A}" dt="2023-05-23T10:51:27.431" v="6476" actId="1036"/>
          <ac:spMkLst>
            <pc:docMk/>
            <pc:sldMk cId="3657640766" sldId="230717635"/>
            <ac:spMk id="52" creationId="{54273731-B1ED-4F2E-B06A-B21E1EA6A181}"/>
          </ac:spMkLst>
        </pc:spChg>
        <pc:spChg chg="add del mod">
          <ac:chgData name="El Bakkouri, Manal" userId="8b130982-2e3f-4164-b881-fd3a2e4b2453" providerId="ADAL" clId="{4457FA57-250B-44AC-8655-05D46C5A3D8A}" dt="2023-05-23T10:42:39.608" v="6300" actId="478"/>
          <ac:spMkLst>
            <pc:docMk/>
            <pc:sldMk cId="3657640766" sldId="230717635"/>
            <ac:spMk id="53" creationId="{2D93FD39-3FCD-48A3-828C-C7007C1C7E00}"/>
          </ac:spMkLst>
        </pc:spChg>
        <pc:spChg chg="add mod">
          <ac:chgData name="El Bakkouri, Manal" userId="8b130982-2e3f-4164-b881-fd3a2e4b2453" providerId="ADAL" clId="{4457FA57-250B-44AC-8655-05D46C5A3D8A}" dt="2023-05-23T10:51:27.431" v="6476" actId="1036"/>
          <ac:spMkLst>
            <pc:docMk/>
            <pc:sldMk cId="3657640766" sldId="230717635"/>
            <ac:spMk id="54" creationId="{A576F5EB-7816-435F-B81D-51714B13178E}"/>
          </ac:spMkLst>
        </pc:spChg>
        <pc:spChg chg="add del mod">
          <ac:chgData name="El Bakkouri, Manal" userId="8b130982-2e3f-4164-b881-fd3a2e4b2453" providerId="ADAL" clId="{4457FA57-250B-44AC-8655-05D46C5A3D8A}" dt="2023-05-23T10:35:54.888" v="6260" actId="478"/>
          <ac:spMkLst>
            <pc:docMk/>
            <pc:sldMk cId="3657640766" sldId="230717635"/>
            <ac:spMk id="55" creationId="{52BB3F54-F072-42DA-83B0-7D0BA510B8D7}"/>
          </ac:spMkLst>
        </pc:spChg>
        <pc:spChg chg="add del mod">
          <ac:chgData name="El Bakkouri, Manal" userId="8b130982-2e3f-4164-b881-fd3a2e4b2453" providerId="ADAL" clId="{4457FA57-250B-44AC-8655-05D46C5A3D8A}" dt="2023-05-23T10:35:57.076" v="6261" actId="478"/>
          <ac:spMkLst>
            <pc:docMk/>
            <pc:sldMk cId="3657640766" sldId="230717635"/>
            <ac:spMk id="56" creationId="{7EC66043-F1F1-43BE-A4E0-A759E8AED203}"/>
          </ac:spMkLst>
        </pc:spChg>
        <pc:spChg chg="mod">
          <ac:chgData name="El Bakkouri, Manal" userId="8b130982-2e3f-4164-b881-fd3a2e4b2453" providerId="ADAL" clId="{4457FA57-250B-44AC-8655-05D46C5A3D8A}" dt="2023-05-23T10:34:34.589" v="6254"/>
          <ac:spMkLst>
            <pc:docMk/>
            <pc:sldMk cId="3657640766" sldId="230717635"/>
            <ac:spMk id="58" creationId="{C17B2538-A7B7-450F-AFED-FAD2BB7B6ECB}"/>
          </ac:spMkLst>
        </pc:spChg>
        <pc:spChg chg="mod">
          <ac:chgData name="El Bakkouri, Manal" userId="8b130982-2e3f-4164-b881-fd3a2e4b2453" providerId="ADAL" clId="{4457FA57-250B-44AC-8655-05D46C5A3D8A}" dt="2023-05-23T10:34:34.589" v="6254"/>
          <ac:spMkLst>
            <pc:docMk/>
            <pc:sldMk cId="3657640766" sldId="230717635"/>
            <ac:spMk id="59" creationId="{0BA0FE31-9261-46A9-A2E7-E14A0DEC2897}"/>
          </ac:spMkLst>
        </pc:spChg>
        <pc:spChg chg="del">
          <ac:chgData name="El Bakkouri, Manal" userId="8b130982-2e3f-4164-b881-fd3a2e4b2453" providerId="ADAL" clId="{4457FA57-250B-44AC-8655-05D46C5A3D8A}" dt="2023-06-12T13:30:49.051" v="15828" actId="478"/>
          <ac:spMkLst>
            <pc:docMk/>
            <pc:sldMk cId="3657640766" sldId="230717635"/>
            <ac:spMk id="60" creationId="{EDF90209-7451-4B19-B687-6BBE19DC54B0}"/>
          </ac:spMkLst>
        </pc:spChg>
        <pc:spChg chg="mod">
          <ac:chgData name="El Bakkouri, Manal" userId="8b130982-2e3f-4164-b881-fd3a2e4b2453" providerId="ADAL" clId="{4457FA57-250B-44AC-8655-05D46C5A3D8A}" dt="2023-05-23T10:34:34.589" v="6254"/>
          <ac:spMkLst>
            <pc:docMk/>
            <pc:sldMk cId="3657640766" sldId="230717635"/>
            <ac:spMk id="61" creationId="{87101B2E-223F-414D-8334-80BEF18B98CD}"/>
          </ac:spMkLst>
        </pc:spChg>
        <pc:spChg chg="del">
          <ac:chgData name="El Bakkouri, Manal" userId="8b130982-2e3f-4164-b881-fd3a2e4b2453" providerId="ADAL" clId="{4457FA57-250B-44AC-8655-05D46C5A3D8A}" dt="2023-06-12T13:30:49.051" v="15828" actId="478"/>
          <ac:spMkLst>
            <pc:docMk/>
            <pc:sldMk cId="3657640766" sldId="230717635"/>
            <ac:spMk id="61" creationId="{E1C5F3D3-5063-482A-877A-242808F52CF8}"/>
          </ac:spMkLst>
        </pc:spChg>
        <pc:spChg chg="mod">
          <ac:chgData name="El Bakkouri, Manal" userId="8b130982-2e3f-4164-b881-fd3a2e4b2453" providerId="ADAL" clId="{4457FA57-250B-44AC-8655-05D46C5A3D8A}" dt="2023-05-23T10:34:34.589" v="6254"/>
          <ac:spMkLst>
            <pc:docMk/>
            <pc:sldMk cId="3657640766" sldId="230717635"/>
            <ac:spMk id="62" creationId="{34DB2219-600F-4DEB-AF2D-A9A04482E91E}"/>
          </ac:spMkLst>
        </pc:spChg>
        <pc:spChg chg="del">
          <ac:chgData name="El Bakkouri, Manal" userId="8b130982-2e3f-4164-b881-fd3a2e4b2453" providerId="ADAL" clId="{4457FA57-250B-44AC-8655-05D46C5A3D8A}" dt="2023-06-12T13:30:49.051" v="15828" actId="478"/>
          <ac:spMkLst>
            <pc:docMk/>
            <pc:sldMk cId="3657640766" sldId="230717635"/>
            <ac:spMk id="62" creationId="{844BD35F-4581-4DDF-AB83-D9EEFBB043FB}"/>
          </ac:spMkLst>
        </pc:spChg>
        <pc:spChg chg="del">
          <ac:chgData name="El Bakkouri, Manal" userId="8b130982-2e3f-4164-b881-fd3a2e4b2453" providerId="ADAL" clId="{4457FA57-250B-44AC-8655-05D46C5A3D8A}" dt="2023-06-12T13:30:49.051" v="15828" actId="478"/>
          <ac:spMkLst>
            <pc:docMk/>
            <pc:sldMk cId="3657640766" sldId="230717635"/>
            <ac:spMk id="64" creationId="{888DD502-939A-42AB-9CF8-E385E49EFA99}"/>
          </ac:spMkLst>
        </pc:spChg>
        <pc:spChg chg="del">
          <ac:chgData name="El Bakkouri, Manal" userId="8b130982-2e3f-4164-b881-fd3a2e4b2453" providerId="ADAL" clId="{4457FA57-250B-44AC-8655-05D46C5A3D8A}" dt="2023-06-12T13:30:49.051" v="15828" actId="478"/>
          <ac:spMkLst>
            <pc:docMk/>
            <pc:sldMk cId="3657640766" sldId="230717635"/>
            <ac:spMk id="66" creationId="{073DE3BC-357F-4C3E-93D7-A8301A2DEE12}"/>
          </ac:spMkLst>
        </pc:spChg>
        <pc:spChg chg="add del">
          <ac:chgData name="El Bakkouri, Manal" userId="8b130982-2e3f-4164-b881-fd3a2e4b2453" providerId="ADAL" clId="{4457FA57-250B-44AC-8655-05D46C5A3D8A}" dt="2023-05-23T10:46:30.286" v="6316"/>
          <ac:spMkLst>
            <pc:docMk/>
            <pc:sldMk cId="3657640766" sldId="230717635"/>
            <ac:spMk id="66" creationId="{228E3362-83E8-4CFA-B744-DC7BB7E4FBBB}"/>
          </ac:spMkLst>
        </pc:spChg>
        <pc:spChg chg="add del mod">
          <ac:chgData name="El Bakkouri, Manal" userId="8b130982-2e3f-4164-b881-fd3a2e4b2453" providerId="ADAL" clId="{4457FA57-250B-44AC-8655-05D46C5A3D8A}" dt="2023-05-23T10:46:29.921" v="6315"/>
          <ac:spMkLst>
            <pc:docMk/>
            <pc:sldMk cId="3657640766" sldId="230717635"/>
            <ac:spMk id="67" creationId="{362A5E12-C852-4989-9098-5B6D899BD4B0}"/>
          </ac:spMkLst>
        </pc:spChg>
        <pc:spChg chg="del">
          <ac:chgData name="El Bakkouri, Manal" userId="8b130982-2e3f-4164-b881-fd3a2e4b2453" providerId="ADAL" clId="{4457FA57-250B-44AC-8655-05D46C5A3D8A}" dt="2023-06-12T13:30:49.051" v="15828" actId="478"/>
          <ac:spMkLst>
            <pc:docMk/>
            <pc:sldMk cId="3657640766" sldId="230717635"/>
            <ac:spMk id="67" creationId="{39156527-3F2A-4C5A-A78F-E6237C86C752}"/>
          </ac:spMkLst>
        </pc:spChg>
        <pc:spChg chg="add mod">
          <ac:chgData name="El Bakkouri, Manal" userId="8b130982-2e3f-4164-b881-fd3a2e4b2453" providerId="ADAL" clId="{4457FA57-250B-44AC-8655-05D46C5A3D8A}" dt="2023-06-12T13:30:52.354" v="15829"/>
          <ac:spMkLst>
            <pc:docMk/>
            <pc:sldMk cId="3657640766" sldId="230717635"/>
            <ac:spMk id="68" creationId="{45A04948-3718-46AE-B4DA-EB0298CFEE2B}"/>
          </ac:spMkLst>
        </pc:spChg>
        <pc:spChg chg="add del">
          <ac:chgData name="El Bakkouri, Manal" userId="8b130982-2e3f-4164-b881-fd3a2e4b2453" providerId="ADAL" clId="{4457FA57-250B-44AC-8655-05D46C5A3D8A}" dt="2023-05-23T10:46:44.797" v="6323" actId="478"/>
          <ac:spMkLst>
            <pc:docMk/>
            <pc:sldMk cId="3657640766" sldId="230717635"/>
            <ac:spMk id="68" creationId="{E2BC7C5C-2C4B-4245-B195-C22D7C0E5E92}"/>
          </ac:spMkLst>
        </pc:spChg>
        <pc:spChg chg="add mod">
          <ac:chgData name="El Bakkouri, Manal" userId="8b130982-2e3f-4164-b881-fd3a2e4b2453" providerId="ADAL" clId="{4457FA57-250B-44AC-8655-05D46C5A3D8A}" dt="2023-06-12T13:30:52.354" v="15829"/>
          <ac:spMkLst>
            <pc:docMk/>
            <pc:sldMk cId="3657640766" sldId="230717635"/>
            <ac:spMk id="71" creationId="{B8693CAB-9D3D-4A2E-A2B3-D4261345FCF8}"/>
          </ac:spMkLst>
        </pc:spChg>
        <pc:spChg chg="mod">
          <ac:chgData name="El Bakkouri, Manal" userId="8b130982-2e3f-4164-b881-fd3a2e4b2453" providerId="ADAL" clId="{4457FA57-250B-44AC-8655-05D46C5A3D8A}" dt="2023-05-24T08:50:40.760" v="10164"/>
          <ac:spMkLst>
            <pc:docMk/>
            <pc:sldMk cId="3657640766" sldId="230717635"/>
            <ac:spMk id="72" creationId="{2D735B4A-E388-4CEC-9DBF-D4369A3203AA}"/>
          </ac:spMkLst>
        </pc:spChg>
        <pc:spChg chg="add mod">
          <ac:chgData name="El Bakkouri, Manal" userId="8b130982-2e3f-4164-b881-fd3a2e4b2453" providerId="ADAL" clId="{4457FA57-250B-44AC-8655-05D46C5A3D8A}" dt="2023-06-12T13:30:52.354" v="15829"/>
          <ac:spMkLst>
            <pc:docMk/>
            <pc:sldMk cId="3657640766" sldId="230717635"/>
            <ac:spMk id="72" creationId="{E6DABF26-FCE5-4A02-A5AB-919ADC692691}"/>
          </ac:spMkLst>
        </pc:spChg>
        <pc:spChg chg="mod">
          <ac:chgData name="El Bakkouri, Manal" userId="8b130982-2e3f-4164-b881-fd3a2e4b2453" providerId="ADAL" clId="{4457FA57-250B-44AC-8655-05D46C5A3D8A}" dt="2023-05-24T08:50:40.760" v="10164"/>
          <ac:spMkLst>
            <pc:docMk/>
            <pc:sldMk cId="3657640766" sldId="230717635"/>
            <ac:spMk id="73" creationId="{42C09C70-DDC0-4269-B0A3-0534B339D5E1}"/>
          </ac:spMkLst>
        </pc:spChg>
        <pc:spChg chg="del">
          <ac:chgData name="El Bakkouri, Manal" userId="8b130982-2e3f-4164-b881-fd3a2e4b2453" providerId="ADAL" clId="{4457FA57-250B-44AC-8655-05D46C5A3D8A}" dt="2023-06-12T13:30:49.051" v="15828" actId="478"/>
          <ac:spMkLst>
            <pc:docMk/>
            <pc:sldMk cId="3657640766" sldId="230717635"/>
            <ac:spMk id="73" creationId="{CE14E1F1-6F1D-4986-90D4-DC44A91E5282}"/>
          </ac:spMkLst>
        </pc:spChg>
        <pc:spChg chg="del">
          <ac:chgData name="El Bakkouri, Manal" userId="8b130982-2e3f-4164-b881-fd3a2e4b2453" providerId="ADAL" clId="{4457FA57-250B-44AC-8655-05D46C5A3D8A}" dt="2023-06-12T13:30:49.051" v="15828" actId="478"/>
          <ac:spMkLst>
            <pc:docMk/>
            <pc:sldMk cId="3657640766" sldId="230717635"/>
            <ac:spMk id="74" creationId="{24CEB69C-8E57-4C18-9F93-D3A69C667779}"/>
          </ac:spMkLst>
        </pc:spChg>
        <pc:spChg chg="mod">
          <ac:chgData name="El Bakkouri, Manal" userId="8b130982-2e3f-4164-b881-fd3a2e4b2453" providerId="ADAL" clId="{4457FA57-250B-44AC-8655-05D46C5A3D8A}" dt="2023-05-24T08:50:40.760" v="10164"/>
          <ac:spMkLst>
            <pc:docMk/>
            <pc:sldMk cId="3657640766" sldId="230717635"/>
            <ac:spMk id="74" creationId="{AAF2C768-F7A3-4B40-B601-D78FD7098835}"/>
          </ac:spMkLst>
        </pc:spChg>
        <pc:spChg chg="mod">
          <ac:chgData name="El Bakkouri, Manal" userId="8b130982-2e3f-4164-b881-fd3a2e4b2453" providerId="ADAL" clId="{4457FA57-250B-44AC-8655-05D46C5A3D8A}" dt="2023-05-24T08:50:40.760" v="10164"/>
          <ac:spMkLst>
            <pc:docMk/>
            <pc:sldMk cId="3657640766" sldId="230717635"/>
            <ac:spMk id="75" creationId="{02907163-A323-45CA-B676-6BD3F7BC594F}"/>
          </ac:spMkLst>
        </pc:spChg>
        <pc:spChg chg="del">
          <ac:chgData name="El Bakkouri, Manal" userId="8b130982-2e3f-4164-b881-fd3a2e4b2453" providerId="ADAL" clId="{4457FA57-250B-44AC-8655-05D46C5A3D8A}" dt="2023-06-12T13:30:49.051" v="15828" actId="478"/>
          <ac:spMkLst>
            <pc:docMk/>
            <pc:sldMk cId="3657640766" sldId="230717635"/>
            <ac:spMk id="75" creationId="{3FD4D405-12CD-4619-8EC6-39576ED8562F}"/>
          </ac:spMkLst>
        </pc:spChg>
        <pc:spChg chg="del">
          <ac:chgData name="El Bakkouri, Manal" userId="8b130982-2e3f-4164-b881-fd3a2e4b2453" providerId="ADAL" clId="{4457FA57-250B-44AC-8655-05D46C5A3D8A}" dt="2023-06-12T13:30:49.051" v="15828" actId="478"/>
          <ac:spMkLst>
            <pc:docMk/>
            <pc:sldMk cId="3657640766" sldId="230717635"/>
            <ac:spMk id="76" creationId="{05190E2A-948C-40BE-B67C-FD5A41C8DB1C}"/>
          </ac:spMkLst>
        </pc:spChg>
        <pc:spChg chg="mod">
          <ac:chgData name="El Bakkouri, Manal" userId="8b130982-2e3f-4164-b881-fd3a2e4b2453" providerId="ADAL" clId="{4457FA57-250B-44AC-8655-05D46C5A3D8A}" dt="2023-05-24T08:50:40.760" v="10164"/>
          <ac:spMkLst>
            <pc:docMk/>
            <pc:sldMk cId="3657640766" sldId="230717635"/>
            <ac:spMk id="76" creationId="{2EA29DCE-84B2-400C-9212-CB2731C74E9E}"/>
          </ac:spMkLst>
        </pc:spChg>
        <pc:spChg chg="add mod">
          <ac:chgData name="El Bakkouri, Manal" userId="8b130982-2e3f-4164-b881-fd3a2e4b2453" providerId="ADAL" clId="{4457FA57-250B-44AC-8655-05D46C5A3D8A}" dt="2023-06-12T13:30:52.354" v="15829"/>
          <ac:spMkLst>
            <pc:docMk/>
            <pc:sldMk cId="3657640766" sldId="230717635"/>
            <ac:spMk id="77" creationId="{98318783-6EB7-4895-9AA4-A6A801EF6E74}"/>
          </ac:spMkLst>
        </pc:spChg>
        <pc:spChg chg="mod">
          <ac:chgData name="El Bakkouri, Manal" userId="8b130982-2e3f-4164-b881-fd3a2e4b2453" providerId="ADAL" clId="{4457FA57-250B-44AC-8655-05D46C5A3D8A}" dt="2023-05-24T08:50:40.760" v="10164"/>
          <ac:spMkLst>
            <pc:docMk/>
            <pc:sldMk cId="3657640766" sldId="230717635"/>
            <ac:spMk id="77" creationId="{C9F39B28-D1D3-4CDD-9D6F-D725432E37ED}"/>
          </ac:spMkLst>
        </pc:spChg>
        <pc:spChg chg="mod">
          <ac:chgData name="El Bakkouri, Manal" userId="8b130982-2e3f-4164-b881-fd3a2e4b2453" providerId="ADAL" clId="{4457FA57-250B-44AC-8655-05D46C5A3D8A}" dt="2023-05-24T08:50:40.760" v="10164"/>
          <ac:spMkLst>
            <pc:docMk/>
            <pc:sldMk cId="3657640766" sldId="230717635"/>
            <ac:spMk id="78" creationId="{E3AEFE24-06A9-4E25-88FA-26BC9DAC4CE9}"/>
          </ac:spMkLst>
        </pc:spChg>
        <pc:spChg chg="add mod">
          <ac:chgData name="El Bakkouri, Manal" userId="8b130982-2e3f-4164-b881-fd3a2e4b2453" providerId="ADAL" clId="{4457FA57-250B-44AC-8655-05D46C5A3D8A}" dt="2023-06-12T13:30:52.354" v="15829"/>
          <ac:spMkLst>
            <pc:docMk/>
            <pc:sldMk cId="3657640766" sldId="230717635"/>
            <ac:spMk id="78" creationId="{FC13A11E-859E-4F7D-BA95-909E15F8C947}"/>
          </ac:spMkLst>
        </pc:spChg>
        <pc:spChg chg="add mod">
          <ac:chgData name="El Bakkouri, Manal" userId="8b130982-2e3f-4164-b881-fd3a2e4b2453" providerId="ADAL" clId="{4457FA57-250B-44AC-8655-05D46C5A3D8A}" dt="2023-06-12T13:30:52.354" v="15829"/>
          <ac:spMkLst>
            <pc:docMk/>
            <pc:sldMk cId="3657640766" sldId="230717635"/>
            <ac:spMk id="79" creationId="{2016878D-C39A-48BA-9135-6934F2DA23E1}"/>
          </ac:spMkLst>
        </pc:spChg>
        <pc:spChg chg="mod">
          <ac:chgData name="El Bakkouri, Manal" userId="8b130982-2e3f-4164-b881-fd3a2e4b2453" providerId="ADAL" clId="{4457FA57-250B-44AC-8655-05D46C5A3D8A}" dt="2023-05-24T08:50:40.760" v="10164"/>
          <ac:spMkLst>
            <pc:docMk/>
            <pc:sldMk cId="3657640766" sldId="230717635"/>
            <ac:spMk id="79" creationId="{D31EEF61-220F-4BC4-BD44-2AC96FCC26CF}"/>
          </ac:spMkLst>
        </pc:spChg>
        <pc:spChg chg="mod">
          <ac:chgData name="El Bakkouri, Manal" userId="8b130982-2e3f-4164-b881-fd3a2e4b2453" providerId="ADAL" clId="{4457FA57-250B-44AC-8655-05D46C5A3D8A}" dt="2023-05-24T08:50:40.760" v="10164"/>
          <ac:spMkLst>
            <pc:docMk/>
            <pc:sldMk cId="3657640766" sldId="230717635"/>
            <ac:spMk id="80" creationId="{05B94CFD-BA8E-46C5-8197-01DDD3EB6CD1}"/>
          </ac:spMkLst>
        </pc:spChg>
        <pc:spChg chg="add mod">
          <ac:chgData name="El Bakkouri, Manal" userId="8b130982-2e3f-4164-b881-fd3a2e4b2453" providerId="ADAL" clId="{4457FA57-250B-44AC-8655-05D46C5A3D8A}" dt="2023-06-12T13:30:52.354" v="15829"/>
          <ac:spMkLst>
            <pc:docMk/>
            <pc:sldMk cId="3657640766" sldId="230717635"/>
            <ac:spMk id="80" creationId="{E59AA7A0-F227-41C1-90A2-809789340BFF}"/>
          </ac:spMkLst>
        </pc:spChg>
        <pc:spChg chg="add mod">
          <ac:chgData name="El Bakkouri, Manal" userId="8b130982-2e3f-4164-b881-fd3a2e4b2453" providerId="ADAL" clId="{4457FA57-250B-44AC-8655-05D46C5A3D8A}" dt="2023-06-12T13:30:52.354" v="15829"/>
          <ac:spMkLst>
            <pc:docMk/>
            <pc:sldMk cId="3657640766" sldId="230717635"/>
            <ac:spMk id="81" creationId="{29F88F58-B066-4724-8DCE-85FD3EBDFE63}"/>
          </ac:spMkLst>
        </pc:spChg>
        <pc:spChg chg="mod">
          <ac:chgData name="El Bakkouri, Manal" userId="8b130982-2e3f-4164-b881-fd3a2e4b2453" providerId="ADAL" clId="{4457FA57-250B-44AC-8655-05D46C5A3D8A}" dt="2023-05-24T08:50:40.760" v="10164"/>
          <ac:spMkLst>
            <pc:docMk/>
            <pc:sldMk cId="3657640766" sldId="230717635"/>
            <ac:spMk id="81" creationId="{AD62FD61-94B6-46C1-BD8B-503EFE6CAC73}"/>
          </ac:spMkLst>
        </pc:spChg>
        <pc:spChg chg="mod">
          <ac:chgData name="El Bakkouri, Manal" userId="8b130982-2e3f-4164-b881-fd3a2e4b2453" providerId="ADAL" clId="{4457FA57-250B-44AC-8655-05D46C5A3D8A}" dt="2023-05-24T08:50:40.760" v="10164"/>
          <ac:spMkLst>
            <pc:docMk/>
            <pc:sldMk cId="3657640766" sldId="230717635"/>
            <ac:spMk id="82" creationId="{69103A6F-12D5-483F-B5A5-32FEEE226B1C}"/>
          </ac:spMkLst>
        </pc:spChg>
        <pc:spChg chg="add mod">
          <ac:chgData name="El Bakkouri, Manal" userId="8b130982-2e3f-4164-b881-fd3a2e4b2453" providerId="ADAL" clId="{4457FA57-250B-44AC-8655-05D46C5A3D8A}" dt="2023-06-12T13:30:52.354" v="15829"/>
          <ac:spMkLst>
            <pc:docMk/>
            <pc:sldMk cId="3657640766" sldId="230717635"/>
            <ac:spMk id="82" creationId="{B718096B-6B1A-4777-808B-B02DF8332F3C}"/>
          </ac:spMkLst>
        </pc:spChg>
        <pc:spChg chg="mod">
          <ac:chgData name="El Bakkouri, Manal" userId="8b130982-2e3f-4164-b881-fd3a2e4b2453" providerId="ADAL" clId="{4457FA57-250B-44AC-8655-05D46C5A3D8A}" dt="2023-05-24T08:50:40.760" v="10164"/>
          <ac:spMkLst>
            <pc:docMk/>
            <pc:sldMk cId="3657640766" sldId="230717635"/>
            <ac:spMk id="83" creationId="{1BDB2274-4715-4828-8C02-31E0F064F5FC}"/>
          </ac:spMkLst>
        </pc:spChg>
        <pc:spChg chg="add mod">
          <ac:chgData name="El Bakkouri, Manal" userId="8b130982-2e3f-4164-b881-fd3a2e4b2453" providerId="ADAL" clId="{4457FA57-250B-44AC-8655-05D46C5A3D8A}" dt="2023-06-12T13:30:52.354" v="15829"/>
          <ac:spMkLst>
            <pc:docMk/>
            <pc:sldMk cId="3657640766" sldId="230717635"/>
            <ac:spMk id="83" creationId="{E609E8BD-501B-45D8-8C53-D048CD75B756}"/>
          </ac:spMkLst>
        </pc:spChg>
        <pc:spChg chg="mod">
          <ac:chgData name="El Bakkouri, Manal" userId="8b130982-2e3f-4164-b881-fd3a2e4b2453" providerId="ADAL" clId="{4457FA57-250B-44AC-8655-05D46C5A3D8A}" dt="2023-05-24T08:50:40.760" v="10164"/>
          <ac:spMkLst>
            <pc:docMk/>
            <pc:sldMk cId="3657640766" sldId="230717635"/>
            <ac:spMk id="84" creationId="{A69D712D-BFA1-453C-81E9-E6342151AB2B}"/>
          </ac:spMkLst>
        </pc:spChg>
        <pc:spChg chg="mod">
          <ac:chgData name="El Bakkouri, Manal" userId="8b130982-2e3f-4164-b881-fd3a2e4b2453" providerId="ADAL" clId="{4457FA57-250B-44AC-8655-05D46C5A3D8A}" dt="2023-05-24T08:50:40.760" v="10164"/>
          <ac:spMkLst>
            <pc:docMk/>
            <pc:sldMk cId="3657640766" sldId="230717635"/>
            <ac:spMk id="85" creationId="{24101A24-F28E-4D9B-BC9B-3C8AC95C3D3A}"/>
          </ac:spMkLst>
        </pc:spChg>
        <pc:spChg chg="mod">
          <ac:chgData name="El Bakkouri, Manal" userId="8b130982-2e3f-4164-b881-fd3a2e4b2453" providerId="ADAL" clId="{4457FA57-250B-44AC-8655-05D46C5A3D8A}" dt="2023-05-24T08:50:40.760" v="10164"/>
          <ac:spMkLst>
            <pc:docMk/>
            <pc:sldMk cId="3657640766" sldId="230717635"/>
            <ac:spMk id="86" creationId="{D340CC47-FE6E-495E-8EA9-C8C9B029935E}"/>
          </ac:spMkLst>
        </pc:spChg>
        <pc:spChg chg="mod">
          <ac:chgData name="El Bakkouri, Manal" userId="8b130982-2e3f-4164-b881-fd3a2e4b2453" providerId="ADAL" clId="{4457FA57-250B-44AC-8655-05D46C5A3D8A}" dt="2023-05-24T08:50:40.760" v="10164"/>
          <ac:spMkLst>
            <pc:docMk/>
            <pc:sldMk cId="3657640766" sldId="230717635"/>
            <ac:spMk id="87" creationId="{48D2E3EF-EC15-4D7B-9301-56907695A93E}"/>
          </ac:spMkLst>
        </pc:spChg>
        <pc:spChg chg="mod">
          <ac:chgData name="El Bakkouri, Manal" userId="8b130982-2e3f-4164-b881-fd3a2e4b2453" providerId="ADAL" clId="{4457FA57-250B-44AC-8655-05D46C5A3D8A}" dt="2023-05-24T08:50:40.760" v="10164"/>
          <ac:spMkLst>
            <pc:docMk/>
            <pc:sldMk cId="3657640766" sldId="230717635"/>
            <ac:spMk id="88" creationId="{83DDD752-792A-4615-A5C8-9E70EE5E9217}"/>
          </ac:spMkLst>
        </pc:spChg>
        <pc:spChg chg="mod">
          <ac:chgData name="El Bakkouri, Manal" userId="8b130982-2e3f-4164-b881-fd3a2e4b2453" providerId="ADAL" clId="{4457FA57-250B-44AC-8655-05D46C5A3D8A}" dt="2023-05-24T08:50:40.760" v="10164"/>
          <ac:spMkLst>
            <pc:docMk/>
            <pc:sldMk cId="3657640766" sldId="230717635"/>
            <ac:spMk id="89" creationId="{45B8270E-0F1E-406A-802E-F355BE13CD25}"/>
          </ac:spMkLst>
        </pc:spChg>
        <pc:spChg chg="mod">
          <ac:chgData name="El Bakkouri, Manal" userId="8b130982-2e3f-4164-b881-fd3a2e4b2453" providerId="ADAL" clId="{4457FA57-250B-44AC-8655-05D46C5A3D8A}" dt="2023-05-24T08:50:40.760" v="10164"/>
          <ac:spMkLst>
            <pc:docMk/>
            <pc:sldMk cId="3657640766" sldId="230717635"/>
            <ac:spMk id="90" creationId="{B2BC7D76-920D-40A5-B9F0-A51841B5C646}"/>
          </ac:spMkLst>
        </pc:spChg>
        <pc:spChg chg="mod">
          <ac:chgData name="El Bakkouri, Manal" userId="8b130982-2e3f-4164-b881-fd3a2e4b2453" providerId="ADAL" clId="{4457FA57-250B-44AC-8655-05D46C5A3D8A}" dt="2023-05-24T08:50:40.760" v="10164"/>
          <ac:spMkLst>
            <pc:docMk/>
            <pc:sldMk cId="3657640766" sldId="230717635"/>
            <ac:spMk id="91" creationId="{9EFA85F6-4A3C-4E6A-AC80-CE7C306B066B}"/>
          </ac:spMkLst>
        </pc:spChg>
        <pc:spChg chg="mod">
          <ac:chgData name="El Bakkouri, Manal" userId="8b130982-2e3f-4164-b881-fd3a2e4b2453" providerId="ADAL" clId="{4457FA57-250B-44AC-8655-05D46C5A3D8A}" dt="2023-05-24T08:50:40.760" v="10164"/>
          <ac:spMkLst>
            <pc:docMk/>
            <pc:sldMk cId="3657640766" sldId="230717635"/>
            <ac:spMk id="92" creationId="{F1805085-3A66-4F3B-A491-A4CED637735B}"/>
          </ac:spMkLst>
        </pc:spChg>
        <pc:spChg chg="mod">
          <ac:chgData name="El Bakkouri, Manal" userId="8b130982-2e3f-4164-b881-fd3a2e4b2453" providerId="ADAL" clId="{4457FA57-250B-44AC-8655-05D46C5A3D8A}" dt="2023-05-24T08:50:40.760" v="10164"/>
          <ac:spMkLst>
            <pc:docMk/>
            <pc:sldMk cId="3657640766" sldId="230717635"/>
            <ac:spMk id="93" creationId="{0F75494A-CF78-4BD9-BA63-2422FD7DF62D}"/>
          </ac:spMkLst>
        </pc:spChg>
        <pc:spChg chg="mod">
          <ac:chgData name="El Bakkouri, Manal" userId="8b130982-2e3f-4164-b881-fd3a2e4b2453" providerId="ADAL" clId="{4457FA57-250B-44AC-8655-05D46C5A3D8A}" dt="2023-05-24T08:50:40.760" v="10164"/>
          <ac:spMkLst>
            <pc:docMk/>
            <pc:sldMk cId="3657640766" sldId="230717635"/>
            <ac:spMk id="94" creationId="{2AA8D2E4-8F78-4A10-AA9F-E25AA690B117}"/>
          </ac:spMkLst>
        </pc:spChg>
        <pc:spChg chg="mod">
          <ac:chgData name="El Bakkouri, Manal" userId="8b130982-2e3f-4164-b881-fd3a2e4b2453" providerId="ADAL" clId="{4457FA57-250B-44AC-8655-05D46C5A3D8A}" dt="2023-05-24T08:50:40.760" v="10164"/>
          <ac:spMkLst>
            <pc:docMk/>
            <pc:sldMk cId="3657640766" sldId="230717635"/>
            <ac:spMk id="95" creationId="{B5A3B628-C112-425E-BD71-F660EED585D0}"/>
          </ac:spMkLst>
        </pc:spChg>
        <pc:spChg chg="mod">
          <ac:chgData name="El Bakkouri, Manal" userId="8b130982-2e3f-4164-b881-fd3a2e4b2453" providerId="ADAL" clId="{4457FA57-250B-44AC-8655-05D46C5A3D8A}" dt="2023-05-24T08:50:40.760" v="10164"/>
          <ac:spMkLst>
            <pc:docMk/>
            <pc:sldMk cId="3657640766" sldId="230717635"/>
            <ac:spMk id="96" creationId="{0F75B08E-E1C1-470D-B8F2-104FE988EAB3}"/>
          </ac:spMkLst>
        </pc:spChg>
        <pc:spChg chg="mod">
          <ac:chgData name="El Bakkouri, Manal" userId="8b130982-2e3f-4164-b881-fd3a2e4b2453" providerId="ADAL" clId="{4457FA57-250B-44AC-8655-05D46C5A3D8A}" dt="2023-05-24T08:50:40.760" v="10164"/>
          <ac:spMkLst>
            <pc:docMk/>
            <pc:sldMk cId="3657640766" sldId="230717635"/>
            <ac:spMk id="97" creationId="{858D04F9-6351-4A58-B934-3BE935022430}"/>
          </ac:spMkLst>
        </pc:spChg>
        <pc:spChg chg="mod">
          <ac:chgData name="El Bakkouri, Manal" userId="8b130982-2e3f-4164-b881-fd3a2e4b2453" providerId="ADAL" clId="{4457FA57-250B-44AC-8655-05D46C5A3D8A}" dt="2023-05-24T08:50:40.760" v="10164"/>
          <ac:spMkLst>
            <pc:docMk/>
            <pc:sldMk cId="3657640766" sldId="230717635"/>
            <ac:spMk id="98" creationId="{95D92F9E-4674-4A38-BD1E-1B5FBC4CED14}"/>
          </ac:spMkLst>
        </pc:spChg>
        <pc:spChg chg="mod">
          <ac:chgData name="El Bakkouri, Manal" userId="8b130982-2e3f-4164-b881-fd3a2e4b2453" providerId="ADAL" clId="{4457FA57-250B-44AC-8655-05D46C5A3D8A}" dt="2023-05-24T08:50:40.760" v="10164"/>
          <ac:spMkLst>
            <pc:docMk/>
            <pc:sldMk cId="3657640766" sldId="230717635"/>
            <ac:spMk id="99" creationId="{4FF789AB-6FC7-4FC7-9FAE-4EF8213A263B}"/>
          </ac:spMkLst>
        </pc:spChg>
        <pc:spChg chg="mod">
          <ac:chgData name="El Bakkouri, Manal" userId="8b130982-2e3f-4164-b881-fd3a2e4b2453" providerId="ADAL" clId="{4457FA57-250B-44AC-8655-05D46C5A3D8A}" dt="2023-05-24T08:50:40.760" v="10164"/>
          <ac:spMkLst>
            <pc:docMk/>
            <pc:sldMk cId="3657640766" sldId="230717635"/>
            <ac:spMk id="100" creationId="{8FDEBF9C-0B0E-46CC-AA80-7A70608E7BFC}"/>
          </ac:spMkLst>
        </pc:spChg>
        <pc:spChg chg="mod">
          <ac:chgData name="El Bakkouri, Manal" userId="8b130982-2e3f-4164-b881-fd3a2e4b2453" providerId="ADAL" clId="{4457FA57-250B-44AC-8655-05D46C5A3D8A}" dt="2023-05-24T08:50:40.760" v="10164"/>
          <ac:spMkLst>
            <pc:docMk/>
            <pc:sldMk cId="3657640766" sldId="230717635"/>
            <ac:spMk id="101" creationId="{21822CD6-5E97-430B-BA9C-23DC075A8B6C}"/>
          </ac:spMkLst>
        </pc:spChg>
        <pc:spChg chg="mod">
          <ac:chgData name="El Bakkouri, Manal" userId="8b130982-2e3f-4164-b881-fd3a2e4b2453" providerId="ADAL" clId="{4457FA57-250B-44AC-8655-05D46C5A3D8A}" dt="2023-05-24T08:50:40.760" v="10164"/>
          <ac:spMkLst>
            <pc:docMk/>
            <pc:sldMk cId="3657640766" sldId="230717635"/>
            <ac:spMk id="102" creationId="{9AAD22C6-8319-473F-AEDA-738A1CF2B3F9}"/>
          </ac:spMkLst>
        </pc:spChg>
        <pc:spChg chg="mod">
          <ac:chgData name="El Bakkouri, Manal" userId="8b130982-2e3f-4164-b881-fd3a2e4b2453" providerId="ADAL" clId="{4457FA57-250B-44AC-8655-05D46C5A3D8A}" dt="2023-05-24T08:50:40.760" v="10164"/>
          <ac:spMkLst>
            <pc:docMk/>
            <pc:sldMk cId="3657640766" sldId="230717635"/>
            <ac:spMk id="103" creationId="{00FD51E7-9B17-44AE-A0D5-04905031C65F}"/>
          </ac:spMkLst>
        </pc:spChg>
        <pc:spChg chg="mod">
          <ac:chgData name="El Bakkouri, Manal" userId="8b130982-2e3f-4164-b881-fd3a2e4b2453" providerId="ADAL" clId="{4457FA57-250B-44AC-8655-05D46C5A3D8A}" dt="2023-05-24T08:50:40.760" v="10164"/>
          <ac:spMkLst>
            <pc:docMk/>
            <pc:sldMk cId="3657640766" sldId="230717635"/>
            <ac:spMk id="104" creationId="{A0770BE6-7258-442A-9840-026B79B7877F}"/>
          </ac:spMkLst>
        </pc:spChg>
        <pc:spChg chg="mod">
          <ac:chgData name="El Bakkouri, Manal" userId="8b130982-2e3f-4164-b881-fd3a2e4b2453" providerId="ADAL" clId="{4457FA57-250B-44AC-8655-05D46C5A3D8A}" dt="2023-05-24T08:50:40.760" v="10164"/>
          <ac:spMkLst>
            <pc:docMk/>
            <pc:sldMk cId="3657640766" sldId="230717635"/>
            <ac:spMk id="105" creationId="{9895F6F3-8E5B-49CE-AB43-FC9F45D92F05}"/>
          </ac:spMkLst>
        </pc:spChg>
        <pc:spChg chg="mod">
          <ac:chgData name="El Bakkouri, Manal" userId="8b130982-2e3f-4164-b881-fd3a2e4b2453" providerId="ADAL" clId="{4457FA57-250B-44AC-8655-05D46C5A3D8A}" dt="2023-05-24T08:50:40.760" v="10164"/>
          <ac:spMkLst>
            <pc:docMk/>
            <pc:sldMk cId="3657640766" sldId="230717635"/>
            <ac:spMk id="106" creationId="{6B0F33AB-F22E-42AF-B69B-0BA8D811F67D}"/>
          </ac:spMkLst>
        </pc:spChg>
        <pc:spChg chg="mod">
          <ac:chgData name="El Bakkouri, Manal" userId="8b130982-2e3f-4164-b881-fd3a2e4b2453" providerId="ADAL" clId="{4457FA57-250B-44AC-8655-05D46C5A3D8A}" dt="2023-05-24T08:50:40.760" v="10164"/>
          <ac:spMkLst>
            <pc:docMk/>
            <pc:sldMk cId="3657640766" sldId="230717635"/>
            <ac:spMk id="107" creationId="{A87AC90F-8BED-4FA7-85FD-844257A1409C}"/>
          </ac:spMkLst>
        </pc:spChg>
        <pc:spChg chg="mod">
          <ac:chgData name="El Bakkouri, Manal" userId="8b130982-2e3f-4164-b881-fd3a2e4b2453" providerId="ADAL" clId="{4457FA57-250B-44AC-8655-05D46C5A3D8A}" dt="2023-05-24T08:50:40.760" v="10164"/>
          <ac:spMkLst>
            <pc:docMk/>
            <pc:sldMk cId="3657640766" sldId="230717635"/>
            <ac:spMk id="108" creationId="{A7B6E222-8379-4D45-BE2C-79B2528971C9}"/>
          </ac:spMkLst>
        </pc:spChg>
        <pc:spChg chg="mod">
          <ac:chgData name="El Bakkouri, Manal" userId="8b130982-2e3f-4164-b881-fd3a2e4b2453" providerId="ADAL" clId="{4457FA57-250B-44AC-8655-05D46C5A3D8A}" dt="2023-05-24T08:50:40.760" v="10164"/>
          <ac:spMkLst>
            <pc:docMk/>
            <pc:sldMk cId="3657640766" sldId="230717635"/>
            <ac:spMk id="109" creationId="{2E34B9E7-8004-4036-B939-EC3061317CB6}"/>
          </ac:spMkLst>
        </pc:spChg>
        <pc:spChg chg="add del mod">
          <ac:chgData name="El Bakkouri, Manal" userId="8b130982-2e3f-4164-b881-fd3a2e4b2453" providerId="ADAL" clId="{4457FA57-250B-44AC-8655-05D46C5A3D8A}" dt="2023-05-24T08:51:53.075" v="10173" actId="478"/>
          <ac:spMkLst>
            <pc:docMk/>
            <pc:sldMk cId="3657640766" sldId="230717635"/>
            <ac:spMk id="112" creationId="{907A2C34-F0C4-4661-B91E-FDB9A8D9B116}"/>
          </ac:spMkLst>
        </pc:spChg>
        <pc:spChg chg="add del mod">
          <ac:chgData name="El Bakkouri, Manal" userId="8b130982-2e3f-4164-b881-fd3a2e4b2453" providerId="ADAL" clId="{4457FA57-250B-44AC-8655-05D46C5A3D8A}" dt="2023-05-24T08:51:53.075" v="10173" actId="478"/>
          <ac:spMkLst>
            <pc:docMk/>
            <pc:sldMk cId="3657640766" sldId="230717635"/>
            <ac:spMk id="113" creationId="{EF6B491A-AA82-4102-82E4-8E2FBD3971BC}"/>
          </ac:spMkLst>
        </pc:spChg>
        <pc:spChg chg="add del mod">
          <ac:chgData name="El Bakkouri, Manal" userId="8b130982-2e3f-4164-b881-fd3a2e4b2453" providerId="ADAL" clId="{4457FA57-250B-44AC-8655-05D46C5A3D8A}" dt="2023-05-24T08:51:53.075" v="10173" actId="478"/>
          <ac:spMkLst>
            <pc:docMk/>
            <pc:sldMk cId="3657640766" sldId="230717635"/>
            <ac:spMk id="114" creationId="{4156BF1B-B4C3-4D6E-AD2B-C2B2F4F6E32C}"/>
          </ac:spMkLst>
        </pc:spChg>
        <pc:spChg chg="add del mod">
          <ac:chgData name="El Bakkouri, Manal" userId="8b130982-2e3f-4164-b881-fd3a2e4b2453" providerId="ADAL" clId="{4457FA57-250B-44AC-8655-05D46C5A3D8A}" dt="2023-05-24T08:51:53.075" v="10173" actId="478"/>
          <ac:spMkLst>
            <pc:docMk/>
            <pc:sldMk cId="3657640766" sldId="230717635"/>
            <ac:spMk id="115" creationId="{993BE5F9-FB64-4C04-8D78-58F910EB530C}"/>
          </ac:spMkLst>
        </pc:spChg>
        <pc:spChg chg="add del mod">
          <ac:chgData name="El Bakkouri, Manal" userId="8b130982-2e3f-4164-b881-fd3a2e4b2453" providerId="ADAL" clId="{4457FA57-250B-44AC-8655-05D46C5A3D8A}" dt="2023-05-24T08:51:53.075" v="10173" actId="478"/>
          <ac:spMkLst>
            <pc:docMk/>
            <pc:sldMk cId="3657640766" sldId="230717635"/>
            <ac:spMk id="116" creationId="{31D8A886-4261-4BEF-9097-F387E38E8380}"/>
          </ac:spMkLst>
        </pc:spChg>
        <pc:spChg chg="add del mod">
          <ac:chgData name="El Bakkouri, Manal" userId="8b130982-2e3f-4164-b881-fd3a2e4b2453" providerId="ADAL" clId="{4457FA57-250B-44AC-8655-05D46C5A3D8A}" dt="2023-05-24T08:51:53.075" v="10173" actId="478"/>
          <ac:spMkLst>
            <pc:docMk/>
            <pc:sldMk cId="3657640766" sldId="230717635"/>
            <ac:spMk id="117" creationId="{793E292A-D216-4DE9-A32D-01797CF1CCB7}"/>
          </ac:spMkLst>
        </pc:spChg>
        <pc:spChg chg="add del mod">
          <ac:chgData name="El Bakkouri, Manal" userId="8b130982-2e3f-4164-b881-fd3a2e4b2453" providerId="ADAL" clId="{4457FA57-250B-44AC-8655-05D46C5A3D8A}" dt="2023-05-24T08:51:53.075" v="10173" actId="478"/>
          <ac:spMkLst>
            <pc:docMk/>
            <pc:sldMk cId="3657640766" sldId="230717635"/>
            <ac:spMk id="118" creationId="{8112FBBF-D861-4015-BB20-B1F33082D95A}"/>
          </ac:spMkLst>
        </pc:spChg>
        <pc:spChg chg="add del mod">
          <ac:chgData name="El Bakkouri, Manal" userId="8b130982-2e3f-4164-b881-fd3a2e4b2453" providerId="ADAL" clId="{4457FA57-250B-44AC-8655-05D46C5A3D8A}" dt="2023-05-24T08:51:53.075" v="10173" actId="478"/>
          <ac:spMkLst>
            <pc:docMk/>
            <pc:sldMk cId="3657640766" sldId="230717635"/>
            <ac:spMk id="119" creationId="{753D935D-7C12-49B3-B5D9-2AD4A153C82A}"/>
          </ac:spMkLst>
        </pc:spChg>
        <pc:spChg chg="add del mod">
          <ac:chgData name="El Bakkouri, Manal" userId="8b130982-2e3f-4164-b881-fd3a2e4b2453" providerId="ADAL" clId="{4457FA57-250B-44AC-8655-05D46C5A3D8A}" dt="2023-05-24T08:51:53.075" v="10173" actId="478"/>
          <ac:spMkLst>
            <pc:docMk/>
            <pc:sldMk cId="3657640766" sldId="230717635"/>
            <ac:spMk id="120" creationId="{1E67FCC4-0837-4125-B107-8F588C98F032}"/>
          </ac:spMkLst>
        </pc:spChg>
        <pc:spChg chg="add del mod">
          <ac:chgData name="El Bakkouri, Manal" userId="8b130982-2e3f-4164-b881-fd3a2e4b2453" providerId="ADAL" clId="{4457FA57-250B-44AC-8655-05D46C5A3D8A}" dt="2023-05-24T08:52:11.031" v="10175" actId="478"/>
          <ac:spMkLst>
            <pc:docMk/>
            <pc:sldMk cId="3657640766" sldId="230717635"/>
            <ac:spMk id="121" creationId="{EAB62341-BCC0-41CD-9A57-B274F2E2CA13}"/>
          </ac:spMkLst>
        </pc:spChg>
        <pc:spChg chg="add del mod">
          <ac:chgData name="El Bakkouri, Manal" userId="8b130982-2e3f-4164-b881-fd3a2e4b2453" providerId="ADAL" clId="{4457FA57-250B-44AC-8655-05D46C5A3D8A}" dt="2023-05-24T08:52:11.031" v="10175" actId="478"/>
          <ac:spMkLst>
            <pc:docMk/>
            <pc:sldMk cId="3657640766" sldId="230717635"/>
            <ac:spMk id="122" creationId="{CEFF2891-AB12-4DC0-A824-784EC6A02DEC}"/>
          </ac:spMkLst>
        </pc:spChg>
        <pc:spChg chg="add del mod">
          <ac:chgData name="El Bakkouri, Manal" userId="8b130982-2e3f-4164-b881-fd3a2e4b2453" providerId="ADAL" clId="{4457FA57-250B-44AC-8655-05D46C5A3D8A}" dt="2023-05-24T08:52:11.031" v="10175" actId="478"/>
          <ac:spMkLst>
            <pc:docMk/>
            <pc:sldMk cId="3657640766" sldId="230717635"/>
            <ac:spMk id="123" creationId="{8A3FE993-0A5B-4A9A-B427-FF10EF0C98D3}"/>
          </ac:spMkLst>
        </pc:spChg>
        <pc:spChg chg="add del mod">
          <ac:chgData name="El Bakkouri, Manal" userId="8b130982-2e3f-4164-b881-fd3a2e4b2453" providerId="ADAL" clId="{4457FA57-250B-44AC-8655-05D46C5A3D8A}" dt="2023-05-24T08:52:11.031" v="10175" actId="478"/>
          <ac:spMkLst>
            <pc:docMk/>
            <pc:sldMk cId="3657640766" sldId="230717635"/>
            <ac:spMk id="124" creationId="{B7F65D54-C890-43BB-80A8-994CC21E35E7}"/>
          </ac:spMkLst>
        </pc:spChg>
        <pc:spChg chg="add del mod">
          <ac:chgData name="El Bakkouri, Manal" userId="8b130982-2e3f-4164-b881-fd3a2e4b2453" providerId="ADAL" clId="{4457FA57-250B-44AC-8655-05D46C5A3D8A}" dt="2023-05-24T08:52:11.031" v="10175" actId="478"/>
          <ac:spMkLst>
            <pc:docMk/>
            <pc:sldMk cId="3657640766" sldId="230717635"/>
            <ac:spMk id="125" creationId="{0A8FCA5F-AD1E-4DD8-84CA-2F96EAB32150}"/>
          </ac:spMkLst>
        </pc:spChg>
        <pc:spChg chg="add del mod">
          <ac:chgData name="El Bakkouri, Manal" userId="8b130982-2e3f-4164-b881-fd3a2e4b2453" providerId="ADAL" clId="{4457FA57-250B-44AC-8655-05D46C5A3D8A}" dt="2023-05-24T08:52:11.031" v="10175" actId="478"/>
          <ac:spMkLst>
            <pc:docMk/>
            <pc:sldMk cId="3657640766" sldId="230717635"/>
            <ac:spMk id="126" creationId="{19A5F69E-C4BB-421C-8B5D-B66BA0E630AB}"/>
          </ac:spMkLst>
        </pc:spChg>
        <pc:spChg chg="add del mod">
          <ac:chgData name="El Bakkouri, Manal" userId="8b130982-2e3f-4164-b881-fd3a2e4b2453" providerId="ADAL" clId="{4457FA57-250B-44AC-8655-05D46C5A3D8A}" dt="2023-05-24T08:52:11.031" v="10175" actId="478"/>
          <ac:spMkLst>
            <pc:docMk/>
            <pc:sldMk cId="3657640766" sldId="230717635"/>
            <ac:spMk id="127" creationId="{12332DDB-9D56-43C9-9FB5-AD281A3A9DCD}"/>
          </ac:spMkLst>
        </pc:spChg>
        <pc:spChg chg="add del mod">
          <ac:chgData name="El Bakkouri, Manal" userId="8b130982-2e3f-4164-b881-fd3a2e4b2453" providerId="ADAL" clId="{4457FA57-250B-44AC-8655-05D46C5A3D8A}" dt="2023-05-24T08:52:11.031" v="10175" actId="478"/>
          <ac:spMkLst>
            <pc:docMk/>
            <pc:sldMk cId="3657640766" sldId="230717635"/>
            <ac:spMk id="128" creationId="{89536770-135D-4EE8-A686-43173FA273D0}"/>
          </ac:spMkLst>
        </pc:spChg>
        <pc:spChg chg="add del mod">
          <ac:chgData name="El Bakkouri, Manal" userId="8b130982-2e3f-4164-b881-fd3a2e4b2453" providerId="ADAL" clId="{4457FA57-250B-44AC-8655-05D46C5A3D8A}" dt="2023-05-24T08:52:11.031" v="10175" actId="478"/>
          <ac:spMkLst>
            <pc:docMk/>
            <pc:sldMk cId="3657640766" sldId="230717635"/>
            <ac:spMk id="129" creationId="{09673644-0043-4F21-8FAE-6B8BFFFA46AC}"/>
          </ac:spMkLst>
        </pc:spChg>
        <pc:spChg chg="add del mod">
          <ac:chgData name="El Bakkouri, Manal" userId="8b130982-2e3f-4164-b881-fd3a2e4b2453" providerId="ADAL" clId="{4457FA57-250B-44AC-8655-05D46C5A3D8A}" dt="2023-05-24T08:52:11.031" v="10175" actId="478"/>
          <ac:spMkLst>
            <pc:docMk/>
            <pc:sldMk cId="3657640766" sldId="230717635"/>
            <ac:spMk id="130" creationId="{B429554A-D860-4096-B19B-DC337020EBB9}"/>
          </ac:spMkLst>
        </pc:spChg>
        <pc:spChg chg="add del mod">
          <ac:chgData name="El Bakkouri, Manal" userId="8b130982-2e3f-4164-b881-fd3a2e4b2453" providerId="ADAL" clId="{4457FA57-250B-44AC-8655-05D46C5A3D8A}" dt="2023-05-24T08:52:11.031" v="10175" actId="478"/>
          <ac:spMkLst>
            <pc:docMk/>
            <pc:sldMk cId="3657640766" sldId="230717635"/>
            <ac:spMk id="131" creationId="{056FCBB9-2E24-4656-B2B3-0C2F95EB2749}"/>
          </ac:spMkLst>
        </pc:spChg>
        <pc:spChg chg="add del mod">
          <ac:chgData name="El Bakkouri, Manal" userId="8b130982-2e3f-4164-b881-fd3a2e4b2453" providerId="ADAL" clId="{4457FA57-250B-44AC-8655-05D46C5A3D8A}" dt="2023-05-24T08:52:11.031" v="10175" actId="478"/>
          <ac:spMkLst>
            <pc:docMk/>
            <pc:sldMk cId="3657640766" sldId="230717635"/>
            <ac:spMk id="132" creationId="{F41332EA-6FE6-4BAA-8FD1-754F8445B496}"/>
          </ac:spMkLst>
        </pc:spChg>
        <pc:spChg chg="add del mod">
          <ac:chgData name="El Bakkouri, Manal" userId="8b130982-2e3f-4164-b881-fd3a2e4b2453" providerId="ADAL" clId="{4457FA57-250B-44AC-8655-05D46C5A3D8A}" dt="2023-05-24T08:52:11.031" v="10175" actId="478"/>
          <ac:spMkLst>
            <pc:docMk/>
            <pc:sldMk cId="3657640766" sldId="230717635"/>
            <ac:spMk id="133" creationId="{8F70F717-3AD4-4045-969B-C93A6F694BE1}"/>
          </ac:spMkLst>
        </pc:spChg>
        <pc:spChg chg="add del mod">
          <ac:chgData name="El Bakkouri, Manal" userId="8b130982-2e3f-4164-b881-fd3a2e4b2453" providerId="ADAL" clId="{4457FA57-250B-44AC-8655-05D46C5A3D8A}" dt="2023-05-24T08:52:11.031" v="10175" actId="478"/>
          <ac:spMkLst>
            <pc:docMk/>
            <pc:sldMk cId="3657640766" sldId="230717635"/>
            <ac:spMk id="134" creationId="{5AABD23A-1669-44ED-85A7-16190775E04D}"/>
          </ac:spMkLst>
        </pc:spChg>
        <pc:spChg chg="add del mod">
          <ac:chgData name="El Bakkouri, Manal" userId="8b130982-2e3f-4164-b881-fd3a2e4b2453" providerId="ADAL" clId="{4457FA57-250B-44AC-8655-05D46C5A3D8A}" dt="2023-05-24T08:52:11.031" v="10175" actId="478"/>
          <ac:spMkLst>
            <pc:docMk/>
            <pc:sldMk cId="3657640766" sldId="230717635"/>
            <ac:spMk id="135" creationId="{DFBCDF9E-1CE3-42BF-9A32-8A0255832DEC}"/>
          </ac:spMkLst>
        </pc:spChg>
        <pc:spChg chg="add del mod">
          <ac:chgData name="El Bakkouri, Manal" userId="8b130982-2e3f-4164-b881-fd3a2e4b2453" providerId="ADAL" clId="{4457FA57-250B-44AC-8655-05D46C5A3D8A}" dt="2023-05-24T08:52:11.031" v="10175" actId="478"/>
          <ac:spMkLst>
            <pc:docMk/>
            <pc:sldMk cId="3657640766" sldId="230717635"/>
            <ac:spMk id="136" creationId="{0ADFDDB4-4AFE-4B07-8875-04EA9F22CD59}"/>
          </ac:spMkLst>
        </pc:spChg>
        <pc:spChg chg="add del mod">
          <ac:chgData name="El Bakkouri, Manal" userId="8b130982-2e3f-4164-b881-fd3a2e4b2453" providerId="ADAL" clId="{4457FA57-250B-44AC-8655-05D46C5A3D8A}" dt="2023-05-24T08:52:11.031" v="10175" actId="478"/>
          <ac:spMkLst>
            <pc:docMk/>
            <pc:sldMk cId="3657640766" sldId="230717635"/>
            <ac:spMk id="137" creationId="{D742DC07-DCE0-4B49-A1D5-F7AFB43B55C6}"/>
          </ac:spMkLst>
        </pc:spChg>
        <pc:spChg chg="add del mod">
          <ac:chgData name="El Bakkouri, Manal" userId="8b130982-2e3f-4164-b881-fd3a2e4b2453" providerId="ADAL" clId="{4457FA57-250B-44AC-8655-05D46C5A3D8A}" dt="2023-05-24T08:52:11.031" v="10175" actId="478"/>
          <ac:spMkLst>
            <pc:docMk/>
            <pc:sldMk cId="3657640766" sldId="230717635"/>
            <ac:spMk id="138" creationId="{5C6A2F52-2A13-4F4E-8435-53286D0987E4}"/>
          </ac:spMkLst>
        </pc:spChg>
        <pc:spChg chg="add del mod">
          <ac:chgData name="El Bakkouri, Manal" userId="8b130982-2e3f-4164-b881-fd3a2e4b2453" providerId="ADAL" clId="{4457FA57-250B-44AC-8655-05D46C5A3D8A}" dt="2023-05-24T08:52:11.031" v="10175" actId="478"/>
          <ac:spMkLst>
            <pc:docMk/>
            <pc:sldMk cId="3657640766" sldId="230717635"/>
            <ac:spMk id="139" creationId="{7B19E4CF-2E8D-423F-99B4-82722A97751C}"/>
          </ac:spMkLst>
        </pc:spChg>
        <pc:spChg chg="add mod">
          <ac:chgData name="El Bakkouri, Manal" userId="8b130982-2e3f-4164-b881-fd3a2e4b2453" providerId="ADAL" clId="{4457FA57-250B-44AC-8655-05D46C5A3D8A}" dt="2023-05-24T09:37:05.018" v="10542" actId="164"/>
          <ac:spMkLst>
            <pc:docMk/>
            <pc:sldMk cId="3657640766" sldId="230717635"/>
            <ac:spMk id="140" creationId="{897A02A3-E921-41FF-817A-02BAEA2BBFFA}"/>
          </ac:spMkLst>
        </pc:spChg>
        <pc:spChg chg="add mod">
          <ac:chgData name="El Bakkouri, Manal" userId="8b130982-2e3f-4164-b881-fd3a2e4b2453" providerId="ADAL" clId="{4457FA57-250B-44AC-8655-05D46C5A3D8A}" dt="2023-05-24T09:37:05.018" v="10542" actId="164"/>
          <ac:spMkLst>
            <pc:docMk/>
            <pc:sldMk cId="3657640766" sldId="230717635"/>
            <ac:spMk id="141" creationId="{99F61AF3-EFA6-4097-98B8-67435A6CF677}"/>
          </ac:spMkLst>
        </pc:spChg>
        <pc:spChg chg="add mod">
          <ac:chgData name="El Bakkouri, Manal" userId="8b130982-2e3f-4164-b881-fd3a2e4b2453" providerId="ADAL" clId="{4457FA57-250B-44AC-8655-05D46C5A3D8A}" dt="2023-05-24T09:37:18.608" v="10545" actId="164"/>
          <ac:spMkLst>
            <pc:docMk/>
            <pc:sldMk cId="3657640766" sldId="230717635"/>
            <ac:spMk id="142" creationId="{6483F4E7-1DFE-41E2-94A6-4A43062F25C8}"/>
          </ac:spMkLst>
        </pc:spChg>
        <pc:spChg chg="add mod">
          <ac:chgData name="El Bakkouri, Manal" userId="8b130982-2e3f-4164-b881-fd3a2e4b2453" providerId="ADAL" clId="{4457FA57-250B-44AC-8655-05D46C5A3D8A}" dt="2023-05-24T09:37:18.608" v="10545" actId="164"/>
          <ac:spMkLst>
            <pc:docMk/>
            <pc:sldMk cId="3657640766" sldId="230717635"/>
            <ac:spMk id="143" creationId="{71A5DD47-7356-4420-8873-078A4E5CA87E}"/>
          </ac:spMkLst>
        </pc:spChg>
        <pc:spChg chg="add mod">
          <ac:chgData name="El Bakkouri, Manal" userId="8b130982-2e3f-4164-b881-fd3a2e4b2453" providerId="ADAL" clId="{4457FA57-250B-44AC-8655-05D46C5A3D8A}" dt="2023-05-24T09:37:28.443" v="10546" actId="164"/>
          <ac:spMkLst>
            <pc:docMk/>
            <pc:sldMk cId="3657640766" sldId="230717635"/>
            <ac:spMk id="144" creationId="{F61DD5AF-0850-40CF-9F80-6D430CE921C1}"/>
          </ac:spMkLst>
        </pc:spChg>
        <pc:spChg chg="add mod">
          <ac:chgData name="El Bakkouri, Manal" userId="8b130982-2e3f-4164-b881-fd3a2e4b2453" providerId="ADAL" clId="{4457FA57-250B-44AC-8655-05D46C5A3D8A}" dt="2023-05-24T09:37:28.443" v="10546" actId="164"/>
          <ac:spMkLst>
            <pc:docMk/>
            <pc:sldMk cId="3657640766" sldId="230717635"/>
            <ac:spMk id="145" creationId="{79F5BDA7-B8D0-4324-8EE5-4F048AB89AA2}"/>
          </ac:spMkLst>
        </pc:spChg>
        <pc:spChg chg="add mod">
          <ac:chgData name="El Bakkouri, Manal" userId="8b130982-2e3f-4164-b881-fd3a2e4b2453" providerId="ADAL" clId="{4457FA57-250B-44AC-8655-05D46C5A3D8A}" dt="2023-05-24T09:37:34.605" v="10547" actId="164"/>
          <ac:spMkLst>
            <pc:docMk/>
            <pc:sldMk cId="3657640766" sldId="230717635"/>
            <ac:spMk id="146" creationId="{F3753244-278B-4BC8-B45D-51149670A21C}"/>
          </ac:spMkLst>
        </pc:spChg>
        <pc:spChg chg="add mod">
          <ac:chgData name="El Bakkouri, Manal" userId="8b130982-2e3f-4164-b881-fd3a2e4b2453" providerId="ADAL" clId="{4457FA57-250B-44AC-8655-05D46C5A3D8A}" dt="2023-05-24T09:37:34.605" v="10547" actId="164"/>
          <ac:spMkLst>
            <pc:docMk/>
            <pc:sldMk cId="3657640766" sldId="230717635"/>
            <ac:spMk id="147" creationId="{DC080DC6-349F-4960-9E26-438963708D54}"/>
          </ac:spMkLst>
        </pc:spChg>
        <pc:spChg chg="add mod">
          <ac:chgData name="El Bakkouri, Manal" userId="8b130982-2e3f-4164-b881-fd3a2e4b2453" providerId="ADAL" clId="{4457FA57-250B-44AC-8655-05D46C5A3D8A}" dt="2023-05-24T09:37:40.690" v="10548" actId="164"/>
          <ac:spMkLst>
            <pc:docMk/>
            <pc:sldMk cId="3657640766" sldId="230717635"/>
            <ac:spMk id="148" creationId="{F172329D-C6FB-47E4-82E0-1D991A62A57B}"/>
          </ac:spMkLst>
        </pc:spChg>
        <pc:spChg chg="add mod">
          <ac:chgData name="El Bakkouri, Manal" userId="8b130982-2e3f-4164-b881-fd3a2e4b2453" providerId="ADAL" clId="{4457FA57-250B-44AC-8655-05D46C5A3D8A}" dt="2023-05-24T09:37:40.690" v="10548" actId="164"/>
          <ac:spMkLst>
            <pc:docMk/>
            <pc:sldMk cId="3657640766" sldId="230717635"/>
            <ac:spMk id="149" creationId="{94DA5787-92CF-4DE5-9795-9E1E839000CF}"/>
          </ac:spMkLst>
        </pc:spChg>
        <pc:spChg chg="add del mod">
          <ac:chgData name="El Bakkouri, Manal" userId="8b130982-2e3f-4164-b881-fd3a2e4b2453" providerId="ADAL" clId="{4457FA57-250B-44AC-8655-05D46C5A3D8A}" dt="2023-05-24T09:01:13.408" v="10274" actId="478"/>
          <ac:spMkLst>
            <pc:docMk/>
            <pc:sldMk cId="3657640766" sldId="230717635"/>
            <ac:spMk id="150" creationId="{312EC755-2B1C-4B40-A898-ED2000884A64}"/>
          </ac:spMkLst>
        </pc:spChg>
        <pc:spChg chg="add mod">
          <ac:chgData name="El Bakkouri, Manal" userId="8b130982-2e3f-4164-b881-fd3a2e4b2453" providerId="ADAL" clId="{4457FA57-250B-44AC-8655-05D46C5A3D8A}" dt="2023-05-24T09:37:05.018" v="10542" actId="164"/>
          <ac:spMkLst>
            <pc:docMk/>
            <pc:sldMk cId="3657640766" sldId="230717635"/>
            <ac:spMk id="151" creationId="{2144B53E-F09A-481E-A144-E6F23D07DC77}"/>
          </ac:spMkLst>
        </pc:spChg>
        <pc:spChg chg="add mod">
          <ac:chgData name="El Bakkouri, Manal" userId="8b130982-2e3f-4164-b881-fd3a2e4b2453" providerId="ADAL" clId="{4457FA57-250B-44AC-8655-05D46C5A3D8A}" dt="2023-05-24T09:37:40.690" v="10548" actId="164"/>
          <ac:spMkLst>
            <pc:docMk/>
            <pc:sldMk cId="3657640766" sldId="230717635"/>
            <ac:spMk id="152" creationId="{F4F664BB-B70A-443B-AAE1-8E72F6C2EC24}"/>
          </ac:spMkLst>
        </pc:spChg>
        <pc:spChg chg="add mod">
          <ac:chgData name="El Bakkouri, Manal" userId="8b130982-2e3f-4164-b881-fd3a2e4b2453" providerId="ADAL" clId="{4457FA57-250B-44AC-8655-05D46C5A3D8A}" dt="2023-05-24T09:37:40.690" v="10548" actId="164"/>
          <ac:spMkLst>
            <pc:docMk/>
            <pc:sldMk cId="3657640766" sldId="230717635"/>
            <ac:spMk id="153" creationId="{955B1A6C-2043-4796-9078-E1D1D43E307B}"/>
          </ac:spMkLst>
        </pc:spChg>
        <pc:spChg chg="add mod">
          <ac:chgData name="El Bakkouri, Manal" userId="8b130982-2e3f-4164-b881-fd3a2e4b2453" providerId="ADAL" clId="{4457FA57-250B-44AC-8655-05D46C5A3D8A}" dt="2023-05-24T09:37:18.608" v="10545" actId="164"/>
          <ac:spMkLst>
            <pc:docMk/>
            <pc:sldMk cId="3657640766" sldId="230717635"/>
            <ac:spMk id="154" creationId="{B87106B0-B345-450F-8D2D-588CFD20CD44}"/>
          </ac:spMkLst>
        </pc:spChg>
        <pc:spChg chg="add mod">
          <ac:chgData name="El Bakkouri, Manal" userId="8b130982-2e3f-4164-b881-fd3a2e4b2453" providerId="ADAL" clId="{4457FA57-250B-44AC-8655-05D46C5A3D8A}" dt="2023-05-24T09:37:18.608" v="10545" actId="164"/>
          <ac:spMkLst>
            <pc:docMk/>
            <pc:sldMk cId="3657640766" sldId="230717635"/>
            <ac:spMk id="155" creationId="{D8789FF5-D65D-412C-AB56-3AB1A09F69BA}"/>
          </ac:spMkLst>
        </pc:spChg>
        <pc:spChg chg="add mod">
          <ac:chgData name="El Bakkouri, Manal" userId="8b130982-2e3f-4164-b881-fd3a2e4b2453" providerId="ADAL" clId="{4457FA57-250B-44AC-8655-05D46C5A3D8A}" dt="2023-05-24T09:37:34.605" v="10547" actId="164"/>
          <ac:spMkLst>
            <pc:docMk/>
            <pc:sldMk cId="3657640766" sldId="230717635"/>
            <ac:spMk id="156" creationId="{C4656D94-AB38-4C69-95A0-C129690DE9D8}"/>
          </ac:spMkLst>
        </pc:spChg>
        <pc:spChg chg="add mod">
          <ac:chgData name="El Bakkouri, Manal" userId="8b130982-2e3f-4164-b881-fd3a2e4b2453" providerId="ADAL" clId="{4457FA57-250B-44AC-8655-05D46C5A3D8A}" dt="2023-05-24T09:37:34.605" v="10547" actId="164"/>
          <ac:spMkLst>
            <pc:docMk/>
            <pc:sldMk cId="3657640766" sldId="230717635"/>
            <ac:spMk id="157" creationId="{175EE83A-C30E-4768-9593-A67B31E41411}"/>
          </ac:spMkLst>
        </pc:spChg>
        <pc:spChg chg="add mod">
          <ac:chgData name="El Bakkouri, Manal" userId="8b130982-2e3f-4164-b881-fd3a2e4b2453" providerId="ADAL" clId="{4457FA57-250B-44AC-8655-05D46C5A3D8A}" dt="2023-05-24T09:37:28.443" v="10546" actId="164"/>
          <ac:spMkLst>
            <pc:docMk/>
            <pc:sldMk cId="3657640766" sldId="230717635"/>
            <ac:spMk id="158" creationId="{96D1EA6B-2C94-4365-AB5C-1DB254AC3A1F}"/>
          </ac:spMkLst>
        </pc:spChg>
        <pc:spChg chg="add mod">
          <ac:chgData name="El Bakkouri, Manal" userId="8b130982-2e3f-4164-b881-fd3a2e4b2453" providerId="ADAL" clId="{4457FA57-250B-44AC-8655-05D46C5A3D8A}" dt="2023-05-24T09:37:28.443" v="10546" actId="164"/>
          <ac:spMkLst>
            <pc:docMk/>
            <pc:sldMk cId="3657640766" sldId="230717635"/>
            <ac:spMk id="159" creationId="{0518A6E8-6283-40BC-9523-497E3D9C4EE4}"/>
          </ac:spMkLst>
        </pc:spChg>
        <pc:spChg chg="add mod">
          <ac:chgData name="El Bakkouri, Manal" userId="8b130982-2e3f-4164-b881-fd3a2e4b2453" providerId="ADAL" clId="{4457FA57-250B-44AC-8655-05D46C5A3D8A}" dt="2023-05-24T09:37:11.608" v="10544" actId="571"/>
          <ac:spMkLst>
            <pc:docMk/>
            <pc:sldMk cId="3657640766" sldId="230717635"/>
            <ac:spMk id="161" creationId="{71F61A5F-D833-41AD-B117-2C87A19862A5}"/>
          </ac:spMkLst>
        </pc:spChg>
        <pc:spChg chg="add mod">
          <ac:chgData name="El Bakkouri, Manal" userId="8b130982-2e3f-4164-b881-fd3a2e4b2453" providerId="ADAL" clId="{4457FA57-250B-44AC-8655-05D46C5A3D8A}" dt="2023-05-24T09:37:11.608" v="10544" actId="571"/>
          <ac:spMkLst>
            <pc:docMk/>
            <pc:sldMk cId="3657640766" sldId="230717635"/>
            <ac:spMk id="162" creationId="{3F0803C4-5AE0-47B5-8CB3-1A287BA48DA6}"/>
          </ac:spMkLst>
        </pc:spChg>
        <pc:grpChg chg="del">
          <ac:chgData name="El Bakkouri, Manal" userId="8b130982-2e3f-4164-b881-fd3a2e4b2453" providerId="ADAL" clId="{4457FA57-250B-44AC-8655-05D46C5A3D8A}" dt="2023-05-23T10:28:09.573" v="6228" actId="478"/>
          <ac:grpSpMkLst>
            <pc:docMk/>
            <pc:sldMk cId="3657640766" sldId="230717635"/>
            <ac:grpSpMk id="20" creationId="{68E7490C-07BE-405F-934C-43A450B75B0C}"/>
          </ac:grpSpMkLst>
        </pc:grpChg>
        <pc:grpChg chg="del">
          <ac:chgData name="El Bakkouri, Manal" userId="8b130982-2e3f-4164-b881-fd3a2e4b2453" providerId="ADAL" clId="{4457FA57-250B-44AC-8655-05D46C5A3D8A}" dt="2023-05-24T08:50:34.456" v="10161" actId="478"/>
          <ac:grpSpMkLst>
            <pc:docMk/>
            <pc:sldMk cId="3657640766" sldId="230717635"/>
            <ac:grpSpMk id="32" creationId="{C075093E-DF93-43E1-A1EA-9EB8D23F608B}"/>
          </ac:grpSpMkLst>
        </pc:grpChg>
        <pc:grpChg chg="del">
          <ac:chgData name="El Bakkouri, Manal" userId="8b130982-2e3f-4164-b881-fd3a2e4b2453" providerId="ADAL" clId="{4457FA57-250B-44AC-8655-05D46C5A3D8A}" dt="2023-05-24T08:50:37.018" v="10162" actId="478"/>
          <ac:grpSpMkLst>
            <pc:docMk/>
            <pc:sldMk cId="3657640766" sldId="230717635"/>
            <ac:grpSpMk id="33" creationId="{5E601876-86A0-427F-9D45-94F7975D9FE3}"/>
          </ac:grpSpMkLst>
        </pc:grpChg>
        <pc:grpChg chg="del">
          <ac:chgData name="El Bakkouri, Manal" userId="8b130982-2e3f-4164-b881-fd3a2e4b2453" providerId="ADAL" clId="{4457FA57-250B-44AC-8655-05D46C5A3D8A}" dt="2023-05-24T08:50:39.652" v="10163" actId="478"/>
          <ac:grpSpMkLst>
            <pc:docMk/>
            <pc:sldMk cId="3657640766" sldId="230717635"/>
            <ac:grpSpMk id="34" creationId="{33CCD96F-260E-4A08-A57B-DA40BA3F4A59}"/>
          </ac:grpSpMkLst>
        </pc:grpChg>
        <pc:grpChg chg="add mod">
          <ac:chgData name="El Bakkouri, Manal" userId="8b130982-2e3f-4164-b881-fd3a2e4b2453" providerId="ADAL" clId="{4457FA57-250B-44AC-8655-05D46C5A3D8A}" dt="2023-05-23T10:53:54.506" v="6491" actId="164"/>
          <ac:grpSpMkLst>
            <pc:docMk/>
            <pc:sldMk cId="3657640766" sldId="230717635"/>
            <ac:grpSpMk id="37" creationId="{4F0F6B75-74B9-48AD-BEC3-8E4A0D18A703}"/>
          </ac:grpSpMkLst>
        </pc:grpChg>
        <pc:grpChg chg="add del mod">
          <ac:chgData name="El Bakkouri, Manal" userId="8b130982-2e3f-4164-b881-fd3a2e4b2453" providerId="ADAL" clId="{4457FA57-250B-44AC-8655-05D46C5A3D8A}" dt="2023-05-23T10:38:27.147" v="6276" actId="478"/>
          <ac:grpSpMkLst>
            <pc:docMk/>
            <pc:sldMk cId="3657640766" sldId="230717635"/>
            <ac:grpSpMk id="57" creationId="{4F4B97BE-5DFD-48A4-A9B0-EB8DCFD700B2}"/>
          </ac:grpSpMkLst>
        </pc:grpChg>
        <pc:grpChg chg="add del mod">
          <ac:chgData name="El Bakkouri, Manal" userId="8b130982-2e3f-4164-b881-fd3a2e4b2453" providerId="ADAL" clId="{4457FA57-250B-44AC-8655-05D46C5A3D8A}" dt="2023-05-23T10:36:26.409" v="6267" actId="478"/>
          <ac:grpSpMkLst>
            <pc:docMk/>
            <pc:sldMk cId="3657640766" sldId="230717635"/>
            <ac:grpSpMk id="60" creationId="{9352A43C-66BD-4174-84A1-FE23B621632F}"/>
          </ac:grpSpMkLst>
        </pc:grpChg>
        <pc:grpChg chg="add mod">
          <ac:chgData name="El Bakkouri, Manal" userId="8b130982-2e3f-4164-b881-fd3a2e4b2453" providerId="ADAL" clId="{4457FA57-250B-44AC-8655-05D46C5A3D8A}" dt="2023-05-23T10:53:47.939" v="6490" actId="164"/>
          <ac:grpSpMkLst>
            <pc:docMk/>
            <pc:sldMk cId="3657640766" sldId="230717635"/>
            <ac:grpSpMk id="69" creationId="{0B16E02E-0511-47A9-B19E-08A49CDDB8EA}"/>
          </ac:grpSpMkLst>
        </pc:grpChg>
        <pc:grpChg chg="add mod">
          <ac:chgData name="El Bakkouri, Manal" userId="8b130982-2e3f-4164-b881-fd3a2e4b2453" providerId="ADAL" clId="{4457FA57-250B-44AC-8655-05D46C5A3D8A}" dt="2023-05-23T10:53:54.506" v="6491" actId="164"/>
          <ac:grpSpMkLst>
            <pc:docMk/>
            <pc:sldMk cId="3657640766" sldId="230717635"/>
            <ac:grpSpMk id="70" creationId="{0AAD57BB-839B-42F7-B1B3-764FB996973A}"/>
          </ac:grpSpMkLst>
        </pc:grpChg>
        <pc:grpChg chg="add del mod">
          <ac:chgData name="El Bakkouri, Manal" userId="8b130982-2e3f-4164-b881-fd3a2e4b2453" providerId="ADAL" clId="{4457FA57-250B-44AC-8655-05D46C5A3D8A}" dt="2023-05-24T08:51:17.291" v="10171" actId="478"/>
          <ac:grpSpMkLst>
            <pc:docMk/>
            <pc:sldMk cId="3657640766" sldId="230717635"/>
            <ac:grpSpMk id="71" creationId="{C140BB43-8784-4D40-A808-B762B1D7F09F}"/>
          </ac:grpSpMkLst>
        </pc:grpChg>
        <pc:grpChg chg="add mod">
          <ac:chgData name="El Bakkouri, Manal" userId="8b130982-2e3f-4164-b881-fd3a2e4b2453" providerId="ADAL" clId="{4457FA57-250B-44AC-8655-05D46C5A3D8A}" dt="2023-05-24T09:37:05.018" v="10542" actId="164"/>
          <ac:grpSpMkLst>
            <pc:docMk/>
            <pc:sldMk cId="3657640766" sldId="230717635"/>
            <ac:grpSpMk id="160" creationId="{409B3D09-F39B-4055-93BB-BB1148B4F69B}"/>
          </ac:grpSpMkLst>
        </pc:grpChg>
        <pc:grpChg chg="add mod">
          <ac:chgData name="El Bakkouri, Manal" userId="8b130982-2e3f-4164-b881-fd3a2e4b2453" providerId="ADAL" clId="{4457FA57-250B-44AC-8655-05D46C5A3D8A}" dt="2023-05-24T09:37:18.608" v="10545" actId="164"/>
          <ac:grpSpMkLst>
            <pc:docMk/>
            <pc:sldMk cId="3657640766" sldId="230717635"/>
            <ac:grpSpMk id="163" creationId="{505121E9-D053-41BE-84FF-7D15DE0925BE}"/>
          </ac:grpSpMkLst>
        </pc:grpChg>
        <pc:grpChg chg="add mod">
          <ac:chgData name="El Bakkouri, Manal" userId="8b130982-2e3f-4164-b881-fd3a2e4b2453" providerId="ADAL" clId="{4457FA57-250B-44AC-8655-05D46C5A3D8A}" dt="2023-05-24T09:37:28.443" v="10546" actId="164"/>
          <ac:grpSpMkLst>
            <pc:docMk/>
            <pc:sldMk cId="3657640766" sldId="230717635"/>
            <ac:grpSpMk id="164" creationId="{E935B698-40DC-4D6B-97F0-2E2C526B7F66}"/>
          </ac:grpSpMkLst>
        </pc:grpChg>
        <pc:grpChg chg="add mod">
          <ac:chgData name="El Bakkouri, Manal" userId="8b130982-2e3f-4164-b881-fd3a2e4b2453" providerId="ADAL" clId="{4457FA57-250B-44AC-8655-05D46C5A3D8A}" dt="2023-05-24T09:37:34.605" v="10547" actId="164"/>
          <ac:grpSpMkLst>
            <pc:docMk/>
            <pc:sldMk cId="3657640766" sldId="230717635"/>
            <ac:grpSpMk id="165" creationId="{D5DEB271-DC25-4AF9-AFE4-87C2B3630CE7}"/>
          </ac:grpSpMkLst>
        </pc:grpChg>
        <pc:grpChg chg="add mod">
          <ac:chgData name="El Bakkouri, Manal" userId="8b130982-2e3f-4164-b881-fd3a2e4b2453" providerId="ADAL" clId="{4457FA57-250B-44AC-8655-05D46C5A3D8A}" dt="2023-05-24T09:37:40.690" v="10548" actId="164"/>
          <ac:grpSpMkLst>
            <pc:docMk/>
            <pc:sldMk cId="3657640766" sldId="230717635"/>
            <ac:grpSpMk id="166" creationId="{2C4A199E-5652-41BF-B545-5F9C02C32980}"/>
          </ac:grpSpMkLst>
        </pc:grpChg>
        <pc:picChg chg="add mod">
          <ac:chgData name="El Bakkouri, Manal" userId="8b130982-2e3f-4164-b881-fd3a2e4b2453" providerId="ADAL" clId="{4457FA57-250B-44AC-8655-05D46C5A3D8A}" dt="2023-05-23T10:51:27.431" v="6476" actId="1036"/>
          <ac:picMkLst>
            <pc:docMk/>
            <pc:sldMk cId="3657640766" sldId="230717635"/>
            <ac:picMk id="63" creationId="{E3255653-9F5A-4A4C-B39F-0C7B01505F1F}"/>
          </ac:picMkLst>
        </pc:picChg>
        <pc:picChg chg="add mod">
          <ac:chgData name="El Bakkouri, Manal" userId="8b130982-2e3f-4164-b881-fd3a2e4b2453" providerId="ADAL" clId="{4457FA57-250B-44AC-8655-05D46C5A3D8A}" dt="2023-05-23T10:51:27.431" v="6476" actId="1036"/>
          <ac:picMkLst>
            <pc:docMk/>
            <pc:sldMk cId="3657640766" sldId="230717635"/>
            <ac:picMk id="65" creationId="{B1F8B36A-C424-4A70-97E1-481202738434}"/>
          </ac:picMkLst>
        </pc:picChg>
        <pc:picChg chg="add mod ord">
          <ac:chgData name="El Bakkouri, Manal" userId="8b130982-2e3f-4164-b881-fd3a2e4b2453" providerId="ADAL" clId="{4457FA57-250B-44AC-8655-05D46C5A3D8A}" dt="2023-05-26T16:05:52.944" v="14111" actId="167"/>
          <ac:picMkLst>
            <pc:docMk/>
            <pc:sldMk cId="3657640766" sldId="230717635"/>
            <ac:picMk id="167" creationId="{6BCBA0E3-5E4A-4CCA-92AF-22161CB3AE95}"/>
          </ac:picMkLst>
        </pc:picChg>
        <pc:cxnChg chg="add mod">
          <ac:chgData name="El Bakkouri, Manal" userId="8b130982-2e3f-4164-b881-fd3a2e4b2453" providerId="ADAL" clId="{4457FA57-250B-44AC-8655-05D46C5A3D8A}" dt="2023-05-24T09:03:42.147" v="10318" actId="1076"/>
          <ac:cxnSpMkLst>
            <pc:docMk/>
            <pc:sldMk cId="3657640766" sldId="230717635"/>
            <ac:cxnSpMk id="3" creationId="{B1675541-E1B2-4B87-A893-E65B36D4F9BB}"/>
          </ac:cxnSpMkLst>
        </pc:cxnChg>
        <pc:cxnChg chg="mod">
          <ac:chgData name="El Bakkouri, Manal" userId="8b130982-2e3f-4164-b881-fd3a2e4b2453" providerId="ADAL" clId="{4457FA57-250B-44AC-8655-05D46C5A3D8A}" dt="2023-05-24T08:50:40.760" v="10164"/>
          <ac:cxnSpMkLst>
            <pc:docMk/>
            <pc:sldMk cId="3657640766" sldId="230717635"/>
            <ac:cxnSpMk id="110" creationId="{EF286DA2-96F5-4045-A6C8-864F7CAC083A}"/>
          </ac:cxnSpMkLst>
        </pc:cxnChg>
        <pc:cxnChg chg="mod">
          <ac:chgData name="El Bakkouri, Manal" userId="8b130982-2e3f-4164-b881-fd3a2e4b2453" providerId="ADAL" clId="{4457FA57-250B-44AC-8655-05D46C5A3D8A}" dt="2023-05-24T08:50:40.760" v="10164"/>
          <ac:cxnSpMkLst>
            <pc:docMk/>
            <pc:sldMk cId="3657640766" sldId="230717635"/>
            <ac:cxnSpMk id="111" creationId="{0FB0A940-1FF9-4D57-B65B-1713BA3CA07A}"/>
          </ac:cxnSpMkLst>
        </pc:cxnChg>
      </pc:sldChg>
      <pc:sldChg chg="addSp delSp modSp add del mod modAnim">
        <pc:chgData name="El Bakkouri, Manal" userId="8b130982-2e3f-4164-b881-fd3a2e4b2453" providerId="ADAL" clId="{4457FA57-250B-44AC-8655-05D46C5A3D8A}" dt="2023-05-24T09:35:00.952" v="10533" actId="2696"/>
        <pc:sldMkLst>
          <pc:docMk/>
          <pc:sldMk cId="2931504057" sldId="230717636"/>
        </pc:sldMkLst>
        <pc:spChg chg="mod">
          <ac:chgData name="El Bakkouri, Manal" userId="8b130982-2e3f-4164-b881-fd3a2e4b2453" providerId="ADAL" clId="{4457FA57-250B-44AC-8655-05D46C5A3D8A}" dt="2023-05-23T10:54:38.627" v="6498"/>
          <ac:spMkLst>
            <pc:docMk/>
            <pc:sldMk cId="2931504057" sldId="230717636"/>
            <ac:spMk id="27" creationId="{DA1ABC2A-1DA6-46F4-8B85-1987B19CAE15}"/>
          </ac:spMkLst>
        </pc:spChg>
        <pc:spChg chg="mod">
          <ac:chgData name="El Bakkouri, Manal" userId="8b130982-2e3f-4164-b881-fd3a2e4b2453" providerId="ADAL" clId="{4457FA57-250B-44AC-8655-05D46C5A3D8A}" dt="2023-05-23T10:54:38.627" v="6498"/>
          <ac:spMkLst>
            <pc:docMk/>
            <pc:sldMk cId="2931504057" sldId="230717636"/>
            <ac:spMk id="29" creationId="{817C4F41-2764-4ADD-B720-03BDBA12ECAA}"/>
          </ac:spMkLst>
        </pc:spChg>
        <pc:spChg chg="mod">
          <ac:chgData name="El Bakkouri, Manal" userId="8b130982-2e3f-4164-b881-fd3a2e4b2453" providerId="ADAL" clId="{4457FA57-250B-44AC-8655-05D46C5A3D8A}" dt="2023-05-23T10:54:38.627" v="6498"/>
          <ac:spMkLst>
            <pc:docMk/>
            <pc:sldMk cId="2931504057" sldId="230717636"/>
            <ac:spMk id="30" creationId="{5B6C368C-1877-44BF-9298-16534BAF5BF6}"/>
          </ac:spMkLst>
        </pc:spChg>
        <pc:spChg chg="add mod">
          <ac:chgData name="El Bakkouri, Manal" userId="8b130982-2e3f-4164-b881-fd3a2e4b2453" providerId="ADAL" clId="{4457FA57-250B-44AC-8655-05D46C5A3D8A}" dt="2023-05-23T13:31:59.094" v="6841"/>
          <ac:spMkLst>
            <pc:docMk/>
            <pc:sldMk cId="2931504057" sldId="230717636"/>
            <ac:spMk id="31" creationId="{A3B35687-66A0-4FB3-9718-E4CCA589E2DE}"/>
          </ac:spMkLst>
        </pc:spChg>
        <pc:spChg chg="del">
          <ac:chgData name="El Bakkouri, Manal" userId="8b130982-2e3f-4164-b881-fd3a2e4b2453" providerId="ADAL" clId="{4457FA57-250B-44AC-8655-05D46C5A3D8A}" dt="2023-05-23T13:31:58.181" v="6840" actId="478"/>
          <ac:spMkLst>
            <pc:docMk/>
            <pc:sldMk cId="2931504057" sldId="230717636"/>
            <ac:spMk id="35" creationId="{7A1FD657-10A2-41D2-9E62-038C53D57E9D}"/>
          </ac:spMkLst>
        </pc:spChg>
        <pc:grpChg chg="add mod">
          <ac:chgData name="El Bakkouri, Manal" userId="8b130982-2e3f-4164-b881-fd3a2e4b2453" providerId="ADAL" clId="{4457FA57-250B-44AC-8655-05D46C5A3D8A}" dt="2023-05-23T10:54:38.627" v="6498"/>
          <ac:grpSpMkLst>
            <pc:docMk/>
            <pc:sldMk cId="2931504057" sldId="230717636"/>
            <ac:grpSpMk id="26" creationId="{DE1786D3-6939-43E1-9B19-BF084B593036}"/>
          </ac:grpSpMkLst>
        </pc:grpChg>
        <pc:grpChg chg="mod">
          <ac:chgData name="El Bakkouri, Manal" userId="8b130982-2e3f-4164-b881-fd3a2e4b2453" providerId="ADAL" clId="{4457FA57-250B-44AC-8655-05D46C5A3D8A}" dt="2023-05-23T10:54:38.627" v="6498"/>
          <ac:grpSpMkLst>
            <pc:docMk/>
            <pc:sldMk cId="2931504057" sldId="230717636"/>
            <ac:grpSpMk id="28" creationId="{066D998A-0C82-4D5E-A41B-A62F553AF527}"/>
          </ac:grpSpMkLst>
        </pc:grpChg>
      </pc:sldChg>
      <pc:sldChg chg="addSp delSp modSp new del mod modShow modNotesTx">
        <pc:chgData name="El Bakkouri, Manal" userId="8b130982-2e3f-4164-b881-fd3a2e4b2453" providerId="ADAL" clId="{4457FA57-250B-44AC-8655-05D46C5A3D8A}" dt="2023-05-23T17:08:03.383" v="8771" actId="2696"/>
        <pc:sldMkLst>
          <pc:docMk/>
          <pc:sldMk cId="3945093569" sldId="230717637"/>
        </pc:sldMkLst>
        <pc:spChg chg="del">
          <ac:chgData name="El Bakkouri, Manal" userId="8b130982-2e3f-4164-b881-fd3a2e4b2453" providerId="ADAL" clId="{4457FA57-250B-44AC-8655-05D46C5A3D8A}" dt="2023-05-23T13:23:44.381" v="6785" actId="478"/>
          <ac:spMkLst>
            <pc:docMk/>
            <pc:sldMk cId="3945093569" sldId="230717637"/>
            <ac:spMk id="2" creationId="{4F97AA21-2996-4947-BA52-C0CD486424FC}"/>
          </ac:spMkLst>
        </pc:spChg>
        <pc:spChg chg="del">
          <ac:chgData name="El Bakkouri, Manal" userId="8b130982-2e3f-4164-b881-fd3a2e4b2453" providerId="ADAL" clId="{4457FA57-250B-44AC-8655-05D46C5A3D8A}" dt="2023-05-23T13:23:45.875" v="6786" actId="478"/>
          <ac:spMkLst>
            <pc:docMk/>
            <pc:sldMk cId="3945093569" sldId="230717637"/>
            <ac:spMk id="3" creationId="{7871325E-117A-42B6-97BA-FE6E5F22555C}"/>
          </ac:spMkLst>
        </pc:spChg>
        <pc:spChg chg="del">
          <ac:chgData name="El Bakkouri, Manal" userId="8b130982-2e3f-4164-b881-fd3a2e4b2453" providerId="ADAL" clId="{4457FA57-250B-44AC-8655-05D46C5A3D8A}" dt="2023-05-23T13:24:14.576" v="6787" actId="478"/>
          <ac:spMkLst>
            <pc:docMk/>
            <pc:sldMk cId="3945093569" sldId="230717637"/>
            <ac:spMk id="4" creationId="{8578E2DA-5AA3-4680-AFF0-31001F8DA5B4}"/>
          </ac:spMkLst>
        </pc:spChg>
        <pc:spChg chg="add mod">
          <ac:chgData name="El Bakkouri, Manal" userId="8b130982-2e3f-4164-b881-fd3a2e4b2453" providerId="ADAL" clId="{4457FA57-250B-44AC-8655-05D46C5A3D8A}" dt="2023-05-23T13:28:49.859" v="6834" actId="207"/>
          <ac:spMkLst>
            <pc:docMk/>
            <pc:sldMk cId="3945093569" sldId="230717637"/>
            <ac:spMk id="5" creationId="{8B56D238-1846-4411-B690-7378E7A120F8}"/>
          </ac:spMkLst>
        </pc:spChg>
        <pc:spChg chg="add mod">
          <ac:chgData name="El Bakkouri, Manal" userId="8b130982-2e3f-4164-b881-fd3a2e4b2453" providerId="ADAL" clId="{4457FA57-250B-44AC-8655-05D46C5A3D8A}" dt="2023-05-23T13:28:47.970" v="6833" actId="207"/>
          <ac:spMkLst>
            <pc:docMk/>
            <pc:sldMk cId="3945093569" sldId="230717637"/>
            <ac:spMk id="6" creationId="{DC9E6703-E213-438C-AB82-932EF7362884}"/>
          </ac:spMkLst>
        </pc:spChg>
        <pc:spChg chg="add mod">
          <ac:chgData name="El Bakkouri, Manal" userId="8b130982-2e3f-4164-b881-fd3a2e4b2453" providerId="ADAL" clId="{4457FA57-250B-44AC-8655-05D46C5A3D8A}" dt="2023-05-23T13:28:52.810" v="6835" actId="207"/>
          <ac:spMkLst>
            <pc:docMk/>
            <pc:sldMk cId="3945093569" sldId="230717637"/>
            <ac:spMk id="7" creationId="{0E5F87F5-BA96-488E-8E51-8097393B4811}"/>
          </ac:spMkLst>
        </pc:spChg>
        <pc:spChg chg="add mod">
          <ac:chgData name="El Bakkouri, Manal" userId="8b130982-2e3f-4164-b881-fd3a2e4b2453" providerId="ADAL" clId="{4457FA57-250B-44AC-8655-05D46C5A3D8A}" dt="2023-05-23T13:28:54.673" v="6836" actId="207"/>
          <ac:spMkLst>
            <pc:docMk/>
            <pc:sldMk cId="3945093569" sldId="230717637"/>
            <ac:spMk id="8" creationId="{D8ED4ADE-9192-446A-9328-0977A73C1695}"/>
          </ac:spMkLst>
        </pc:spChg>
        <pc:spChg chg="add mod">
          <ac:chgData name="El Bakkouri, Manal" userId="8b130982-2e3f-4164-b881-fd3a2e4b2453" providerId="ADAL" clId="{4457FA57-250B-44AC-8655-05D46C5A3D8A}" dt="2023-05-23T13:27:23.027" v="6821" actId="12788"/>
          <ac:spMkLst>
            <pc:docMk/>
            <pc:sldMk cId="3945093569" sldId="230717637"/>
            <ac:spMk id="9" creationId="{DFE59916-8B93-4C70-A986-0F840E3BE7CF}"/>
          </ac:spMkLst>
        </pc:spChg>
        <pc:spChg chg="add mod">
          <ac:chgData name="El Bakkouri, Manal" userId="8b130982-2e3f-4164-b881-fd3a2e4b2453" providerId="ADAL" clId="{4457FA57-250B-44AC-8655-05D46C5A3D8A}" dt="2023-05-23T13:28:18.717" v="6831" actId="12788"/>
          <ac:spMkLst>
            <pc:docMk/>
            <pc:sldMk cId="3945093569" sldId="230717637"/>
            <ac:spMk id="10" creationId="{78EEDC8D-14E7-45B1-AF9A-24EA248541B9}"/>
          </ac:spMkLst>
        </pc:spChg>
        <pc:spChg chg="add mod">
          <ac:chgData name="El Bakkouri, Manal" userId="8b130982-2e3f-4164-b881-fd3a2e4b2453" providerId="ADAL" clId="{4457FA57-250B-44AC-8655-05D46C5A3D8A}" dt="2023-05-23T13:28:24.413" v="6832" actId="12788"/>
          <ac:spMkLst>
            <pc:docMk/>
            <pc:sldMk cId="3945093569" sldId="230717637"/>
            <ac:spMk id="11" creationId="{F395B3E6-C2DB-4972-A673-651F64ADBC9F}"/>
          </ac:spMkLst>
        </pc:spChg>
        <pc:spChg chg="add mod">
          <ac:chgData name="El Bakkouri, Manal" userId="8b130982-2e3f-4164-b881-fd3a2e4b2453" providerId="ADAL" clId="{4457FA57-250B-44AC-8655-05D46C5A3D8A}" dt="2023-05-23T13:29:07.475" v="6839" actId="207"/>
          <ac:spMkLst>
            <pc:docMk/>
            <pc:sldMk cId="3945093569" sldId="230717637"/>
            <ac:spMk id="12" creationId="{D98C71C5-3130-4E14-9CA3-DF47B2910B13}"/>
          </ac:spMkLst>
        </pc:spChg>
        <pc:spChg chg="add mod">
          <ac:chgData name="El Bakkouri, Manal" userId="8b130982-2e3f-4164-b881-fd3a2e4b2453" providerId="ADAL" clId="{4457FA57-250B-44AC-8655-05D46C5A3D8A}" dt="2023-05-23T13:28:57.597" v="6837" actId="207"/>
          <ac:spMkLst>
            <pc:docMk/>
            <pc:sldMk cId="3945093569" sldId="230717637"/>
            <ac:spMk id="13" creationId="{855872FA-3CA1-4CF9-A919-0B25F0A84CCE}"/>
          </ac:spMkLst>
        </pc:spChg>
        <pc:spChg chg="add mod">
          <ac:chgData name="El Bakkouri, Manal" userId="8b130982-2e3f-4164-b881-fd3a2e4b2453" providerId="ADAL" clId="{4457FA57-250B-44AC-8655-05D46C5A3D8A}" dt="2023-05-23T13:29:00.557" v="6838" actId="207"/>
          <ac:spMkLst>
            <pc:docMk/>
            <pc:sldMk cId="3945093569" sldId="230717637"/>
            <ac:spMk id="14" creationId="{B875EAA2-C91D-4451-B533-6F9474DA76BC}"/>
          </ac:spMkLst>
        </pc:spChg>
        <pc:spChg chg="add del mod">
          <ac:chgData name="El Bakkouri, Manal" userId="8b130982-2e3f-4164-b881-fd3a2e4b2453" providerId="ADAL" clId="{4457FA57-250B-44AC-8655-05D46C5A3D8A}" dt="2023-05-23T13:37:23.812" v="6862" actId="478"/>
          <ac:spMkLst>
            <pc:docMk/>
            <pc:sldMk cId="3945093569" sldId="230717637"/>
            <ac:spMk id="15" creationId="{7C13C2EF-897E-46EA-8553-C88F37D87DBE}"/>
          </ac:spMkLst>
        </pc:spChg>
        <pc:spChg chg="add del mod">
          <ac:chgData name="El Bakkouri, Manal" userId="8b130982-2e3f-4164-b881-fd3a2e4b2453" providerId="ADAL" clId="{4457FA57-250B-44AC-8655-05D46C5A3D8A}" dt="2023-05-23T13:37:07.044" v="6855" actId="478"/>
          <ac:spMkLst>
            <pc:docMk/>
            <pc:sldMk cId="3945093569" sldId="230717637"/>
            <ac:spMk id="16" creationId="{22537ADE-68E2-4E67-A681-AC0286C7ED83}"/>
          </ac:spMkLst>
        </pc:spChg>
        <pc:spChg chg="add del mod">
          <ac:chgData name="El Bakkouri, Manal" userId="8b130982-2e3f-4164-b881-fd3a2e4b2453" providerId="ADAL" clId="{4457FA57-250B-44AC-8655-05D46C5A3D8A}" dt="2023-05-23T13:37:06.442" v="6854" actId="478"/>
          <ac:spMkLst>
            <pc:docMk/>
            <pc:sldMk cId="3945093569" sldId="230717637"/>
            <ac:spMk id="17" creationId="{32B36DC2-A568-45A0-94EC-ACF866C28331}"/>
          </ac:spMkLst>
        </pc:spChg>
        <pc:spChg chg="add del mod">
          <ac:chgData name="El Bakkouri, Manal" userId="8b130982-2e3f-4164-b881-fd3a2e4b2453" providerId="ADAL" clId="{4457FA57-250B-44AC-8655-05D46C5A3D8A}" dt="2023-05-23T13:37:22.418" v="6861" actId="478"/>
          <ac:spMkLst>
            <pc:docMk/>
            <pc:sldMk cId="3945093569" sldId="230717637"/>
            <ac:spMk id="18" creationId="{FC0FA0EC-913C-45CD-B090-24D0DBD291E8}"/>
          </ac:spMkLst>
        </pc:spChg>
        <pc:spChg chg="add del mod">
          <ac:chgData name="El Bakkouri, Manal" userId="8b130982-2e3f-4164-b881-fd3a2e4b2453" providerId="ADAL" clId="{4457FA57-250B-44AC-8655-05D46C5A3D8A}" dt="2023-05-23T15:41:42.993" v="8209" actId="20577"/>
          <ac:spMkLst>
            <pc:docMk/>
            <pc:sldMk cId="3945093569" sldId="230717637"/>
            <ac:spMk id="19" creationId="{B30F652F-B4AB-4663-B9DF-0896119C5242}"/>
          </ac:spMkLst>
        </pc:spChg>
        <pc:spChg chg="add mod topLvl">
          <ac:chgData name="El Bakkouri, Manal" userId="8b130982-2e3f-4164-b881-fd3a2e4b2453" providerId="ADAL" clId="{4457FA57-250B-44AC-8655-05D46C5A3D8A}" dt="2023-05-23T15:35:51.176" v="8196" actId="1035"/>
          <ac:spMkLst>
            <pc:docMk/>
            <pc:sldMk cId="3945093569" sldId="230717637"/>
            <ac:spMk id="20" creationId="{4BDC13F8-FF45-4747-82D1-66D3B6F0B152}"/>
          </ac:spMkLst>
        </pc:spChg>
        <pc:spChg chg="add mod">
          <ac:chgData name="El Bakkouri, Manal" userId="8b130982-2e3f-4164-b881-fd3a2e4b2453" providerId="ADAL" clId="{4457FA57-250B-44AC-8655-05D46C5A3D8A}" dt="2023-05-23T14:00:20.700" v="6973" actId="14100"/>
          <ac:spMkLst>
            <pc:docMk/>
            <pc:sldMk cId="3945093569" sldId="230717637"/>
            <ac:spMk id="21" creationId="{22A3CDB1-151E-4AB1-AD86-3A0348E9CF8B}"/>
          </ac:spMkLst>
        </pc:spChg>
        <pc:spChg chg="add del mod">
          <ac:chgData name="El Bakkouri, Manal" userId="8b130982-2e3f-4164-b881-fd3a2e4b2453" providerId="ADAL" clId="{4457FA57-250B-44AC-8655-05D46C5A3D8A}" dt="2023-05-23T13:44:47.489" v="6883" actId="478"/>
          <ac:spMkLst>
            <pc:docMk/>
            <pc:sldMk cId="3945093569" sldId="230717637"/>
            <ac:spMk id="24" creationId="{FB1CA3FC-F7BB-40C0-915A-A5E499FEA0CF}"/>
          </ac:spMkLst>
        </pc:spChg>
        <pc:spChg chg="add mod">
          <ac:chgData name="El Bakkouri, Manal" userId="8b130982-2e3f-4164-b881-fd3a2e4b2453" providerId="ADAL" clId="{4457FA57-250B-44AC-8655-05D46C5A3D8A}" dt="2023-05-23T14:01:41.226" v="6977" actId="14100"/>
          <ac:spMkLst>
            <pc:docMk/>
            <pc:sldMk cId="3945093569" sldId="230717637"/>
            <ac:spMk id="35" creationId="{D7F05C52-B6CD-4272-B90F-E61A2348F4CC}"/>
          </ac:spMkLst>
        </pc:spChg>
        <pc:spChg chg="add mod">
          <ac:chgData name="El Bakkouri, Manal" userId="8b130982-2e3f-4164-b881-fd3a2e4b2453" providerId="ADAL" clId="{4457FA57-250B-44AC-8655-05D46C5A3D8A}" dt="2023-05-23T15:03:13.346" v="7353" actId="11530"/>
          <ac:spMkLst>
            <pc:docMk/>
            <pc:sldMk cId="3945093569" sldId="230717637"/>
            <ac:spMk id="38" creationId="{B0AC1D4B-D8D5-4000-A051-5DC2E2082866}"/>
          </ac:spMkLst>
        </pc:spChg>
        <pc:spChg chg="add mod">
          <ac:chgData name="El Bakkouri, Manal" userId="8b130982-2e3f-4164-b881-fd3a2e4b2453" providerId="ADAL" clId="{4457FA57-250B-44AC-8655-05D46C5A3D8A}" dt="2023-05-23T15:03:13.346" v="7353" actId="11530"/>
          <ac:spMkLst>
            <pc:docMk/>
            <pc:sldMk cId="3945093569" sldId="230717637"/>
            <ac:spMk id="39" creationId="{66E043FD-4289-41AA-BC1D-C25928184B44}"/>
          </ac:spMkLst>
        </pc:spChg>
        <pc:spChg chg="add mod">
          <ac:chgData name="El Bakkouri, Manal" userId="8b130982-2e3f-4164-b881-fd3a2e4b2453" providerId="ADAL" clId="{4457FA57-250B-44AC-8655-05D46C5A3D8A}" dt="2023-05-23T15:03:13.346" v="7353" actId="11530"/>
          <ac:spMkLst>
            <pc:docMk/>
            <pc:sldMk cId="3945093569" sldId="230717637"/>
            <ac:spMk id="40" creationId="{2862FA95-2F25-4EF6-AB08-BF1FAE120B1B}"/>
          </ac:spMkLst>
        </pc:spChg>
        <pc:spChg chg="add mod">
          <ac:chgData name="El Bakkouri, Manal" userId="8b130982-2e3f-4164-b881-fd3a2e4b2453" providerId="ADAL" clId="{4457FA57-250B-44AC-8655-05D46C5A3D8A}" dt="2023-05-23T15:03:13.346" v="7353" actId="11530"/>
          <ac:spMkLst>
            <pc:docMk/>
            <pc:sldMk cId="3945093569" sldId="230717637"/>
            <ac:spMk id="41" creationId="{485684A1-2F0B-488E-AEB1-7E7D13ED7B0A}"/>
          </ac:spMkLst>
        </pc:spChg>
        <pc:spChg chg="add mod">
          <ac:chgData name="El Bakkouri, Manal" userId="8b130982-2e3f-4164-b881-fd3a2e4b2453" providerId="ADAL" clId="{4457FA57-250B-44AC-8655-05D46C5A3D8A}" dt="2023-05-23T15:03:13.346" v="7353" actId="11530"/>
          <ac:spMkLst>
            <pc:docMk/>
            <pc:sldMk cId="3945093569" sldId="230717637"/>
            <ac:spMk id="42" creationId="{288711E4-B736-43A7-992E-BBF728FCFBBC}"/>
          </ac:spMkLst>
        </pc:spChg>
        <pc:spChg chg="add mod">
          <ac:chgData name="El Bakkouri, Manal" userId="8b130982-2e3f-4164-b881-fd3a2e4b2453" providerId="ADAL" clId="{4457FA57-250B-44AC-8655-05D46C5A3D8A}" dt="2023-05-23T15:03:13.346" v="7353" actId="11530"/>
          <ac:spMkLst>
            <pc:docMk/>
            <pc:sldMk cId="3945093569" sldId="230717637"/>
            <ac:spMk id="43" creationId="{1D2CEB91-AF19-4606-9653-51D6F2277CDA}"/>
          </ac:spMkLst>
        </pc:spChg>
        <pc:spChg chg="add mod">
          <ac:chgData name="El Bakkouri, Manal" userId="8b130982-2e3f-4164-b881-fd3a2e4b2453" providerId="ADAL" clId="{4457FA57-250B-44AC-8655-05D46C5A3D8A}" dt="2023-05-23T15:03:13.346" v="7353" actId="11530"/>
          <ac:spMkLst>
            <pc:docMk/>
            <pc:sldMk cId="3945093569" sldId="230717637"/>
            <ac:spMk id="44" creationId="{587E2448-34B5-46E5-8470-B8C66576DFD9}"/>
          </ac:spMkLst>
        </pc:spChg>
        <pc:spChg chg="add mod">
          <ac:chgData name="El Bakkouri, Manal" userId="8b130982-2e3f-4164-b881-fd3a2e4b2453" providerId="ADAL" clId="{4457FA57-250B-44AC-8655-05D46C5A3D8A}" dt="2023-05-23T15:03:13.346" v="7353" actId="11530"/>
          <ac:spMkLst>
            <pc:docMk/>
            <pc:sldMk cId="3945093569" sldId="230717637"/>
            <ac:spMk id="45" creationId="{888FFA3B-8B91-4849-8051-F09B866A53A6}"/>
          </ac:spMkLst>
        </pc:spChg>
        <pc:spChg chg="add mod">
          <ac:chgData name="El Bakkouri, Manal" userId="8b130982-2e3f-4164-b881-fd3a2e4b2453" providerId="ADAL" clId="{4457FA57-250B-44AC-8655-05D46C5A3D8A}" dt="2023-05-23T15:03:13.346" v="7353" actId="11530"/>
          <ac:spMkLst>
            <pc:docMk/>
            <pc:sldMk cId="3945093569" sldId="230717637"/>
            <ac:spMk id="46" creationId="{FA6EC5CA-A469-49C9-BD65-133A2C097C2A}"/>
          </ac:spMkLst>
        </pc:spChg>
        <pc:spChg chg="add del mod">
          <ac:chgData name="El Bakkouri, Manal" userId="8b130982-2e3f-4164-b881-fd3a2e4b2453" providerId="ADAL" clId="{4457FA57-250B-44AC-8655-05D46C5A3D8A}" dt="2023-05-23T15:03:13.346" v="7353" actId="11530"/>
          <ac:spMkLst>
            <pc:docMk/>
            <pc:sldMk cId="3945093569" sldId="230717637"/>
            <ac:spMk id="47" creationId="{AC8579D9-770D-4F06-B0B7-9ED067422D48}"/>
          </ac:spMkLst>
        </pc:spChg>
        <pc:spChg chg="add del mod">
          <ac:chgData name="El Bakkouri, Manal" userId="8b130982-2e3f-4164-b881-fd3a2e4b2453" providerId="ADAL" clId="{4457FA57-250B-44AC-8655-05D46C5A3D8A}" dt="2023-05-23T14:49:43.832" v="7171"/>
          <ac:spMkLst>
            <pc:docMk/>
            <pc:sldMk cId="3945093569" sldId="230717637"/>
            <ac:spMk id="48" creationId="{50A94E38-19A6-43DF-A96A-3EE40CA61B98}"/>
          </ac:spMkLst>
        </pc:spChg>
        <pc:spChg chg="add del mod">
          <ac:chgData name="El Bakkouri, Manal" userId="8b130982-2e3f-4164-b881-fd3a2e4b2453" providerId="ADAL" clId="{4457FA57-250B-44AC-8655-05D46C5A3D8A}" dt="2023-05-23T14:49:51.948" v="7174" actId="478"/>
          <ac:spMkLst>
            <pc:docMk/>
            <pc:sldMk cId="3945093569" sldId="230717637"/>
            <ac:spMk id="49" creationId="{458A17FB-BA9D-4771-83E0-FED672590103}"/>
          </ac:spMkLst>
        </pc:spChg>
        <pc:spChg chg="add del mod">
          <ac:chgData name="El Bakkouri, Manal" userId="8b130982-2e3f-4164-b881-fd3a2e4b2453" providerId="ADAL" clId="{4457FA57-250B-44AC-8655-05D46C5A3D8A}" dt="2023-05-23T15:35:03.475" v="8074" actId="478"/>
          <ac:spMkLst>
            <pc:docMk/>
            <pc:sldMk cId="3945093569" sldId="230717637"/>
            <ac:spMk id="50" creationId="{E2D2A94F-9121-490D-8235-25F0CDA16CFA}"/>
          </ac:spMkLst>
        </pc:spChg>
        <pc:spChg chg="add mod">
          <ac:chgData name="El Bakkouri, Manal" userId="8b130982-2e3f-4164-b881-fd3a2e4b2453" providerId="ADAL" clId="{4457FA57-250B-44AC-8655-05D46C5A3D8A}" dt="2023-05-23T15:03:13.346" v="7353" actId="11530"/>
          <ac:spMkLst>
            <pc:docMk/>
            <pc:sldMk cId="3945093569" sldId="230717637"/>
            <ac:spMk id="52" creationId="{966F75DA-13A5-43D1-A0B7-C877930E7FD1}"/>
          </ac:spMkLst>
        </pc:spChg>
        <pc:spChg chg="add del mod">
          <ac:chgData name="El Bakkouri, Manal" userId="8b130982-2e3f-4164-b881-fd3a2e4b2453" providerId="ADAL" clId="{4457FA57-250B-44AC-8655-05D46C5A3D8A}" dt="2023-05-23T15:09:25.291" v="7362" actId="478"/>
          <ac:spMkLst>
            <pc:docMk/>
            <pc:sldMk cId="3945093569" sldId="230717637"/>
            <ac:spMk id="56" creationId="{9DAEAB0B-57E9-409A-9EA1-DADCF3187281}"/>
          </ac:spMkLst>
        </pc:spChg>
        <pc:spChg chg="add mod ord">
          <ac:chgData name="El Bakkouri, Manal" userId="8b130982-2e3f-4164-b881-fd3a2e4b2453" providerId="ADAL" clId="{4457FA57-250B-44AC-8655-05D46C5A3D8A}" dt="2023-05-23T15:35:44.370" v="8134" actId="166"/>
          <ac:spMkLst>
            <pc:docMk/>
            <pc:sldMk cId="3945093569" sldId="230717637"/>
            <ac:spMk id="58" creationId="{E17C9726-2768-4E3A-B34F-9F094D35D113}"/>
          </ac:spMkLst>
        </pc:spChg>
        <pc:spChg chg="add del">
          <ac:chgData name="El Bakkouri, Manal" userId="8b130982-2e3f-4164-b881-fd3a2e4b2453" providerId="ADAL" clId="{4457FA57-250B-44AC-8655-05D46C5A3D8A}" dt="2023-05-23T15:15:18.403" v="7384" actId="478"/>
          <ac:spMkLst>
            <pc:docMk/>
            <pc:sldMk cId="3945093569" sldId="230717637"/>
            <ac:spMk id="61" creationId="{CD83E279-AC10-4935-8C9D-CF87138038CC}"/>
          </ac:spMkLst>
        </pc:spChg>
        <pc:spChg chg="add mod topLvl">
          <ac:chgData name="El Bakkouri, Manal" userId="8b130982-2e3f-4164-b881-fd3a2e4b2453" providerId="ADAL" clId="{4457FA57-250B-44AC-8655-05D46C5A3D8A}" dt="2023-05-23T15:35:35.236" v="8082" actId="164"/>
          <ac:spMkLst>
            <pc:docMk/>
            <pc:sldMk cId="3945093569" sldId="230717637"/>
            <ac:spMk id="62" creationId="{1472F870-7566-4F04-814F-173BAFF6BF3C}"/>
          </ac:spMkLst>
        </pc:spChg>
        <pc:spChg chg="add mod topLvl">
          <ac:chgData name="El Bakkouri, Manal" userId="8b130982-2e3f-4164-b881-fd3a2e4b2453" providerId="ADAL" clId="{4457FA57-250B-44AC-8655-05D46C5A3D8A}" dt="2023-05-23T15:35:35.236" v="8082" actId="164"/>
          <ac:spMkLst>
            <pc:docMk/>
            <pc:sldMk cId="3945093569" sldId="230717637"/>
            <ac:spMk id="63" creationId="{F305D4A3-C710-47DD-AAB8-6088388E6F39}"/>
          </ac:spMkLst>
        </pc:spChg>
        <pc:spChg chg="add mod topLvl">
          <ac:chgData name="El Bakkouri, Manal" userId="8b130982-2e3f-4164-b881-fd3a2e4b2453" providerId="ADAL" clId="{4457FA57-250B-44AC-8655-05D46C5A3D8A}" dt="2023-05-23T15:35:35.236" v="8082" actId="164"/>
          <ac:spMkLst>
            <pc:docMk/>
            <pc:sldMk cId="3945093569" sldId="230717637"/>
            <ac:spMk id="64" creationId="{E3974D9E-4148-47A8-949A-7E46DE717CBE}"/>
          </ac:spMkLst>
        </pc:spChg>
        <pc:spChg chg="add mod topLvl">
          <ac:chgData name="El Bakkouri, Manal" userId="8b130982-2e3f-4164-b881-fd3a2e4b2453" providerId="ADAL" clId="{4457FA57-250B-44AC-8655-05D46C5A3D8A}" dt="2023-05-23T15:35:35.236" v="8082" actId="164"/>
          <ac:spMkLst>
            <pc:docMk/>
            <pc:sldMk cId="3945093569" sldId="230717637"/>
            <ac:spMk id="65" creationId="{5B1F11C9-BBCB-40B4-92CE-1C818FB3BD6C}"/>
          </ac:spMkLst>
        </pc:spChg>
        <pc:spChg chg="add mod topLvl">
          <ac:chgData name="El Bakkouri, Manal" userId="8b130982-2e3f-4164-b881-fd3a2e4b2453" providerId="ADAL" clId="{4457FA57-250B-44AC-8655-05D46C5A3D8A}" dt="2023-05-23T15:35:35.236" v="8082" actId="164"/>
          <ac:spMkLst>
            <pc:docMk/>
            <pc:sldMk cId="3945093569" sldId="230717637"/>
            <ac:spMk id="66" creationId="{E22BB615-445D-4208-9AC1-9396D35C4645}"/>
          </ac:spMkLst>
        </pc:spChg>
        <pc:spChg chg="add mod">
          <ac:chgData name="El Bakkouri, Manal" userId="8b130982-2e3f-4164-b881-fd3a2e4b2453" providerId="ADAL" clId="{4457FA57-250B-44AC-8655-05D46C5A3D8A}" dt="2023-05-23T15:35:29.540" v="8081" actId="165"/>
          <ac:spMkLst>
            <pc:docMk/>
            <pc:sldMk cId="3945093569" sldId="230717637"/>
            <ac:spMk id="67" creationId="{0FD5997F-3E67-4636-B82E-3F1673A023C4}"/>
          </ac:spMkLst>
        </pc:spChg>
        <pc:spChg chg="add mod">
          <ac:chgData name="El Bakkouri, Manal" userId="8b130982-2e3f-4164-b881-fd3a2e4b2453" providerId="ADAL" clId="{4457FA57-250B-44AC-8655-05D46C5A3D8A}" dt="2023-05-23T15:35:29.540" v="8081" actId="165"/>
          <ac:spMkLst>
            <pc:docMk/>
            <pc:sldMk cId="3945093569" sldId="230717637"/>
            <ac:spMk id="68" creationId="{E328BE95-C5F8-4F72-B36A-05ED790C2ACE}"/>
          </ac:spMkLst>
        </pc:spChg>
        <pc:spChg chg="add mod">
          <ac:chgData name="El Bakkouri, Manal" userId="8b130982-2e3f-4164-b881-fd3a2e4b2453" providerId="ADAL" clId="{4457FA57-250B-44AC-8655-05D46C5A3D8A}" dt="2023-05-23T15:35:29.540" v="8081" actId="165"/>
          <ac:spMkLst>
            <pc:docMk/>
            <pc:sldMk cId="3945093569" sldId="230717637"/>
            <ac:spMk id="69" creationId="{9F65515E-FC92-4096-8D24-8E8AD0BDEA0A}"/>
          </ac:spMkLst>
        </pc:spChg>
        <pc:spChg chg="add del mod">
          <ac:chgData name="El Bakkouri, Manal" userId="8b130982-2e3f-4164-b881-fd3a2e4b2453" providerId="ADAL" clId="{4457FA57-250B-44AC-8655-05D46C5A3D8A}" dt="2023-05-23T15:16:32.096" v="7400" actId="478"/>
          <ac:spMkLst>
            <pc:docMk/>
            <pc:sldMk cId="3945093569" sldId="230717637"/>
            <ac:spMk id="70" creationId="{C26A7D22-F143-496E-AE5B-DA70F0F5B884}"/>
          </ac:spMkLst>
        </pc:spChg>
        <pc:spChg chg="add del mod">
          <ac:chgData name="El Bakkouri, Manal" userId="8b130982-2e3f-4164-b881-fd3a2e4b2453" providerId="ADAL" clId="{4457FA57-250B-44AC-8655-05D46C5A3D8A}" dt="2023-05-23T15:16:32.096" v="7400" actId="478"/>
          <ac:spMkLst>
            <pc:docMk/>
            <pc:sldMk cId="3945093569" sldId="230717637"/>
            <ac:spMk id="71" creationId="{0AAE27CC-DBE7-4A34-9111-6F6FBB5103FD}"/>
          </ac:spMkLst>
        </pc:spChg>
        <pc:spChg chg="add del mod">
          <ac:chgData name="El Bakkouri, Manal" userId="8b130982-2e3f-4164-b881-fd3a2e4b2453" providerId="ADAL" clId="{4457FA57-250B-44AC-8655-05D46C5A3D8A}" dt="2023-05-23T15:16:43.498" v="7404" actId="478"/>
          <ac:spMkLst>
            <pc:docMk/>
            <pc:sldMk cId="3945093569" sldId="230717637"/>
            <ac:spMk id="72" creationId="{F29806CB-8A0A-4D15-8B02-44285E047C49}"/>
          </ac:spMkLst>
        </pc:spChg>
        <pc:spChg chg="add mod">
          <ac:chgData name="El Bakkouri, Manal" userId="8b130982-2e3f-4164-b881-fd3a2e4b2453" providerId="ADAL" clId="{4457FA57-250B-44AC-8655-05D46C5A3D8A}" dt="2023-05-23T15:35:29.540" v="8081" actId="165"/>
          <ac:spMkLst>
            <pc:docMk/>
            <pc:sldMk cId="3945093569" sldId="230717637"/>
            <ac:spMk id="73" creationId="{BBBF150F-D08C-491B-B94E-96BCAE1418FC}"/>
          </ac:spMkLst>
        </pc:spChg>
        <pc:spChg chg="add mod">
          <ac:chgData name="El Bakkouri, Manal" userId="8b130982-2e3f-4164-b881-fd3a2e4b2453" providerId="ADAL" clId="{4457FA57-250B-44AC-8655-05D46C5A3D8A}" dt="2023-05-23T15:35:29.540" v="8081" actId="165"/>
          <ac:spMkLst>
            <pc:docMk/>
            <pc:sldMk cId="3945093569" sldId="230717637"/>
            <ac:spMk id="74" creationId="{CF745C1E-2821-4B94-9781-EC7A0DAF508E}"/>
          </ac:spMkLst>
        </pc:spChg>
        <pc:spChg chg="add mod">
          <ac:chgData name="El Bakkouri, Manal" userId="8b130982-2e3f-4164-b881-fd3a2e4b2453" providerId="ADAL" clId="{4457FA57-250B-44AC-8655-05D46C5A3D8A}" dt="2023-05-23T15:35:29.540" v="8081" actId="165"/>
          <ac:spMkLst>
            <pc:docMk/>
            <pc:sldMk cId="3945093569" sldId="230717637"/>
            <ac:spMk id="75" creationId="{AA431DA0-5C43-4108-8E3C-041115FDB660}"/>
          </ac:spMkLst>
        </pc:spChg>
        <pc:spChg chg="add del mod">
          <ac:chgData name="El Bakkouri, Manal" userId="8b130982-2e3f-4164-b881-fd3a2e4b2453" providerId="ADAL" clId="{4457FA57-250B-44AC-8655-05D46C5A3D8A}" dt="2023-05-23T15:23:50.146" v="7648"/>
          <ac:spMkLst>
            <pc:docMk/>
            <pc:sldMk cId="3945093569" sldId="230717637"/>
            <ac:spMk id="76" creationId="{C9EA35F5-9BBF-4842-B00F-E29070557F12}"/>
          </ac:spMkLst>
        </pc:spChg>
        <pc:spChg chg="add del mod">
          <ac:chgData name="El Bakkouri, Manal" userId="8b130982-2e3f-4164-b881-fd3a2e4b2453" providerId="ADAL" clId="{4457FA57-250B-44AC-8655-05D46C5A3D8A}" dt="2023-05-23T15:35:09.015" v="8077" actId="478"/>
          <ac:spMkLst>
            <pc:docMk/>
            <pc:sldMk cId="3945093569" sldId="230717637"/>
            <ac:spMk id="77" creationId="{8B66601B-AF92-45CF-969D-DF5AF0943E75}"/>
          </ac:spMkLst>
        </pc:spChg>
        <pc:spChg chg="add mod">
          <ac:chgData name="El Bakkouri, Manal" userId="8b130982-2e3f-4164-b881-fd3a2e4b2453" providerId="ADAL" clId="{4457FA57-250B-44AC-8655-05D46C5A3D8A}" dt="2023-05-23T15:35:29.540" v="8081" actId="165"/>
          <ac:spMkLst>
            <pc:docMk/>
            <pc:sldMk cId="3945093569" sldId="230717637"/>
            <ac:spMk id="78" creationId="{A0CE316F-CFD4-4D0E-8A57-C49B10493FA6}"/>
          </ac:spMkLst>
        </pc:spChg>
        <pc:spChg chg="add mod">
          <ac:chgData name="El Bakkouri, Manal" userId="8b130982-2e3f-4164-b881-fd3a2e4b2453" providerId="ADAL" clId="{4457FA57-250B-44AC-8655-05D46C5A3D8A}" dt="2023-05-23T15:35:29.540" v="8081" actId="165"/>
          <ac:spMkLst>
            <pc:docMk/>
            <pc:sldMk cId="3945093569" sldId="230717637"/>
            <ac:spMk id="79" creationId="{58DFAE7D-71D8-4231-AA3E-777181BC4BFA}"/>
          </ac:spMkLst>
        </pc:spChg>
        <pc:spChg chg="add mod">
          <ac:chgData name="El Bakkouri, Manal" userId="8b130982-2e3f-4164-b881-fd3a2e4b2453" providerId="ADAL" clId="{4457FA57-250B-44AC-8655-05D46C5A3D8A}" dt="2023-05-23T15:35:29.540" v="8081" actId="165"/>
          <ac:spMkLst>
            <pc:docMk/>
            <pc:sldMk cId="3945093569" sldId="230717637"/>
            <ac:spMk id="80" creationId="{F2457589-7FF8-4C8F-9D12-339142745AC9}"/>
          </ac:spMkLst>
        </pc:spChg>
        <pc:spChg chg="add mod">
          <ac:chgData name="El Bakkouri, Manal" userId="8b130982-2e3f-4164-b881-fd3a2e4b2453" providerId="ADAL" clId="{4457FA57-250B-44AC-8655-05D46C5A3D8A}" dt="2023-05-23T15:35:29.540" v="8081" actId="165"/>
          <ac:spMkLst>
            <pc:docMk/>
            <pc:sldMk cId="3945093569" sldId="230717637"/>
            <ac:spMk id="81" creationId="{B3750413-4A1C-4007-BD88-DB153EC520B3}"/>
          </ac:spMkLst>
        </pc:spChg>
        <pc:spChg chg="add mod">
          <ac:chgData name="El Bakkouri, Manal" userId="8b130982-2e3f-4164-b881-fd3a2e4b2453" providerId="ADAL" clId="{4457FA57-250B-44AC-8655-05D46C5A3D8A}" dt="2023-05-23T15:42:09.531" v="8220" actId="1076"/>
          <ac:spMkLst>
            <pc:docMk/>
            <pc:sldMk cId="3945093569" sldId="230717637"/>
            <ac:spMk id="96" creationId="{07D4BAF4-F56E-4561-88D3-A1F7DE5E190E}"/>
          </ac:spMkLst>
        </pc:spChg>
        <pc:spChg chg="add mod ord">
          <ac:chgData name="El Bakkouri, Manal" userId="8b130982-2e3f-4164-b881-fd3a2e4b2453" providerId="ADAL" clId="{4457FA57-250B-44AC-8655-05D46C5A3D8A}" dt="2023-05-23T15:53:59.062" v="8641" actId="167"/>
          <ac:spMkLst>
            <pc:docMk/>
            <pc:sldMk cId="3945093569" sldId="230717637"/>
            <ac:spMk id="97" creationId="{ED036FF4-3F26-4EA5-983B-F3D0FE8A8683}"/>
          </ac:spMkLst>
        </pc:spChg>
        <pc:grpChg chg="add mod">
          <ac:chgData name="El Bakkouri, Manal" userId="8b130982-2e3f-4164-b881-fd3a2e4b2453" providerId="ADAL" clId="{4457FA57-250B-44AC-8655-05D46C5A3D8A}" dt="2023-05-23T15:03:13.346" v="7353" actId="11530"/>
          <ac:grpSpMkLst>
            <pc:docMk/>
            <pc:sldMk cId="3945093569" sldId="230717637"/>
            <ac:grpSpMk id="53" creationId="{09AB5DE4-D469-4FD0-9AD1-BEA21E0EF57A}"/>
          </ac:grpSpMkLst>
        </pc:grpChg>
        <pc:grpChg chg="add mod">
          <ac:chgData name="El Bakkouri, Manal" userId="8b130982-2e3f-4164-b881-fd3a2e4b2453" providerId="ADAL" clId="{4457FA57-250B-44AC-8655-05D46C5A3D8A}" dt="2023-05-23T15:03:13.346" v="7353" actId="11530"/>
          <ac:grpSpMkLst>
            <pc:docMk/>
            <pc:sldMk cId="3945093569" sldId="230717637"/>
            <ac:grpSpMk id="54" creationId="{C2495E2B-7615-4E05-86AC-C162B4618BD5}"/>
          </ac:grpSpMkLst>
        </pc:grpChg>
        <pc:grpChg chg="add mod topLvl">
          <ac:chgData name="El Bakkouri, Manal" userId="8b130982-2e3f-4164-b881-fd3a2e4b2453" providerId="ADAL" clId="{4457FA57-250B-44AC-8655-05D46C5A3D8A}" dt="2023-05-23T15:35:35.236" v="8082" actId="164"/>
          <ac:grpSpMkLst>
            <pc:docMk/>
            <pc:sldMk cId="3945093569" sldId="230717637"/>
            <ac:grpSpMk id="82" creationId="{F20C9858-5B37-418D-BD49-37ED40577EAF}"/>
          </ac:grpSpMkLst>
        </pc:grpChg>
        <pc:grpChg chg="add mod topLvl">
          <ac:chgData name="El Bakkouri, Manal" userId="8b130982-2e3f-4164-b881-fd3a2e4b2453" providerId="ADAL" clId="{4457FA57-250B-44AC-8655-05D46C5A3D8A}" dt="2023-05-23T15:35:35.236" v="8082" actId="164"/>
          <ac:grpSpMkLst>
            <pc:docMk/>
            <pc:sldMk cId="3945093569" sldId="230717637"/>
            <ac:grpSpMk id="83" creationId="{03743DC6-DA9A-4A61-A5EE-7BD2BEF45E02}"/>
          </ac:grpSpMkLst>
        </pc:grpChg>
        <pc:grpChg chg="add mod">
          <ac:chgData name="El Bakkouri, Manal" userId="8b130982-2e3f-4164-b881-fd3a2e4b2453" providerId="ADAL" clId="{4457FA57-250B-44AC-8655-05D46C5A3D8A}" dt="2023-05-23T15:30:06.459" v="8063" actId="164"/>
          <ac:grpSpMkLst>
            <pc:docMk/>
            <pc:sldMk cId="3945093569" sldId="230717637"/>
            <ac:grpSpMk id="84" creationId="{2CF3CF94-5E02-4477-BD85-7AD3F365B22F}"/>
          </ac:grpSpMkLst>
        </pc:grpChg>
        <pc:grpChg chg="add mod">
          <ac:chgData name="El Bakkouri, Manal" userId="8b130982-2e3f-4164-b881-fd3a2e4b2453" providerId="ADAL" clId="{4457FA57-250B-44AC-8655-05D46C5A3D8A}" dt="2023-05-23T15:30:06.034" v="8062" actId="164"/>
          <ac:grpSpMkLst>
            <pc:docMk/>
            <pc:sldMk cId="3945093569" sldId="230717637"/>
            <ac:grpSpMk id="85" creationId="{DB0E6E7C-6643-4355-BF83-20FC218BC327}"/>
          </ac:grpSpMkLst>
        </pc:grpChg>
        <pc:grpChg chg="add mod topLvl">
          <ac:chgData name="El Bakkouri, Manal" userId="8b130982-2e3f-4164-b881-fd3a2e4b2453" providerId="ADAL" clId="{4457FA57-250B-44AC-8655-05D46C5A3D8A}" dt="2023-05-23T15:35:35.236" v="8082" actId="164"/>
          <ac:grpSpMkLst>
            <pc:docMk/>
            <pc:sldMk cId="3945093569" sldId="230717637"/>
            <ac:grpSpMk id="86" creationId="{743A6C26-DB4E-4C05-AD25-638CCA117BEB}"/>
          </ac:grpSpMkLst>
        </pc:grpChg>
        <pc:grpChg chg="add mod topLvl">
          <ac:chgData name="El Bakkouri, Manal" userId="8b130982-2e3f-4164-b881-fd3a2e4b2453" providerId="ADAL" clId="{4457FA57-250B-44AC-8655-05D46C5A3D8A}" dt="2023-05-23T15:35:35.236" v="8082" actId="164"/>
          <ac:grpSpMkLst>
            <pc:docMk/>
            <pc:sldMk cId="3945093569" sldId="230717637"/>
            <ac:grpSpMk id="87" creationId="{C64BC34A-2CB6-4FA2-811C-0235D7144086}"/>
          </ac:grpSpMkLst>
        </pc:grpChg>
        <pc:grpChg chg="add mod topLvl">
          <ac:chgData name="El Bakkouri, Manal" userId="8b130982-2e3f-4164-b881-fd3a2e4b2453" providerId="ADAL" clId="{4457FA57-250B-44AC-8655-05D46C5A3D8A}" dt="2023-05-23T15:35:35.236" v="8082" actId="164"/>
          <ac:grpSpMkLst>
            <pc:docMk/>
            <pc:sldMk cId="3945093569" sldId="230717637"/>
            <ac:grpSpMk id="88" creationId="{1A60F772-BE2A-459A-BE28-053275AF54AC}"/>
          </ac:grpSpMkLst>
        </pc:grpChg>
        <pc:grpChg chg="add del mod">
          <ac:chgData name="El Bakkouri, Manal" userId="8b130982-2e3f-4164-b881-fd3a2e4b2453" providerId="ADAL" clId="{4457FA57-250B-44AC-8655-05D46C5A3D8A}" dt="2023-05-23T15:35:29.540" v="8081" actId="165"/>
          <ac:grpSpMkLst>
            <pc:docMk/>
            <pc:sldMk cId="3945093569" sldId="230717637"/>
            <ac:grpSpMk id="89" creationId="{B62CB0A4-97AE-4290-A1B7-4CEAE3BB7CEC}"/>
          </ac:grpSpMkLst>
        </pc:grpChg>
        <pc:grpChg chg="add mod">
          <ac:chgData name="El Bakkouri, Manal" userId="8b130982-2e3f-4164-b881-fd3a2e4b2453" providerId="ADAL" clId="{4457FA57-250B-44AC-8655-05D46C5A3D8A}" dt="2023-05-23T15:42:13.820" v="8223" actId="1037"/>
          <ac:grpSpMkLst>
            <pc:docMk/>
            <pc:sldMk cId="3945093569" sldId="230717637"/>
            <ac:grpSpMk id="91" creationId="{24316474-87E9-4408-B0B3-B925860EDC47}"/>
          </ac:grpSpMkLst>
        </pc:grpChg>
        <pc:picChg chg="add del mod">
          <ac:chgData name="El Bakkouri, Manal" userId="8b130982-2e3f-4164-b881-fd3a2e4b2453" providerId="ADAL" clId="{4457FA57-250B-44AC-8655-05D46C5A3D8A}" dt="2023-05-23T13:44:47.489" v="6883" actId="478"/>
          <ac:picMkLst>
            <pc:docMk/>
            <pc:sldMk cId="3945093569" sldId="230717637"/>
            <ac:picMk id="23" creationId="{22B115CF-0D94-4E69-A0CF-A82B8EC3C9C5}"/>
          </ac:picMkLst>
        </pc:picChg>
        <pc:picChg chg="add del mod">
          <ac:chgData name="El Bakkouri, Manal" userId="8b130982-2e3f-4164-b881-fd3a2e4b2453" providerId="ADAL" clId="{4457FA57-250B-44AC-8655-05D46C5A3D8A}" dt="2023-05-23T13:45:56.193" v="6890" actId="478"/>
          <ac:picMkLst>
            <pc:docMk/>
            <pc:sldMk cId="3945093569" sldId="230717637"/>
            <ac:picMk id="26" creationId="{9FB6A41D-DC11-45F1-ACDD-B829340D1D14}"/>
          </ac:picMkLst>
        </pc:picChg>
        <pc:picChg chg="add mod">
          <ac:chgData name="El Bakkouri, Manal" userId="8b130982-2e3f-4164-b881-fd3a2e4b2453" providerId="ADAL" clId="{4457FA57-250B-44AC-8655-05D46C5A3D8A}" dt="2023-05-23T14:00:31.829" v="6975" actId="12788"/>
          <ac:picMkLst>
            <pc:docMk/>
            <pc:sldMk cId="3945093569" sldId="230717637"/>
            <ac:picMk id="28" creationId="{B4D9BF0D-FA21-46A6-84F3-A7C17F817668}"/>
          </ac:picMkLst>
        </pc:picChg>
        <pc:picChg chg="add mod ord">
          <ac:chgData name="El Bakkouri, Manal" userId="8b130982-2e3f-4164-b881-fd3a2e4b2453" providerId="ADAL" clId="{4457FA57-250B-44AC-8655-05D46C5A3D8A}" dt="2023-05-23T15:35:44.370" v="8134" actId="166"/>
          <ac:picMkLst>
            <pc:docMk/>
            <pc:sldMk cId="3945093569" sldId="230717637"/>
            <ac:picMk id="30" creationId="{E4EE3A98-AFF2-40BD-8BA0-FEFCD4A7176A}"/>
          </ac:picMkLst>
        </pc:picChg>
        <pc:picChg chg="add del mod">
          <ac:chgData name="El Bakkouri, Manal" userId="8b130982-2e3f-4164-b881-fd3a2e4b2453" providerId="ADAL" clId="{4457FA57-250B-44AC-8655-05D46C5A3D8A}" dt="2023-05-23T13:53:44.885" v="6928" actId="478"/>
          <ac:picMkLst>
            <pc:docMk/>
            <pc:sldMk cId="3945093569" sldId="230717637"/>
            <ac:picMk id="32" creationId="{E452C797-D3A5-443C-A59C-064373954AA3}"/>
          </ac:picMkLst>
        </pc:picChg>
        <pc:picChg chg="add mod">
          <ac:chgData name="El Bakkouri, Manal" userId="8b130982-2e3f-4164-b881-fd3a2e4b2453" providerId="ADAL" clId="{4457FA57-250B-44AC-8655-05D46C5A3D8A}" dt="2023-05-23T13:54:27.458" v="6933" actId="1076"/>
          <ac:picMkLst>
            <pc:docMk/>
            <pc:sldMk cId="3945093569" sldId="230717637"/>
            <ac:picMk id="34" creationId="{D564EC6A-F3F4-4B76-8AAB-763C9CFA7863}"/>
          </ac:picMkLst>
        </pc:picChg>
        <pc:picChg chg="add del mod">
          <ac:chgData name="El Bakkouri, Manal" userId="8b130982-2e3f-4164-b881-fd3a2e4b2453" providerId="ADAL" clId="{4457FA57-250B-44AC-8655-05D46C5A3D8A}" dt="2023-05-23T14:43:30.825" v="6985" actId="478"/>
          <ac:picMkLst>
            <pc:docMk/>
            <pc:sldMk cId="3945093569" sldId="230717637"/>
            <ac:picMk id="37" creationId="{0219BD29-3150-458B-A63A-74B477823D28}"/>
          </ac:picMkLst>
        </pc:picChg>
        <pc:picChg chg="add del mod modCrop">
          <ac:chgData name="El Bakkouri, Manal" userId="8b130982-2e3f-4164-b881-fd3a2e4b2453" providerId="ADAL" clId="{4457FA57-250B-44AC-8655-05D46C5A3D8A}" dt="2023-05-23T15:30:43.320" v="8069" actId="478"/>
          <ac:picMkLst>
            <pc:docMk/>
            <pc:sldMk cId="3945093569" sldId="230717637"/>
            <ac:picMk id="60" creationId="{48E86180-92F0-420D-8737-62C8E64CFFF5}"/>
          </ac:picMkLst>
        </pc:picChg>
        <pc:picChg chg="add mod">
          <ac:chgData name="El Bakkouri, Manal" userId="8b130982-2e3f-4164-b881-fd3a2e4b2453" providerId="ADAL" clId="{4457FA57-250B-44AC-8655-05D46C5A3D8A}" dt="2023-05-23T15:42:22.763" v="8232" actId="14100"/>
          <ac:picMkLst>
            <pc:docMk/>
            <pc:sldMk cId="3945093569" sldId="230717637"/>
            <ac:picMk id="90" creationId="{E6EABDD6-2E77-487C-BDEE-E07358A7FDB8}"/>
          </ac:picMkLst>
        </pc:picChg>
        <pc:picChg chg="add del mod">
          <ac:chgData name="El Bakkouri, Manal" userId="8b130982-2e3f-4164-b881-fd3a2e4b2453" providerId="ADAL" clId="{4457FA57-250B-44AC-8655-05D46C5A3D8A}" dt="2023-05-23T15:40:13.203" v="8207" actId="478"/>
          <ac:picMkLst>
            <pc:docMk/>
            <pc:sldMk cId="3945093569" sldId="230717637"/>
            <ac:picMk id="93" creationId="{66C86513-6882-4FBA-90CC-4BAF98913069}"/>
          </ac:picMkLst>
        </pc:picChg>
        <pc:picChg chg="add del">
          <ac:chgData name="El Bakkouri, Manal" userId="8b130982-2e3f-4164-b881-fd3a2e4b2453" providerId="ADAL" clId="{4457FA57-250B-44AC-8655-05D46C5A3D8A}" dt="2023-05-23T15:39:26.306" v="8202"/>
          <ac:picMkLst>
            <pc:docMk/>
            <pc:sldMk cId="3945093569" sldId="230717637"/>
            <ac:picMk id="5123" creationId="{68F47D9E-45D0-407A-80C6-F628E7B342BF}"/>
          </ac:picMkLst>
        </pc:picChg>
      </pc:sldChg>
      <pc:sldChg chg="addSp delSp modSp add del mod modTransition">
        <pc:chgData name="El Bakkouri, Manal" userId="8b130982-2e3f-4164-b881-fd3a2e4b2453" providerId="ADAL" clId="{4457FA57-250B-44AC-8655-05D46C5A3D8A}" dt="2023-05-23T18:38:54.264" v="9425" actId="2696"/>
        <pc:sldMkLst>
          <pc:docMk/>
          <pc:sldMk cId="1654407625" sldId="230717638"/>
        </pc:sldMkLst>
        <pc:spChg chg="add del">
          <ac:chgData name="El Bakkouri, Manal" userId="8b130982-2e3f-4164-b881-fd3a2e4b2453" providerId="ADAL" clId="{4457FA57-250B-44AC-8655-05D46C5A3D8A}" dt="2023-05-23T15:52:01.168" v="8472" actId="478"/>
          <ac:spMkLst>
            <pc:docMk/>
            <pc:sldMk cId="1654407625" sldId="230717638"/>
            <ac:spMk id="2" creationId="{B8BF99FE-CED5-4EF3-BA0D-41716A75CD12}"/>
          </ac:spMkLst>
        </pc:spChg>
        <pc:spChg chg="add mod ord">
          <ac:chgData name="El Bakkouri, Manal" userId="8b130982-2e3f-4164-b881-fd3a2e4b2453" providerId="ADAL" clId="{4457FA57-250B-44AC-8655-05D46C5A3D8A}" dt="2023-05-23T18:37:26.978" v="9386" actId="1076"/>
          <ac:spMkLst>
            <pc:docMk/>
            <pc:sldMk cId="1654407625" sldId="230717638"/>
            <ac:spMk id="3" creationId="{B2A839E4-2279-465D-BDC5-03FE0C71ECA2}"/>
          </ac:spMkLst>
        </pc:spChg>
        <pc:spChg chg="mod ord">
          <ac:chgData name="El Bakkouri, Manal" userId="8b130982-2e3f-4164-b881-fd3a2e4b2453" providerId="ADAL" clId="{4457FA57-250B-44AC-8655-05D46C5A3D8A}" dt="2023-05-23T15:54:32.928" v="8690" actId="554"/>
          <ac:spMkLst>
            <pc:docMk/>
            <pc:sldMk cId="1654407625" sldId="230717638"/>
            <ac:spMk id="19" creationId="{B30F652F-B4AB-4663-B9DF-0896119C5242}"/>
          </ac:spMkLst>
        </pc:spChg>
        <pc:spChg chg="mod ord">
          <ac:chgData name="El Bakkouri, Manal" userId="8b130982-2e3f-4164-b881-fd3a2e4b2453" providerId="ADAL" clId="{4457FA57-250B-44AC-8655-05D46C5A3D8A}" dt="2023-05-23T15:54:32.928" v="8690" actId="554"/>
          <ac:spMkLst>
            <pc:docMk/>
            <pc:sldMk cId="1654407625" sldId="230717638"/>
            <ac:spMk id="20" creationId="{4BDC13F8-FF45-4747-82D1-66D3B6F0B152}"/>
          </ac:spMkLst>
        </pc:spChg>
        <pc:spChg chg="mod ord">
          <ac:chgData name="El Bakkouri, Manal" userId="8b130982-2e3f-4164-b881-fd3a2e4b2453" providerId="ADAL" clId="{4457FA57-250B-44AC-8655-05D46C5A3D8A}" dt="2023-05-23T18:37:19.670" v="9384" actId="1076"/>
          <ac:spMkLst>
            <pc:docMk/>
            <pc:sldMk cId="1654407625" sldId="230717638"/>
            <ac:spMk id="21" creationId="{22A3CDB1-151E-4AB1-AD86-3A0348E9CF8B}"/>
          </ac:spMkLst>
        </pc:spChg>
        <pc:grpChg chg="del">
          <ac:chgData name="El Bakkouri, Manal" userId="8b130982-2e3f-4164-b881-fd3a2e4b2453" providerId="ADAL" clId="{4457FA57-250B-44AC-8655-05D46C5A3D8A}" dt="2023-05-23T18:37:21.942" v="9385" actId="478"/>
          <ac:grpSpMkLst>
            <pc:docMk/>
            <pc:sldMk cId="1654407625" sldId="230717638"/>
            <ac:grpSpMk id="54" creationId="{C2495E2B-7615-4E05-86AC-C162B4618BD5}"/>
          </ac:grpSpMkLst>
        </pc:grpChg>
        <pc:picChg chg="ord">
          <ac:chgData name="El Bakkouri, Manal" userId="8b130982-2e3f-4164-b881-fd3a2e4b2453" providerId="ADAL" clId="{4457FA57-250B-44AC-8655-05D46C5A3D8A}" dt="2023-05-23T15:42:37.407" v="8236" actId="166"/>
          <ac:picMkLst>
            <pc:docMk/>
            <pc:sldMk cId="1654407625" sldId="230717638"/>
            <ac:picMk id="34" creationId="{D564EC6A-F3F4-4B76-8AAB-763C9CFA7863}"/>
          </ac:picMkLst>
        </pc:picChg>
        <pc:picChg chg="add del mod">
          <ac:chgData name="El Bakkouri, Manal" userId="8b130982-2e3f-4164-b881-fd3a2e4b2453" providerId="ADAL" clId="{4457FA57-250B-44AC-8655-05D46C5A3D8A}" dt="2023-05-23T15:45:00.891" v="8288" actId="478"/>
          <ac:picMkLst>
            <pc:docMk/>
            <pc:sldMk cId="1654407625" sldId="230717638"/>
            <ac:picMk id="56" creationId="{C5A7B1AA-AA6B-499A-99B8-C20A8944059B}"/>
          </ac:picMkLst>
        </pc:picChg>
        <pc:picChg chg="add del mod">
          <ac:chgData name="El Bakkouri, Manal" userId="8b130982-2e3f-4164-b881-fd3a2e4b2453" providerId="ADAL" clId="{4457FA57-250B-44AC-8655-05D46C5A3D8A}" dt="2023-05-23T15:45:01.291" v="8289" actId="478"/>
          <ac:picMkLst>
            <pc:docMk/>
            <pc:sldMk cId="1654407625" sldId="230717638"/>
            <ac:picMk id="57" creationId="{00BDA16F-7535-4CAD-A859-A86C4B2DA1DF}"/>
          </ac:picMkLst>
        </pc:picChg>
      </pc:sldChg>
      <pc:sldChg chg="modSp add del mod modTransition">
        <pc:chgData name="El Bakkouri, Manal" userId="8b130982-2e3f-4164-b881-fd3a2e4b2453" providerId="ADAL" clId="{4457FA57-250B-44AC-8655-05D46C5A3D8A}" dt="2023-05-23T15:47:50.961" v="8326" actId="2696"/>
        <pc:sldMkLst>
          <pc:docMk/>
          <pc:sldMk cId="1380692240" sldId="230717639"/>
        </pc:sldMkLst>
        <pc:spChg chg="mod">
          <ac:chgData name="El Bakkouri, Manal" userId="8b130982-2e3f-4164-b881-fd3a2e4b2453" providerId="ADAL" clId="{4457FA57-250B-44AC-8655-05D46C5A3D8A}" dt="2023-05-23T15:46:07.609" v="8309" actId="14100"/>
          <ac:spMkLst>
            <pc:docMk/>
            <pc:sldMk cId="1380692240" sldId="230717639"/>
            <ac:spMk id="21" creationId="{22A3CDB1-151E-4AB1-AD86-3A0348E9CF8B}"/>
          </ac:spMkLst>
        </pc:spChg>
      </pc:sldChg>
      <pc:sldChg chg="addSp delSp modSp add del mod ord modTransition">
        <pc:chgData name="El Bakkouri, Manal" userId="8b130982-2e3f-4164-b881-fd3a2e4b2453" providerId="ADAL" clId="{4457FA57-250B-44AC-8655-05D46C5A3D8A}" dt="2023-05-23T18:36:42.135" v="9382" actId="2696"/>
        <pc:sldMkLst>
          <pc:docMk/>
          <pc:sldMk cId="2163365939" sldId="230717640"/>
        </pc:sldMkLst>
        <pc:spChg chg="mod">
          <ac:chgData name="El Bakkouri, Manal" userId="8b130982-2e3f-4164-b881-fd3a2e4b2453" providerId="ADAL" clId="{4457FA57-250B-44AC-8655-05D46C5A3D8A}" dt="2023-05-23T18:36:39.492" v="9381" actId="1076"/>
          <ac:spMkLst>
            <pc:docMk/>
            <pc:sldMk cId="2163365939" sldId="230717640"/>
            <ac:spMk id="19" creationId="{B30F652F-B4AB-4663-B9DF-0896119C5242}"/>
          </ac:spMkLst>
        </pc:spChg>
        <pc:spChg chg="mod">
          <ac:chgData name="El Bakkouri, Manal" userId="8b130982-2e3f-4164-b881-fd3a2e4b2453" providerId="ADAL" clId="{4457FA57-250B-44AC-8655-05D46C5A3D8A}" dt="2023-05-23T15:46:33.327" v="8315" actId="14100"/>
          <ac:spMkLst>
            <pc:docMk/>
            <pc:sldMk cId="2163365939" sldId="230717640"/>
            <ac:spMk id="20" creationId="{4BDC13F8-FF45-4747-82D1-66D3B6F0B152}"/>
          </ac:spMkLst>
        </pc:spChg>
        <pc:spChg chg="add mod ord">
          <ac:chgData name="El Bakkouri, Manal" userId="8b130982-2e3f-4164-b881-fd3a2e4b2453" providerId="ADAL" clId="{4457FA57-250B-44AC-8655-05D46C5A3D8A}" dt="2023-05-23T15:53:35.260" v="8635" actId="167"/>
          <ac:spMkLst>
            <pc:docMk/>
            <pc:sldMk cId="2163365939" sldId="230717640"/>
            <ac:spMk id="56" creationId="{BEBA08A4-C453-40C1-A8EF-BF96B32B8BFE}"/>
          </ac:spMkLst>
        </pc:spChg>
        <pc:picChg chg="add del">
          <ac:chgData name="El Bakkouri, Manal" userId="8b130982-2e3f-4164-b881-fd3a2e4b2453" providerId="ADAL" clId="{4457FA57-250B-44AC-8655-05D46C5A3D8A}" dt="2023-05-23T18:31:09.305" v="9211" actId="478"/>
          <ac:picMkLst>
            <pc:docMk/>
            <pc:sldMk cId="2163365939" sldId="230717640"/>
            <ac:picMk id="90" creationId="{E6EABDD6-2E77-487C-BDEE-E07358A7FDB8}"/>
          </ac:picMkLst>
        </pc:picChg>
      </pc:sldChg>
      <pc:sldChg chg="addSp delSp modSp add del mod ord modTransition">
        <pc:chgData name="El Bakkouri, Manal" userId="8b130982-2e3f-4164-b881-fd3a2e4b2453" providerId="ADAL" clId="{4457FA57-250B-44AC-8655-05D46C5A3D8A}" dt="2023-05-23T18:37:02.235" v="9383" actId="2696"/>
        <pc:sldMkLst>
          <pc:docMk/>
          <pc:sldMk cId="3500319787" sldId="230717641"/>
        </pc:sldMkLst>
        <pc:spChg chg="mod">
          <ac:chgData name="El Bakkouri, Manal" userId="8b130982-2e3f-4164-b881-fd3a2e4b2453" providerId="ADAL" clId="{4457FA57-250B-44AC-8655-05D46C5A3D8A}" dt="2023-05-23T18:31:10.255" v="9213" actId="1037"/>
          <ac:spMkLst>
            <pc:docMk/>
            <pc:sldMk cId="3500319787" sldId="230717641"/>
            <ac:spMk id="19" creationId="{B30F652F-B4AB-4663-B9DF-0896119C5242}"/>
          </ac:spMkLst>
        </pc:spChg>
        <pc:spChg chg="add mod ord">
          <ac:chgData name="El Bakkouri, Manal" userId="8b130982-2e3f-4164-b881-fd3a2e4b2453" providerId="ADAL" clId="{4457FA57-250B-44AC-8655-05D46C5A3D8A}" dt="2023-05-23T18:31:12.454" v="9216" actId="1036"/>
          <ac:spMkLst>
            <pc:docMk/>
            <pc:sldMk cId="3500319787" sldId="230717641"/>
            <ac:spMk id="56" creationId="{B68EC865-893E-4E33-9B60-DEF42B406D53}"/>
          </ac:spMkLst>
        </pc:spChg>
        <pc:spChg chg="mod">
          <ac:chgData name="El Bakkouri, Manal" userId="8b130982-2e3f-4164-b881-fd3a2e4b2453" providerId="ADAL" clId="{4457FA57-250B-44AC-8655-05D46C5A3D8A}" dt="2023-05-23T16:04:02.196" v="8710" actId="1076"/>
          <ac:spMkLst>
            <pc:docMk/>
            <pc:sldMk cId="3500319787" sldId="230717641"/>
            <ac:spMk id="58" creationId="{E17C9726-2768-4E3A-B34F-9F094D35D113}"/>
          </ac:spMkLst>
        </pc:spChg>
        <pc:spChg chg="add del mod">
          <ac:chgData name="El Bakkouri, Manal" userId="8b130982-2e3f-4164-b881-fd3a2e4b2453" providerId="ADAL" clId="{4457FA57-250B-44AC-8655-05D46C5A3D8A}" dt="2023-05-23T16:04:03.399" v="8712"/>
          <ac:spMkLst>
            <pc:docMk/>
            <pc:sldMk cId="3500319787" sldId="230717641"/>
            <ac:spMk id="59" creationId="{F3941B91-3BA7-4BE5-8F9F-519CDCDB1022}"/>
          </ac:spMkLst>
        </pc:spChg>
        <pc:spChg chg="add del mod">
          <ac:chgData name="El Bakkouri, Manal" userId="8b130982-2e3f-4164-b881-fd3a2e4b2453" providerId="ADAL" clId="{4457FA57-250B-44AC-8655-05D46C5A3D8A}" dt="2023-05-23T16:04:03.399" v="8712"/>
          <ac:spMkLst>
            <pc:docMk/>
            <pc:sldMk cId="3500319787" sldId="230717641"/>
            <ac:spMk id="60" creationId="{137EBAB0-C2C6-4534-897E-7924E3B32DF9}"/>
          </ac:spMkLst>
        </pc:spChg>
        <pc:spChg chg="add del mod">
          <ac:chgData name="El Bakkouri, Manal" userId="8b130982-2e3f-4164-b881-fd3a2e4b2453" providerId="ADAL" clId="{4457FA57-250B-44AC-8655-05D46C5A3D8A}" dt="2023-05-23T16:04:03.399" v="8712"/>
          <ac:spMkLst>
            <pc:docMk/>
            <pc:sldMk cId="3500319787" sldId="230717641"/>
            <ac:spMk id="61" creationId="{B862F201-3BC1-41F0-88CB-3F21807FE7B7}"/>
          </ac:spMkLst>
        </pc:spChg>
        <pc:spChg chg="add del mod">
          <ac:chgData name="El Bakkouri, Manal" userId="8b130982-2e3f-4164-b881-fd3a2e4b2453" providerId="ADAL" clId="{4457FA57-250B-44AC-8655-05D46C5A3D8A}" dt="2023-05-23T16:04:03.399" v="8712"/>
          <ac:spMkLst>
            <pc:docMk/>
            <pc:sldMk cId="3500319787" sldId="230717641"/>
            <ac:spMk id="70" creationId="{E49C01F3-3EA1-4BF3-BBAE-A114C424A9CE}"/>
          </ac:spMkLst>
        </pc:spChg>
        <pc:spChg chg="add del mod">
          <ac:chgData name="El Bakkouri, Manal" userId="8b130982-2e3f-4164-b881-fd3a2e4b2453" providerId="ADAL" clId="{4457FA57-250B-44AC-8655-05D46C5A3D8A}" dt="2023-05-23T16:04:03.399" v="8712"/>
          <ac:spMkLst>
            <pc:docMk/>
            <pc:sldMk cId="3500319787" sldId="230717641"/>
            <ac:spMk id="71" creationId="{09A46A50-B0FC-4FBB-BE1F-E83007A6142A}"/>
          </ac:spMkLst>
        </pc:spChg>
        <pc:spChg chg="add del mod">
          <ac:chgData name="El Bakkouri, Manal" userId="8b130982-2e3f-4164-b881-fd3a2e4b2453" providerId="ADAL" clId="{4457FA57-250B-44AC-8655-05D46C5A3D8A}" dt="2023-05-23T16:04:03.399" v="8712"/>
          <ac:spMkLst>
            <pc:docMk/>
            <pc:sldMk cId="3500319787" sldId="230717641"/>
            <ac:spMk id="77" creationId="{F369A15D-15FE-4085-8103-950295890B86}"/>
          </ac:spMkLst>
        </pc:spChg>
        <pc:spChg chg="add mod">
          <ac:chgData name="El Bakkouri, Manal" userId="8b130982-2e3f-4164-b881-fd3a2e4b2453" providerId="ADAL" clId="{4457FA57-250B-44AC-8655-05D46C5A3D8A}" dt="2023-05-23T16:08:27.894" v="8738" actId="208"/>
          <ac:spMkLst>
            <pc:docMk/>
            <pc:sldMk cId="3500319787" sldId="230717641"/>
            <ac:spMk id="85" creationId="{C0D44FD1-5406-4B11-A9FB-AB7352F14F5C}"/>
          </ac:spMkLst>
        </pc:spChg>
        <pc:spChg chg="add mod">
          <ac:chgData name="El Bakkouri, Manal" userId="8b130982-2e3f-4164-b881-fd3a2e4b2453" providerId="ADAL" clId="{4457FA57-250B-44AC-8655-05D46C5A3D8A}" dt="2023-05-23T16:08:23.343" v="8736" actId="208"/>
          <ac:spMkLst>
            <pc:docMk/>
            <pc:sldMk cId="3500319787" sldId="230717641"/>
            <ac:spMk id="89" creationId="{6B230C6D-8650-4E44-89C8-A828980A3C8D}"/>
          </ac:spMkLst>
        </pc:spChg>
        <pc:spChg chg="add mod">
          <ac:chgData name="El Bakkouri, Manal" userId="8b130982-2e3f-4164-b881-fd3a2e4b2453" providerId="ADAL" clId="{4457FA57-250B-44AC-8655-05D46C5A3D8A}" dt="2023-05-23T16:08:20.863" v="8735" actId="208"/>
          <ac:spMkLst>
            <pc:docMk/>
            <pc:sldMk cId="3500319787" sldId="230717641"/>
            <ac:spMk id="92" creationId="{D73B1FD3-F785-49F9-B060-FB268691E4C8}"/>
          </ac:spMkLst>
        </pc:spChg>
        <pc:spChg chg="add mod">
          <ac:chgData name="El Bakkouri, Manal" userId="8b130982-2e3f-4164-b881-fd3a2e4b2453" providerId="ADAL" clId="{4457FA57-250B-44AC-8655-05D46C5A3D8A}" dt="2023-05-23T16:08:25.633" v="8737" actId="208"/>
          <ac:spMkLst>
            <pc:docMk/>
            <pc:sldMk cId="3500319787" sldId="230717641"/>
            <ac:spMk id="93" creationId="{6A210C0C-6BAD-46EA-8927-5DA9259838E8}"/>
          </ac:spMkLst>
        </pc:spChg>
        <pc:spChg chg="add mod">
          <ac:chgData name="El Bakkouri, Manal" userId="8b130982-2e3f-4164-b881-fd3a2e4b2453" providerId="ADAL" clId="{4457FA57-250B-44AC-8655-05D46C5A3D8A}" dt="2023-05-23T16:08:18.029" v="8733" actId="208"/>
          <ac:spMkLst>
            <pc:docMk/>
            <pc:sldMk cId="3500319787" sldId="230717641"/>
            <ac:spMk id="94" creationId="{0633252C-8419-4638-9031-CDB7F66872C7}"/>
          </ac:spMkLst>
        </pc:spChg>
        <pc:spChg chg="add mod">
          <ac:chgData name="El Bakkouri, Manal" userId="8b130982-2e3f-4164-b881-fd3a2e4b2453" providerId="ADAL" clId="{4457FA57-250B-44AC-8655-05D46C5A3D8A}" dt="2023-05-23T16:08:38.691" v="8740" actId="207"/>
          <ac:spMkLst>
            <pc:docMk/>
            <pc:sldMk cId="3500319787" sldId="230717641"/>
            <ac:spMk id="98" creationId="{88E7E118-0CC6-4E7D-9C7A-2579B1C6730E}"/>
          </ac:spMkLst>
        </pc:spChg>
        <pc:grpChg chg="add mod ord">
          <ac:chgData name="El Bakkouri, Manal" userId="8b130982-2e3f-4164-b881-fd3a2e4b2453" providerId="ADAL" clId="{4457FA57-250B-44AC-8655-05D46C5A3D8A}" dt="2023-05-23T18:31:13.190" v="9217" actId="166"/>
          <ac:grpSpMkLst>
            <pc:docMk/>
            <pc:sldMk cId="3500319787" sldId="230717641"/>
            <ac:grpSpMk id="3" creationId="{E3C9D384-A6AC-40DD-8344-E6D03CA2EA7D}"/>
          </ac:grpSpMkLst>
        </pc:grpChg>
        <pc:picChg chg="add del mod">
          <ac:chgData name="El Bakkouri, Manal" userId="8b130982-2e3f-4164-b881-fd3a2e4b2453" providerId="ADAL" clId="{4457FA57-250B-44AC-8655-05D46C5A3D8A}" dt="2023-05-23T16:06:04.426" v="8717" actId="478"/>
          <ac:picMkLst>
            <pc:docMk/>
            <pc:sldMk cId="3500319787" sldId="230717641"/>
            <ac:picMk id="2" creationId="{4F04BE01-EB42-4A72-8B1A-E6BE2641F3FC}"/>
          </ac:picMkLst>
        </pc:picChg>
        <pc:picChg chg="del">
          <ac:chgData name="El Bakkouri, Manal" userId="8b130982-2e3f-4164-b881-fd3a2e4b2453" providerId="ADAL" clId="{4457FA57-250B-44AC-8655-05D46C5A3D8A}" dt="2023-05-23T16:03:27.642" v="8706" actId="478"/>
          <ac:picMkLst>
            <pc:docMk/>
            <pc:sldMk cId="3500319787" sldId="230717641"/>
            <ac:picMk id="90" creationId="{E6EABDD6-2E77-487C-BDEE-E07358A7FDB8}"/>
          </ac:picMkLst>
        </pc:picChg>
        <pc:cxnChg chg="add del mod">
          <ac:chgData name="El Bakkouri, Manal" userId="8b130982-2e3f-4164-b881-fd3a2e4b2453" providerId="ADAL" clId="{4457FA57-250B-44AC-8655-05D46C5A3D8A}" dt="2023-05-23T16:04:03.399" v="8712"/>
          <ac:cxnSpMkLst>
            <pc:docMk/>
            <pc:sldMk cId="3500319787" sldId="230717641"/>
            <ac:cxnSpMk id="57" creationId="{5E20C17B-5D91-4DC7-9736-DD67756D61F2}"/>
          </ac:cxnSpMkLst>
        </pc:cxnChg>
        <pc:cxnChg chg="add del mod">
          <ac:chgData name="El Bakkouri, Manal" userId="8b130982-2e3f-4164-b881-fd3a2e4b2453" providerId="ADAL" clId="{4457FA57-250B-44AC-8655-05D46C5A3D8A}" dt="2023-05-23T16:04:03.399" v="8712"/>
          <ac:cxnSpMkLst>
            <pc:docMk/>
            <pc:sldMk cId="3500319787" sldId="230717641"/>
            <ac:cxnSpMk id="72" creationId="{2110AE88-13BB-45FD-B77E-D05CCA1EED6D}"/>
          </ac:cxnSpMkLst>
        </pc:cxnChg>
        <pc:cxnChg chg="add del mod">
          <ac:chgData name="El Bakkouri, Manal" userId="8b130982-2e3f-4164-b881-fd3a2e4b2453" providerId="ADAL" clId="{4457FA57-250B-44AC-8655-05D46C5A3D8A}" dt="2023-05-23T16:04:03.399" v="8712"/>
          <ac:cxnSpMkLst>
            <pc:docMk/>
            <pc:sldMk cId="3500319787" sldId="230717641"/>
            <ac:cxnSpMk id="76" creationId="{6391E9E3-2679-4B03-826D-91D41116B953}"/>
          </ac:cxnSpMkLst>
        </pc:cxnChg>
        <pc:cxnChg chg="add mod">
          <ac:chgData name="El Bakkouri, Manal" userId="8b130982-2e3f-4164-b881-fd3a2e4b2453" providerId="ADAL" clId="{4457FA57-250B-44AC-8655-05D46C5A3D8A}" dt="2023-05-23T16:06:46.599" v="8727" actId="14100"/>
          <ac:cxnSpMkLst>
            <pc:docMk/>
            <pc:sldMk cId="3500319787" sldId="230717641"/>
            <ac:cxnSpMk id="84" creationId="{9A3917ED-1CEB-4C10-8648-44D131A2F5D4}"/>
          </ac:cxnSpMkLst>
        </pc:cxnChg>
        <pc:cxnChg chg="add mod">
          <ac:chgData name="El Bakkouri, Manal" userId="8b130982-2e3f-4164-b881-fd3a2e4b2453" providerId="ADAL" clId="{4457FA57-250B-44AC-8655-05D46C5A3D8A}" dt="2023-05-23T16:06:15.615" v="8720" actId="164"/>
          <ac:cxnSpMkLst>
            <pc:docMk/>
            <pc:sldMk cId="3500319787" sldId="230717641"/>
            <ac:cxnSpMk id="95" creationId="{525AD438-3AA4-4247-A990-3C5671C9B3A0}"/>
          </ac:cxnSpMkLst>
        </pc:cxnChg>
        <pc:cxnChg chg="add mod">
          <ac:chgData name="El Bakkouri, Manal" userId="8b130982-2e3f-4164-b881-fd3a2e4b2453" providerId="ADAL" clId="{4457FA57-250B-44AC-8655-05D46C5A3D8A}" dt="2023-05-23T16:06:15.615" v="8720" actId="164"/>
          <ac:cxnSpMkLst>
            <pc:docMk/>
            <pc:sldMk cId="3500319787" sldId="230717641"/>
            <ac:cxnSpMk id="97" creationId="{3538DC2B-DF15-4978-A7C0-20BE6DEF6C8F}"/>
          </ac:cxnSpMkLst>
        </pc:cxnChg>
      </pc:sldChg>
      <pc:sldChg chg="addSp delSp modSp add mod modTransition modAnim">
        <pc:chgData name="El Bakkouri, Manal" userId="8b130982-2e3f-4164-b881-fd3a2e4b2453" providerId="ADAL" clId="{4457FA57-250B-44AC-8655-05D46C5A3D8A}" dt="2023-06-12T22:19:57.941" v="15941" actId="1036"/>
        <pc:sldMkLst>
          <pc:docMk/>
          <pc:sldMk cId="1265683070" sldId="230717642"/>
        </pc:sldMkLst>
        <pc:spChg chg="mod ord">
          <ac:chgData name="El Bakkouri, Manal" userId="8b130982-2e3f-4164-b881-fd3a2e4b2453" providerId="ADAL" clId="{4457FA57-250B-44AC-8655-05D46C5A3D8A}" dt="2023-05-23T18:39:40.977" v="9430" actId="14100"/>
          <ac:spMkLst>
            <pc:docMk/>
            <pc:sldMk cId="1265683070" sldId="230717642"/>
            <ac:spMk id="21" creationId="{22A3CDB1-151E-4AB1-AD86-3A0348E9CF8B}"/>
          </ac:spMkLst>
        </pc:spChg>
        <pc:spChg chg="mod ord">
          <ac:chgData name="El Bakkouri, Manal" userId="8b130982-2e3f-4164-b881-fd3a2e4b2453" providerId="ADAL" clId="{4457FA57-250B-44AC-8655-05D46C5A3D8A}" dt="2023-06-12T22:19:45.007" v="15934" actId="14100"/>
          <ac:spMkLst>
            <pc:docMk/>
            <pc:sldMk cId="1265683070" sldId="230717642"/>
            <ac:spMk id="35" creationId="{D7F05C52-B6CD-4272-B90F-E61A2348F4CC}"/>
          </ac:spMkLst>
        </pc:spChg>
        <pc:spChg chg="del mod">
          <ac:chgData name="El Bakkouri, Manal" userId="8b130982-2e3f-4164-b881-fd3a2e4b2453" providerId="ADAL" clId="{4457FA57-250B-44AC-8655-05D46C5A3D8A}" dt="2023-05-23T15:58:17.495" v="8702" actId="478"/>
          <ac:spMkLst>
            <pc:docMk/>
            <pc:sldMk cId="1265683070" sldId="230717642"/>
            <ac:spMk id="38" creationId="{B0AC1D4B-D8D5-4000-A051-5DC2E2082866}"/>
          </ac:spMkLst>
        </pc:spChg>
        <pc:spChg chg="mod">
          <ac:chgData name="El Bakkouri, Manal" userId="8b130982-2e3f-4164-b881-fd3a2e4b2453" providerId="ADAL" clId="{4457FA57-250B-44AC-8655-05D46C5A3D8A}" dt="2023-05-23T15:58:55.490" v="8705" actId="207"/>
          <ac:spMkLst>
            <pc:docMk/>
            <pc:sldMk cId="1265683070" sldId="230717642"/>
            <ac:spMk id="39" creationId="{66E043FD-4289-41AA-BC1D-C25928184B44}"/>
          </ac:spMkLst>
        </pc:spChg>
        <pc:spChg chg="mod">
          <ac:chgData name="El Bakkouri, Manal" userId="8b130982-2e3f-4164-b881-fd3a2e4b2453" providerId="ADAL" clId="{4457FA57-250B-44AC-8655-05D46C5A3D8A}" dt="2023-05-23T15:58:53.111" v="8704" actId="207"/>
          <ac:spMkLst>
            <pc:docMk/>
            <pc:sldMk cId="1265683070" sldId="230717642"/>
            <ac:spMk id="40" creationId="{2862FA95-2F25-4EF6-AB08-BF1FAE120B1B}"/>
          </ac:spMkLst>
        </pc:spChg>
        <pc:spChg chg="mod">
          <ac:chgData name="El Bakkouri, Manal" userId="8b130982-2e3f-4164-b881-fd3a2e4b2453" providerId="ADAL" clId="{4457FA57-250B-44AC-8655-05D46C5A3D8A}" dt="2023-05-23T15:58:53.111" v="8704" actId="207"/>
          <ac:spMkLst>
            <pc:docMk/>
            <pc:sldMk cId="1265683070" sldId="230717642"/>
            <ac:spMk id="41" creationId="{485684A1-2F0B-488E-AEB1-7E7D13ED7B0A}"/>
          </ac:spMkLst>
        </pc:spChg>
        <pc:spChg chg="mod">
          <ac:chgData name="El Bakkouri, Manal" userId="8b130982-2e3f-4164-b881-fd3a2e4b2453" providerId="ADAL" clId="{4457FA57-250B-44AC-8655-05D46C5A3D8A}" dt="2023-05-23T15:58:53.111" v="8704" actId="207"/>
          <ac:spMkLst>
            <pc:docMk/>
            <pc:sldMk cId="1265683070" sldId="230717642"/>
            <ac:spMk id="42" creationId="{288711E4-B736-43A7-992E-BBF728FCFBBC}"/>
          </ac:spMkLst>
        </pc:spChg>
        <pc:spChg chg="mod">
          <ac:chgData name="El Bakkouri, Manal" userId="8b130982-2e3f-4164-b881-fd3a2e4b2453" providerId="ADAL" clId="{4457FA57-250B-44AC-8655-05D46C5A3D8A}" dt="2023-05-23T15:58:53.111" v="8704" actId="207"/>
          <ac:spMkLst>
            <pc:docMk/>
            <pc:sldMk cId="1265683070" sldId="230717642"/>
            <ac:spMk id="43" creationId="{1D2CEB91-AF19-4606-9653-51D6F2277CDA}"/>
          </ac:spMkLst>
        </pc:spChg>
        <pc:spChg chg="mod">
          <ac:chgData name="El Bakkouri, Manal" userId="8b130982-2e3f-4164-b881-fd3a2e4b2453" providerId="ADAL" clId="{4457FA57-250B-44AC-8655-05D46C5A3D8A}" dt="2023-05-23T15:58:53.111" v="8704" actId="207"/>
          <ac:spMkLst>
            <pc:docMk/>
            <pc:sldMk cId="1265683070" sldId="230717642"/>
            <ac:spMk id="44" creationId="{587E2448-34B5-46E5-8470-B8C66576DFD9}"/>
          </ac:spMkLst>
        </pc:spChg>
        <pc:spChg chg="mod">
          <ac:chgData name="El Bakkouri, Manal" userId="8b130982-2e3f-4164-b881-fd3a2e4b2453" providerId="ADAL" clId="{4457FA57-250B-44AC-8655-05D46C5A3D8A}" dt="2023-05-23T15:58:53.111" v="8704" actId="207"/>
          <ac:spMkLst>
            <pc:docMk/>
            <pc:sldMk cId="1265683070" sldId="230717642"/>
            <ac:spMk id="45" creationId="{888FFA3B-8B91-4849-8051-F09B866A53A6}"/>
          </ac:spMkLst>
        </pc:spChg>
        <pc:spChg chg="mod">
          <ac:chgData name="El Bakkouri, Manal" userId="8b130982-2e3f-4164-b881-fd3a2e4b2453" providerId="ADAL" clId="{4457FA57-250B-44AC-8655-05D46C5A3D8A}" dt="2023-05-23T15:58:53.111" v="8704" actId="207"/>
          <ac:spMkLst>
            <pc:docMk/>
            <pc:sldMk cId="1265683070" sldId="230717642"/>
            <ac:spMk id="46" creationId="{FA6EC5CA-A469-49C9-BD65-133A2C097C2A}"/>
          </ac:spMkLst>
        </pc:spChg>
        <pc:spChg chg="add mod ord">
          <ac:chgData name="El Bakkouri, Manal" userId="8b130982-2e3f-4164-b881-fd3a2e4b2453" providerId="ADAL" clId="{4457FA57-250B-44AC-8655-05D46C5A3D8A}" dt="2023-05-23T15:53:26.336" v="8632" actId="167"/>
          <ac:spMkLst>
            <pc:docMk/>
            <pc:sldMk cId="1265683070" sldId="230717642"/>
            <ac:spMk id="56" creationId="{C84CA876-13C9-411C-9624-285A4251D3FE}"/>
          </ac:spMkLst>
        </pc:spChg>
        <pc:spChg chg="mod">
          <ac:chgData name="El Bakkouri, Manal" userId="8b130982-2e3f-4164-b881-fd3a2e4b2453" providerId="ADAL" clId="{4457FA57-250B-44AC-8655-05D46C5A3D8A}" dt="2023-06-12T13:33:21.305" v="15851"/>
          <ac:spMkLst>
            <pc:docMk/>
            <pc:sldMk cId="1265683070" sldId="230717642"/>
            <ac:spMk id="71" creationId="{0CBACD19-E2CB-4938-ABAF-977D44DCEB54}"/>
          </ac:spMkLst>
        </pc:spChg>
        <pc:spChg chg="del">
          <ac:chgData name="El Bakkouri, Manal" userId="8b130982-2e3f-4164-b881-fd3a2e4b2453" providerId="ADAL" clId="{4457FA57-250B-44AC-8655-05D46C5A3D8A}" dt="2023-06-12T13:33:20.555" v="15850" actId="478"/>
          <ac:spMkLst>
            <pc:docMk/>
            <pc:sldMk cId="1265683070" sldId="230717642"/>
            <ac:spMk id="100" creationId="{E2F2D9B7-675D-4C34-82C7-584FCBC07C13}"/>
          </ac:spMkLst>
        </pc:spChg>
        <pc:spChg chg="del">
          <ac:chgData name="El Bakkouri, Manal" userId="8b130982-2e3f-4164-b881-fd3a2e4b2453" providerId="ADAL" clId="{4457FA57-250B-44AC-8655-05D46C5A3D8A}" dt="2023-06-12T13:33:20.555" v="15850" actId="478"/>
          <ac:spMkLst>
            <pc:docMk/>
            <pc:sldMk cId="1265683070" sldId="230717642"/>
            <ac:spMk id="101" creationId="{3FC5EAB8-D754-44BA-B8A1-2F995421C4C1}"/>
          </ac:spMkLst>
        </pc:spChg>
        <pc:spChg chg="del">
          <ac:chgData name="El Bakkouri, Manal" userId="8b130982-2e3f-4164-b881-fd3a2e4b2453" providerId="ADAL" clId="{4457FA57-250B-44AC-8655-05D46C5A3D8A}" dt="2023-06-12T13:33:20.555" v="15850" actId="478"/>
          <ac:spMkLst>
            <pc:docMk/>
            <pc:sldMk cId="1265683070" sldId="230717642"/>
            <ac:spMk id="102" creationId="{B75E897D-75B1-4153-BD26-6018D1E33FDC}"/>
          </ac:spMkLst>
        </pc:spChg>
        <pc:spChg chg="del">
          <ac:chgData name="El Bakkouri, Manal" userId="8b130982-2e3f-4164-b881-fd3a2e4b2453" providerId="ADAL" clId="{4457FA57-250B-44AC-8655-05D46C5A3D8A}" dt="2023-06-12T13:33:20.555" v="15850" actId="478"/>
          <ac:spMkLst>
            <pc:docMk/>
            <pc:sldMk cId="1265683070" sldId="230717642"/>
            <ac:spMk id="103" creationId="{C3DA2F43-7E3E-4D8C-AEEA-478DC991D77B}"/>
          </ac:spMkLst>
        </pc:spChg>
        <pc:spChg chg="mod">
          <ac:chgData name="El Bakkouri, Manal" userId="8b130982-2e3f-4164-b881-fd3a2e4b2453" providerId="ADAL" clId="{4457FA57-250B-44AC-8655-05D46C5A3D8A}" dt="2023-06-12T13:33:21.305" v="15851"/>
          <ac:spMkLst>
            <pc:docMk/>
            <pc:sldMk cId="1265683070" sldId="230717642"/>
            <ac:spMk id="104" creationId="{2C7AA036-72F3-45FE-A6E7-CA74C5052DB9}"/>
          </ac:spMkLst>
        </pc:spChg>
        <pc:spChg chg="mod">
          <ac:chgData name="El Bakkouri, Manal" userId="8b130982-2e3f-4164-b881-fd3a2e4b2453" providerId="ADAL" clId="{4457FA57-250B-44AC-8655-05D46C5A3D8A}" dt="2023-06-12T13:33:21.305" v="15851"/>
          <ac:spMkLst>
            <pc:docMk/>
            <pc:sldMk cId="1265683070" sldId="230717642"/>
            <ac:spMk id="106" creationId="{D316417D-C3A0-4DCE-B720-C950DC12801A}"/>
          </ac:spMkLst>
        </pc:spChg>
        <pc:spChg chg="mod">
          <ac:chgData name="El Bakkouri, Manal" userId="8b130982-2e3f-4164-b881-fd3a2e4b2453" providerId="ADAL" clId="{4457FA57-250B-44AC-8655-05D46C5A3D8A}" dt="2023-06-12T13:33:21.305" v="15851"/>
          <ac:spMkLst>
            <pc:docMk/>
            <pc:sldMk cId="1265683070" sldId="230717642"/>
            <ac:spMk id="107" creationId="{86E46E19-F351-412F-AB3D-EE80E4B803D3}"/>
          </ac:spMkLst>
        </pc:spChg>
        <pc:spChg chg="mod">
          <ac:chgData name="El Bakkouri, Manal" userId="8b130982-2e3f-4164-b881-fd3a2e4b2453" providerId="ADAL" clId="{4457FA57-250B-44AC-8655-05D46C5A3D8A}" dt="2023-06-12T13:33:21.305" v="15851"/>
          <ac:spMkLst>
            <pc:docMk/>
            <pc:sldMk cId="1265683070" sldId="230717642"/>
            <ac:spMk id="109" creationId="{6D7A77B2-9706-42AD-A25F-ECF2F75BD10C}"/>
          </ac:spMkLst>
        </pc:spChg>
        <pc:spChg chg="mod">
          <ac:chgData name="El Bakkouri, Manal" userId="8b130982-2e3f-4164-b881-fd3a2e4b2453" providerId="ADAL" clId="{4457FA57-250B-44AC-8655-05D46C5A3D8A}" dt="2023-06-12T13:33:21.305" v="15851"/>
          <ac:spMkLst>
            <pc:docMk/>
            <pc:sldMk cId="1265683070" sldId="230717642"/>
            <ac:spMk id="112" creationId="{AF228337-9A73-4D4D-89C3-37B2A4AF09A7}"/>
          </ac:spMkLst>
        </pc:spChg>
        <pc:spChg chg="mod">
          <ac:chgData name="El Bakkouri, Manal" userId="8b130982-2e3f-4164-b881-fd3a2e4b2453" providerId="ADAL" clId="{4457FA57-250B-44AC-8655-05D46C5A3D8A}" dt="2023-06-12T13:33:21.305" v="15851"/>
          <ac:spMkLst>
            <pc:docMk/>
            <pc:sldMk cId="1265683070" sldId="230717642"/>
            <ac:spMk id="114" creationId="{E4CF8C8F-F269-4C08-AE1A-9841D36B2D36}"/>
          </ac:spMkLst>
        </pc:spChg>
        <pc:spChg chg="mod">
          <ac:chgData name="El Bakkouri, Manal" userId="8b130982-2e3f-4164-b881-fd3a2e4b2453" providerId="ADAL" clId="{4457FA57-250B-44AC-8655-05D46C5A3D8A}" dt="2023-06-12T13:33:21.305" v="15851"/>
          <ac:spMkLst>
            <pc:docMk/>
            <pc:sldMk cId="1265683070" sldId="230717642"/>
            <ac:spMk id="115" creationId="{D22149F3-016D-4F76-890A-984FC4E24D40}"/>
          </ac:spMkLst>
        </pc:spChg>
        <pc:spChg chg="mod">
          <ac:chgData name="El Bakkouri, Manal" userId="8b130982-2e3f-4164-b881-fd3a2e4b2453" providerId="ADAL" clId="{4457FA57-250B-44AC-8655-05D46C5A3D8A}" dt="2023-06-12T13:33:21.305" v="15851"/>
          <ac:spMkLst>
            <pc:docMk/>
            <pc:sldMk cId="1265683070" sldId="230717642"/>
            <ac:spMk id="117" creationId="{0690B61A-A930-4606-BE7C-15EA3E21EE9E}"/>
          </ac:spMkLst>
        </pc:spChg>
        <pc:spChg chg="mod">
          <ac:chgData name="El Bakkouri, Manal" userId="8b130982-2e3f-4164-b881-fd3a2e4b2453" providerId="ADAL" clId="{4457FA57-250B-44AC-8655-05D46C5A3D8A}" dt="2023-06-12T13:33:21.305" v="15851"/>
          <ac:spMkLst>
            <pc:docMk/>
            <pc:sldMk cId="1265683070" sldId="230717642"/>
            <ac:spMk id="118" creationId="{1FEC239F-E3A1-4F4A-BC1B-7C9B86CF8032}"/>
          </ac:spMkLst>
        </pc:spChg>
        <pc:spChg chg="add mod">
          <ac:chgData name="El Bakkouri, Manal" userId="8b130982-2e3f-4164-b881-fd3a2e4b2453" providerId="ADAL" clId="{4457FA57-250B-44AC-8655-05D46C5A3D8A}" dt="2023-06-12T13:33:21.305" v="15851"/>
          <ac:spMkLst>
            <pc:docMk/>
            <pc:sldMk cId="1265683070" sldId="230717642"/>
            <ac:spMk id="119" creationId="{8BA245EB-0201-4350-AAE1-20E9049CA360}"/>
          </ac:spMkLst>
        </pc:spChg>
        <pc:spChg chg="add mod">
          <ac:chgData name="El Bakkouri, Manal" userId="8b130982-2e3f-4164-b881-fd3a2e4b2453" providerId="ADAL" clId="{4457FA57-250B-44AC-8655-05D46C5A3D8A}" dt="2023-06-12T13:33:21.305" v="15851"/>
          <ac:spMkLst>
            <pc:docMk/>
            <pc:sldMk cId="1265683070" sldId="230717642"/>
            <ac:spMk id="120" creationId="{321A0897-1BD0-431F-98BE-187EAD2E7BB4}"/>
          </ac:spMkLst>
        </pc:spChg>
        <pc:spChg chg="add mod">
          <ac:chgData name="El Bakkouri, Manal" userId="8b130982-2e3f-4164-b881-fd3a2e4b2453" providerId="ADAL" clId="{4457FA57-250B-44AC-8655-05D46C5A3D8A}" dt="2023-06-12T13:33:21.305" v="15851"/>
          <ac:spMkLst>
            <pc:docMk/>
            <pc:sldMk cId="1265683070" sldId="230717642"/>
            <ac:spMk id="121" creationId="{760A69E0-139C-4BDB-8A57-39A91C0590AC}"/>
          </ac:spMkLst>
        </pc:spChg>
        <pc:spChg chg="add mod">
          <ac:chgData name="El Bakkouri, Manal" userId="8b130982-2e3f-4164-b881-fd3a2e4b2453" providerId="ADAL" clId="{4457FA57-250B-44AC-8655-05D46C5A3D8A}" dt="2023-06-12T13:33:21.305" v="15851"/>
          <ac:spMkLst>
            <pc:docMk/>
            <pc:sldMk cId="1265683070" sldId="230717642"/>
            <ac:spMk id="122" creationId="{574DD903-FD7A-42FA-AC28-AB4CD5981DB1}"/>
          </ac:spMkLst>
        </pc:spChg>
        <pc:grpChg chg="mod ord">
          <ac:chgData name="El Bakkouri, Manal" userId="8b130982-2e3f-4164-b881-fd3a2e4b2453" providerId="ADAL" clId="{4457FA57-250B-44AC-8655-05D46C5A3D8A}" dt="2023-06-12T22:19:57.941" v="15941" actId="1036"/>
          <ac:grpSpMkLst>
            <pc:docMk/>
            <pc:sldMk cId="1265683070" sldId="230717642"/>
            <ac:grpSpMk id="54" creationId="{C2495E2B-7615-4E05-86AC-C162B4618BD5}"/>
          </ac:grpSpMkLst>
        </pc:grpChg>
        <pc:grpChg chg="add mod">
          <ac:chgData name="El Bakkouri, Manal" userId="8b130982-2e3f-4164-b881-fd3a2e4b2453" providerId="ADAL" clId="{4457FA57-250B-44AC-8655-05D46C5A3D8A}" dt="2023-06-12T13:33:21.305" v="15851"/>
          <ac:grpSpMkLst>
            <pc:docMk/>
            <pc:sldMk cId="1265683070" sldId="230717642"/>
            <ac:grpSpMk id="70" creationId="{9DD4DB26-E813-483D-A86E-AF2865FC722E}"/>
          </ac:grpSpMkLst>
        </pc:grpChg>
        <pc:grpChg chg="del">
          <ac:chgData name="El Bakkouri, Manal" userId="8b130982-2e3f-4164-b881-fd3a2e4b2453" providerId="ADAL" clId="{4457FA57-250B-44AC-8655-05D46C5A3D8A}" dt="2023-06-12T13:33:20.555" v="15850" actId="478"/>
          <ac:grpSpMkLst>
            <pc:docMk/>
            <pc:sldMk cId="1265683070" sldId="230717642"/>
            <ac:grpSpMk id="72" creationId="{20DA6E3F-0544-4BE7-96D3-1BC4417C6FAE}"/>
          </ac:grpSpMkLst>
        </pc:grpChg>
        <pc:grpChg chg="del">
          <ac:chgData name="El Bakkouri, Manal" userId="8b130982-2e3f-4164-b881-fd3a2e4b2453" providerId="ADAL" clId="{4457FA57-250B-44AC-8655-05D46C5A3D8A}" dt="2023-06-12T13:33:20.555" v="15850" actId="478"/>
          <ac:grpSpMkLst>
            <pc:docMk/>
            <pc:sldMk cId="1265683070" sldId="230717642"/>
            <ac:grpSpMk id="84" creationId="{C8CFA950-4025-4911-8B68-86A4A61B1099}"/>
          </ac:grpSpMkLst>
        </pc:grpChg>
        <pc:grpChg chg="del">
          <ac:chgData name="El Bakkouri, Manal" userId="8b130982-2e3f-4164-b881-fd3a2e4b2453" providerId="ADAL" clId="{4457FA57-250B-44AC-8655-05D46C5A3D8A}" dt="2023-06-12T13:33:20.555" v="15850" actId="478"/>
          <ac:grpSpMkLst>
            <pc:docMk/>
            <pc:sldMk cId="1265683070" sldId="230717642"/>
            <ac:grpSpMk id="90" creationId="{45328C5D-4D81-479D-A7A7-1B342B48CCA7}"/>
          </ac:grpSpMkLst>
        </pc:grpChg>
        <pc:grpChg chg="del">
          <ac:chgData name="El Bakkouri, Manal" userId="8b130982-2e3f-4164-b881-fd3a2e4b2453" providerId="ADAL" clId="{4457FA57-250B-44AC-8655-05D46C5A3D8A}" dt="2023-06-12T13:33:20.555" v="15850" actId="478"/>
          <ac:grpSpMkLst>
            <pc:docMk/>
            <pc:sldMk cId="1265683070" sldId="230717642"/>
            <ac:grpSpMk id="94" creationId="{F6F7D84E-A0C1-4A98-9BCC-5E0B68E564F5}"/>
          </ac:grpSpMkLst>
        </pc:grpChg>
        <pc:grpChg chg="del">
          <ac:chgData name="El Bakkouri, Manal" userId="8b130982-2e3f-4164-b881-fd3a2e4b2453" providerId="ADAL" clId="{4457FA57-250B-44AC-8655-05D46C5A3D8A}" dt="2023-06-12T13:33:20.555" v="15850" actId="478"/>
          <ac:grpSpMkLst>
            <pc:docMk/>
            <pc:sldMk cId="1265683070" sldId="230717642"/>
            <ac:grpSpMk id="97" creationId="{FEB6C661-4699-42FB-AB0D-8AF6AB3DC6DB}"/>
          </ac:grpSpMkLst>
        </pc:grpChg>
        <pc:grpChg chg="add mod">
          <ac:chgData name="El Bakkouri, Manal" userId="8b130982-2e3f-4164-b881-fd3a2e4b2453" providerId="ADAL" clId="{4457FA57-250B-44AC-8655-05D46C5A3D8A}" dt="2023-06-12T13:33:21.305" v="15851"/>
          <ac:grpSpMkLst>
            <pc:docMk/>
            <pc:sldMk cId="1265683070" sldId="230717642"/>
            <ac:grpSpMk id="105" creationId="{516948B8-33D1-4803-B1DA-274E69350CAF}"/>
          </ac:grpSpMkLst>
        </pc:grpChg>
        <pc:grpChg chg="add mod">
          <ac:chgData name="El Bakkouri, Manal" userId="8b130982-2e3f-4164-b881-fd3a2e4b2453" providerId="ADAL" clId="{4457FA57-250B-44AC-8655-05D46C5A3D8A}" dt="2023-06-12T13:33:21.305" v="15851"/>
          <ac:grpSpMkLst>
            <pc:docMk/>
            <pc:sldMk cId="1265683070" sldId="230717642"/>
            <ac:grpSpMk id="108" creationId="{4BBA4667-5350-4CF5-BFF1-4690123FACD5}"/>
          </ac:grpSpMkLst>
        </pc:grpChg>
        <pc:grpChg chg="add mod">
          <ac:chgData name="El Bakkouri, Manal" userId="8b130982-2e3f-4164-b881-fd3a2e4b2453" providerId="ADAL" clId="{4457FA57-250B-44AC-8655-05D46C5A3D8A}" dt="2023-06-12T13:33:21.305" v="15851"/>
          <ac:grpSpMkLst>
            <pc:docMk/>
            <pc:sldMk cId="1265683070" sldId="230717642"/>
            <ac:grpSpMk id="113" creationId="{84F607ED-7EFB-4ABD-9E1E-9DAD43F4F7ED}"/>
          </ac:grpSpMkLst>
        </pc:grpChg>
        <pc:grpChg chg="add mod">
          <ac:chgData name="El Bakkouri, Manal" userId="8b130982-2e3f-4164-b881-fd3a2e4b2453" providerId="ADAL" clId="{4457FA57-250B-44AC-8655-05D46C5A3D8A}" dt="2023-06-12T13:33:21.305" v="15851"/>
          <ac:grpSpMkLst>
            <pc:docMk/>
            <pc:sldMk cId="1265683070" sldId="230717642"/>
            <ac:grpSpMk id="116" creationId="{01A2E24E-955A-41C8-A960-7E92B5A4E73B}"/>
          </ac:grpSpMkLst>
        </pc:grpChg>
        <pc:picChg chg="mod ord">
          <ac:chgData name="El Bakkouri, Manal" userId="8b130982-2e3f-4164-b881-fd3a2e4b2453" providerId="ADAL" clId="{4457FA57-250B-44AC-8655-05D46C5A3D8A}" dt="2023-05-23T18:29:09.944" v="9029" actId="170"/>
          <ac:picMkLst>
            <pc:docMk/>
            <pc:sldMk cId="1265683070" sldId="230717642"/>
            <ac:picMk id="28" creationId="{B4D9BF0D-FA21-46A6-84F3-A7C17F817668}"/>
          </ac:picMkLst>
        </pc:picChg>
      </pc:sldChg>
      <pc:sldChg chg="addSp delSp modSp new mod modTransition modAnim addCm modNotesTx">
        <pc:chgData name="El Bakkouri, Manal" userId="8b130982-2e3f-4164-b881-fd3a2e4b2453" providerId="ADAL" clId="{4457FA57-250B-44AC-8655-05D46C5A3D8A}" dt="2023-06-12T22:17:11.542" v="15931" actId="113"/>
        <pc:sldMkLst>
          <pc:docMk/>
          <pc:sldMk cId="3729411383" sldId="230717643"/>
        </pc:sldMkLst>
        <pc:spChg chg="del">
          <ac:chgData name="El Bakkouri, Manal" userId="8b130982-2e3f-4164-b881-fd3a2e4b2453" providerId="ADAL" clId="{4457FA57-250B-44AC-8655-05D46C5A3D8A}" dt="2023-05-23T15:48:44.379" v="8331" actId="478"/>
          <ac:spMkLst>
            <pc:docMk/>
            <pc:sldMk cId="3729411383" sldId="230717643"/>
            <ac:spMk id="2" creationId="{87F59783-6A79-40A9-B22A-85BE63CA10FD}"/>
          </ac:spMkLst>
        </pc:spChg>
        <pc:spChg chg="del">
          <ac:chgData name="El Bakkouri, Manal" userId="8b130982-2e3f-4164-b881-fd3a2e4b2453" providerId="ADAL" clId="{4457FA57-250B-44AC-8655-05D46C5A3D8A}" dt="2023-05-23T15:48:45.291" v="8332" actId="478"/>
          <ac:spMkLst>
            <pc:docMk/>
            <pc:sldMk cId="3729411383" sldId="230717643"/>
            <ac:spMk id="3" creationId="{8345AF67-6654-44B9-931F-7BFDD0038F75}"/>
          </ac:spMkLst>
        </pc:spChg>
        <pc:spChg chg="del">
          <ac:chgData name="El Bakkouri, Manal" userId="8b130982-2e3f-4164-b881-fd3a2e4b2453" providerId="ADAL" clId="{4457FA57-250B-44AC-8655-05D46C5A3D8A}" dt="2023-05-23T15:48:46.179" v="8333" actId="478"/>
          <ac:spMkLst>
            <pc:docMk/>
            <pc:sldMk cId="3729411383" sldId="230717643"/>
            <ac:spMk id="4" creationId="{CBAF94D2-0CA6-49C6-AE1E-492FFF7D7C13}"/>
          </ac:spMkLst>
        </pc:spChg>
        <pc:spChg chg="add mod">
          <ac:chgData name="El Bakkouri, Manal" userId="8b130982-2e3f-4164-b881-fd3a2e4b2453" providerId="ADAL" clId="{4457FA57-250B-44AC-8655-05D46C5A3D8A}" dt="2023-05-23T15:48:47.402" v="8334"/>
          <ac:spMkLst>
            <pc:docMk/>
            <pc:sldMk cId="3729411383" sldId="230717643"/>
            <ac:spMk id="5" creationId="{69C4EAFA-2974-4E37-8592-9C197CC3BBB3}"/>
          </ac:spMkLst>
        </pc:spChg>
        <pc:spChg chg="add mod">
          <ac:chgData name="El Bakkouri, Manal" userId="8b130982-2e3f-4164-b881-fd3a2e4b2453" providerId="ADAL" clId="{4457FA57-250B-44AC-8655-05D46C5A3D8A}" dt="2023-05-23T15:48:47.402" v="8334"/>
          <ac:spMkLst>
            <pc:docMk/>
            <pc:sldMk cId="3729411383" sldId="230717643"/>
            <ac:spMk id="6" creationId="{32C48A35-5BEA-49F9-9980-2AF727EA5AA4}"/>
          </ac:spMkLst>
        </pc:spChg>
        <pc:spChg chg="add mod">
          <ac:chgData name="El Bakkouri, Manal" userId="8b130982-2e3f-4164-b881-fd3a2e4b2453" providerId="ADAL" clId="{4457FA57-250B-44AC-8655-05D46C5A3D8A}" dt="2023-05-23T15:48:47.402" v="8334"/>
          <ac:spMkLst>
            <pc:docMk/>
            <pc:sldMk cId="3729411383" sldId="230717643"/>
            <ac:spMk id="7" creationId="{5EDEB5F4-8A38-4F74-BAF2-096E8B3744A4}"/>
          </ac:spMkLst>
        </pc:spChg>
        <pc:spChg chg="add mod">
          <ac:chgData name="El Bakkouri, Manal" userId="8b130982-2e3f-4164-b881-fd3a2e4b2453" providerId="ADAL" clId="{4457FA57-250B-44AC-8655-05D46C5A3D8A}" dt="2023-05-23T15:48:47.402" v="8334"/>
          <ac:spMkLst>
            <pc:docMk/>
            <pc:sldMk cId="3729411383" sldId="230717643"/>
            <ac:spMk id="8" creationId="{849F1465-07BA-4664-AABF-7A5D982A674A}"/>
          </ac:spMkLst>
        </pc:spChg>
        <pc:spChg chg="add mod">
          <ac:chgData name="El Bakkouri, Manal" userId="8b130982-2e3f-4164-b881-fd3a2e4b2453" providerId="ADAL" clId="{4457FA57-250B-44AC-8655-05D46C5A3D8A}" dt="2023-05-23T15:49:03.992" v="8337" actId="207"/>
          <ac:spMkLst>
            <pc:docMk/>
            <pc:sldMk cId="3729411383" sldId="230717643"/>
            <ac:spMk id="9" creationId="{B8C3B9F3-CE16-40D7-A4D3-DFC337363359}"/>
          </ac:spMkLst>
        </pc:spChg>
        <pc:spChg chg="add mod">
          <ac:chgData name="El Bakkouri, Manal" userId="8b130982-2e3f-4164-b881-fd3a2e4b2453" providerId="ADAL" clId="{4457FA57-250B-44AC-8655-05D46C5A3D8A}" dt="2023-05-23T15:49:15.314" v="8339" actId="113"/>
          <ac:spMkLst>
            <pc:docMk/>
            <pc:sldMk cId="3729411383" sldId="230717643"/>
            <ac:spMk id="10" creationId="{519BFE4F-E47D-4D4E-8E6E-A0CAD7D6973A}"/>
          </ac:spMkLst>
        </pc:spChg>
        <pc:spChg chg="add mod">
          <ac:chgData name="El Bakkouri, Manal" userId="8b130982-2e3f-4164-b881-fd3a2e4b2453" providerId="ADAL" clId="{4457FA57-250B-44AC-8655-05D46C5A3D8A}" dt="2023-05-23T15:48:47.402" v="8334"/>
          <ac:spMkLst>
            <pc:docMk/>
            <pc:sldMk cId="3729411383" sldId="230717643"/>
            <ac:spMk id="11" creationId="{A3EFDF1C-12A1-4743-8960-69874FE41098}"/>
          </ac:spMkLst>
        </pc:spChg>
        <pc:spChg chg="add mod">
          <ac:chgData name="El Bakkouri, Manal" userId="8b130982-2e3f-4164-b881-fd3a2e4b2453" providerId="ADAL" clId="{4457FA57-250B-44AC-8655-05D46C5A3D8A}" dt="2023-05-23T15:48:55.428" v="8335" actId="207"/>
          <ac:spMkLst>
            <pc:docMk/>
            <pc:sldMk cId="3729411383" sldId="230717643"/>
            <ac:spMk id="12" creationId="{4241D0F7-E527-4CE5-B689-DB2115B86044}"/>
          </ac:spMkLst>
        </pc:spChg>
        <pc:spChg chg="add mod">
          <ac:chgData name="El Bakkouri, Manal" userId="8b130982-2e3f-4164-b881-fd3a2e4b2453" providerId="ADAL" clId="{4457FA57-250B-44AC-8655-05D46C5A3D8A}" dt="2023-05-23T15:48:47.402" v="8334"/>
          <ac:spMkLst>
            <pc:docMk/>
            <pc:sldMk cId="3729411383" sldId="230717643"/>
            <ac:spMk id="13" creationId="{0EDA7FA7-2C16-44E2-8669-2DDE5096F2E8}"/>
          </ac:spMkLst>
        </pc:spChg>
        <pc:spChg chg="add mod">
          <ac:chgData name="El Bakkouri, Manal" userId="8b130982-2e3f-4164-b881-fd3a2e4b2453" providerId="ADAL" clId="{4457FA57-250B-44AC-8655-05D46C5A3D8A}" dt="2023-05-23T15:49:22.858" v="8340" actId="207"/>
          <ac:spMkLst>
            <pc:docMk/>
            <pc:sldMk cId="3729411383" sldId="230717643"/>
            <ac:spMk id="14" creationId="{CEB9FA07-14B8-4CB2-BE10-700DB9E42198}"/>
          </ac:spMkLst>
        </pc:spChg>
        <pc:spChg chg="mod topLvl">
          <ac:chgData name="El Bakkouri, Manal" userId="8b130982-2e3f-4164-b881-fd3a2e4b2453" providerId="ADAL" clId="{4457FA57-250B-44AC-8655-05D46C5A3D8A}" dt="2023-05-23T18:45:42.854" v="9466" actId="1036"/>
          <ac:spMkLst>
            <pc:docMk/>
            <pc:sldMk cId="3729411383" sldId="230717643"/>
            <ac:spMk id="17" creationId="{D4D4EFC9-7158-4F85-9BCE-DF6BA32427CB}"/>
          </ac:spMkLst>
        </pc:spChg>
        <pc:spChg chg="mod topLvl">
          <ac:chgData name="El Bakkouri, Manal" userId="8b130982-2e3f-4164-b881-fd3a2e4b2453" providerId="ADAL" clId="{4457FA57-250B-44AC-8655-05D46C5A3D8A}" dt="2023-05-23T18:45:42.854" v="9466" actId="1036"/>
          <ac:spMkLst>
            <pc:docMk/>
            <pc:sldMk cId="3729411383" sldId="230717643"/>
            <ac:spMk id="18" creationId="{2FAE4F4F-219F-4F7D-9CD5-D6CDFFA1A22A}"/>
          </ac:spMkLst>
        </pc:spChg>
        <pc:spChg chg="mod topLvl">
          <ac:chgData name="El Bakkouri, Manal" userId="8b130982-2e3f-4164-b881-fd3a2e4b2453" providerId="ADAL" clId="{4457FA57-250B-44AC-8655-05D46C5A3D8A}" dt="2023-05-23T18:45:42.854" v="9466" actId="1036"/>
          <ac:spMkLst>
            <pc:docMk/>
            <pc:sldMk cId="3729411383" sldId="230717643"/>
            <ac:spMk id="19" creationId="{D5A1B59A-AED9-4F13-A8BC-55A553C0F6C8}"/>
          </ac:spMkLst>
        </pc:spChg>
        <pc:spChg chg="mod topLvl">
          <ac:chgData name="El Bakkouri, Manal" userId="8b130982-2e3f-4164-b881-fd3a2e4b2453" providerId="ADAL" clId="{4457FA57-250B-44AC-8655-05D46C5A3D8A}" dt="2023-05-23T18:45:42.854" v="9466" actId="1036"/>
          <ac:spMkLst>
            <pc:docMk/>
            <pc:sldMk cId="3729411383" sldId="230717643"/>
            <ac:spMk id="20" creationId="{C34B01CB-F757-4631-ADB8-A458A5E35F2A}"/>
          </ac:spMkLst>
        </pc:spChg>
        <pc:spChg chg="mod topLvl">
          <ac:chgData name="El Bakkouri, Manal" userId="8b130982-2e3f-4164-b881-fd3a2e4b2453" providerId="ADAL" clId="{4457FA57-250B-44AC-8655-05D46C5A3D8A}" dt="2023-05-23T18:45:42.854" v="9466" actId="1036"/>
          <ac:spMkLst>
            <pc:docMk/>
            <pc:sldMk cId="3729411383" sldId="230717643"/>
            <ac:spMk id="21" creationId="{A77C1713-2DDA-4727-BEE5-CF0DE1F8B90F}"/>
          </ac:spMkLst>
        </pc:spChg>
        <pc:spChg chg="mod topLvl">
          <ac:chgData name="El Bakkouri, Manal" userId="8b130982-2e3f-4164-b881-fd3a2e4b2453" providerId="ADAL" clId="{4457FA57-250B-44AC-8655-05D46C5A3D8A}" dt="2023-05-23T18:45:42.854" v="9466" actId="1036"/>
          <ac:spMkLst>
            <pc:docMk/>
            <pc:sldMk cId="3729411383" sldId="230717643"/>
            <ac:spMk id="22" creationId="{FEE672B1-F5C9-4E95-B060-9B053FE7AA61}"/>
          </ac:spMkLst>
        </pc:spChg>
        <pc:spChg chg="mod topLvl">
          <ac:chgData name="El Bakkouri, Manal" userId="8b130982-2e3f-4164-b881-fd3a2e4b2453" providerId="ADAL" clId="{4457FA57-250B-44AC-8655-05D46C5A3D8A}" dt="2023-05-23T18:45:42.854" v="9466" actId="1036"/>
          <ac:spMkLst>
            <pc:docMk/>
            <pc:sldMk cId="3729411383" sldId="230717643"/>
            <ac:spMk id="29" creationId="{C9579617-9855-4B48-929E-18E9DD87E660}"/>
          </ac:spMkLst>
        </pc:spChg>
        <pc:spChg chg="mod topLvl">
          <ac:chgData name="El Bakkouri, Manal" userId="8b130982-2e3f-4164-b881-fd3a2e4b2453" providerId="ADAL" clId="{4457FA57-250B-44AC-8655-05D46C5A3D8A}" dt="2023-05-24T09:10:14.911" v="10384" actId="207"/>
          <ac:spMkLst>
            <pc:docMk/>
            <pc:sldMk cId="3729411383" sldId="230717643"/>
            <ac:spMk id="31" creationId="{CD168CB9-97E2-4E3F-81D4-B1737D10ED22}"/>
          </ac:spMkLst>
        </pc:spChg>
        <pc:spChg chg="mod topLvl">
          <ac:chgData name="El Bakkouri, Manal" userId="8b130982-2e3f-4164-b881-fd3a2e4b2453" providerId="ADAL" clId="{4457FA57-250B-44AC-8655-05D46C5A3D8A}" dt="2023-05-24T09:10:09.858" v="10383" actId="207"/>
          <ac:spMkLst>
            <pc:docMk/>
            <pc:sldMk cId="3729411383" sldId="230717643"/>
            <ac:spMk id="32" creationId="{69D8BA76-2B4B-4E0C-AA01-CDE1785984A5}"/>
          </ac:spMkLst>
        </pc:spChg>
        <pc:spChg chg="mod topLvl">
          <ac:chgData name="El Bakkouri, Manal" userId="8b130982-2e3f-4164-b881-fd3a2e4b2453" providerId="ADAL" clId="{4457FA57-250B-44AC-8655-05D46C5A3D8A}" dt="2023-05-24T09:10:40.490" v="10388" actId="339"/>
          <ac:spMkLst>
            <pc:docMk/>
            <pc:sldMk cId="3729411383" sldId="230717643"/>
            <ac:spMk id="33" creationId="{150A2988-F7B2-4AA5-820F-61C8452E5370}"/>
          </ac:spMkLst>
        </pc:spChg>
        <pc:spChg chg="mod topLvl">
          <ac:chgData name="El Bakkouri, Manal" userId="8b130982-2e3f-4164-b881-fd3a2e4b2453" providerId="ADAL" clId="{4457FA57-250B-44AC-8655-05D46C5A3D8A}" dt="2023-05-23T18:45:42.854" v="9466" actId="1036"/>
          <ac:spMkLst>
            <pc:docMk/>
            <pc:sldMk cId="3729411383" sldId="230717643"/>
            <ac:spMk id="34" creationId="{1FFBBFC7-3BB0-4A6B-8328-842A109A4400}"/>
          </ac:spMkLst>
        </pc:spChg>
        <pc:spChg chg="mod topLvl">
          <ac:chgData name="El Bakkouri, Manal" userId="8b130982-2e3f-4164-b881-fd3a2e4b2453" providerId="ADAL" clId="{4457FA57-250B-44AC-8655-05D46C5A3D8A}" dt="2023-05-23T18:45:42.854" v="9466" actId="1036"/>
          <ac:spMkLst>
            <pc:docMk/>
            <pc:sldMk cId="3729411383" sldId="230717643"/>
            <ac:spMk id="35" creationId="{0A325634-C869-4452-B56F-EAE2C487CD58}"/>
          </ac:spMkLst>
        </pc:spChg>
        <pc:spChg chg="mod topLvl">
          <ac:chgData name="El Bakkouri, Manal" userId="8b130982-2e3f-4164-b881-fd3a2e4b2453" providerId="ADAL" clId="{4457FA57-250B-44AC-8655-05D46C5A3D8A}" dt="2023-05-24T09:10:36.133" v="10387" actId="339"/>
          <ac:spMkLst>
            <pc:docMk/>
            <pc:sldMk cId="3729411383" sldId="230717643"/>
            <ac:spMk id="36" creationId="{8ADB9DC0-2482-400D-891D-42B8F0FF431F}"/>
          </ac:spMkLst>
        </pc:spChg>
        <pc:spChg chg="mod topLvl">
          <ac:chgData name="El Bakkouri, Manal" userId="8b130982-2e3f-4164-b881-fd3a2e4b2453" providerId="ADAL" clId="{4457FA57-250B-44AC-8655-05D46C5A3D8A}" dt="2023-05-24T09:10:22.134" v="10386" actId="207"/>
          <ac:spMkLst>
            <pc:docMk/>
            <pc:sldMk cId="3729411383" sldId="230717643"/>
            <ac:spMk id="37" creationId="{9EEA9F21-2BCC-4D94-9D44-6200AC31CF6C}"/>
          </ac:spMkLst>
        </pc:spChg>
        <pc:spChg chg="mod topLvl">
          <ac:chgData name="El Bakkouri, Manal" userId="8b130982-2e3f-4164-b881-fd3a2e4b2453" providerId="ADAL" clId="{4457FA57-250B-44AC-8655-05D46C5A3D8A}" dt="2023-05-24T09:10:18.768" v="10385" actId="207"/>
          <ac:spMkLst>
            <pc:docMk/>
            <pc:sldMk cId="3729411383" sldId="230717643"/>
            <ac:spMk id="38" creationId="{74788E54-2801-4667-BD62-1C8A6915E445}"/>
          </ac:spMkLst>
        </pc:spChg>
        <pc:spChg chg="mod topLvl">
          <ac:chgData name="El Bakkouri, Manal" userId="8b130982-2e3f-4164-b881-fd3a2e4b2453" providerId="ADAL" clId="{4457FA57-250B-44AC-8655-05D46C5A3D8A}" dt="2023-05-23T18:45:42.854" v="9466" actId="1036"/>
          <ac:spMkLst>
            <pc:docMk/>
            <pc:sldMk cId="3729411383" sldId="230717643"/>
            <ac:spMk id="39" creationId="{2B4A6A26-FA08-4FA0-8302-AD814CE54B25}"/>
          </ac:spMkLst>
        </pc:spChg>
        <pc:spChg chg="mod topLvl">
          <ac:chgData name="El Bakkouri, Manal" userId="8b130982-2e3f-4164-b881-fd3a2e4b2453" providerId="ADAL" clId="{4457FA57-250B-44AC-8655-05D46C5A3D8A}" dt="2023-05-23T18:45:42.854" v="9466" actId="1036"/>
          <ac:spMkLst>
            <pc:docMk/>
            <pc:sldMk cId="3729411383" sldId="230717643"/>
            <ac:spMk id="40" creationId="{08E64557-6D28-470C-8E2E-62BDCA2FBE95}"/>
          </ac:spMkLst>
        </pc:spChg>
        <pc:spChg chg="mod">
          <ac:chgData name="El Bakkouri, Manal" userId="8b130982-2e3f-4164-b881-fd3a2e4b2453" providerId="ADAL" clId="{4457FA57-250B-44AC-8655-05D46C5A3D8A}" dt="2023-05-23T17:14:51.755" v="8822" actId="165"/>
          <ac:spMkLst>
            <pc:docMk/>
            <pc:sldMk cId="3729411383" sldId="230717643"/>
            <ac:spMk id="41" creationId="{AC17695A-15EB-41A4-A2DE-B184FE87CD31}"/>
          </ac:spMkLst>
        </pc:spChg>
        <pc:spChg chg="mod">
          <ac:chgData name="El Bakkouri, Manal" userId="8b130982-2e3f-4164-b881-fd3a2e4b2453" providerId="ADAL" clId="{4457FA57-250B-44AC-8655-05D46C5A3D8A}" dt="2023-05-23T17:14:51.755" v="8822" actId="165"/>
          <ac:spMkLst>
            <pc:docMk/>
            <pc:sldMk cId="3729411383" sldId="230717643"/>
            <ac:spMk id="42" creationId="{279E8CB5-7983-4183-B2F0-F295AC24414E}"/>
          </ac:spMkLst>
        </pc:spChg>
        <pc:spChg chg="mod">
          <ac:chgData name="El Bakkouri, Manal" userId="8b130982-2e3f-4164-b881-fd3a2e4b2453" providerId="ADAL" clId="{4457FA57-250B-44AC-8655-05D46C5A3D8A}" dt="2023-05-23T17:14:51.755" v="8822" actId="165"/>
          <ac:spMkLst>
            <pc:docMk/>
            <pc:sldMk cId="3729411383" sldId="230717643"/>
            <ac:spMk id="43" creationId="{F3B1682C-E03A-47B5-A629-E29DC2CF4E76}"/>
          </ac:spMkLst>
        </pc:spChg>
        <pc:spChg chg="mod">
          <ac:chgData name="El Bakkouri, Manal" userId="8b130982-2e3f-4164-b881-fd3a2e4b2453" providerId="ADAL" clId="{4457FA57-250B-44AC-8655-05D46C5A3D8A}" dt="2023-05-23T17:14:51.755" v="8822" actId="165"/>
          <ac:spMkLst>
            <pc:docMk/>
            <pc:sldMk cId="3729411383" sldId="230717643"/>
            <ac:spMk id="44" creationId="{325411A5-4456-49B7-9EF8-D9A13848EA45}"/>
          </ac:spMkLst>
        </pc:spChg>
        <pc:spChg chg="add mod">
          <ac:chgData name="El Bakkouri, Manal" userId="8b130982-2e3f-4164-b881-fd3a2e4b2453" providerId="ADAL" clId="{4457FA57-250B-44AC-8655-05D46C5A3D8A}" dt="2023-05-23T18:46:10.864" v="9475" actId="12788"/>
          <ac:spMkLst>
            <pc:docMk/>
            <pc:sldMk cId="3729411383" sldId="230717643"/>
            <ac:spMk id="47" creationId="{096E8A6B-283E-47FA-AF6B-B5DE189E125F}"/>
          </ac:spMkLst>
        </pc:spChg>
        <pc:spChg chg="mod">
          <ac:chgData name="El Bakkouri, Manal" userId="8b130982-2e3f-4164-b881-fd3a2e4b2453" providerId="ADAL" clId="{4457FA57-250B-44AC-8655-05D46C5A3D8A}" dt="2023-06-12T13:32:37.340" v="15844" actId="403"/>
          <ac:spMkLst>
            <pc:docMk/>
            <pc:sldMk cId="3729411383" sldId="230717643"/>
            <ac:spMk id="52" creationId="{AE65E22B-0A36-4A6C-9C11-442202CA8F63}"/>
          </ac:spMkLst>
        </pc:spChg>
        <pc:spChg chg="mod">
          <ac:chgData name="El Bakkouri, Manal" userId="8b130982-2e3f-4164-b881-fd3a2e4b2453" providerId="ADAL" clId="{4457FA57-250B-44AC-8655-05D46C5A3D8A}" dt="2023-06-12T13:32:37.340" v="15844" actId="403"/>
          <ac:spMkLst>
            <pc:docMk/>
            <pc:sldMk cId="3729411383" sldId="230717643"/>
            <ac:spMk id="53" creationId="{84F91566-C20B-44C0-B0FA-AE952A876320}"/>
          </ac:spMkLst>
        </pc:spChg>
        <pc:spChg chg="mod">
          <ac:chgData name="El Bakkouri, Manal" userId="8b130982-2e3f-4164-b881-fd3a2e4b2453" providerId="ADAL" clId="{4457FA57-250B-44AC-8655-05D46C5A3D8A}" dt="2023-06-12T13:32:37.340" v="15844" actId="403"/>
          <ac:spMkLst>
            <pc:docMk/>
            <pc:sldMk cId="3729411383" sldId="230717643"/>
            <ac:spMk id="55" creationId="{67C73588-FA69-4A22-9471-9803A9B27819}"/>
          </ac:spMkLst>
        </pc:spChg>
        <pc:spChg chg="mod">
          <ac:chgData name="El Bakkouri, Manal" userId="8b130982-2e3f-4164-b881-fd3a2e4b2453" providerId="ADAL" clId="{4457FA57-250B-44AC-8655-05D46C5A3D8A}" dt="2023-06-12T13:32:37.340" v="15844" actId="403"/>
          <ac:spMkLst>
            <pc:docMk/>
            <pc:sldMk cId="3729411383" sldId="230717643"/>
            <ac:spMk id="57" creationId="{0182D316-7D95-49A4-B05E-EEF6E5503CB9}"/>
          </ac:spMkLst>
        </pc:spChg>
        <pc:spChg chg="mod">
          <ac:chgData name="El Bakkouri, Manal" userId="8b130982-2e3f-4164-b881-fd3a2e4b2453" providerId="ADAL" clId="{4457FA57-250B-44AC-8655-05D46C5A3D8A}" dt="2023-06-12T13:32:37.340" v="15844" actId="403"/>
          <ac:spMkLst>
            <pc:docMk/>
            <pc:sldMk cId="3729411383" sldId="230717643"/>
            <ac:spMk id="59" creationId="{D4C6D226-6226-40EB-BA3E-E3C27D7F5018}"/>
          </ac:spMkLst>
        </pc:spChg>
        <pc:spChg chg="mod">
          <ac:chgData name="El Bakkouri, Manal" userId="8b130982-2e3f-4164-b881-fd3a2e4b2453" providerId="ADAL" clId="{4457FA57-250B-44AC-8655-05D46C5A3D8A}" dt="2023-06-12T13:32:37.340" v="15844" actId="403"/>
          <ac:spMkLst>
            <pc:docMk/>
            <pc:sldMk cId="3729411383" sldId="230717643"/>
            <ac:spMk id="60" creationId="{8AEB41AE-81C7-424E-B3B3-449C0A23D980}"/>
          </ac:spMkLst>
        </pc:spChg>
        <pc:spChg chg="mod">
          <ac:chgData name="El Bakkouri, Manal" userId="8b130982-2e3f-4164-b881-fd3a2e4b2453" providerId="ADAL" clId="{4457FA57-250B-44AC-8655-05D46C5A3D8A}" dt="2023-06-12T13:32:37.340" v="15844" actId="403"/>
          <ac:spMkLst>
            <pc:docMk/>
            <pc:sldMk cId="3729411383" sldId="230717643"/>
            <ac:spMk id="62" creationId="{81AA9868-D173-4024-9208-36D806A33B8E}"/>
          </ac:spMkLst>
        </pc:spChg>
        <pc:spChg chg="mod">
          <ac:chgData name="El Bakkouri, Manal" userId="8b130982-2e3f-4164-b881-fd3a2e4b2453" providerId="ADAL" clId="{4457FA57-250B-44AC-8655-05D46C5A3D8A}" dt="2023-06-12T13:32:37.340" v="15844" actId="403"/>
          <ac:spMkLst>
            <pc:docMk/>
            <pc:sldMk cId="3729411383" sldId="230717643"/>
            <ac:spMk id="63" creationId="{5CC6D0D4-6977-4750-8534-E62D1419D7B6}"/>
          </ac:spMkLst>
        </pc:spChg>
        <pc:spChg chg="mod">
          <ac:chgData name="El Bakkouri, Manal" userId="8b130982-2e3f-4164-b881-fd3a2e4b2453" providerId="ADAL" clId="{4457FA57-250B-44AC-8655-05D46C5A3D8A}" dt="2023-06-12T13:32:37.340" v="15844" actId="403"/>
          <ac:spMkLst>
            <pc:docMk/>
            <pc:sldMk cId="3729411383" sldId="230717643"/>
            <ac:spMk id="80" creationId="{99E35916-A16A-439A-8632-31CC31588FDF}"/>
          </ac:spMkLst>
        </pc:spChg>
        <pc:spChg chg="mod">
          <ac:chgData name="El Bakkouri, Manal" userId="8b130982-2e3f-4164-b881-fd3a2e4b2453" providerId="ADAL" clId="{4457FA57-250B-44AC-8655-05D46C5A3D8A}" dt="2023-06-12T13:32:37.340" v="15844" actId="403"/>
          <ac:spMkLst>
            <pc:docMk/>
            <pc:sldMk cId="3729411383" sldId="230717643"/>
            <ac:spMk id="81" creationId="{803B9675-03C5-4CCB-B610-3D07C3FB6090}"/>
          </ac:spMkLst>
        </pc:spChg>
        <pc:spChg chg="mod">
          <ac:chgData name="El Bakkouri, Manal" userId="8b130982-2e3f-4164-b881-fd3a2e4b2453" providerId="ADAL" clId="{4457FA57-250B-44AC-8655-05D46C5A3D8A}" dt="2023-06-12T13:32:34.115" v="15843" actId="403"/>
          <ac:spMkLst>
            <pc:docMk/>
            <pc:sldMk cId="3729411383" sldId="230717643"/>
            <ac:spMk id="85" creationId="{7F1944A9-D9E1-4B74-9D52-5BD0A0C15E31}"/>
          </ac:spMkLst>
        </pc:spChg>
        <pc:spChg chg="mod">
          <ac:chgData name="El Bakkouri, Manal" userId="8b130982-2e3f-4164-b881-fd3a2e4b2453" providerId="ADAL" clId="{4457FA57-250B-44AC-8655-05D46C5A3D8A}" dt="2023-06-12T13:32:34.115" v="15843" actId="403"/>
          <ac:spMkLst>
            <pc:docMk/>
            <pc:sldMk cId="3729411383" sldId="230717643"/>
            <ac:spMk id="86" creationId="{FE4645E8-E5C0-48D5-BB82-66D62BE2FA13}"/>
          </ac:spMkLst>
        </pc:spChg>
        <pc:spChg chg="mod">
          <ac:chgData name="El Bakkouri, Manal" userId="8b130982-2e3f-4164-b881-fd3a2e4b2453" providerId="ADAL" clId="{4457FA57-250B-44AC-8655-05D46C5A3D8A}" dt="2023-06-12T13:32:34.115" v="15843" actId="403"/>
          <ac:spMkLst>
            <pc:docMk/>
            <pc:sldMk cId="3729411383" sldId="230717643"/>
            <ac:spMk id="87" creationId="{13F673D3-76FC-4224-A59C-809436C4244D}"/>
          </ac:spMkLst>
        </pc:spChg>
        <pc:spChg chg="mod">
          <ac:chgData name="El Bakkouri, Manal" userId="8b130982-2e3f-4164-b881-fd3a2e4b2453" providerId="ADAL" clId="{4457FA57-250B-44AC-8655-05D46C5A3D8A}" dt="2023-06-12T13:32:34.115" v="15843" actId="403"/>
          <ac:spMkLst>
            <pc:docMk/>
            <pc:sldMk cId="3729411383" sldId="230717643"/>
            <ac:spMk id="88" creationId="{0CB2A2EB-9E7A-4FD8-929C-4E16EB462908}"/>
          </ac:spMkLst>
        </pc:spChg>
        <pc:grpChg chg="add del mod">
          <ac:chgData name="El Bakkouri, Manal" userId="8b130982-2e3f-4164-b881-fd3a2e4b2453" providerId="ADAL" clId="{4457FA57-250B-44AC-8655-05D46C5A3D8A}" dt="2023-05-23T17:14:46.809" v="8821" actId="165"/>
          <ac:grpSpMkLst>
            <pc:docMk/>
            <pc:sldMk cId="3729411383" sldId="230717643"/>
            <ac:grpSpMk id="15" creationId="{F51E0863-FB3B-4F4E-9AD7-860045479D28}"/>
          </ac:grpSpMkLst>
        </pc:grpChg>
        <pc:grpChg chg="del mod topLvl">
          <ac:chgData name="El Bakkouri, Manal" userId="8b130982-2e3f-4164-b881-fd3a2e4b2453" providerId="ADAL" clId="{4457FA57-250B-44AC-8655-05D46C5A3D8A}" dt="2023-05-23T17:14:51.755" v="8822" actId="165"/>
          <ac:grpSpMkLst>
            <pc:docMk/>
            <pc:sldMk cId="3729411383" sldId="230717643"/>
            <ac:grpSpMk id="24" creationId="{988B0654-B836-479F-A35A-B30C57CD6225}"/>
          </ac:grpSpMkLst>
        </pc:grpChg>
        <pc:grpChg chg="del mod topLvl">
          <ac:chgData name="El Bakkouri, Manal" userId="8b130982-2e3f-4164-b881-fd3a2e4b2453" providerId="ADAL" clId="{4457FA57-250B-44AC-8655-05D46C5A3D8A}" dt="2023-05-23T17:16:40.155" v="8867" actId="478"/>
          <ac:grpSpMkLst>
            <pc:docMk/>
            <pc:sldMk cId="3729411383" sldId="230717643"/>
            <ac:grpSpMk id="30" creationId="{C7C665E8-4CE8-4755-B6D4-4C748C2D63B0}"/>
          </ac:grpSpMkLst>
        </pc:grpChg>
        <pc:grpChg chg="mod">
          <ac:chgData name="El Bakkouri, Manal" userId="8b130982-2e3f-4164-b881-fd3a2e4b2453" providerId="ADAL" clId="{4457FA57-250B-44AC-8655-05D46C5A3D8A}" dt="2023-06-12T13:32:42.259" v="15846" actId="14100"/>
          <ac:grpSpMkLst>
            <pc:docMk/>
            <pc:sldMk cId="3729411383" sldId="230717643"/>
            <ac:grpSpMk id="51" creationId="{ADDC32A1-AF26-45F9-B517-138E86D655AA}"/>
          </ac:grpSpMkLst>
        </pc:grpChg>
        <pc:grpChg chg="mod">
          <ac:chgData name="El Bakkouri, Manal" userId="8b130982-2e3f-4164-b881-fd3a2e4b2453" providerId="ADAL" clId="{4457FA57-250B-44AC-8655-05D46C5A3D8A}" dt="2023-06-12T13:32:42.259" v="15846" actId="14100"/>
          <ac:grpSpMkLst>
            <pc:docMk/>
            <pc:sldMk cId="3729411383" sldId="230717643"/>
            <ac:grpSpMk id="54" creationId="{F7AFBD09-1C2F-488D-8C85-34C2AD9970FC}"/>
          </ac:grpSpMkLst>
        </pc:grpChg>
        <pc:grpChg chg="mod">
          <ac:chgData name="El Bakkouri, Manal" userId="8b130982-2e3f-4164-b881-fd3a2e4b2453" providerId="ADAL" clId="{4457FA57-250B-44AC-8655-05D46C5A3D8A}" dt="2023-06-12T13:32:42.259" v="15846" actId="14100"/>
          <ac:grpSpMkLst>
            <pc:docMk/>
            <pc:sldMk cId="3729411383" sldId="230717643"/>
            <ac:grpSpMk id="58" creationId="{B5C0B1A0-5D7C-4A52-A5BE-BE639FD8C821}"/>
          </ac:grpSpMkLst>
        </pc:grpChg>
        <pc:grpChg chg="mod">
          <ac:chgData name="El Bakkouri, Manal" userId="8b130982-2e3f-4164-b881-fd3a2e4b2453" providerId="ADAL" clId="{4457FA57-250B-44AC-8655-05D46C5A3D8A}" dt="2023-06-12T13:32:42.259" v="15846" actId="14100"/>
          <ac:grpSpMkLst>
            <pc:docMk/>
            <pc:sldMk cId="3729411383" sldId="230717643"/>
            <ac:grpSpMk id="61" creationId="{F19F88C1-7730-4F5B-B443-973CE9F84FF3}"/>
          </ac:grpSpMkLst>
        </pc:grpChg>
        <pc:grpChg chg="mod">
          <ac:chgData name="El Bakkouri, Manal" userId="8b130982-2e3f-4164-b881-fd3a2e4b2453" providerId="ADAL" clId="{4457FA57-250B-44AC-8655-05D46C5A3D8A}" dt="2023-06-12T13:32:42.259" v="15846" actId="14100"/>
          <ac:grpSpMkLst>
            <pc:docMk/>
            <pc:sldMk cId="3729411383" sldId="230717643"/>
            <ac:grpSpMk id="64" creationId="{E173BDB1-9A6C-44B1-8875-0589ECAA2FCB}"/>
          </ac:grpSpMkLst>
        </pc:grpChg>
        <pc:picChg chg="add mod ord">
          <ac:chgData name="El Bakkouri, Manal" userId="8b130982-2e3f-4164-b881-fd3a2e4b2453" providerId="ADAL" clId="{4457FA57-250B-44AC-8655-05D46C5A3D8A}" dt="2023-05-23T18:51:18.686" v="9479" actId="167"/>
          <ac:picMkLst>
            <pc:docMk/>
            <pc:sldMk cId="3729411383" sldId="230717643"/>
            <ac:picMk id="48" creationId="{E72FA804-10E2-4611-9173-323F4A468708}"/>
          </ac:picMkLst>
        </pc:picChg>
        <pc:cxnChg chg="mod topLvl">
          <ac:chgData name="El Bakkouri, Manal" userId="8b130982-2e3f-4164-b881-fd3a2e4b2453" providerId="ADAL" clId="{4457FA57-250B-44AC-8655-05D46C5A3D8A}" dt="2023-05-23T18:45:42.854" v="9466" actId="1036"/>
          <ac:cxnSpMkLst>
            <pc:docMk/>
            <pc:sldMk cId="3729411383" sldId="230717643"/>
            <ac:cxnSpMk id="16" creationId="{3715D5D3-9AC2-42A9-894A-EDF973E67A08}"/>
          </ac:cxnSpMkLst>
        </pc:cxnChg>
        <pc:cxnChg chg="mod topLvl">
          <ac:chgData name="El Bakkouri, Manal" userId="8b130982-2e3f-4164-b881-fd3a2e4b2453" providerId="ADAL" clId="{4457FA57-250B-44AC-8655-05D46C5A3D8A}" dt="2023-05-23T18:45:42.854" v="9466" actId="1036"/>
          <ac:cxnSpMkLst>
            <pc:docMk/>
            <pc:sldMk cId="3729411383" sldId="230717643"/>
            <ac:cxnSpMk id="23" creationId="{2BE38258-7AF2-4411-BF2D-545C6933AF9B}"/>
          </ac:cxnSpMkLst>
        </pc:cxnChg>
        <pc:cxnChg chg="mod topLvl">
          <ac:chgData name="El Bakkouri, Manal" userId="8b130982-2e3f-4164-b881-fd3a2e4b2453" providerId="ADAL" clId="{4457FA57-250B-44AC-8655-05D46C5A3D8A}" dt="2023-05-23T18:45:42.854" v="9466" actId="1036"/>
          <ac:cxnSpMkLst>
            <pc:docMk/>
            <pc:sldMk cId="3729411383" sldId="230717643"/>
            <ac:cxnSpMk id="25" creationId="{36C33451-875C-4B71-94F9-16A220E9C04E}"/>
          </ac:cxnSpMkLst>
        </pc:cxnChg>
        <pc:cxnChg chg="mod topLvl">
          <ac:chgData name="El Bakkouri, Manal" userId="8b130982-2e3f-4164-b881-fd3a2e4b2453" providerId="ADAL" clId="{4457FA57-250B-44AC-8655-05D46C5A3D8A}" dt="2023-05-23T18:45:42.854" v="9466" actId="1036"/>
          <ac:cxnSpMkLst>
            <pc:docMk/>
            <pc:sldMk cId="3729411383" sldId="230717643"/>
            <ac:cxnSpMk id="26" creationId="{D9C010BA-F032-4CC3-A52B-792A8D32F214}"/>
          </ac:cxnSpMkLst>
        </pc:cxnChg>
        <pc:cxnChg chg="mod topLvl">
          <ac:chgData name="El Bakkouri, Manal" userId="8b130982-2e3f-4164-b881-fd3a2e4b2453" providerId="ADAL" clId="{4457FA57-250B-44AC-8655-05D46C5A3D8A}" dt="2023-05-23T18:45:42.854" v="9466" actId="1036"/>
          <ac:cxnSpMkLst>
            <pc:docMk/>
            <pc:sldMk cId="3729411383" sldId="230717643"/>
            <ac:cxnSpMk id="27" creationId="{51826EEA-2414-4990-AF19-A14C484192B9}"/>
          </ac:cxnSpMkLst>
        </pc:cxnChg>
        <pc:cxnChg chg="mod topLvl">
          <ac:chgData name="El Bakkouri, Manal" userId="8b130982-2e3f-4164-b881-fd3a2e4b2453" providerId="ADAL" clId="{4457FA57-250B-44AC-8655-05D46C5A3D8A}" dt="2023-05-23T18:45:42.854" v="9466" actId="1036"/>
          <ac:cxnSpMkLst>
            <pc:docMk/>
            <pc:sldMk cId="3729411383" sldId="230717643"/>
            <ac:cxnSpMk id="28" creationId="{CE12E788-E323-4EAB-8F07-7DD53B4BB0C2}"/>
          </ac:cxnSpMkLst>
        </pc:cxnChg>
      </pc:sldChg>
      <pc:sldChg chg="add del ord">
        <pc:chgData name="El Bakkouri, Manal" userId="8b130982-2e3f-4164-b881-fd3a2e4b2453" providerId="ADAL" clId="{4457FA57-250B-44AC-8655-05D46C5A3D8A}" dt="2023-05-23T15:56:46.458" v="8698" actId="47"/>
        <pc:sldMkLst>
          <pc:docMk/>
          <pc:sldMk cId="1991395686" sldId="230717644"/>
        </pc:sldMkLst>
      </pc:sldChg>
      <pc:sldChg chg="addSp delSp modSp add del mod">
        <pc:chgData name="El Bakkouri, Manal" userId="8b130982-2e3f-4164-b881-fd3a2e4b2453" providerId="ADAL" clId="{4457FA57-250B-44AC-8655-05D46C5A3D8A}" dt="2023-05-23T18:38:51.198" v="9424" actId="2696"/>
        <pc:sldMkLst>
          <pc:docMk/>
          <pc:sldMk cId="4184799777" sldId="230717644"/>
        </pc:sldMkLst>
        <pc:spChg chg="mod ord">
          <ac:chgData name="El Bakkouri, Manal" userId="8b130982-2e3f-4164-b881-fd3a2e4b2453" providerId="ADAL" clId="{4457FA57-250B-44AC-8655-05D46C5A3D8A}" dt="2023-05-23T18:32:18.290" v="9341" actId="1036"/>
          <ac:spMkLst>
            <pc:docMk/>
            <pc:sldMk cId="4184799777" sldId="230717644"/>
            <ac:spMk id="19" creationId="{B30F652F-B4AB-4663-B9DF-0896119C5242}"/>
          </ac:spMkLst>
        </pc:spChg>
        <pc:spChg chg="mod">
          <ac:chgData name="El Bakkouri, Manal" userId="8b130982-2e3f-4164-b881-fd3a2e4b2453" providerId="ADAL" clId="{4457FA57-250B-44AC-8655-05D46C5A3D8A}" dt="2023-05-23T18:37:29.394" v="9387" actId="1076"/>
          <ac:spMkLst>
            <pc:docMk/>
            <pc:sldMk cId="4184799777" sldId="230717644"/>
            <ac:spMk id="21" creationId="{22A3CDB1-151E-4AB1-AD86-3A0348E9CF8B}"/>
          </ac:spMkLst>
        </pc:spChg>
        <pc:spChg chg="mod">
          <ac:chgData name="El Bakkouri, Manal" userId="8b130982-2e3f-4164-b881-fd3a2e4b2453" providerId="ADAL" clId="{4457FA57-250B-44AC-8655-05D46C5A3D8A}" dt="2023-05-23T18:31:51.722" v="9247"/>
          <ac:spMkLst>
            <pc:docMk/>
            <pc:sldMk cId="4184799777" sldId="230717644"/>
            <ac:spMk id="60" creationId="{CCE05FA6-832E-4A78-9147-4C35F9960D54}"/>
          </ac:spMkLst>
        </pc:spChg>
        <pc:spChg chg="mod">
          <ac:chgData name="El Bakkouri, Manal" userId="8b130982-2e3f-4164-b881-fd3a2e4b2453" providerId="ADAL" clId="{4457FA57-250B-44AC-8655-05D46C5A3D8A}" dt="2023-05-23T18:31:51.722" v="9247"/>
          <ac:spMkLst>
            <pc:docMk/>
            <pc:sldMk cId="4184799777" sldId="230717644"/>
            <ac:spMk id="61" creationId="{2ECE1934-967D-4DB0-BB5E-8BD2B4B6FBA0}"/>
          </ac:spMkLst>
        </pc:spChg>
        <pc:spChg chg="mod">
          <ac:chgData name="El Bakkouri, Manal" userId="8b130982-2e3f-4164-b881-fd3a2e4b2453" providerId="ADAL" clId="{4457FA57-250B-44AC-8655-05D46C5A3D8A}" dt="2023-05-23T18:31:51.722" v="9247"/>
          <ac:spMkLst>
            <pc:docMk/>
            <pc:sldMk cId="4184799777" sldId="230717644"/>
            <ac:spMk id="70" creationId="{7EA11F95-C1A2-4617-8FA1-0F792DF8099C}"/>
          </ac:spMkLst>
        </pc:spChg>
        <pc:spChg chg="mod">
          <ac:chgData name="El Bakkouri, Manal" userId="8b130982-2e3f-4164-b881-fd3a2e4b2453" providerId="ADAL" clId="{4457FA57-250B-44AC-8655-05D46C5A3D8A}" dt="2023-05-23T18:31:51.722" v="9247"/>
          <ac:spMkLst>
            <pc:docMk/>
            <pc:sldMk cId="4184799777" sldId="230717644"/>
            <ac:spMk id="71" creationId="{AE805E0D-F333-407A-A2B6-56DF19A529AE}"/>
          </ac:spMkLst>
        </pc:spChg>
        <pc:spChg chg="mod">
          <ac:chgData name="El Bakkouri, Manal" userId="8b130982-2e3f-4164-b881-fd3a2e4b2453" providerId="ADAL" clId="{4457FA57-250B-44AC-8655-05D46C5A3D8A}" dt="2023-05-23T18:31:51.722" v="9247"/>
          <ac:spMkLst>
            <pc:docMk/>
            <pc:sldMk cId="4184799777" sldId="230717644"/>
            <ac:spMk id="72" creationId="{F7957419-C211-415A-AF97-50BEA730071B}"/>
          </ac:spMkLst>
        </pc:spChg>
        <pc:spChg chg="mod">
          <ac:chgData name="El Bakkouri, Manal" userId="8b130982-2e3f-4164-b881-fd3a2e4b2453" providerId="ADAL" clId="{4457FA57-250B-44AC-8655-05D46C5A3D8A}" dt="2023-05-23T18:31:51.722" v="9247"/>
          <ac:spMkLst>
            <pc:docMk/>
            <pc:sldMk cId="4184799777" sldId="230717644"/>
            <ac:spMk id="84" creationId="{C71063E3-9FCD-4EE4-B7C0-15A7ABF332FC}"/>
          </ac:spMkLst>
        </pc:spChg>
        <pc:spChg chg="mod">
          <ac:chgData name="El Bakkouri, Manal" userId="8b130982-2e3f-4164-b881-fd3a2e4b2453" providerId="ADAL" clId="{4457FA57-250B-44AC-8655-05D46C5A3D8A}" dt="2023-05-23T18:37:42.502" v="9388"/>
          <ac:spMkLst>
            <pc:docMk/>
            <pc:sldMk cId="4184799777" sldId="230717644"/>
            <ac:spMk id="89" creationId="{5E96E1FF-8C9E-477F-AF08-55925839C474}"/>
          </ac:spMkLst>
        </pc:spChg>
        <pc:spChg chg="mod">
          <ac:chgData name="El Bakkouri, Manal" userId="8b130982-2e3f-4164-b881-fd3a2e4b2453" providerId="ADAL" clId="{4457FA57-250B-44AC-8655-05D46C5A3D8A}" dt="2023-05-23T18:37:42.502" v="9388"/>
          <ac:spMkLst>
            <pc:docMk/>
            <pc:sldMk cId="4184799777" sldId="230717644"/>
            <ac:spMk id="92" creationId="{377542A3-E0D8-41A6-948C-6DFE75E6825E}"/>
          </ac:spMkLst>
        </pc:spChg>
        <pc:spChg chg="mod">
          <ac:chgData name="El Bakkouri, Manal" userId="8b130982-2e3f-4164-b881-fd3a2e4b2453" providerId="ADAL" clId="{4457FA57-250B-44AC-8655-05D46C5A3D8A}" dt="2023-05-23T18:37:42.502" v="9388"/>
          <ac:spMkLst>
            <pc:docMk/>
            <pc:sldMk cId="4184799777" sldId="230717644"/>
            <ac:spMk id="93" creationId="{5AEE9539-BE31-4599-A78B-6CE6FF905AE8}"/>
          </ac:spMkLst>
        </pc:spChg>
        <pc:spChg chg="mod">
          <ac:chgData name="El Bakkouri, Manal" userId="8b130982-2e3f-4164-b881-fd3a2e4b2453" providerId="ADAL" clId="{4457FA57-250B-44AC-8655-05D46C5A3D8A}" dt="2023-05-23T18:37:42.502" v="9388"/>
          <ac:spMkLst>
            <pc:docMk/>
            <pc:sldMk cId="4184799777" sldId="230717644"/>
            <ac:spMk id="94" creationId="{4E6FC375-A742-45E5-9726-79142F41669F}"/>
          </ac:spMkLst>
        </pc:spChg>
        <pc:spChg chg="mod">
          <ac:chgData name="El Bakkouri, Manal" userId="8b130982-2e3f-4164-b881-fd3a2e4b2453" providerId="ADAL" clId="{4457FA57-250B-44AC-8655-05D46C5A3D8A}" dt="2023-05-23T18:37:42.502" v="9388"/>
          <ac:spMkLst>
            <pc:docMk/>
            <pc:sldMk cId="4184799777" sldId="230717644"/>
            <ac:spMk id="95" creationId="{C7AE6CDF-0CCF-4244-8C6F-54230E2D949C}"/>
          </ac:spMkLst>
        </pc:spChg>
        <pc:spChg chg="mod">
          <ac:chgData name="El Bakkouri, Manal" userId="8b130982-2e3f-4164-b881-fd3a2e4b2453" providerId="ADAL" clId="{4457FA57-250B-44AC-8655-05D46C5A3D8A}" dt="2023-05-23T18:37:42.502" v="9388"/>
          <ac:spMkLst>
            <pc:docMk/>
            <pc:sldMk cId="4184799777" sldId="230717644"/>
            <ac:spMk id="97" creationId="{A2AB0FD7-7A6A-4278-8B99-47FF23CE1E67}"/>
          </ac:spMkLst>
        </pc:spChg>
        <pc:spChg chg="mod">
          <ac:chgData name="El Bakkouri, Manal" userId="8b130982-2e3f-4164-b881-fd3a2e4b2453" providerId="ADAL" clId="{4457FA57-250B-44AC-8655-05D46C5A3D8A}" dt="2023-05-23T18:37:42.502" v="9388"/>
          <ac:spMkLst>
            <pc:docMk/>
            <pc:sldMk cId="4184799777" sldId="230717644"/>
            <ac:spMk id="98" creationId="{9E8520A7-F8E9-4025-9B32-96946F0223A6}"/>
          </ac:spMkLst>
        </pc:spChg>
        <pc:spChg chg="mod">
          <ac:chgData name="El Bakkouri, Manal" userId="8b130982-2e3f-4164-b881-fd3a2e4b2453" providerId="ADAL" clId="{4457FA57-250B-44AC-8655-05D46C5A3D8A}" dt="2023-05-23T18:37:42.502" v="9388"/>
          <ac:spMkLst>
            <pc:docMk/>
            <pc:sldMk cId="4184799777" sldId="230717644"/>
            <ac:spMk id="99" creationId="{E1F2CC5C-2132-466E-B090-26F9269B7C3B}"/>
          </ac:spMkLst>
        </pc:spChg>
        <pc:spChg chg="mod">
          <ac:chgData name="El Bakkouri, Manal" userId="8b130982-2e3f-4164-b881-fd3a2e4b2453" providerId="ADAL" clId="{4457FA57-250B-44AC-8655-05D46C5A3D8A}" dt="2023-05-23T18:37:42.502" v="9388"/>
          <ac:spMkLst>
            <pc:docMk/>
            <pc:sldMk cId="4184799777" sldId="230717644"/>
            <ac:spMk id="101" creationId="{8DDC936B-F029-4C67-A093-23E7DF48229F}"/>
          </ac:spMkLst>
        </pc:spChg>
        <pc:spChg chg="mod">
          <ac:chgData name="El Bakkouri, Manal" userId="8b130982-2e3f-4164-b881-fd3a2e4b2453" providerId="ADAL" clId="{4457FA57-250B-44AC-8655-05D46C5A3D8A}" dt="2023-05-23T18:37:42.502" v="9388"/>
          <ac:spMkLst>
            <pc:docMk/>
            <pc:sldMk cId="4184799777" sldId="230717644"/>
            <ac:spMk id="102" creationId="{513456F3-113E-4DF0-AC1D-4ABE5934B692}"/>
          </ac:spMkLst>
        </pc:spChg>
        <pc:grpChg chg="del">
          <ac:chgData name="El Bakkouri, Manal" userId="8b130982-2e3f-4164-b881-fd3a2e4b2453" providerId="ADAL" clId="{4457FA57-250B-44AC-8655-05D46C5A3D8A}" dt="2023-05-23T18:37:46.595" v="9390" actId="478"/>
          <ac:grpSpMkLst>
            <pc:docMk/>
            <pc:sldMk cId="4184799777" sldId="230717644"/>
            <ac:grpSpMk id="54" creationId="{C2495E2B-7615-4E05-86AC-C162B4618BD5}"/>
          </ac:grpSpMkLst>
        </pc:grpChg>
        <pc:grpChg chg="add mod ord">
          <ac:chgData name="El Bakkouri, Manal" userId="8b130982-2e3f-4164-b881-fd3a2e4b2453" providerId="ADAL" clId="{4457FA57-250B-44AC-8655-05D46C5A3D8A}" dt="2023-05-23T18:32:09.419" v="9334" actId="167"/>
          <ac:grpSpMkLst>
            <pc:docMk/>
            <pc:sldMk cId="4184799777" sldId="230717644"/>
            <ac:grpSpMk id="57" creationId="{2672051C-4019-46D2-897F-39F9439A5D83}"/>
          </ac:grpSpMkLst>
        </pc:grpChg>
        <pc:grpChg chg="add mod">
          <ac:chgData name="El Bakkouri, Manal" userId="8b130982-2e3f-4164-b881-fd3a2e4b2453" providerId="ADAL" clId="{4457FA57-250B-44AC-8655-05D46C5A3D8A}" dt="2023-05-23T18:37:51.505" v="9410" actId="1037"/>
          <ac:grpSpMkLst>
            <pc:docMk/>
            <pc:sldMk cId="4184799777" sldId="230717644"/>
            <ac:grpSpMk id="85" creationId="{E4595F3C-F33C-4885-8718-F47BADAD8D48}"/>
          </ac:grpSpMkLst>
        </pc:grpChg>
        <pc:grpChg chg="mod">
          <ac:chgData name="El Bakkouri, Manal" userId="8b130982-2e3f-4164-b881-fd3a2e4b2453" providerId="ADAL" clId="{4457FA57-250B-44AC-8655-05D46C5A3D8A}" dt="2023-05-23T18:37:42.502" v="9388"/>
          <ac:grpSpMkLst>
            <pc:docMk/>
            <pc:sldMk cId="4184799777" sldId="230717644"/>
            <ac:grpSpMk id="100" creationId="{BAE23B98-CAE9-41E3-B8C7-D47451CD5F9B}"/>
          </ac:grpSpMkLst>
        </pc:grpChg>
        <pc:picChg chg="del">
          <ac:chgData name="El Bakkouri, Manal" userId="8b130982-2e3f-4164-b881-fd3a2e4b2453" providerId="ADAL" clId="{4457FA57-250B-44AC-8655-05D46C5A3D8A}" dt="2023-05-23T18:31:28.524" v="9222" actId="478"/>
          <ac:picMkLst>
            <pc:docMk/>
            <pc:sldMk cId="4184799777" sldId="230717644"/>
            <ac:picMk id="90" creationId="{E6EABDD6-2E77-487C-BDEE-E07358A7FDB8}"/>
          </ac:picMkLst>
        </pc:picChg>
        <pc:cxnChg chg="mod">
          <ac:chgData name="El Bakkouri, Manal" userId="8b130982-2e3f-4164-b881-fd3a2e4b2453" providerId="ADAL" clId="{4457FA57-250B-44AC-8655-05D46C5A3D8A}" dt="2023-05-23T18:31:51.722" v="9247"/>
          <ac:cxnSpMkLst>
            <pc:docMk/>
            <pc:sldMk cId="4184799777" sldId="230717644"/>
            <ac:cxnSpMk id="59" creationId="{AAAE7244-D280-4804-BFAF-38E3D337E18C}"/>
          </ac:cxnSpMkLst>
        </pc:cxnChg>
        <pc:cxnChg chg="mod">
          <ac:chgData name="El Bakkouri, Manal" userId="8b130982-2e3f-4164-b881-fd3a2e4b2453" providerId="ADAL" clId="{4457FA57-250B-44AC-8655-05D46C5A3D8A}" dt="2023-05-23T18:31:51.722" v="9247"/>
          <ac:cxnSpMkLst>
            <pc:docMk/>
            <pc:sldMk cId="4184799777" sldId="230717644"/>
            <ac:cxnSpMk id="76" creationId="{30723106-80D5-4F43-9586-8B5C6BC0DCA2}"/>
          </ac:cxnSpMkLst>
        </pc:cxnChg>
        <pc:cxnChg chg="mod">
          <ac:chgData name="El Bakkouri, Manal" userId="8b130982-2e3f-4164-b881-fd3a2e4b2453" providerId="ADAL" clId="{4457FA57-250B-44AC-8655-05D46C5A3D8A}" dt="2023-05-23T18:31:51.722" v="9247"/>
          <ac:cxnSpMkLst>
            <pc:docMk/>
            <pc:sldMk cId="4184799777" sldId="230717644"/>
            <ac:cxnSpMk id="77" creationId="{C90F7012-43DF-43D3-A8A9-04B64BA330D4}"/>
          </ac:cxnSpMkLst>
        </pc:cxnChg>
      </pc:sldChg>
      <pc:sldChg chg="addSp delSp modSp add mod ord modTransition">
        <pc:chgData name="El Bakkouri, Manal" userId="8b130982-2e3f-4164-b881-fd3a2e4b2453" providerId="ADAL" clId="{4457FA57-250B-44AC-8655-05D46C5A3D8A}" dt="2023-06-12T22:20:29.943" v="15975" actId="1035"/>
        <pc:sldMkLst>
          <pc:docMk/>
          <pc:sldMk cId="1391736626" sldId="230717645"/>
        </pc:sldMkLst>
        <pc:spChg chg="mod">
          <ac:chgData name="El Bakkouri, Manal" userId="8b130982-2e3f-4164-b881-fd3a2e4b2453" providerId="ADAL" clId="{4457FA57-250B-44AC-8655-05D46C5A3D8A}" dt="2023-06-12T22:20:24.197" v="15947" actId="1076"/>
          <ac:spMkLst>
            <pc:docMk/>
            <pc:sldMk cId="1391736626" sldId="230717645"/>
            <ac:spMk id="3" creationId="{B2A839E4-2279-465D-BDC5-03FE0C71ECA2}"/>
          </ac:spMkLst>
        </pc:spChg>
        <pc:spChg chg="mod">
          <ac:chgData name="El Bakkouri, Manal" userId="8b130982-2e3f-4164-b881-fd3a2e4b2453" providerId="ADAL" clId="{4457FA57-250B-44AC-8655-05D46C5A3D8A}" dt="2023-05-23T18:33:03.008" v="9350" actId="20577"/>
          <ac:spMkLst>
            <pc:docMk/>
            <pc:sldMk cId="1391736626" sldId="230717645"/>
            <ac:spMk id="19" creationId="{B30F652F-B4AB-4663-B9DF-0896119C5242}"/>
          </ac:spMkLst>
        </pc:spChg>
        <pc:spChg chg="del">
          <ac:chgData name="El Bakkouri, Manal" userId="8b130982-2e3f-4164-b881-fd3a2e4b2453" providerId="ADAL" clId="{4457FA57-250B-44AC-8655-05D46C5A3D8A}" dt="2023-06-12T13:33:32.729" v="15854" actId="478"/>
          <ac:spMkLst>
            <pc:docMk/>
            <pc:sldMk cId="1391736626" sldId="230717645"/>
            <ac:spMk id="53" creationId="{8DBE2EAE-9B6A-457E-8402-4FD2952DCF17}"/>
          </ac:spMkLst>
        </pc:spChg>
        <pc:spChg chg="del">
          <ac:chgData name="El Bakkouri, Manal" userId="8b130982-2e3f-4164-b881-fd3a2e4b2453" providerId="ADAL" clId="{4457FA57-250B-44AC-8655-05D46C5A3D8A}" dt="2023-06-12T13:33:32.729" v="15854" actId="478"/>
          <ac:spMkLst>
            <pc:docMk/>
            <pc:sldMk cId="1391736626" sldId="230717645"/>
            <ac:spMk id="54" creationId="{823CD6F8-45BF-483A-9495-DFB313CDC7B0}"/>
          </ac:spMkLst>
        </pc:spChg>
        <pc:spChg chg="del">
          <ac:chgData name="El Bakkouri, Manal" userId="8b130982-2e3f-4164-b881-fd3a2e4b2453" providerId="ADAL" clId="{4457FA57-250B-44AC-8655-05D46C5A3D8A}" dt="2023-06-12T13:33:32.729" v="15854" actId="478"/>
          <ac:spMkLst>
            <pc:docMk/>
            <pc:sldMk cId="1391736626" sldId="230717645"/>
            <ac:spMk id="55" creationId="{D7095D21-9AB8-40BE-B7DD-3E4326553076}"/>
          </ac:spMkLst>
        </pc:spChg>
        <pc:spChg chg="del">
          <ac:chgData name="El Bakkouri, Manal" userId="8b130982-2e3f-4164-b881-fd3a2e4b2453" providerId="ADAL" clId="{4457FA57-250B-44AC-8655-05D46C5A3D8A}" dt="2023-06-12T13:33:32.729" v="15854" actId="478"/>
          <ac:spMkLst>
            <pc:docMk/>
            <pc:sldMk cId="1391736626" sldId="230717645"/>
            <ac:spMk id="56" creationId="{A5F8E6EF-A362-4903-ACA5-69A04732EBEA}"/>
          </ac:spMkLst>
        </pc:spChg>
        <pc:spChg chg="mod">
          <ac:chgData name="El Bakkouri, Manal" userId="8b130982-2e3f-4164-b881-fd3a2e4b2453" providerId="ADAL" clId="{4457FA57-250B-44AC-8655-05D46C5A3D8A}" dt="2023-06-12T13:33:33.284" v="15855"/>
          <ac:spMkLst>
            <pc:docMk/>
            <pc:sldMk cId="1391736626" sldId="230717645"/>
            <ac:spMk id="62" creationId="{3F8D297A-9152-4313-BB4B-C1A07E3D6B53}"/>
          </ac:spMkLst>
        </pc:spChg>
        <pc:spChg chg="mod">
          <ac:chgData name="El Bakkouri, Manal" userId="8b130982-2e3f-4164-b881-fd3a2e4b2453" providerId="ADAL" clId="{4457FA57-250B-44AC-8655-05D46C5A3D8A}" dt="2023-06-12T13:33:33.284" v="15855"/>
          <ac:spMkLst>
            <pc:docMk/>
            <pc:sldMk cId="1391736626" sldId="230717645"/>
            <ac:spMk id="63" creationId="{373AADFA-B61C-4B7B-86FD-9EA27AD87E9D}"/>
          </ac:spMkLst>
        </pc:spChg>
        <pc:spChg chg="mod">
          <ac:chgData name="El Bakkouri, Manal" userId="8b130982-2e3f-4164-b881-fd3a2e4b2453" providerId="ADAL" clId="{4457FA57-250B-44AC-8655-05D46C5A3D8A}" dt="2023-06-12T13:33:33.284" v="15855"/>
          <ac:spMkLst>
            <pc:docMk/>
            <pc:sldMk cId="1391736626" sldId="230717645"/>
            <ac:spMk id="65" creationId="{11827859-C956-494B-9FDB-617581B2C654}"/>
          </ac:spMkLst>
        </pc:spChg>
        <pc:spChg chg="mod">
          <ac:chgData name="El Bakkouri, Manal" userId="8b130982-2e3f-4164-b881-fd3a2e4b2453" providerId="ADAL" clId="{4457FA57-250B-44AC-8655-05D46C5A3D8A}" dt="2023-06-12T13:33:33.284" v="15855"/>
          <ac:spMkLst>
            <pc:docMk/>
            <pc:sldMk cId="1391736626" sldId="230717645"/>
            <ac:spMk id="66" creationId="{D7DE20DD-93D3-4A45-9F96-EA08C98735FF}"/>
          </ac:spMkLst>
        </pc:spChg>
        <pc:spChg chg="mod">
          <ac:chgData name="El Bakkouri, Manal" userId="8b130982-2e3f-4164-b881-fd3a2e4b2453" providerId="ADAL" clId="{4457FA57-250B-44AC-8655-05D46C5A3D8A}" dt="2023-06-12T13:33:33.284" v="15855"/>
          <ac:spMkLst>
            <pc:docMk/>
            <pc:sldMk cId="1391736626" sldId="230717645"/>
            <ac:spMk id="68" creationId="{4532AD4D-6AF3-460E-8016-56AA4C62802C}"/>
          </ac:spMkLst>
        </pc:spChg>
        <pc:spChg chg="mod">
          <ac:chgData name="El Bakkouri, Manal" userId="8b130982-2e3f-4164-b881-fd3a2e4b2453" providerId="ADAL" clId="{4457FA57-250B-44AC-8655-05D46C5A3D8A}" dt="2023-06-12T13:33:33.284" v="15855"/>
          <ac:spMkLst>
            <pc:docMk/>
            <pc:sldMk cId="1391736626" sldId="230717645"/>
            <ac:spMk id="69" creationId="{D0328EC7-9DF3-4727-9EAD-CBD6569110CE}"/>
          </ac:spMkLst>
        </pc:spChg>
        <pc:spChg chg="mod">
          <ac:chgData name="El Bakkouri, Manal" userId="8b130982-2e3f-4164-b881-fd3a2e4b2453" providerId="ADAL" clId="{4457FA57-250B-44AC-8655-05D46C5A3D8A}" dt="2023-06-12T13:33:33.284" v="15855"/>
          <ac:spMkLst>
            <pc:docMk/>
            <pc:sldMk cId="1391736626" sldId="230717645"/>
            <ac:spMk id="74" creationId="{41B16317-BAE7-4165-8A2E-703D68D85135}"/>
          </ac:spMkLst>
        </pc:spChg>
        <pc:spChg chg="mod">
          <ac:chgData name="El Bakkouri, Manal" userId="8b130982-2e3f-4164-b881-fd3a2e4b2453" providerId="ADAL" clId="{4457FA57-250B-44AC-8655-05D46C5A3D8A}" dt="2023-06-12T13:33:33.284" v="15855"/>
          <ac:spMkLst>
            <pc:docMk/>
            <pc:sldMk cId="1391736626" sldId="230717645"/>
            <ac:spMk id="75" creationId="{C118D746-F7FA-4069-BD0A-9F08647FFA79}"/>
          </ac:spMkLst>
        </pc:spChg>
        <pc:spChg chg="mod">
          <ac:chgData name="El Bakkouri, Manal" userId="8b130982-2e3f-4164-b881-fd3a2e4b2453" providerId="ADAL" clId="{4457FA57-250B-44AC-8655-05D46C5A3D8A}" dt="2023-06-12T13:33:33.284" v="15855"/>
          <ac:spMkLst>
            <pc:docMk/>
            <pc:sldMk cId="1391736626" sldId="230717645"/>
            <ac:spMk id="79" creationId="{2E249455-A7CE-4C24-AE81-D34860CB302D}"/>
          </ac:spMkLst>
        </pc:spChg>
        <pc:spChg chg="mod">
          <ac:chgData name="El Bakkouri, Manal" userId="8b130982-2e3f-4164-b881-fd3a2e4b2453" providerId="ADAL" clId="{4457FA57-250B-44AC-8655-05D46C5A3D8A}" dt="2023-06-12T13:33:33.284" v="15855"/>
          <ac:spMkLst>
            <pc:docMk/>
            <pc:sldMk cId="1391736626" sldId="230717645"/>
            <ac:spMk id="80" creationId="{4FB31992-C7AD-48CF-BA40-B7A505360C50}"/>
          </ac:spMkLst>
        </pc:spChg>
        <pc:spChg chg="add mod">
          <ac:chgData name="El Bakkouri, Manal" userId="8b130982-2e3f-4164-b881-fd3a2e4b2453" providerId="ADAL" clId="{4457FA57-250B-44AC-8655-05D46C5A3D8A}" dt="2023-06-12T13:33:33.284" v="15855"/>
          <ac:spMkLst>
            <pc:docMk/>
            <pc:sldMk cId="1391736626" sldId="230717645"/>
            <ac:spMk id="81" creationId="{D8D1AF64-5A6B-4912-AB33-3F4957786BB7}"/>
          </ac:spMkLst>
        </pc:spChg>
        <pc:spChg chg="add mod">
          <ac:chgData name="El Bakkouri, Manal" userId="8b130982-2e3f-4164-b881-fd3a2e4b2453" providerId="ADAL" clId="{4457FA57-250B-44AC-8655-05D46C5A3D8A}" dt="2023-06-12T13:33:33.284" v="15855"/>
          <ac:spMkLst>
            <pc:docMk/>
            <pc:sldMk cId="1391736626" sldId="230717645"/>
            <ac:spMk id="82" creationId="{0CD336D7-DB66-4103-87FA-2C2852CF35A5}"/>
          </ac:spMkLst>
        </pc:spChg>
        <pc:spChg chg="add mod">
          <ac:chgData name="El Bakkouri, Manal" userId="8b130982-2e3f-4164-b881-fd3a2e4b2453" providerId="ADAL" clId="{4457FA57-250B-44AC-8655-05D46C5A3D8A}" dt="2023-06-12T13:33:33.284" v="15855"/>
          <ac:spMkLst>
            <pc:docMk/>
            <pc:sldMk cId="1391736626" sldId="230717645"/>
            <ac:spMk id="83" creationId="{AEE3F4CA-DAE3-447E-8F50-759F444F9484}"/>
          </ac:spMkLst>
        </pc:spChg>
        <pc:spChg chg="add mod">
          <ac:chgData name="El Bakkouri, Manal" userId="8b130982-2e3f-4164-b881-fd3a2e4b2453" providerId="ADAL" clId="{4457FA57-250B-44AC-8655-05D46C5A3D8A}" dt="2023-06-12T13:33:33.284" v="15855"/>
          <ac:spMkLst>
            <pc:docMk/>
            <pc:sldMk cId="1391736626" sldId="230717645"/>
            <ac:spMk id="85" creationId="{F1657C88-66CC-45DA-BAF8-B65D46A8A65F}"/>
          </ac:spMkLst>
        </pc:spChg>
        <pc:spChg chg="mod">
          <ac:chgData name="El Bakkouri, Manal" userId="8b130982-2e3f-4164-b881-fd3a2e4b2453" providerId="ADAL" clId="{4457FA57-250B-44AC-8655-05D46C5A3D8A}" dt="2023-06-12T22:20:29.943" v="15975" actId="1035"/>
          <ac:spMkLst>
            <pc:docMk/>
            <pc:sldMk cId="1391736626" sldId="230717645"/>
            <ac:spMk id="96" creationId="{07D4BAF4-F56E-4561-88D3-A1F7DE5E190E}"/>
          </ac:spMkLst>
        </pc:spChg>
        <pc:grpChg chg="del">
          <ac:chgData name="El Bakkouri, Manal" userId="8b130982-2e3f-4164-b881-fd3a2e4b2453" providerId="ADAL" clId="{4457FA57-250B-44AC-8655-05D46C5A3D8A}" dt="2023-06-12T13:33:32.729" v="15854" actId="478"/>
          <ac:grpSpMkLst>
            <pc:docMk/>
            <pc:sldMk cId="1391736626" sldId="230717645"/>
            <ac:grpSpMk id="38" creationId="{F26CE0CC-FAB0-4BF2-B1FD-FA4DFA8E261B}"/>
          </ac:grpSpMkLst>
        </pc:grpChg>
        <pc:grpChg chg="del">
          <ac:chgData name="El Bakkouri, Manal" userId="8b130982-2e3f-4164-b881-fd3a2e4b2453" providerId="ADAL" clId="{4457FA57-250B-44AC-8655-05D46C5A3D8A}" dt="2023-06-12T13:33:32.729" v="15854" actId="478"/>
          <ac:grpSpMkLst>
            <pc:docMk/>
            <pc:sldMk cId="1391736626" sldId="230717645"/>
            <ac:grpSpMk id="41" creationId="{6B0805E8-EA41-4258-801C-C9C7A2DC87C9}"/>
          </ac:grpSpMkLst>
        </pc:grpChg>
        <pc:grpChg chg="del">
          <ac:chgData name="El Bakkouri, Manal" userId="8b130982-2e3f-4164-b881-fd3a2e4b2453" providerId="ADAL" clId="{4457FA57-250B-44AC-8655-05D46C5A3D8A}" dt="2023-06-12T13:33:32.729" v="15854" actId="478"/>
          <ac:grpSpMkLst>
            <pc:docMk/>
            <pc:sldMk cId="1391736626" sldId="230717645"/>
            <ac:grpSpMk id="44" creationId="{60655179-1AB6-4DD8-9F06-61C121E5F87F}"/>
          </ac:grpSpMkLst>
        </pc:grpChg>
        <pc:grpChg chg="del">
          <ac:chgData name="El Bakkouri, Manal" userId="8b130982-2e3f-4164-b881-fd3a2e4b2453" providerId="ADAL" clId="{4457FA57-250B-44AC-8655-05D46C5A3D8A}" dt="2023-06-12T13:33:32.729" v="15854" actId="478"/>
          <ac:grpSpMkLst>
            <pc:docMk/>
            <pc:sldMk cId="1391736626" sldId="230717645"/>
            <ac:grpSpMk id="47" creationId="{C5AA5BDB-5A61-40E2-A348-EDEA8967C6C0}"/>
          </ac:grpSpMkLst>
        </pc:grpChg>
        <pc:grpChg chg="del">
          <ac:chgData name="El Bakkouri, Manal" userId="8b130982-2e3f-4164-b881-fd3a2e4b2453" providerId="ADAL" clId="{4457FA57-250B-44AC-8655-05D46C5A3D8A}" dt="2023-06-12T13:33:32.729" v="15854" actId="478"/>
          <ac:grpSpMkLst>
            <pc:docMk/>
            <pc:sldMk cId="1391736626" sldId="230717645"/>
            <ac:grpSpMk id="50" creationId="{2A3BF06E-26D6-4BAB-8DCE-E119C9316D03}"/>
          </ac:grpSpMkLst>
        </pc:grpChg>
        <pc:grpChg chg="del mod ord">
          <ac:chgData name="El Bakkouri, Manal" userId="8b130982-2e3f-4164-b881-fd3a2e4b2453" providerId="ADAL" clId="{4457FA57-250B-44AC-8655-05D46C5A3D8A}" dt="2023-06-12T22:20:19.637" v="15945" actId="478"/>
          <ac:grpSpMkLst>
            <pc:docMk/>
            <pc:sldMk cId="1391736626" sldId="230717645"/>
            <ac:grpSpMk id="57" creationId="{2672051C-4019-46D2-897F-39F9439A5D83}"/>
          </ac:grpSpMkLst>
        </pc:grpChg>
        <pc:grpChg chg="add mod">
          <ac:chgData name="El Bakkouri, Manal" userId="8b130982-2e3f-4164-b881-fd3a2e4b2453" providerId="ADAL" clId="{4457FA57-250B-44AC-8655-05D46C5A3D8A}" dt="2023-06-12T13:33:33.284" v="15855"/>
          <ac:grpSpMkLst>
            <pc:docMk/>
            <pc:sldMk cId="1391736626" sldId="230717645"/>
            <ac:grpSpMk id="58" creationId="{37101EBB-EB9A-4A42-B1E5-D99B88E804BE}"/>
          </ac:grpSpMkLst>
        </pc:grpChg>
        <pc:grpChg chg="add mod">
          <ac:chgData name="El Bakkouri, Manal" userId="8b130982-2e3f-4164-b881-fd3a2e4b2453" providerId="ADAL" clId="{4457FA57-250B-44AC-8655-05D46C5A3D8A}" dt="2023-06-12T13:33:33.284" v="15855"/>
          <ac:grpSpMkLst>
            <pc:docMk/>
            <pc:sldMk cId="1391736626" sldId="230717645"/>
            <ac:grpSpMk id="64" creationId="{BFEE3097-3664-454D-8C27-997D2A9D39CE}"/>
          </ac:grpSpMkLst>
        </pc:grpChg>
        <pc:grpChg chg="add mod">
          <ac:chgData name="El Bakkouri, Manal" userId="8b130982-2e3f-4164-b881-fd3a2e4b2453" providerId="ADAL" clId="{4457FA57-250B-44AC-8655-05D46C5A3D8A}" dt="2023-06-12T13:33:33.284" v="15855"/>
          <ac:grpSpMkLst>
            <pc:docMk/>
            <pc:sldMk cId="1391736626" sldId="230717645"/>
            <ac:grpSpMk id="67" creationId="{88808B91-EED0-4DF4-A26B-6E5A0E0EE87E}"/>
          </ac:grpSpMkLst>
        </pc:grpChg>
        <pc:grpChg chg="add mod">
          <ac:chgData name="El Bakkouri, Manal" userId="8b130982-2e3f-4164-b881-fd3a2e4b2453" providerId="ADAL" clId="{4457FA57-250B-44AC-8655-05D46C5A3D8A}" dt="2023-06-12T13:33:33.284" v="15855"/>
          <ac:grpSpMkLst>
            <pc:docMk/>
            <pc:sldMk cId="1391736626" sldId="230717645"/>
            <ac:grpSpMk id="73" creationId="{7667B42C-588E-4334-B67F-76AB8A7EB760}"/>
          </ac:grpSpMkLst>
        </pc:grpChg>
        <pc:grpChg chg="add mod">
          <ac:chgData name="El Bakkouri, Manal" userId="8b130982-2e3f-4164-b881-fd3a2e4b2453" providerId="ADAL" clId="{4457FA57-250B-44AC-8655-05D46C5A3D8A}" dt="2023-06-12T13:33:33.284" v="15855"/>
          <ac:grpSpMkLst>
            <pc:docMk/>
            <pc:sldMk cId="1391736626" sldId="230717645"/>
            <ac:grpSpMk id="78" creationId="{9F5757DE-17D6-4C42-8D59-D9E34634BD46}"/>
          </ac:grpSpMkLst>
        </pc:grpChg>
        <pc:cxnChg chg="mod">
          <ac:chgData name="El Bakkouri, Manal" userId="8b130982-2e3f-4164-b881-fd3a2e4b2453" providerId="ADAL" clId="{4457FA57-250B-44AC-8655-05D46C5A3D8A}" dt="2023-06-12T22:20:19.637" v="15945" actId="478"/>
          <ac:cxnSpMkLst>
            <pc:docMk/>
            <pc:sldMk cId="1391736626" sldId="230717645"/>
            <ac:cxnSpMk id="59" creationId="{AAAE7244-D280-4804-BFAF-38E3D337E18C}"/>
          </ac:cxnSpMkLst>
        </pc:cxnChg>
        <pc:cxnChg chg="mod">
          <ac:chgData name="El Bakkouri, Manal" userId="8b130982-2e3f-4164-b881-fd3a2e4b2453" providerId="ADAL" clId="{4457FA57-250B-44AC-8655-05D46C5A3D8A}" dt="2023-06-12T22:20:19.637" v="15945" actId="478"/>
          <ac:cxnSpMkLst>
            <pc:docMk/>
            <pc:sldMk cId="1391736626" sldId="230717645"/>
            <ac:cxnSpMk id="76" creationId="{30723106-80D5-4F43-9586-8B5C6BC0DCA2}"/>
          </ac:cxnSpMkLst>
        </pc:cxnChg>
        <pc:cxnChg chg="mod">
          <ac:chgData name="El Bakkouri, Manal" userId="8b130982-2e3f-4164-b881-fd3a2e4b2453" providerId="ADAL" clId="{4457FA57-250B-44AC-8655-05D46C5A3D8A}" dt="2023-06-12T22:20:19.637" v="15945" actId="478"/>
          <ac:cxnSpMkLst>
            <pc:docMk/>
            <pc:sldMk cId="1391736626" sldId="230717645"/>
            <ac:cxnSpMk id="77" creationId="{C90F7012-43DF-43D3-A8A9-04B64BA330D4}"/>
          </ac:cxnSpMkLst>
        </pc:cxnChg>
      </pc:sldChg>
      <pc:sldChg chg="addSp delSp modSp add mod ord modTransition">
        <pc:chgData name="El Bakkouri, Manal" userId="8b130982-2e3f-4164-b881-fd3a2e4b2453" providerId="ADAL" clId="{4457FA57-250B-44AC-8655-05D46C5A3D8A}" dt="2023-06-12T22:20:02.849" v="15942" actId="403"/>
        <pc:sldMkLst>
          <pc:docMk/>
          <pc:sldMk cId="2249715770" sldId="230717646"/>
        </pc:sldMkLst>
        <pc:spChg chg="mod">
          <ac:chgData name="El Bakkouri, Manal" userId="8b130982-2e3f-4164-b881-fd3a2e4b2453" providerId="ADAL" clId="{4457FA57-250B-44AC-8655-05D46C5A3D8A}" dt="2023-05-23T18:35:00.031" v="9365" actId="1076"/>
          <ac:spMkLst>
            <pc:docMk/>
            <pc:sldMk cId="2249715770" sldId="230717646"/>
            <ac:spMk id="3" creationId="{B2A839E4-2279-465D-BDC5-03FE0C71ECA2}"/>
          </ac:spMkLst>
        </pc:spChg>
        <pc:spChg chg="mod ord">
          <ac:chgData name="El Bakkouri, Manal" userId="8b130982-2e3f-4164-b881-fd3a2e4b2453" providerId="ADAL" clId="{4457FA57-250B-44AC-8655-05D46C5A3D8A}" dt="2023-05-23T18:34:50.730" v="9364" actId="1036"/>
          <ac:spMkLst>
            <pc:docMk/>
            <pc:sldMk cId="2249715770" sldId="230717646"/>
            <ac:spMk id="19" creationId="{B30F652F-B4AB-4663-B9DF-0896119C5242}"/>
          </ac:spMkLst>
        </pc:spChg>
        <pc:spChg chg="mod">
          <ac:chgData name="El Bakkouri, Manal" userId="8b130982-2e3f-4164-b881-fd3a2e4b2453" providerId="ADAL" clId="{4457FA57-250B-44AC-8655-05D46C5A3D8A}" dt="2023-05-23T18:36:32.117" v="9380" actId="14100"/>
          <ac:spMkLst>
            <pc:docMk/>
            <pc:sldMk cId="2249715770" sldId="230717646"/>
            <ac:spMk id="20" creationId="{4BDC13F8-FF45-4747-82D1-66D3B6F0B152}"/>
          </ac:spMkLst>
        </pc:spChg>
        <pc:spChg chg="mod">
          <ac:chgData name="El Bakkouri, Manal" userId="8b130982-2e3f-4164-b881-fd3a2e4b2453" providerId="ADAL" clId="{4457FA57-250B-44AC-8655-05D46C5A3D8A}" dt="2023-06-12T22:20:02.849" v="15942" actId="403"/>
          <ac:spMkLst>
            <pc:docMk/>
            <pc:sldMk cId="2249715770" sldId="230717646"/>
            <ac:spMk id="58" creationId="{E17C9726-2768-4E3A-B34F-9F094D35D113}"/>
          </ac:spMkLst>
        </pc:spChg>
        <pc:spChg chg="mod">
          <ac:chgData name="El Bakkouri, Manal" userId="8b130982-2e3f-4164-b881-fd3a2e4b2453" providerId="ADAL" clId="{4457FA57-250B-44AC-8655-05D46C5A3D8A}" dt="2023-06-12T13:33:26.145" v="15853"/>
          <ac:spMkLst>
            <pc:docMk/>
            <pc:sldMk cId="2249715770" sldId="230717646"/>
            <ac:spMk id="89" creationId="{B783DE2B-B9B1-4502-9F0C-92E3EE39FDB2}"/>
          </ac:spMkLst>
        </pc:spChg>
        <pc:spChg chg="mod">
          <ac:chgData name="El Bakkouri, Manal" userId="8b130982-2e3f-4164-b881-fd3a2e4b2453" providerId="ADAL" clId="{4457FA57-250B-44AC-8655-05D46C5A3D8A}" dt="2023-06-12T13:33:26.145" v="15853"/>
          <ac:spMkLst>
            <pc:docMk/>
            <pc:sldMk cId="2249715770" sldId="230717646"/>
            <ac:spMk id="90" creationId="{DA285C04-98A1-4540-9BF2-8A4D344F2A3F}"/>
          </ac:spMkLst>
        </pc:spChg>
        <pc:spChg chg="del">
          <ac:chgData name="El Bakkouri, Manal" userId="8b130982-2e3f-4164-b881-fd3a2e4b2453" providerId="ADAL" clId="{4457FA57-250B-44AC-8655-05D46C5A3D8A}" dt="2023-06-12T13:33:25.638" v="15852" actId="478"/>
          <ac:spMkLst>
            <pc:docMk/>
            <pc:sldMk cId="2249715770" sldId="230717646"/>
            <ac:spMk id="101" creationId="{D289F069-DCC8-41B0-A751-B2CDFA075984}"/>
          </ac:spMkLst>
        </pc:spChg>
        <pc:spChg chg="del">
          <ac:chgData name="El Bakkouri, Manal" userId="8b130982-2e3f-4164-b881-fd3a2e4b2453" providerId="ADAL" clId="{4457FA57-250B-44AC-8655-05D46C5A3D8A}" dt="2023-06-12T13:33:25.638" v="15852" actId="478"/>
          <ac:spMkLst>
            <pc:docMk/>
            <pc:sldMk cId="2249715770" sldId="230717646"/>
            <ac:spMk id="102" creationId="{CD007122-C2C1-4BFA-A826-7D607FD58AF6}"/>
          </ac:spMkLst>
        </pc:spChg>
        <pc:spChg chg="del">
          <ac:chgData name="El Bakkouri, Manal" userId="8b130982-2e3f-4164-b881-fd3a2e4b2453" providerId="ADAL" clId="{4457FA57-250B-44AC-8655-05D46C5A3D8A}" dt="2023-06-12T13:33:25.638" v="15852" actId="478"/>
          <ac:spMkLst>
            <pc:docMk/>
            <pc:sldMk cId="2249715770" sldId="230717646"/>
            <ac:spMk id="103" creationId="{B9770E73-DEBE-4BBF-9218-CF92AD41FBE3}"/>
          </ac:spMkLst>
        </pc:spChg>
        <pc:spChg chg="del">
          <ac:chgData name="El Bakkouri, Manal" userId="8b130982-2e3f-4164-b881-fd3a2e4b2453" providerId="ADAL" clId="{4457FA57-250B-44AC-8655-05D46C5A3D8A}" dt="2023-06-12T13:33:25.638" v="15852" actId="478"/>
          <ac:spMkLst>
            <pc:docMk/>
            <pc:sldMk cId="2249715770" sldId="230717646"/>
            <ac:spMk id="106" creationId="{D35281D9-923F-429E-85CE-9007B9169B36}"/>
          </ac:spMkLst>
        </pc:spChg>
        <pc:spChg chg="mod">
          <ac:chgData name="El Bakkouri, Manal" userId="8b130982-2e3f-4164-b881-fd3a2e4b2453" providerId="ADAL" clId="{4457FA57-250B-44AC-8655-05D46C5A3D8A}" dt="2023-06-12T13:33:26.145" v="15853"/>
          <ac:spMkLst>
            <pc:docMk/>
            <pc:sldMk cId="2249715770" sldId="230717646"/>
            <ac:spMk id="108" creationId="{94F9BD86-0460-43F8-B0A6-DF9E92F6E3FB}"/>
          </ac:spMkLst>
        </pc:spChg>
        <pc:spChg chg="mod">
          <ac:chgData name="El Bakkouri, Manal" userId="8b130982-2e3f-4164-b881-fd3a2e4b2453" providerId="ADAL" clId="{4457FA57-250B-44AC-8655-05D46C5A3D8A}" dt="2023-06-12T13:33:26.145" v="15853"/>
          <ac:spMkLst>
            <pc:docMk/>
            <pc:sldMk cId="2249715770" sldId="230717646"/>
            <ac:spMk id="109" creationId="{A4546A2D-F940-4F3A-A741-8B265DEE9CC2}"/>
          </ac:spMkLst>
        </pc:spChg>
        <pc:spChg chg="mod">
          <ac:chgData name="El Bakkouri, Manal" userId="8b130982-2e3f-4164-b881-fd3a2e4b2453" providerId="ADAL" clId="{4457FA57-250B-44AC-8655-05D46C5A3D8A}" dt="2023-06-12T13:33:26.145" v="15853"/>
          <ac:spMkLst>
            <pc:docMk/>
            <pc:sldMk cId="2249715770" sldId="230717646"/>
            <ac:spMk id="111" creationId="{3DC6392F-4C74-4940-9AF4-BDF0538291BB}"/>
          </ac:spMkLst>
        </pc:spChg>
        <pc:spChg chg="mod">
          <ac:chgData name="El Bakkouri, Manal" userId="8b130982-2e3f-4164-b881-fd3a2e4b2453" providerId="ADAL" clId="{4457FA57-250B-44AC-8655-05D46C5A3D8A}" dt="2023-06-12T13:33:26.145" v="15853"/>
          <ac:spMkLst>
            <pc:docMk/>
            <pc:sldMk cId="2249715770" sldId="230717646"/>
            <ac:spMk id="112" creationId="{D5091EDF-D909-46A1-BC29-5B935A3BF977}"/>
          </ac:spMkLst>
        </pc:spChg>
        <pc:spChg chg="mod">
          <ac:chgData name="El Bakkouri, Manal" userId="8b130982-2e3f-4164-b881-fd3a2e4b2453" providerId="ADAL" clId="{4457FA57-250B-44AC-8655-05D46C5A3D8A}" dt="2023-06-12T13:33:26.145" v="15853"/>
          <ac:spMkLst>
            <pc:docMk/>
            <pc:sldMk cId="2249715770" sldId="230717646"/>
            <ac:spMk id="114" creationId="{344F1C18-51AA-4F82-A4C6-B1BDBF04F9D8}"/>
          </ac:spMkLst>
        </pc:spChg>
        <pc:spChg chg="mod">
          <ac:chgData name="El Bakkouri, Manal" userId="8b130982-2e3f-4164-b881-fd3a2e4b2453" providerId="ADAL" clId="{4457FA57-250B-44AC-8655-05D46C5A3D8A}" dt="2023-06-12T13:33:26.145" v="15853"/>
          <ac:spMkLst>
            <pc:docMk/>
            <pc:sldMk cId="2249715770" sldId="230717646"/>
            <ac:spMk id="115" creationId="{94F7CE44-1D94-408B-9790-13CD9188CC09}"/>
          </ac:spMkLst>
        </pc:spChg>
        <pc:spChg chg="mod">
          <ac:chgData name="El Bakkouri, Manal" userId="8b130982-2e3f-4164-b881-fd3a2e4b2453" providerId="ADAL" clId="{4457FA57-250B-44AC-8655-05D46C5A3D8A}" dt="2023-06-12T13:33:26.145" v="15853"/>
          <ac:spMkLst>
            <pc:docMk/>
            <pc:sldMk cId="2249715770" sldId="230717646"/>
            <ac:spMk id="117" creationId="{4C0CC1A7-DAB2-4D09-A5FB-870920404D4C}"/>
          </ac:spMkLst>
        </pc:spChg>
        <pc:spChg chg="mod">
          <ac:chgData name="El Bakkouri, Manal" userId="8b130982-2e3f-4164-b881-fd3a2e4b2453" providerId="ADAL" clId="{4457FA57-250B-44AC-8655-05D46C5A3D8A}" dt="2023-06-12T13:33:26.145" v="15853"/>
          <ac:spMkLst>
            <pc:docMk/>
            <pc:sldMk cId="2249715770" sldId="230717646"/>
            <ac:spMk id="118" creationId="{D192ACDF-DD47-47B2-B345-14001E09EF5B}"/>
          </ac:spMkLst>
        </pc:spChg>
        <pc:spChg chg="add mod">
          <ac:chgData name="El Bakkouri, Manal" userId="8b130982-2e3f-4164-b881-fd3a2e4b2453" providerId="ADAL" clId="{4457FA57-250B-44AC-8655-05D46C5A3D8A}" dt="2023-06-12T13:33:26.145" v="15853"/>
          <ac:spMkLst>
            <pc:docMk/>
            <pc:sldMk cId="2249715770" sldId="230717646"/>
            <ac:spMk id="119" creationId="{052D692A-E1DF-4226-A0BF-24805C39A4B3}"/>
          </ac:spMkLst>
        </pc:spChg>
        <pc:spChg chg="add mod">
          <ac:chgData name="El Bakkouri, Manal" userId="8b130982-2e3f-4164-b881-fd3a2e4b2453" providerId="ADAL" clId="{4457FA57-250B-44AC-8655-05D46C5A3D8A}" dt="2023-06-12T13:33:26.145" v="15853"/>
          <ac:spMkLst>
            <pc:docMk/>
            <pc:sldMk cId="2249715770" sldId="230717646"/>
            <ac:spMk id="120" creationId="{578F7E25-A00B-49A3-B711-D9C07D9ED02E}"/>
          </ac:spMkLst>
        </pc:spChg>
        <pc:spChg chg="add mod">
          <ac:chgData name="El Bakkouri, Manal" userId="8b130982-2e3f-4164-b881-fd3a2e4b2453" providerId="ADAL" clId="{4457FA57-250B-44AC-8655-05D46C5A3D8A}" dt="2023-06-12T13:33:26.145" v="15853"/>
          <ac:spMkLst>
            <pc:docMk/>
            <pc:sldMk cId="2249715770" sldId="230717646"/>
            <ac:spMk id="121" creationId="{94DF42BB-B79D-4BAE-B752-C94668BF8C08}"/>
          </ac:spMkLst>
        </pc:spChg>
        <pc:spChg chg="add mod">
          <ac:chgData name="El Bakkouri, Manal" userId="8b130982-2e3f-4164-b881-fd3a2e4b2453" providerId="ADAL" clId="{4457FA57-250B-44AC-8655-05D46C5A3D8A}" dt="2023-06-12T13:33:26.145" v="15853"/>
          <ac:spMkLst>
            <pc:docMk/>
            <pc:sldMk cId="2249715770" sldId="230717646"/>
            <ac:spMk id="122" creationId="{233A5612-AA5A-4880-9951-74AC809CDE3C}"/>
          </ac:spMkLst>
        </pc:spChg>
        <pc:grpChg chg="ord">
          <ac:chgData name="El Bakkouri, Manal" userId="8b130982-2e3f-4164-b881-fd3a2e4b2453" providerId="ADAL" clId="{4457FA57-250B-44AC-8655-05D46C5A3D8A}" dt="2023-05-23T18:34:33.006" v="9360" actId="166"/>
          <ac:grpSpMkLst>
            <pc:docMk/>
            <pc:sldMk cId="2249715770" sldId="230717646"/>
            <ac:grpSpMk id="57" creationId="{2672051C-4019-46D2-897F-39F9439A5D83}"/>
          </ac:grpSpMkLst>
        </pc:grpChg>
        <pc:grpChg chg="del">
          <ac:chgData name="El Bakkouri, Manal" userId="8b130982-2e3f-4164-b881-fd3a2e4b2453" providerId="ADAL" clId="{4457FA57-250B-44AC-8655-05D46C5A3D8A}" dt="2023-06-12T13:33:25.638" v="15852" actId="478"/>
          <ac:grpSpMkLst>
            <pc:docMk/>
            <pc:sldMk cId="2249715770" sldId="230717646"/>
            <ac:grpSpMk id="70" creationId="{33B621C2-0526-4626-B5AB-57D6C929F894}"/>
          </ac:grpSpMkLst>
        </pc:grpChg>
        <pc:grpChg chg="del">
          <ac:chgData name="El Bakkouri, Manal" userId="8b130982-2e3f-4164-b881-fd3a2e4b2453" providerId="ADAL" clId="{4457FA57-250B-44AC-8655-05D46C5A3D8A}" dt="2023-06-12T13:33:25.638" v="15852" actId="478"/>
          <ac:grpSpMkLst>
            <pc:docMk/>
            <pc:sldMk cId="2249715770" sldId="230717646"/>
            <ac:grpSpMk id="76" creationId="{C1DDEA18-C471-403F-80FA-C5947BCABDD5}"/>
          </ac:grpSpMkLst>
        </pc:grpChg>
        <pc:grpChg chg="add mod">
          <ac:chgData name="El Bakkouri, Manal" userId="8b130982-2e3f-4164-b881-fd3a2e4b2453" providerId="ADAL" clId="{4457FA57-250B-44AC-8655-05D46C5A3D8A}" dt="2023-06-12T13:33:26.145" v="15853"/>
          <ac:grpSpMkLst>
            <pc:docMk/>
            <pc:sldMk cId="2249715770" sldId="230717646"/>
            <ac:grpSpMk id="85" creationId="{2A83CC0A-8A82-4C6A-BBA4-713E41683872}"/>
          </ac:grpSpMkLst>
        </pc:grpChg>
        <pc:grpChg chg="del">
          <ac:chgData name="El Bakkouri, Manal" userId="8b130982-2e3f-4164-b881-fd3a2e4b2453" providerId="ADAL" clId="{4457FA57-250B-44AC-8655-05D46C5A3D8A}" dt="2023-06-12T13:33:25.638" v="15852" actId="478"/>
          <ac:grpSpMkLst>
            <pc:docMk/>
            <pc:sldMk cId="2249715770" sldId="230717646"/>
            <ac:grpSpMk id="92" creationId="{64713931-6422-4FF2-A6FD-AE48A44C0D51}"/>
          </ac:grpSpMkLst>
        </pc:grpChg>
        <pc:grpChg chg="del">
          <ac:chgData name="El Bakkouri, Manal" userId="8b130982-2e3f-4164-b881-fd3a2e4b2453" providerId="ADAL" clId="{4457FA57-250B-44AC-8655-05D46C5A3D8A}" dt="2023-06-12T13:33:25.638" v="15852" actId="478"/>
          <ac:grpSpMkLst>
            <pc:docMk/>
            <pc:sldMk cId="2249715770" sldId="230717646"/>
            <ac:grpSpMk id="95" creationId="{74F6AAC8-A30C-4F4B-B31D-854ED1A7E6B7}"/>
          </ac:grpSpMkLst>
        </pc:grpChg>
        <pc:grpChg chg="del">
          <ac:chgData name="El Bakkouri, Manal" userId="8b130982-2e3f-4164-b881-fd3a2e4b2453" providerId="ADAL" clId="{4457FA57-250B-44AC-8655-05D46C5A3D8A}" dt="2023-06-12T13:33:25.638" v="15852" actId="478"/>
          <ac:grpSpMkLst>
            <pc:docMk/>
            <pc:sldMk cId="2249715770" sldId="230717646"/>
            <ac:grpSpMk id="98" creationId="{D9A09170-51D3-4F57-ABD2-9BF9489CACDD}"/>
          </ac:grpSpMkLst>
        </pc:grpChg>
        <pc:grpChg chg="add mod">
          <ac:chgData name="El Bakkouri, Manal" userId="8b130982-2e3f-4164-b881-fd3a2e4b2453" providerId="ADAL" clId="{4457FA57-250B-44AC-8655-05D46C5A3D8A}" dt="2023-06-12T13:33:26.145" v="15853"/>
          <ac:grpSpMkLst>
            <pc:docMk/>
            <pc:sldMk cId="2249715770" sldId="230717646"/>
            <ac:grpSpMk id="107" creationId="{59CFBAC3-A761-485C-BBBB-C3FD1924AB38}"/>
          </ac:grpSpMkLst>
        </pc:grpChg>
        <pc:grpChg chg="add mod">
          <ac:chgData name="El Bakkouri, Manal" userId="8b130982-2e3f-4164-b881-fd3a2e4b2453" providerId="ADAL" clId="{4457FA57-250B-44AC-8655-05D46C5A3D8A}" dt="2023-06-12T13:33:26.145" v="15853"/>
          <ac:grpSpMkLst>
            <pc:docMk/>
            <pc:sldMk cId="2249715770" sldId="230717646"/>
            <ac:grpSpMk id="110" creationId="{3531C33B-D92B-40CE-B07C-A1EB4B615D4C}"/>
          </ac:grpSpMkLst>
        </pc:grpChg>
        <pc:grpChg chg="add mod">
          <ac:chgData name="El Bakkouri, Manal" userId="8b130982-2e3f-4164-b881-fd3a2e4b2453" providerId="ADAL" clId="{4457FA57-250B-44AC-8655-05D46C5A3D8A}" dt="2023-06-12T13:33:26.145" v="15853"/>
          <ac:grpSpMkLst>
            <pc:docMk/>
            <pc:sldMk cId="2249715770" sldId="230717646"/>
            <ac:grpSpMk id="113" creationId="{CE8CA703-4926-4AAC-86CC-62DD48D9FF2E}"/>
          </ac:grpSpMkLst>
        </pc:grpChg>
        <pc:grpChg chg="add mod">
          <ac:chgData name="El Bakkouri, Manal" userId="8b130982-2e3f-4164-b881-fd3a2e4b2453" providerId="ADAL" clId="{4457FA57-250B-44AC-8655-05D46C5A3D8A}" dt="2023-06-12T13:33:26.145" v="15853"/>
          <ac:grpSpMkLst>
            <pc:docMk/>
            <pc:sldMk cId="2249715770" sldId="230717646"/>
            <ac:grpSpMk id="116" creationId="{7998843B-2724-4615-8647-58F4428D0453}"/>
          </ac:grpSpMkLst>
        </pc:grpChg>
        <pc:picChg chg="mod">
          <ac:chgData name="El Bakkouri, Manal" userId="8b130982-2e3f-4164-b881-fd3a2e4b2453" providerId="ADAL" clId="{4457FA57-250B-44AC-8655-05D46C5A3D8A}" dt="2023-05-23T18:34:35.384" v="9361" actId="1076"/>
          <ac:picMkLst>
            <pc:docMk/>
            <pc:sldMk cId="2249715770" sldId="230717646"/>
            <ac:picMk id="34" creationId="{D564EC6A-F3F4-4B76-8AAB-763C9CFA7863}"/>
          </ac:picMkLst>
        </pc:picChg>
      </pc:sldChg>
      <pc:sldChg chg="addSp delSp modSp add mod ord modTransition">
        <pc:chgData name="El Bakkouri, Manal" userId="8b130982-2e3f-4164-b881-fd3a2e4b2453" providerId="ADAL" clId="{4457FA57-250B-44AC-8655-05D46C5A3D8A}" dt="2023-05-23T19:55:04.713" v="9644"/>
        <pc:sldMkLst>
          <pc:docMk/>
          <pc:sldMk cId="3488563027" sldId="230717647"/>
        </pc:sldMkLst>
        <pc:spChg chg="mod ord">
          <ac:chgData name="El Bakkouri, Manal" userId="8b130982-2e3f-4164-b881-fd3a2e4b2453" providerId="ADAL" clId="{4457FA57-250B-44AC-8655-05D46C5A3D8A}" dt="2023-05-23T18:38:37.919" v="9423"/>
          <ac:spMkLst>
            <pc:docMk/>
            <pc:sldMk cId="3488563027" sldId="230717647"/>
            <ac:spMk id="21" creationId="{22A3CDB1-151E-4AB1-AD86-3A0348E9CF8B}"/>
          </ac:spMkLst>
        </pc:spChg>
        <pc:spChg chg="mod">
          <ac:chgData name="El Bakkouri, Manal" userId="8b130982-2e3f-4164-b881-fd3a2e4b2453" providerId="ADAL" clId="{4457FA57-250B-44AC-8655-05D46C5A3D8A}" dt="2023-05-23T18:38:04.293" v="9416" actId="1076"/>
          <ac:spMkLst>
            <pc:docMk/>
            <pc:sldMk cId="3488563027" sldId="230717647"/>
            <ac:spMk id="56" creationId="{C84CA876-13C9-411C-9624-285A4251D3FE}"/>
          </ac:spMkLst>
        </pc:spChg>
        <pc:spChg chg="add del">
          <ac:chgData name="El Bakkouri, Manal" userId="8b130982-2e3f-4164-b881-fd3a2e4b2453" providerId="ADAL" clId="{4457FA57-250B-44AC-8655-05D46C5A3D8A}" dt="2023-05-23T18:38:36.628" v="9422" actId="22"/>
          <ac:spMkLst>
            <pc:docMk/>
            <pc:sldMk cId="3488563027" sldId="230717647"/>
            <ac:spMk id="57" creationId="{D47792FA-9F2E-47A2-B4B0-A2772593DEF5}"/>
          </ac:spMkLst>
        </pc:spChg>
        <pc:grpChg chg="mod">
          <ac:chgData name="El Bakkouri, Manal" userId="8b130982-2e3f-4164-b881-fd3a2e4b2453" providerId="ADAL" clId="{4457FA57-250B-44AC-8655-05D46C5A3D8A}" dt="2023-05-23T18:38:04.708" v="9417" actId="1076"/>
          <ac:grpSpMkLst>
            <pc:docMk/>
            <pc:sldMk cId="3488563027" sldId="230717647"/>
            <ac:grpSpMk id="54" creationId="{C2495E2B-7615-4E05-86AC-C162B4618BD5}"/>
          </ac:grpSpMkLst>
        </pc:grpChg>
      </pc:sldChg>
      <pc:sldChg chg="addSp delSp modSp new del mod">
        <pc:chgData name="El Bakkouri, Manal" userId="8b130982-2e3f-4164-b881-fd3a2e4b2453" providerId="ADAL" clId="{4457FA57-250B-44AC-8655-05D46C5A3D8A}" dt="2023-05-24T08:33:15.311" v="9930" actId="2696"/>
        <pc:sldMkLst>
          <pc:docMk/>
          <pc:sldMk cId="2128577432" sldId="230717648"/>
        </pc:sldMkLst>
        <pc:spChg chg="del">
          <ac:chgData name="El Bakkouri, Manal" userId="8b130982-2e3f-4164-b881-fd3a2e4b2453" providerId="ADAL" clId="{4457FA57-250B-44AC-8655-05D46C5A3D8A}" dt="2023-05-23T18:41:09.961" v="9432" actId="478"/>
          <ac:spMkLst>
            <pc:docMk/>
            <pc:sldMk cId="2128577432" sldId="230717648"/>
            <ac:spMk id="2" creationId="{3D042006-748A-49DB-B9EE-9B90E11922E9}"/>
          </ac:spMkLst>
        </pc:spChg>
        <pc:spChg chg="del">
          <ac:chgData name="El Bakkouri, Manal" userId="8b130982-2e3f-4164-b881-fd3a2e4b2453" providerId="ADAL" clId="{4457FA57-250B-44AC-8655-05D46C5A3D8A}" dt="2023-05-23T18:41:10.862" v="9433" actId="478"/>
          <ac:spMkLst>
            <pc:docMk/>
            <pc:sldMk cId="2128577432" sldId="230717648"/>
            <ac:spMk id="3" creationId="{D34BD913-161E-469E-AF25-B9CA0EC02492}"/>
          </ac:spMkLst>
        </pc:spChg>
        <pc:spChg chg="del">
          <ac:chgData name="El Bakkouri, Manal" userId="8b130982-2e3f-4164-b881-fd3a2e4b2453" providerId="ADAL" clId="{4457FA57-250B-44AC-8655-05D46C5A3D8A}" dt="2023-05-23T18:41:13.712" v="9434" actId="478"/>
          <ac:spMkLst>
            <pc:docMk/>
            <pc:sldMk cId="2128577432" sldId="230717648"/>
            <ac:spMk id="4" creationId="{7BBC6F39-9FF1-4A03-930D-5C6B9DBDADEE}"/>
          </ac:spMkLst>
        </pc:spChg>
        <pc:spChg chg="add mod">
          <ac:chgData name="El Bakkouri, Manal" userId="8b130982-2e3f-4164-b881-fd3a2e4b2453" providerId="ADAL" clId="{4457FA57-250B-44AC-8655-05D46C5A3D8A}" dt="2023-05-23T18:41:19.597" v="9435"/>
          <ac:spMkLst>
            <pc:docMk/>
            <pc:sldMk cId="2128577432" sldId="230717648"/>
            <ac:spMk id="5" creationId="{BC6AC282-92D3-4E04-A0D4-CC13511A7C88}"/>
          </ac:spMkLst>
        </pc:spChg>
        <pc:spChg chg="add mod">
          <ac:chgData name="El Bakkouri, Manal" userId="8b130982-2e3f-4164-b881-fd3a2e4b2453" providerId="ADAL" clId="{4457FA57-250B-44AC-8655-05D46C5A3D8A}" dt="2023-05-23T18:41:19.597" v="9435"/>
          <ac:spMkLst>
            <pc:docMk/>
            <pc:sldMk cId="2128577432" sldId="230717648"/>
            <ac:spMk id="6" creationId="{B788C0E6-A8E9-4623-B796-FBB36F9666C5}"/>
          </ac:spMkLst>
        </pc:spChg>
        <pc:spChg chg="add mod">
          <ac:chgData name="El Bakkouri, Manal" userId="8b130982-2e3f-4164-b881-fd3a2e4b2453" providerId="ADAL" clId="{4457FA57-250B-44AC-8655-05D46C5A3D8A}" dt="2023-05-23T18:41:19.597" v="9435"/>
          <ac:spMkLst>
            <pc:docMk/>
            <pc:sldMk cId="2128577432" sldId="230717648"/>
            <ac:spMk id="7" creationId="{DDD96E08-0291-41E1-B61B-5FB247EDA576}"/>
          </ac:spMkLst>
        </pc:spChg>
        <pc:spChg chg="add mod">
          <ac:chgData name="El Bakkouri, Manal" userId="8b130982-2e3f-4164-b881-fd3a2e4b2453" providerId="ADAL" clId="{4457FA57-250B-44AC-8655-05D46C5A3D8A}" dt="2023-05-23T18:41:19.597" v="9435"/>
          <ac:spMkLst>
            <pc:docMk/>
            <pc:sldMk cId="2128577432" sldId="230717648"/>
            <ac:spMk id="8" creationId="{146F43AA-61AF-42B4-9F5B-CB684634FDC1}"/>
          </ac:spMkLst>
        </pc:spChg>
        <pc:spChg chg="add mod">
          <ac:chgData name="El Bakkouri, Manal" userId="8b130982-2e3f-4164-b881-fd3a2e4b2453" providerId="ADAL" clId="{4457FA57-250B-44AC-8655-05D46C5A3D8A}" dt="2023-05-23T18:41:19.597" v="9435"/>
          <ac:spMkLst>
            <pc:docMk/>
            <pc:sldMk cId="2128577432" sldId="230717648"/>
            <ac:spMk id="9" creationId="{09E6DBBB-B89F-4227-80EE-AE466F261621}"/>
          </ac:spMkLst>
        </pc:spChg>
        <pc:spChg chg="add mod">
          <ac:chgData name="El Bakkouri, Manal" userId="8b130982-2e3f-4164-b881-fd3a2e4b2453" providerId="ADAL" clId="{4457FA57-250B-44AC-8655-05D46C5A3D8A}" dt="2023-05-23T18:41:19.597" v="9435"/>
          <ac:spMkLst>
            <pc:docMk/>
            <pc:sldMk cId="2128577432" sldId="230717648"/>
            <ac:spMk id="10" creationId="{E0F13945-79CC-4052-AF48-0A05E24E154D}"/>
          </ac:spMkLst>
        </pc:spChg>
        <pc:spChg chg="add mod">
          <ac:chgData name="El Bakkouri, Manal" userId="8b130982-2e3f-4164-b881-fd3a2e4b2453" providerId="ADAL" clId="{4457FA57-250B-44AC-8655-05D46C5A3D8A}" dt="2023-05-23T18:41:19.597" v="9435"/>
          <ac:spMkLst>
            <pc:docMk/>
            <pc:sldMk cId="2128577432" sldId="230717648"/>
            <ac:spMk id="11" creationId="{7F881703-8089-4857-814B-7C7A1A8363F8}"/>
          </ac:spMkLst>
        </pc:spChg>
        <pc:spChg chg="add mod">
          <ac:chgData name="El Bakkouri, Manal" userId="8b130982-2e3f-4164-b881-fd3a2e4b2453" providerId="ADAL" clId="{4457FA57-250B-44AC-8655-05D46C5A3D8A}" dt="2023-05-23T18:41:19.597" v="9435"/>
          <ac:spMkLst>
            <pc:docMk/>
            <pc:sldMk cId="2128577432" sldId="230717648"/>
            <ac:spMk id="12" creationId="{5E3A1476-448A-4E28-BD56-6E8C59F045C5}"/>
          </ac:spMkLst>
        </pc:spChg>
        <pc:spChg chg="add mod">
          <ac:chgData name="El Bakkouri, Manal" userId="8b130982-2e3f-4164-b881-fd3a2e4b2453" providerId="ADAL" clId="{4457FA57-250B-44AC-8655-05D46C5A3D8A}" dt="2023-05-23T18:41:19.597" v="9435"/>
          <ac:spMkLst>
            <pc:docMk/>
            <pc:sldMk cId="2128577432" sldId="230717648"/>
            <ac:spMk id="13" creationId="{F833FC0E-AFD4-4811-8067-D2393943DA7E}"/>
          </ac:spMkLst>
        </pc:spChg>
        <pc:spChg chg="add mod">
          <ac:chgData name="El Bakkouri, Manal" userId="8b130982-2e3f-4164-b881-fd3a2e4b2453" providerId="ADAL" clId="{4457FA57-250B-44AC-8655-05D46C5A3D8A}" dt="2023-05-23T18:41:19.597" v="9435"/>
          <ac:spMkLst>
            <pc:docMk/>
            <pc:sldMk cId="2128577432" sldId="230717648"/>
            <ac:spMk id="14" creationId="{4D99201E-8798-4260-B4D3-3EFDEF05DC0A}"/>
          </ac:spMkLst>
        </pc:spChg>
        <pc:spChg chg="add mod">
          <ac:chgData name="El Bakkouri, Manal" userId="8b130982-2e3f-4164-b881-fd3a2e4b2453" providerId="ADAL" clId="{4457FA57-250B-44AC-8655-05D46C5A3D8A}" dt="2023-05-23T18:51:03.206" v="9476"/>
          <ac:spMkLst>
            <pc:docMk/>
            <pc:sldMk cId="2128577432" sldId="230717648"/>
            <ac:spMk id="16" creationId="{D120B1DE-9506-46BB-934E-9B7DC7516B90}"/>
          </ac:spMkLst>
        </pc:spChg>
        <pc:graphicFrameChg chg="add mod">
          <ac:chgData name="El Bakkouri, Manal" userId="8b130982-2e3f-4164-b881-fd3a2e4b2453" providerId="ADAL" clId="{4457FA57-250B-44AC-8655-05D46C5A3D8A}" dt="2023-05-23T18:51:03.206" v="9476"/>
          <ac:graphicFrameMkLst>
            <pc:docMk/>
            <pc:sldMk cId="2128577432" sldId="230717648"/>
            <ac:graphicFrameMk id="17" creationId="{06766600-D98F-424D-9A80-3524860A3DED}"/>
          </ac:graphicFrameMkLst>
        </pc:graphicFrameChg>
        <pc:graphicFrameChg chg="add mod modGraphic">
          <ac:chgData name="El Bakkouri, Manal" userId="8b130982-2e3f-4164-b881-fd3a2e4b2453" providerId="ADAL" clId="{4457FA57-250B-44AC-8655-05D46C5A3D8A}" dt="2023-05-23T18:52:59.155" v="9491" actId="14100"/>
          <ac:graphicFrameMkLst>
            <pc:docMk/>
            <pc:sldMk cId="2128577432" sldId="230717648"/>
            <ac:graphicFrameMk id="18" creationId="{5ADF572C-67A8-463E-813C-C73666CC87E6}"/>
          </ac:graphicFrameMkLst>
        </pc:graphicFrameChg>
        <pc:graphicFrameChg chg="add mod">
          <ac:chgData name="El Bakkouri, Manal" userId="8b130982-2e3f-4164-b881-fd3a2e4b2453" providerId="ADAL" clId="{4457FA57-250B-44AC-8655-05D46C5A3D8A}" dt="2023-05-23T18:51:03.206" v="9476"/>
          <ac:graphicFrameMkLst>
            <pc:docMk/>
            <pc:sldMk cId="2128577432" sldId="230717648"/>
            <ac:graphicFrameMk id="19" creationId="{DC12F589-E5B0-4D6A-829D-9C6CC856402B}"/>
          </ac:graphicFrameMkLst>
        </pc:graphicFrameChg>
        <pc:graphicFrameChg chg="add mod">
          <ac:chgData name="El Bakkouri, Manal" userId="8b130982-2e3f-4164-b881-fd3a2e4b2453" providerId="ADAL" clId="{4457FA57-250B-44AC-8655-05D46C5A3D8A}" dt="2023-05-23T18:51:03.206" v="9476"/>
          <ac:graphicFrameMkLst>
            <pc:docMk/>
            <pc:sldMk cId="2128577432" sldId="230717648"/>
            <ac:graphicFrameMk id="20" creationId="{EE42EA1E-AB71-4468-90A5-1B32DFC86A3D}"/>
          </ac:graphicFrameMkLst>
        </pc:graphicFrameChg>
        <pc:graphicFrameChg chg="add mod modGraphic">
          <ac:chgData name="El Bakkouri, Manal" userId="8b130982-2e3f-4164-b881-fd3a2e4b2453" providerId="ADAL" clId="{4457FA57-250B-44AC-8655-05D46C5A3D8A}" dt="2023-05-23T18:53:05.696" v="9493" actId="14100"/>
          <ac:graphicFrameMkLst>
            <pc:docMk/>
            <pc:sldMk cId="2128577432" sldId="230717648"/>
            <ac:graphicFrameMk id="21" creationId="{BEC46215-9221-4E48-88B0-EF99F158F472}"/>
          </ac:graphicFrameMkLst>
        </pc:graphicFrameChg>
        <pc:graphicFrameChg chg="add mod">
          <ac:chgData name="El Bakkouri, Manal" userId="8b130982-2e3f-4164-b881-fd3a2e4b2453" providerId="ADAL" clId="{4457FA57-250B-44AC-8655-05D46C5A3D8A}" dt="2023-05-23T18:53:11.228" v="9494" actId="1076"/>
          <ac:graphicFrameMkLst>
            <pc:docMk/>
            <pc:sldMk cId="2128577432" sldId="230717648"/>
            <ac:graphicFrameMk id="22" creationId="{37862BCE-5CEB-4B2F-959B-29A7887E9490}"/>
          </ac:graphicFrameMkLst>
        </pc:graphicFrameChg>
        <pc:picChg chg="add del mod">
          <ac:chgData name="El Bakkouri, Manal" userId="8b130982-2e3f-4164-b881-fd3a2e4b2453" providerId="ADAL" clId="{4457FA57-250B-44AC-8655-05D46C5A3D8A}" dt="2023-05-23T18:52:45.607" v="9489" actId="478"/>
          <ac:picMkLst>
            <pc:docMk/>
            <pc:sldMk cId="2128577432" sldId="230717648"/>
            <ac:picMk id="15" creationId="{EC5B030C-5782-4C46-A56E-6DC5AABBC629}"/>
          </ac:picMkLst>
        </pc:picChg>
        <pc:picChg chg="add mod">
          <ac:chgData name="El Bakkouri, Manal" userId="8b130982-2e3f-4164-b881-fd3a2e4b2453" providerId="ADAL" clId="{4457FA57-250B-44AC-8655-05D46C5A3D8A}" dt="2023-05-23T18:51:03.206" v="9476"/>
          <ac:picMkLst>
            <pc:docMk/>
            <pc:sldMk cId="2128577432" sldId="230717648"/>
            <ac:picMk id="23" creationId="{8E2CF798-29FA-427D-93BE-585244D7A1EA}"/>
          </ac:picMkLst>
        </pc:picChg>
        <pc:picChg chg="add mod">
          <ac:chgData name="El Bakkouri, Manal" userId="8b130982-2e3f-4164-b881-fd3a2e4b2453" providerId="ADAL" clId="{4457FA57-250B-44AC-8655-05D46C5A3D8A}" dt="2023-05-23T18:51:03.206" v="9476"/>
          <ac:picMkLst>
            <pc:docMk/>
            <pc:sldMk cId="2128577432" sldId="230717648"/>
            <ac:picMk id="24" creationId="{E9E2AC68-77BC-4AEC-871E-3DF6F68A5CCC}"/>
          </ac:picMkLst>
        </pc:picChg>
        <pc:picChg chg="add mod">
          <ac:chgData name="El Bakkouri, Manal" userId="8b130982-2e3f-4164-b881-fd3a2e4b2453" providerId="ADAL" clId="{4457FA57-250B-44AC-8655-05D46C5A3D8A}" dt="2023-05-23T18:51:03.206" v="9476"/>
          <ac:picMkLst>
            <pc:docMk/>
            <pc:sldMk cId="2128577432" sldId="230717648"/>
            <ac:picMk id="25" creationId="{183FC7CC-553D-40A1-86A1-69A63032A6B3}"/>
          </ac:picMkLst>
        </pc:picChg>
        <pc:picChg chg="add mod">
          <ac:chgData name="El Bakkouri, Manal" userId="8b130982-2e3f-4164-b881-fd3a2e4b2453" providerId="ADAL" clId="{4457FA57-250B-44AC-8655-05D46C5A3D8A}" dt="2023-05-23T18:51:03.206" v="9476"/>
          <ac:picMkLst>
            <pc:docMk/>
            <pc:sldMk cId="2128577432" sldId="230717648"/>
            <ac:picMk id="26" creationId="{1698E194-F983-4AB3-A5A8-7BB6F9E5BFFD}"/>
          </ac:picMkLst>
        </pc:picChg>
        <pc:picChg chg="add mod">
          <ac:chgData name="El Bakkouri, Manal" userId="8b130982-2e3f-4164-b881-fd3a2e4b2453" providerId="ADAL" clId="{4457FA57-250B-44AC-8655-05D46C5A3D8A}" dt="2023-05-23T18:51:03.206" v="9476"/>
          <ac:picMkLst>
            <pc:docMk/>
            <pc:sldMk cId="2128577432" sldId="230717648"/>
            <ac:picMk id="27" creationId="{69097D14-D0FB-449D-8FE6-F331BE159708}"/>
          </ac:picMkLst>
        </pc:picChg>
        <pc:picChg chg="add mod">
          <ac:chgData name="El Bakkouri, Manal" userId="8b130982-2e3f-4164-b881-fd3a2e4b2453" providerId="ADAL" clId="{4457FA57-250B-44AC-8655-05D46C5A3D8A}" dt="2023-05-23T18:51:03.206" v="9476"/>
          <ac:picMkLst>
            <pc:docMk/>
            <pc:sldMk cId="2128577432" sldId="230717648"/>
            <ac:picMk id="28" creationId="{FA7B9521-DFD4-4836-A7D9-06E89C558E0E}"/>
          </ac:picMkLst>
        </pc:picChg>
      </pc:sldChg>
      <pc:sldChg chg="addSp delSp modSp new mod modTransition modAnim">
        <pc:chgData name="El Bakkouri, Manal" userId="8b130982-2e3f-4164-b881-fd3a2e4b2453" providerId="ADAL" clId="{4457FA57-250B-44AC-8655-05D46C5A3D8A}" dt="2023-06-12T13:32:00.181" v="15839" actId="14100"/>
        <pc:sldMkLst>
          <pc:docMk/>
          <pc:sldMk cId="4175492050" sldId="230717649"/>
        </pc:sldMkLst>
        <pc:spChg chg="del">
          <ac:chgData name="El Bakkouri, Manal" userId="8b130982-2e3f-4164-b881-fd3a2e4b2453" providerId="ADAL" clId="{4457FA57-250B-44AC-8655-05D46C5A3D8A}" dt="2023-05-23T18:53:30.074" v="9496" actId="478"/>
          <ac:spMkLst>
            <pc:docMk/>
            <pc:sldMk cId="4175492050" sldId="230717649"/>
            <ac:spMk id="2" creationId="{39571AEE-DFF8-4F88-8A97-1A7BD9038CDB}"/>
          </ac:spMkLst>
        </pc:spChg>
        <pc:spChg chg="del">
          <ac:chgData name="El Bakkouri, Manal" userId="8b130982-2e3f-4164-b881-fd3a2e4b2453" providerId="ADAL" clId="{4457FA57-250B-44AC-8655-05D46C5A3D8A}" dt="2023-05-23T18:53:30.952" v="9497" actId="478"/>
          <ac:spMkLst>
            <pc:docMk/>
            <pc:sldMk cId="4175492050" sldId="230717649"/>
            <ac:spMk id="3" creationId="{5BEDDF33-9EA8-4BF2-ADE8-67846C921F26}"/>
          </ac:spMkLst>
        </pc:spChg>
        <pc:spChg chg="del">
          <ac:chgData name="El Bakkouri, Manal" userId="8b130982-2e3f-4164-b881-fd3a2e4b2453" providerId="ADAL" clId="{4457FA57-250B-44AC-8655-05D46C5A3D8A}" dt="2023-05-23T18:53:32.050" v="9498" actId="478"/>
          <ac:spMkLst>
            <pc:docMk/>
            <pc:sldMk cId="4175492050" sldId="230717649"/>
            <ac:spMk id="4" creationId="{341D01D1-1336-4223-8AAC-FE5AF902FB7C}"/>
          </ac:spMkLst>
        </pc:spChg>
        <pc:spChg chg="add mod">
          <ac:chgData name="El Bakkouri, Manal" userId="8b130982-2e3f-4164-b881-fd3a2e4b2453" providerId="ADAL" clId="{4457FA57-250B-44AC-8655-05D46C5A3D8A}" dt="2023-05-23T18:53:33.266" v="9499"/>
          <ac:spMkLst>
            <pc:docMk/>
            <pc:sldMk cId="4175492050" sldId="230717649"/>
            <ac:spMk id="5" creationId="{8C789F9E-F64F-466D-86C3-E924DB03B1E2}"/>
          </ac:spMkLst>
        </pc:spChg>
        <pc:spChg chg="add mod">
          <ac:chgData name="El Bakkouri, Manal" userId="8b130982-2e3f-4164-b881-fd3a2e4b2453" providerId="ADAL" clId="{4457FA57-250B-44AC-8655-05D46C5A3D8A}" dt="2023-05-23T18:53:33.266" v="9499"/>
          <ac:spMkLst>
            <pc:docMk/>
            <pc:sldMk cId="4175492050" sldId="230717649"/>
            <ac:spMk id="6" creationId="{60762AD0-F8A8-48BF-A5C3-1E1EC9EB0ACA}"/>
          </ac:spMkLst>
        </pc:spChg>
        <pc:spChg chg="add mod">
          <ac:chgData name="El Bakkouri, Manal" userId="8b130982-2e3f-4164-b881-fd3a2e4b2453" providerId="ADAL" clId="{4457FA57-250B-44AC-8655-05D46C5A3D8A}" dt="2023-05-23T18:53:33.266" v="9499"/>
          <ac:spMkLst>
            <pc:docMk/>
            <pc:sldMk cId="4175492050" sldId="230717649"/>
            <ac:spMk id="7" creationId="{480FDD5F-620D-43F6-B2EE-221371991A04}"/>
          </ac:spMkLst>
        </pc:spChg>
        <pc:spChg chg="add mod">
          <ac:chgData name="El Bakkouri, Manal" userId="8b130982-2e3f-4164-b881-fd3a2e4b2453" providerId="ADAL" clId="{4457FA57-250B-44AC-8655-05D46C5A3D8A}" dt="2023-05-23T18:53:33.266" v="9499"/>
          <ac:spMkLst>
            <pc:docMk/>
            <pc:sldMk cId="4175492050" sldId="230717649"/>
            <ac:spMk id="8" creationId="{F8551575-2B41-4FB9-96FC-B7C459E36DCE}"/>
          </ac:spMkLst>
        </pc:spChg>
        <pc:spChg chg="add mod">
          <ac:chgData name="El Bakkouri, Manal" userId="8b130982-2e3f-4164-b881-fd3a2e4b2453" providerId="ADAL" clId="{4457FA57-250B-44AC-8655-05D46C5A3D8A}" dt="2023-05-23T18:53:33.266" v="9499"/>
          <ac:spMkLst>
            <pc:docMk/>
            <pc:sldMk cId="4175492050" sldId="230717649"/>
            <ac:spMk id="9" creationId="{2FA6B15D-B74F-43D4-BBE3-9335F1594546}"/>
          </ac:spMkLst>
        </pc:spChg>
        <pc:spChg chg="add mod">
          <ac:chgData name="El Bakkouri, Manal" userId="8b130982-2e3f-4164-b881-fd3a2e4b2453" providerId="ADAL" clId="{4457FA57-250B-44AC-8655-05D46C5A3D8A}" dt="2023-05-23T18:53:46.390" v="9501" actId="113"/>
          <ac:spMkLst>
            <pc:docMk/>
            <pc:sldMk cId="4175492050" sldId="230717649"/>
            <ac:spMk id="10" creationId="{F2D893C2-0458-493E-8EC4-6A4DDCCCA11F}"/>
          </ac:spMkLst>
        </pc:spChg>
        <pc:spChg chg="add mod">
          <ac:chgData name="El Bakkouri, Manal" userId="8b130982-2e3f-4164-b881-fd3a2e4b2453" providerId="ADAL" clId="{4457FA57-250B-44AC-8655-05D46C5A3D8A}" dt="2023-05-23T18:54:12.234" v="9507" actId="14100"/>
          <ac:spMkLst>
            <pc:docMk/>
            <pc:sldMk cId="4175492050" sldId="230717649"/>
            <ac:spMk id="11" creationId="{0CDC3864-D6BC-4ADF-8EAA-D1777AFB99C0}"/>
          </ac:spMkLst>
        </pc:spChg>
        <pc:spChg chg="add mod">
          <ac:chgData name="El Bakkouri, Manal" userId="8b130982-2e3f-4164-b881-fd3a2e4b2453" providerId="ADAL" clId="{4457FA57-250B-44AC-8655-05D46C5A3D8A}" dt="2023-05-23T18:53:33.266" v="9499"/>
          <ac:spMkLst>
            <pc:docMk/>
            <pc:sldMk cId="4175492050" sldId="230717649"/>
            <ac:spMk id="12" creationId="{FEC0ACF8-E283-4C16-B669-DB57FD209DEA}"/>
          </ac:spMkLst>
        </pc:spChg>
        <pc:spChg chg="add mod">
          <ac:chgData name="El Bakkouri, Manal" userId="8b130982-2e3f-4164-b881-fd3a2e4b2453" providerId="ADAL" clId="{4457FA57-250B-44AC-8655-05D46C5A3D8A}" dt="2023-05-23T20:13:35.330" v="9700" actId="1076"/>
          <ac:spMkLst>
            <pc:docMk/>
            <pc:sldMk cId="4175492050" sldId="230717649"/>
            <ac:spMk id="13" creationId="{AE427BC0-6F0A-49D1-BE72-960E76E03889}"/>
          </ac:spMkLst>
        </pc:spChg>
        <pc:spChg chg="add mod">
          <ac:chgData name="El Bakkouri, Manal" userId="8b130982-2e3f-4164-b881-fd3a2e4b2453" providerId="ADAL" clId="{4457FA57-250B-44AC-8655-05D46C5A3D8A}" dt="2023-05-23T18:53:58.679" v="9504" actId="1076"/>
          <ac:spMkLst>
            <pc:docMk/>
            <pc:sldMk cId="4175492050" sldId="230717649"/>
            <ac:spMk id="14" creationId="{66951045-4CB3-4E21-AB9B-B7314D5139CF}"/>
          </ac:spMkLst>
        </pc:spChg>
        <pc:spChg chg="mod topLvl">
          <ac:chgData name="El Bakkouri, Manal" userId="8b130982-2e3f-4164-b881-fd3a2e4b2453" providerId="ADAL" clId="{4457FA57-250B-44AC-8655-05D46C5A3D8A}" dt="2023-05-23T20:13:37.637" v="9703" actId="164"/>
          <ac:spMkLst>
            <pc:docMk/>
            <pc:sldMk cId="4175492050" sldId="230717649"/>
            <ac:spMk id="16" creationId="{AD141237-F420-4F74-B8A7-0128875EEAA6}"/>
          </ac:spMkLst>
        </pc:spChg>
        <pc:spChg chg="mod topLvl">
          <ac:chgData name="El Bakkouri, Manal" userId="8b130982-2e3f-4164-b881-fd3a2e4b2453" providerId="ADAL" clId="{4457FA57-250B-44AC-8655-05D46C5A3D8A}" dt="2023-05-23T20:13:37.637" v="9703" actId="164"/>
          <ac:spMkLst>
            <pc:docMk/>
            <pc:sldMk cId="4175492050" sldId="230717649"/>
            <ac:spMk id="17" creationId="{5C9218D4-BCED-48EC-9BFB-32AAA503C44A}"/>
          </ac:spMkLst>
        </pc:spChg>
        <pc:spChg chg="mod topLvl">
          <ac:chgData name="El Bakkouri, Manal" userId="8b130982-2e3f-4164-b881-fd3a2e4b2453" providerId="ADAL" clId="{4457FA57-250B-44AC-8655-05D46C5A3D8A}" dt="2023-05-24T09:32:15.033" v="10396" actId="1035"/>
          <ac:spMkLst>
            <pc:docMk/>
            <pc:sldMk cId="4175492050" sldId="230717649"/>
            <ac:spMk id="18" creationId="{9E897114-16E6-401D-B932-B6A558FA84FF}"/>
          </ac:spMkLst>
        </pc:spChg>
        <pc:spChg chg="mod topLvl">
          <ac:chgData name="El Bakkouri, Manal" userId="8b130982-2e3f-4164-b881-fd3a2e4b2453" providerId="ADAL" clId="{4457FA57-250B-44AC-8655-05D46C5A3D8A}" dt="2023-05-24T09:32:15.033" v="10396" actId="1035"/>
          <ac:spMkLst>
            <pc:docMk/>
            <pc:sldMk cId="4175492050" sldId="230717649"/>
            <ac:spMk id="19" creationId="{DF141E54-C5DA-478B-9839-7C833A0845D1}"/>
          </ac:spMkLst>
        </pc:spChg>
        <pc:spChg chg="mod topLvl">
          <ac:chgData name="El Bakkouri, Manal" userId="8b130982-2e3f-4164-b881-fd3a2e4b2453" providerId="ADAL" clId="{4457FA57-250B-44AC-8655-05D46C5A3D8A}" dt="2023-05-24T09:32:15.033" v="10396" actId="1035"/>
          <ac:spMkLst>
            <pc:docMk/>
            <pc:sldMk cId="4175492050" sldId="230717649"/>
            <ac:spMk id="21" creationId="{F9A8089F-3C89-4BF4-B92A-0DA27414949C}"/>
          </ac:spMkLst>
        </pc:spChg>
        <pc:spChg chg="mod topLvl">
          <ac:chgData name="El Bakkouri, Manal" userId="8b130982-2e3f-4164-b881-fd3a2e4b2453" providerId="ADAL" clId="{4457FA57-250B-44AC-8655-05D46C5A3D8A}" dt="2023-05-24T09:32:15.033" v="10396" actId="1035"/>
          <ac:spMkLst>
            <pc:docMk/>
            <pc:sldMk cId="4175492050" sldId="230717649"/>
            <ac:spMk id="22" creationId="{AD92E5DD-7C42-47E4-A353-AE7991721067}"/>
          </ac:spMkLst>
        </pc:spChg>
        <pc:spChg chg="mod topLvl">
          <ac:chgData name="El Bakkouri, Manal" userId="8b130982-2e3f-4164-b881-fd3a2e4b2453" providerId="ADAL" clId="{4457FA57-250B-44AC-8655-05D46C5A3D8A}" dt="2023-05-24T09:32:15.033" v="10396" actId="1035"/>
          <ac:spMkLst>
            <pc:docMk/>
            <pc:sldMk cId="4175492050" sldId="230717649"/>
            <ac:spMk id="24" creationId="{D017F738-0D8A-40A7-B780-85C00A0E0579}"/>
          </ac:spMkLst>
        </pc:spChg>
        <pc:spChg chg="mod topLvl">
          <ac:chgData name="El Bakkouri, Manal" userId="8b130982-2e3f-4164-b881-fd3a2e4b2453" providerId="ADAL" clId="{4457FA57-250B-44AC-8655-05D46C5A3D8A}" dt="2023-05-24T09:32:15.033" v="10396" actId="1035"/>
          <ac:spMkLst>
            <pc:docMk/>
            <pc:sldMk cId="4175492050" sldId="230717649"/>
            <ac:spMk id="25" creationId="{027CDEF6-D753-4E3A-A2F2-66421587AB0A}"/>
          </ac:spMkLst>
        </pc:spChg>
        <pc:spChg chg="mod topLvl">
          <ac:chgData name="El Bakkouri, Manal" userId="8b130982-2e3f-4164-b881-fd3a2e4b2453" providerId="ADAL" clId="{4457FA57-250B-44AC-8655-05D46C5A3D8A}" dt="2023-05-24T09:32:15.033" v="10396" actId="1035"/>
          <ac:spMkLst>
            <pc:docMk/>
            <pc:sldMk cId="4175492050" sldId="230717649"/>
            <ac:spMk id="28" creationId="{94F1F7CB-0B21-4617-B90F-BC0E28D69DCA}"/>
          </ac:spMkLst>
        </pc:spChg>
        <pc:spChg chg="mod topLvl">
          <ac:chgData name="El Bakkouri, Manal" userId="8b130982-2e3f-4164-b881-fd3a2e4b2453" providerId="ADAL" clId="{4457FA57-250B-44AC-8655-05D46C5A3D8A}" dt="2023-05-24T09:32:15.033" v="10396" actId="1035"/>
          <ac:spMkLst>
            <pc:docMk/>
            <pc:sldMk cId="4175492050" sldId="230717649"/>
            <ac:spMk id="29" creationId="{FBB94542-F476-41EC-8884-6B46762304C4}"/>
          </ac:spMkLst>
        </pc:spChg>
        <pc:spChg chg="mod topLvl">
          <ac:chgData name="El Bakkouri, Manal" userId="8b130982-2e3f-4164-b881-fd3a2e4b2453" providerId="ADAL" clId="{4457FA57-250B-44AC-8655-05D46C5A3D8A}" dt="2023-05-24T09:32:15.033" v="10396" actId="1035"/>
          <ac:spMkLst>
            <pc:docMk/>
            <pc:sldMk cId="4175492050" sldId="230717649"/>
            <ac:spMk id="31" creationId="{FBE202ED-A1EB-4F9F-8C67-57C0ABD4C304}"/>
          </ac:spMkLst>
        </pc:spChg>
        <pc:spChg chg="mod topLvl">
          <ac:chgData name="El Bakkouri, Manal" userId="8b130982-2e3f-4164-b881-fd3a2e4b2453" providerId="ADAL" clId="{4457FA57-250B-44AC-8655-05D46C5A3D8A}" dt="2023-05-24T09:32:15.033" v="10396" actId="1035"/>
          <ac:spMkLst>
            <pc:docMk/>
            <pc:sldMk cId="4175492050" sldId="230717649"/>
            <ac:spMk id="32" creationId="{7FA6F595-B82E-412E-A1BD-56B0DB0C0D93}"/>
          </ac:spMkLst>
        </pc:spChg>
        <pc:spChg chg="mod topLvl">
          <ac:chgData name="El Bakkouri, Manal" userId="8b130982-2e3f-4164-b881-fd3a2e4b2453" providerId="ADAL" clId="{4457FA57-250B-44AC-8655-05D46C5A3D8A}" dt="2023-05-24T09:32:15.033" v="10396" actId="1035"/>
          <ac:spMkLst>
            <pc:docMk/>
            <pc:sldMk cId="4175492050" sldId="230717649"/>
            <ac:spMk id="33" creationId="{3F801D84-97DF-4814-B168-B64CA8F74D02}"/>
          </ac:spMkLst>
        </pc:spChg>
        <pc:spChg chg="mod topLvl">
          <ac:chgData name="El Bakkouri, Manal" userId="8b130982-2e3f-4164-b881-fd3a2e4b2453" providerId="ADAL" clId="{4457FA57-250B-44AC-8655-05D46C5A3D8A}" dt="2023-05-24T09:32:15.033" v="10396" actId="1035"/>
          <ac:spMkLst>
            <pc:docMk/>
            <pc:sldMk cId="4175492050" sldId="230717649"/>
            <ac:spMk id="34" creationId="{67806DFA-544D-4E19-93C6-137D4AA0642B}"/>
          </ac:spMkLst>
        </pc:spChg>
        <pc:spChg chg="mod topLvl">
          <ac:chgData name="El Bakkouri, Manal" userId="8b130982-2e3f-4164-b881-fd3a2e4b2453" providerId="ADAL" clId="{4457FA57-250B-44AC-8655-05D46C5A3D8A}" dt="2023-06-11T20:50:47.435" v="15567" actId="20577"/>
          <ac:spMkLst>
            <pc:docMk/>
            <pc:sldMk cId="4175492050" sldId="230717649"/>
            <ac:spMk id="40" creationId="{F349649A-4417-42C4-9837-6EB393A324ED}"/>
          </ac:spMkLst>
        </pc:spChg>
        <pc:spChg chg="mod topLvl">
          <ac:chgData name="El Bakkouri, Manal" userId="8b130982-2e3f-4164-b881-fd3a2e4b2453" providerId="ADAL" clId="{4457FA57-250B-44AC-8655-05D46C5A3D8A}" dt="2023-05-24T09:32:15.033" v="10396" actId="1035"/>
          <ac:spMkLst>
            <pc:docMk/>
            <pc:sldMk cId="4175492050" sldId="230717649"/>
            <ac:spMk id="41" creationId="{5F6AA61C-232E-44DB-BFE4-55429002198D}"/>
          </ac:spMkLst>
        </pc:spChg>
        <pc:spChg chg="mod topLvl">
          <ac:chgData name="El Bakkouri, Manal" userId="8b130982-2e3f-4164-b881-fd3a2e4b2453" providerId="ADAL" clId="{4457FA57-250B-44AC-8655-05D46C5A3D8A}" dt="2023-05-24T09:32:15.033" v="10396" actId="1035"/>
          <ac:spMkLst>
            <pc:docMk/>
            <pc:sldMk cId="4175492050" sldId="230717649"/>
            <ac:spMk id="42" creationId="{249D6EA6-44B7-49F8-A9CC-520455186062}"/>
          </ac:spMkLst>
        </pc:spChg>
        <pc:spChg chg="mod topLvl">
          <ac:chgData name="El Bakkouri, Manal" userId="8b130982-2e3f-4164-b881-fd3a2e4b2453" providerId="ADAL" clId="{4457FA57-250B-44AC-8655-05D46C5A3D8A}" dt="2023-05-24T09:32:15.033" v="10396" actId="1035"/>
          <ac:spMkLst>
            <pc:docMk/>
            <pc:sldMk cId="4175492050" sldId="230717649"/>
            <ac:spMk id="43" creationId="{AE954443-7235-475C-B6EB-8F63B1642308}"/>
          </ac:spMkLst>
        </pc:spChg>
        <pc:spChg chg="mod topLvl">
          <ac:chgData name="El Bakkouri, Manal" userId="8b130982-2e3f-4164-b881-fd3a2e4b2453" providerId="ADAL" clId="{4457FA57-250B-44AC-8655-05D46C5A3D8A}" dt="2023-05-23T20:13:37.637" v="9703" actId="164"/>
          <ac:spMkLst>
            <pc:docMk/>
            <pc:sldMk cId="4175492050" sldId="230717649"/>
            <ac:spMk id="44" creationId="{83A27154-A1D8-447A-8A61-8FB9EEDF2F89}"/>
          </ac:spMkLst>
        </pc:spChg>
        <pc:spChg chg="mod topLvl">
          <ac:chgData name="El Bakkouri, Manal" userId="8b130982-2e3f-4164-b881-fd3a2e4b2453" providerId="ADAL" clId="{4457FA57-250B-44AC-8655-05D46C5A3D8A}" dt="2023-05-23T20:13:37.637" v="9703" actId="164"/>
          <ac:spMkLst>
            <pc:docMk/>
            <pc:sldMk cId="4175492050" sldId="230717649"/>
            <ac:spMk id="45" creationId="{18C561DE-A30F-4FB1-958D-D2F45FC43B87}"/>
          </ac:spMkLst>
        </pc:spChg>
        <pc:spChg chg="mod topLvl">
          <ac:chgData name="El Bakkouri, Manal" userId="8b130982-2e3f-4164-b881-fd3a2e4b2453" providerId="ADAL" clId="{4457FA57-250B-44AC-8655-05D46C5A3D8A}" dt="2023-05-23T20:13:37.637" v="9703" actId="164"/>
          <ac:spMkLst>
            <pc:docMk/>
            <pc:sldMk cId="4175492050" sldId="230717649"/>
            <ac:spMk id="46" creationId="{6323946B-DF9D-444C-AB38-A199BEAFADE8}"/>
          </ac:spMkLst>
        </pc:spChg>
        <pc:spChg chg="mod topLvl">
          <ac:chgData name="El Bakkouri, Manal" userId="8b130982-2e3f-4164-b881-fd3a2e4b2453" providerId="ADAL" clId="{4457FA57-250B-44AC-8655-05D46C5A3D8A}" dt="2023-05-23T20:13:37.637" v="9703" actId="164"/>
          <ac:spMkLst>
            <pc:docMk/>
            <pc:sldMk cId="4175492050" sldId="230717649"/>
            <ac:spMk id="47" creationId="{4775C403-D3B8-443F-954A-B622B7514775}"/>
          </ac:spMkLst>
        </pc:spChg>
        <pc:spChg chg="mod">
          <ac:chgData name="El Bakkouri, Manal" userId="8b130982-2e3f-4164-b881-fd3a2e4b2453" providerId="ADAL" clId="{4457FA57-250B-44AC-8655-05D46C5A3D8A}" dt="2023-05-24T09:08:32.988" v="10376" actId="207"/>
          <ac:spMkLst>
            <pc:docMk/>
            <pc:sldMk cId="4175492050" sldId="230717649"/>
            <ac:spMk id="57" creationId="{B7AFD3C0-38E0-4585-BCCE-C8BA80459463}"/>
          </ac:spMkLst>
        </pc:spChg>
        <pc:spChg chg="mod">
          <ac:chgData name="El Bakkouri, Manal" userId="8b130982-2e3f-4164-b881-fd3a2e4b2453" providerId="ADAL" clId="{4457FA57-250B-44AC-8655-05D46C5A3D8A}" dt="2023-05-24T09:08:32.988" v="10376" actId="207"/>
          <ac:spMkLst>
            <pc:docMk/>
            <pc:sldMk cId="4175492050" sldId="230717649"/>
            <ac:spMk id="58" creationId="{485C08AD-865A-4697-92B2-22398B0A3B4B}"/>
          </ac:spMkLst>
        </pc:spChg>
        <pc:spChg chg="mod">
          <ac:chgData name="El Bakkouri, Manal" userId="8b130982-2e3f-4164-b881-fd3a2e4b2453" providerId="ADAL" clId="{4457FA57-250B-44AC-8655-05D46C5A3D8A}" dt="2023-05-24T09:08:02.098" v="10370" actId="207"/>
          <ac:spMkLst>
            <pc:docMk/>
            <pc:sldMk cId="4175492050" sldId="230717649"/>
            <ac:spMk id="59" creationId="{587D50C4-2A41-4495-9266-81077A546516}"/>
          </ac:spMkLst>
        </pc:spChg>
        <pc:spChg chg="mod">
          <ac:chgData name="El Bakkouri, Manal" userId="8b130982-2e3f-4164-b881-fd3a2e4b2453" providerId="ADAL" clId="{4457FA57-250B-44AC-8655-05D46C5A3D8A}" dt="2023-05-24T09:08:02.098" v="10370" actId="207"/>
          <ac:spMkLst>
            <pc:docMk/>
            <pc:sldMk cId="4175492050" sldId="230717649"/>
            <ac:spMk id="60" creationId="{05312E04-2879-49EB-90C4-B945D1250D79}"/>
          </ac:spMkLst>
        </pc:spChg>
        <pc:spChg chg="mod">
          <ac:chgData name="El Bakkouri, Manal" userId="8b130982-2e3f-4164-b881-fd3a2e4b2453" providerId="ADAL" clId="{4457FA57-250B-44AC-8655-05D46C5A3D8A}" dt="2023-05-24T09:07:37.112" v="10364" actId="2085"/>
          <ac:spMkLst>
            <pc:docMk/>
            <pc:sldMk cId="4175492050" sldId="230717649"/>
            <ac:spMk id="61" creationId="{1367F6CF-F559-49B2-93C9-855117413AB2}"/>
          </ac:spMkLst>
        </pc:spChg>
        <pc:spChg chg="mod">
          <ac:chgData name="El Bakkouri, Manal" userId="8b130982-2e3f-4164-b881-fd3a2e4b2453" providerId="ADAL" clId="{4457FA57-250B-44AC-8655-05D46C5A3D8A}" dt="2023-05-24T09:07:37.112" v="10364" actId="2085"/>
          <ac:spMkLst>
            <pc:docMk/>
            <pc:sldMk cId="4175492050" sldId="230717649"/>
            <ac:spMk id="62" creationId="{670A7B9E-EE5D-416E-948A-3B82B00CE8F3}"/>
          </ac:spMkLst>
        </pc:spChg>
        <pc:spChg chg="mod">
          <ac:chgData name="El Bakkouri, Manal" userId="8b130982-2e3f-4164-b881-fd3a2e4b2453" providerId="ADAL" clId="{4457FA57-250B-44AC-8655-05D46C5A3D8A}" dt="2023-05-24T09:07:16.580" v="10357" actId="207"/>
          <ac:spMkLst>
            <pc:docMk/>
            <pc:sldMk cId="4175492050" sldId="230717649"/>
            <ac:spMk id="63" creationId="{CF406F93-03A6-4C03-90CA-990F6549DCFD}"/>
          </ac:spMkLst>
        </pc:spChg>
        <pc:spChg chg="mod">
          <ac:chgData name="El Bakkouri, Manal" userId="8b130982-2e3f-4164-b881-fd3a2e4b2453" providerId="ADAL" clId="{4457FA57-250B-44AC-8655-05D46C5A3D8A}" dt="2023-05-24T09:07:16.580" v="10357" actId="207"/>
          <ac:spMkLst>
            <pc:docMk/>
            <pc:sldMk cId="4175492050" sldId="230717649"/>
            <ac:spMk id="64" creationId="{1F1A3727-B98C-4E74-9A47-043C0A57F96D}"/>
          </ac:spMkLst>
        </pc:spChg>
        <pc:spChg chg="mod">
          <ac:chgData name="El Bakkouri, Manal" userId="8b130982-2e3f-4164-b881-fd3a2e4b2453" providerId="ADAL" clId="{4457FA57-250B-44AC-8655-05D46C5A3D8A}" dt="2023-06-12T13:31:47.551" v="15837" actId="403"/>
          <ac:spMkLst>
            <pc:docMk/>
            <pc:sldMk cId="4175492050" sldId="230717649"/>
            <ac:spMk id="69" creationId="{97C69D36-9FC6-4E50-A71B-E08274077504}"/>
          </ac:spMkLst>
        </pc:spChg>
        <pc:spChg chg="mod">
          <ac:chgData name="El Bakkouri, Manal" userId="8b130982-2e3f-4164-b881-fd3a2e4b2453" providerId="ADAL" clId="{4457FA57-250B-44AC-8655-05D46C5A3D8A}" dt="2023-06-12T13:31:47.551" v="15837" actId="403"/>
          <ac:spMkLst>
            <pc:docMk/>
            <pc:sldMk cId="4175492050" sldId="230717649"/>
            <ac:spMk id="70" creationId="{04C22788-982A-495B-9CAE-614FAA2FDC27}"/>
          </ac:spMkLst>
        </pc:spChg>
        <pc:spChg chg="mod">
          <ac:chgData name="El Bakkouri, Manal" userId="8b130982-2e3f-4164-b881-fd3a2e4b2453" providerId="ADAL" clId="{4457FA57-250B-44AC-8655-05D46C5A3D8A}" dt="2023-06-12T13:31:47.551" v="15837" actId="403"/>
          <ac:spMkLst>
            <pc:docMk/>
            <pc:sldMk cId="4175492050" sldId="230717649"/>
            <ac:spMk id="71" creationId="{A3DD28D8-B35B-465E-85D9-F0D6922239B0}"/>
          </ac:spMkLst>
        </pc:spChg>
        <pc:spChg chg="add mod">
          <ac:chgData name="El Bakkouri, Manal" userId="8b130982-2e3f-4164-b881-fd3a2e4b2453" providerId="ADAL" clId="{4457FA57-250B-44AC-8655-05D46C5A3D8A}" dt="2023-05-23T20:04:32.842" v="9680" actId="571"/>
          <ac:spMkLst>
            <pc:docMk/>
            <pc:sldMk cId="4175492050" sldId="230717649"/>
            <ac:spMk id="71" creationId="{DF609185-FE31-4A90-BE79-A21D13E42847}"/>
          </ac:spMkLst>
        </pc:spChg>
        <pc:spChg chg="add mod">
          <ac:chgData name="El Bakkouri, Manal" userId="8b130982-2e3f-4164-b881-fd3a2e4b2453" providerId="ADAL" clId="{4457FA57-250B-44AC-8655-05D46C5A3D8A}" dt="2023-05-23T20:04:32.842" v="9680" actId="571"/>
          <ac:spMkLst>
            <pc:docMk/>
            <pc:sldMk cId="4175492050" sldId="230717649"/>
            <ac:spMk id="72" creationId="{F468A1B6-F038-4004-8787-B6911D2AC1DF}"/>
          </ac:spMkLst>
        </pc:spChg>
        <pc:spChg chg="mod">
          <ac:chgData name="El Bakkouri, Manal" userId="8b130982-2e3f-4164-b881-fd3a2e4b2453" providerId="ADAL" clId="{4457FA57-250B-44AC-8655-05D46C5A3D8A}" dt="2023-06-12T13:31:56.762" v="15838" actId="255"/>
          <ac:spMkLst>
            <pc:docMk/>
            <pc:sldMk cId="4175492050" sldId="230717649"/>
            <ac:spMk id="80" creationId="{79AC494A-7DBA-43E8-A361-17D893CD9CEC}"/>
          </ac:spMkLst>
        </pc:spChg>
        <pc:spChg chg="mod">
          <ac:chgData name="El Bakkouri, Manal" userId="8b130982-2e3f-4164-b881-fd3a2e4b2453" providerId="ADAL" clId="{4457FA57-250B-44AC-8655-05D46C5A3D8A}" dt="2023-06-12T13:31:56.762" v="15838" actId="255"/>
          <ac:spMkLst>
            <pc:docMk/>
            <pc:sldMk cId="4175492050" sldId="230717649"/>
            <ac:spMk id="81" creationId="{CC475376-771F-4E82-8087-9AE234174C34}"/>
          </ac:spMkLst>
        </pc:spChg>
        <pc:spChg chg="mod">
          <ac:chgData name="El Bakkouri, Manal" userId="8b130982-2e3f-4164-b881-fd3a2e4b2453" providerId="ADAL" clId="{4457FA57-250B-44AC-8655-05D46C5A3D8A}" dt="2023-06-12T13:31:56.762" v="15838" actId="255"/>
          <ac:spMkLst>
            <pc:docMk/>
            <pc:sldMk cId="4175492050" sldId="230717649"/>
            <ac:spMk id="83" creationId="{C1225BBE-ED90-46A5-B8CF-3EF402801FC7}"/>
          </ac:spMkLst>
        </pc:spChg>
        <pc:spChg chg="mod">
          <ac:chgData name="El Bakkouri, Manal" userId="8b130982-2e3f-4164-b881-fd3a2e4b2453" providerId="ADAL" clId="{4457FA57-250B-44AC-8655-05D46C5A3D8A}" dt="2023-06-12T13:31:56.762" v="15838" actId="255"/>
          <ac:spMkLst>
            <pc:docMk/>
            <pc:sldMk cId="4175492050" sldId="230717649"/>
            <ac:spMk id="84" creationId="{7A2D8028-72D3-47CC-A0F8-3C54C9CE9B59}"/>
          </ac:spMkLst>
        </pc:spChg>
        <pc:spChg chg="mod">
          <ac:chgData name="El Bakkouri, Manal" userId="8b130982-2e3f-4164-b881-fd3a2e4b2453" providerId="ADAL" clId="{4457FA57-250B-44AC-8655-05D46C5A3D8A}" dt="2023-06-12T13:31:56.762" v="15838" actId="255"/>
          <ac:spMkLst>
            <pc:docMk/>
            <pc:sldMk cId="4175492050" sldId="230717649"/>
            <ac:spMk id="87" creationId="{2A08F18B-3578-4665-B4CE-6DCACF15632C}"/>
          </ac:spMkLst>
        </pc:spChg>
        <pc:spChg chg="mod">
          <ac:chgData name="El Bakkouri, Manal" userId="8b130982-2e3f-4164-b881-fd3a2e4b2453" providerId="ADAL" clId="{4457FA57-250B-44AC-8655-05D46C5A3D8A}" dt="2023-06-12T13:31:56.762" v="15838" actId="255"/>
          <ac:spMkLst>
            <pc:docMk/>
            <pc:sldMk cId="4175492050" sldId="230717649"/>
            <ac:spMk id="88" creationId="{1083F235-F6E2-4A0D-99EE-EA47E5A4F510}"/>
          </ac:spMkLst>
        </pc:spChg>
        <pc:spChg chg="mod">
          <ac:chgData name="El Bakkouri, Manal" userId="8b130982-2e3f-4164-b881-fd3a2e4b2453" providerId="ADAL" clId="{4457FA57-250B-44AC-8655-05D46C5A3D8A}" dt="2023-06-12T13:31:56.762" v="15838" actId="255"/>
          <ac:spMkLst>
            <pc:docMk/>
            <pc:sldMk cId="4175492050" sldId="230717649"/>
            <ac:spMk id="90" creationId="{4B2A2C46-F277-4E0D-940B-399C7CA0448A}"/>
          </ac:spMkLst>
        </pc:spChg>
        <pc:spChg chg="mod">
          <ac:chgData name="El Bakkouri, Manal" userId="8b130982-2e3f-4164-b881-fd3a2e4b2453" providerId="ADAL" clId="{4457FA57-250B-44AC-8655-05D46C5A3D8A}" dt="2023-06-12T13:31:56.762" v="15838" actId="255"/>
          <ac:spMkLst>
            <pc:docMk/>
            <pc:sldMk cId="4175492050" sldId="230717649"/>
            <ac:spMk id="91" creationId="{7E29A5F2-FE6A-4E45-A904-A8752D252144}"/>
          </ac:spMkLst>
        </pc:spChg>
        <pc:spChg chg="mod">
          <ac:chgData name="El Bakkouri, Manal" userId="8b130982-2e3f-4164-b881-fd3a2e4b2453" providerId="ADAL" clId="{4457FA57-250B-44AC-8655-05D46C5A3D8A}" dt="2023-06-12T13:31:56.762" v="15838" actId="255"/>
          <ac:spMkLst>
            <pc:docMk/>
            <pc:sldMk cId="4175492050" sldId="230717649"/>
            <ac:spMk id="94" creationId="{C17BDFCA-C53C-443A-A025-F20A118811C8}"/>
          </ac:spMkLst>
        </pc:spChg>
        <pc:spChg chg="mod">
          <ac:chgData name="El Bakkouri, Manal" userId="8b130982-2e3f-4164-b881-fd3a2e4b2453" providerId="ADAL" clId="{4457FA57-250B-44AC-8655-05D46C5A3D8A}" dt="2023-06-12T13:31:56.762" v="15838" actId="255"/>
          <ac:spMkLst>
            <pc:docMk/>
            <pc:sldMk cId="4175492050" sldId="230717649"/>
            <ac:spMk id="110" creationId="{D8A81DEA-C5AF-499D-BA54-A586D3B46740}"/>
          </ac:spMkLst>
        </pc:spChg>
        <pc:spChg chg="mod">
          <ac:chgData name="El Bakkouri, Manal" userId="8b130982-2e3f-4164-b881-fd3a2e4b2453" providerId="ADAL" clId="{4457FA57-250B-44AC-8655-05D46C5A3D8A}" dt="2023-06-12T13:31:47.551" v="15837" actId="403"/>
          <ac:spMkLst>
            <pc:docMk/>
            <pc:sldMk cId="4175492050" sldId="230717649"/>
            <ac:spMk id="112" creationId="{275F5B9D-89B2-4C78-B0A1-4601D29F34A9}"/>
          </ac:spMkLst>
        </pc:spChg>
        <pc:grpChg chg="add del mod">
          <ac:chgData name="El Bakkouri, Manal" userId="8b130982-2e3f-4164-b881-fd3a2e4b2453" providerId="ADAL" clId="{4457FA57-250B-44AC-8655-05D46C5A3D8A}" dt="2023-05-23T19:56:23.616" v="9645" actId="165"/>
          <ac:grpSpMkLst>
            <pc:docMk/>
            <pc:sldMk cId="4175492050" sldId="230717649"/>
            <ac:grpSpMk id="15" creationId="{4784820B-B8E9-4B04-B562-174BAD40EFE6}"/>
          </ac:grpSpMkLst>
        </pc:grpChg>
        <pc:grpChg chg="del mod topLvl">
          <ac:chgData name="El Bakkouri, Manal" userId="8b130982-2e3f-4164-b881-fd3a2e4b2453" providerId="ADAL" clId="{4457FA57-250B-44AC-8655-05D46C5A3D8A}" dt="2023-05-23T19:59:42.188" v="9662" actId="165"/>
          <ac:grpSpMkLst>
            <pc:docMk/>
            <pc:sldMk cId="4175492050" sldId="230717649"/>
            <ac:grpSpMk id="27" creationId="{3E80A441-95CB-4A0A-9A5A-1DBFB08D5889}"/>
          </ac:grpSpMkLst>
        </pc:grpChg>
        <pc:grpChg chg="mod topLvl">
          <ac:chgData name="El Bakkouri, Manal" userId="8b130982-2e3f-4164-b881-fd3a2e4b2453" providerId="ADAL" clId="{4457FA57-250B-44AC-8655-05D46C5A3D8A}" dt="2023-05-24T09:32:15.033" v="10396" actId="1035"/>
          <ac:grpSpMkLst>
            <pc:docMk/>
            <pc:sldMk cId="4175492050" sldId="230717649"/>
            <ac:grpSpMk id="35" creationId="{CAC4B6EA-BD9B-46C0-BF1E-50338D34BEB5}"/>
          </ac:grpSpMkLst>
        </pc:grpChg>
        <pc:grpChg chg="mod topLvl">
          <ac:chgData name="El Bakkouri, Manal" userId="8b130982-2e3f-4164-b881-fd3a2e4b2453" providerId="ADAL" clId="{4457FA57-250B-44AC-8655-05D46C5A3D8A}" dt="2023-05-24T09:32:15.033" v="10396" actId="1035"/>
          <ac:grpSpMkLst>
            <pc:docMk/>
            <pc:sldMk cId="4175492050" sldId="230717649"/>
            <ac:grpSpMk id="36" creationId="{EC1BF691-250B-4619-9E61-87C8B6BEAA04}"/>
          </ac:grpSpMkLst>
        </pc:grpChg>
        <pc:grpChg chg="mod topLvl">
          <ac:chgData name="El Bakkouri, Manal" userId="8b130982-2e3f-4164-b881-fd3a2e4b2453" providerId="ADAL" clId="{4457FA57-250B-44AC-8655-05D46C5A3D8A}" dt="2023-05-24T09:32:15.033" v="10396" actId="1035"/>
          <ac:grpSpMkLst>
            <pc:docMk/>
            <pc:sldMk cId="4175492050" sldId="230717649"/>
            <ac:grpSpMk id="37" creationId="{91967D41-534B-42E8-AD46-C59167BD30DA}"/>
          </ac:grpSpMkLst>
        </pc:grpChg>
        <pc:grpChg chg="mod topLvl">
          <ac:chgData name="El Bakkouri, Manal" userId="8b130982-2e3f-4164-b881-fd3a2e4b2453" providerId="ADAL" clId="{4457FA57-250B-44AC-8655-05D46C5A3D8A}" dt="2023-05-24T09:32:15.033" v="10396" actId="1035"/>
          <ac:grpSpMkLst>
            <pc:docMk/>
            <pc:sldMk cId="4175492050" sldId="230717649"/>
            <ac:grpSpMk id="38" creationId="{FC538C98-E8E0-4878-8227-FCFD0FDF9A0D}"/>
          </ac:grpSpMkLst>
        </pc:grpChg>
        <pc:grpChg chg="del mod topLvl">
          <ac:chgData name="El Bakkouri, Manal" userId="8b130982-2e3f-4164-b881-fd3a2e4b2453" providerId="ADAL" clId="{4457FA57-250B-44AC-8655-05D46C5A3D8A}" dt="2023-05-23T19:59:58.458" v="9664" actId="165"/>
          <ac:grpSpMkLst>
            <pc:docMk/>
            <pc:sldMk cId="4175492050" sldId="230717649"/>
            <ac:grpSpMk id="39" creationId="{5506FBF3-619B-4889-8669-DDB49942760B}"/>
          </ac:grpSpMkLst>
        </pc:grpChg>
        <pc:grpChg chg="del mod topLvl">
          <ac:chgData name="El Bakkouri, Manal" userId="8b130982-2e3f-4164-b881-fd3a2e4b2453" providerId="ADAL" clId="{4457FA57-250B-44AC-8655-05D46C5A3D8A}" dt="2023-05-23T19:59:54.634" v="9663" actId="165"/>
          <ac:grpSpMkLst>
            <pc:docMk/>
            <pc:sldMk cId="4175492050" sldId="230717649"/>
            <ac:grpSpMk id="48" creationId="{6D6431D9-A9AD-4DE3-9ACE-4A168F239F08}"/>
          </ac:grpSpMkLst>
        </pc:grpChg>
        <pc:grpChg chg="add mod">
          <ac:chgData name="El Bakkouri, Manal" userId="8b130982-2e3f-4164-b881-fd3a2e4b2453" providerId="ADAL" clId="{4457FA57-250B-44AC-8655-05D46C5A3D8A}" dt="2023-05-24T09:32:15.033" v="10396" actId="1035"/>
          <ac:grpSpMkLst>
            <pc:docMk/>
            <pc:sldMk cId="4175492050" sldId="230717649"/>
            <ac:grpSpMk id="73" creationId="{4498A057-695E-4390-9716-AF0D210656BA}"/>
          </ac:grpSpMkLst>
        </pc:grpChg>
        <pc:grpChg chg="add mod">
          <ac:chgData name="El Bakkouri, Manal" userId="8b130982-2e3f-4164-b881-fd3a2e4b2453" providerId="ADAL" clId="{4457FA57-250B-44AC-8655-05D46C5A3D8A}" dt="2023-05-24T09:32:15.033" v="10396" actId="1035"/>
          <ac:grpSpMkLst>
            <pc:docMk/>
            <pc:sldMk cId="4175492050" sldId="230717649"/>
            <ac:grpSpMk id="74" creationId="{E094213E-A004-479F-A930-5DD36495D165}"/>
          </ac:grpSpMkLst>
        </pc:grpChg>
        <pc:grpChg chg="add mod">
          <ac:chgData name="El Bakkouri, Manal" userId="8b130982-2e3f-4164-b881-fd3a2e4b2453" providerId="ADAL" clId="{4457FA57-250B-44AC-8655-05D46C5A3D8A}" dt="2023-05-24T09:32:15.033" v="10396" actId="1035"/>
          <ac:grpSpMkLst>
            <pc:docMk/>
            <pc:sldMk cId="4175492050" sldId="230717649"/>
            <ac:grpSpMk id="75" creationId="{739A9551-0C72-4DC9-A410-4A4DD06F6A2D}"/>
          </ac:grpSpMkLst>
        </pc:grpChg>
        <pc:grpChg chg="add mod">
          <ac:chgData name="El Bakkouri, Manal" userId="8b130982-2e3f-4164-b881-fd3a2e4b2453" providerId="ADAL" clId="{4457FA57-250B-44AC-8655-05D46C5A3D8A}" dt="2023-05-23T20:13:37.637" v="9703" actId="164"/>
          <ac:grpSpMkLst>
            <pc:docMk/>
            <pc:sldMk cId="4175492050" sldId="230717649"/>
            <ac:grpSpMk id="76" creationId="{7B482961-2525-4278-82CB-36F3BC8E5E8D}"/>
          </ac:grpSpMkLst>
        </pc:grpChg>
        <pc:grpChg chg="mod">
          <ac:chgData name="El Bakkouri, Manal" userId="8b130982-2e3f-4164-b881-fd3a2e4b2453" providerId="ADAL" clId="{4457FA57-250B-44AC-8655-05D46C5A3D8A}" dt="2023-06-12T13:32:00.181" v="15839" actId="14100"/>
          <ac:grpSpMkLst>
            <pc:docMk/>
            <pc:sldMk cId="4175492050" sldId="230717649"/>
            <ac:grpSpMk id="79" creationId="{750CA73D-5E64-4DA3-A3A3-EDDB499FE2F8}"/>
          </ac:grpSpMkLst>
        </pc:grpChg>
        <pc:grpChg chg="mod">
          <ac:chgData name="El Bakkouri, Manal" userId="8b130982-2e3f-4164-b881-fd3a2e4b2453" providerId="ADAL" clId="{4457FA57-250B-44AC-8655-05D46C5A3D8A}" dt="2023-06-12T13:32:00.181" v="15839" actId="14100"/>
          <ac:grpSpMkLst>
            <pc:docMk/>
            <pc:sldMk cId="4175492050" sldId="230717649"/>
            <ac:grpSpMk id="82" creationId="{A1D7960A-E237-4494-B415-A0184FC4BA16}"/>
          </ac:grpSpMkLst>
        </pc:grpChg>
        <pc:grpChg chg="mod">
          <ac:chgData name="El Bakkouri, Manal" userId="8b130982-2e3f-4164-b881-fd3a2e4b2453" providerId="ADAL" clId="{4457FA57-250B-44AC-8655-05D46C5A3D8A}" dt="2023-06-12T13:32:00.181" v="15839" actId="14100"/>
          <ac:grpSpMkLst>
            <pc:docMk/>
            <pc:sldMk cId="4175492050" sldId="230717649"/>
            <ac:grpSpMk id="85" creationId="{CFF478BE-4D89-455B-9CB8-AA0EDF3FE5E8}"/>
          </ac:grpSpMkLst>
        </pc:grpChg>
        <pc:grpChg chg="mod">
          <ac:chgData name="El Bakkouri, Manal" userId="8b130982-2e3f-4164-b881-fd3a2e4b2453" providerId="ADAL" clId="{4457FA57-250B-44AC-8655-05D46C5A3D8A}" dt="2023-06-12T13:32:00.181" v="15839" actId="14100"/>
          <ac:grpSpMkLst>
            <pc:docMk/>
            <pc:sldMk cId="4175492050" sldId="230717649"/>
            <ac:grpSpMk id="89" creationId="{26719C62-F907-4306-94C1-50454AF914D4}"/>
          </ac:grpSpMkLst>
        </pc:grpChg>
        <pc:grpChg chg="mod">
          <ac:chgData name="El Bakkouri, Manal" userId="8b130982-2e3f-4164-b881-fd3a2e4b2453" providerId="ADAL" clId="{4457FA57-250B-44AC-8655-05D46C5A3D8A}" dt="2023-06-12T13:32:00.181" v="15839" actId="14100"/>
          <ac:grpSpMkLst>
            <pc:docMk/>
            <pc:sldMk cId="4175492050" sldId="230717649"/>
            <ac:grpSpMk id="92" creationId="{B4C594D6-5A14-4223-8190-B8876292C24E}"/>
          </ac:grpSpMkLst>
        </pc:grpChg>
        <pc:picChg chg="add mod ord">
          <ac:chgData name="El Bakkouri, Manal" userId="8b130982-2e3f-4164-b881-fd3a2e4b2453" providerId="ADAL" clId="{4457FA57-250B-44AC-8655-05D46C5A3D8A}" dt="2023-05-26T16:06:24.797" v="14117" actId="167"/>
          <ac:picMkLst>
            <pc:docMk/>
            <pc:sldMk cId="4175492050" sldId="230717649"/>
            <ac:picMk id="93" creationId="{4351213A-AAF8-4DAE-99D8-60F8CDD0EDDF}"/>
          </ac:picMkLst>
        </pc:picChg>
        <pc:cxnChg chg="mod topLvl">
          <ac:chgData name="El Bakkouri, Manal" userId="8b130982-2e3f-4164-b881-fd3a2e4b2453" providerId="ADAL" clId="{4457FA57-250B-44AC-8655-05D46C5A3D8A}" dt="2023-05-24T09:32:15.033" v="10396" actId="1035"/>
          <ac:cxnSpMkLst>
            <pc:docMk/>
            <pc:sldMk cId="4175492050" sldId="230717649"/>
            <ac:cxnSpMk id="20" creationId="{1DB09C0F-6D72-450C-B179-D0150CA0180B}"/>
          </ac:cxnSpMkLst>
        </pc:cxnChg>
        <pc:cxnChg chg="mod topLvl">
          <ac:chgData name="El Bakkouri, Manal" userId="8b130982-2e3f-4164-b881-fd3a2e4b2453" providerId="ADAL" clId="{4457FA57-250B-44AC-8655-05D46C5A3D8A}" dt="2023-05-24T09:32:15.033" v="10396" actId="1035"/>
          <ac:cxnSpMkLst>
            <pc:docMk/>
            <pc:sldMk cId="4175492050" sldId="230717649"/>
            <ac:cxnSpMk id="23" creationId="{D6D1C963-3795-4054-8E99-FB4D2B48DA89}"/>
          </ac:cxnSpMkLst>
        </pc:cxnChg>
        <pc:cxnChg chg="mod topLvl">
          <ac:chgData name="El Bakkouri, Manal" userId="8b130982-2e3f-4164-b881-fd3a2e4b2453" providerId="ADAL" clId="{4457FA57-250B-44AC-8655-05D46C5A3D8A}" dt="2023-05-24T09:32:15.033" v="10396" actId="1035"/>
          <ac:cxnSpMkLst>
            <pc:docMk/>
            <pc:sldMk cId="4175492050" sldId="230717649"/>
            <ac:cxnSpMk id="26" creationId="{447FBF04-6B5E-4D48-82FF-4EEE9B9E3B32}"/>
          </ac:cxnSpMkLst>
        </pc:cxnChg>
        <pc:cxnChg chg="mod topLvl">
          <ac:chgData name="El Bakkouri, Manal" userId="8b130982-2e3f-4164-b881-fd3a2e4b2453" providerId="ADAL" clId="{4457FA57-250B-44AC-8655-05D46C5A3D8A}" dt="2023-05-24T09:32:15.033" v="10396" actId="1035"/>
          <ac:cxnSpMkLst>
            <pc:docMk/>
            <pc:sldMk cId="4175492050" sldId="230717649"/>
            <ac:cxnSpMk id="30" creationId="{4E022ECD-8C97-48F8-B43C-FA1DA3AEEA15}"/>
          </ac:cxnSpMkLst>
        </pc:cxnChg>
        <pc:cxnChg chg="mod topLvl">
          <ac:chgData name="El Bakkouri, Manal" userId="8b130982-2e3f-4164-b881-fd3a2e4b2453" providerId="ADAL" clId="{4457FA57-250B-44AC-8655-05D46C5A3D8A}" dt="2023-05-24T09:32:15.033" v="10396" actId="1035"/>
          <ac:cxnSpMkLst>
            <pc:docMk/>
            <pc:sldMk cId="4175492050" sldId="230717649"/>
            <ac:cxnSpMk id="49" creationId="{E07E1035-CBA2-4F0A-94CA-B5F846F0F119}"/>
          </ac:cxnSpMkLst>
        </pc:cxnChg>
        <pc:cxnChg chg="mod topLvl">
          <ac:chgData name="El Bakkouri, Manal" userId="8b130982-2e3f-4164-b881-fd3a2e4b2453" providerId="ADAL" clId="{4457FA57-250B-44AC-8655-05D46C5A3D8A}" dt="2023-05-24T09:32:15.033" v="10396" actId="1035"/>
          <ac:cxnSpMkLst>
            <pc:docMk/>
            <pc:sldMk cId="4175492050" sldId="230717649"/>
            <ac:cxnSpMk id="50" creationId="{0D18A310-7263-4BB2-89A9-1E720B7B8BA2}"/>
          </ac:cxnSpMkLst>
        </pc:cxnChg>
        <pc:cxnChg chg="mod topLvl">
          <ac:chgData name="El Bakkouri, Manal" userId="8b130982-2e3f-4164-b881-fd3a2e4b2453" providerId="ADAL" clId="{4457FA57-250B-44AC-8655-05D46C5A3D8A}" dt="2023-05-24T09:32:15.033" v="10396" actId="1035"/>
          <ac:cxnSpMkLst>
            <pc:docMk/>
            <pc:sldMk cId="4175492050" sldId="230717649"/>
            <ac:cxnSpMk id="51" creationId="{F85F11EE-9C26-4E41-A068-4AFB8B9B26F6}"/>
          </ac:cxnSpMkLst>
        </pc:cxnChg>
        <pc:cxnChg chg="mod topLvl">
          <ac:chgData name="El Bakkouri, Manal" userId="8b130982-2e3f-4164-b881-fd3a2e4b2453" providerId="ADAL" clId="{4457FA57-250B-44AC-8655-05D46C5A3D8A}" dt="2023-05-24T09:32:15.033" v="10396" actId="1035"/>
          <ac:cxnSpMkLst>
            <pc:docMk/>
            <pc:sldMk cId="4175492050" sldId="230717649"/>
            <ac:cxnSpMk id="52" creationId="{88D96CCE-401A-4520-90EC-B88DF0E96158}"/>
          </ac:cxnSpMkLst>
        </pc:cxnChg>
        <pc:cxnChg chg="mod topLvl">
          <ac:chgData name="El Bakkouri, Manal" userId="8b130982-2e3f-4164-b881-fd3a2e4b2453" providerId="ADAL" clId="{4457FA57-250B-44AC-8655-05D46C5A3D8A}" dt="2023-05-24T09:32:15.033" v="10396" actId="1035"/>
          <ac:cxnSpMkLst>
            <pc:docMk/>
            <pc:sldMk cId="4175492050" sldId="230717649"/>
            <ac:cxnSpMk id="53" creationId="{B069B0FE-3550-483B-B978-76F128614972}"/>
          </ac:cxnSpMkLst>
        </pc:cxnChg>
        <pc:cxnChg chg="mod topLvl">
          <ac:chgData name="El Bakkouri, Manal" userId="8b130982-2e3f-4164-b881-fd3a2e4b2453" providerId="ADAL" clId="{4457FA57-250B-44AC-8655-05D46C5A3D8A}" dt="2023-05-24T09:32:15.033" v="10396" actId="1035"/>
          <ac:cxnSpMkLst>
            <pc:docMk/>
            <pc:sldMk cId="4175492050" sldId="230717649"/>
            <ac:cxnSpMk id="54" creationId="{7F96903F-FA50-4700-B508-47AD9D5AD72B}"/>
          </ac:cxnSpMkLst>
        </pc:cxnChg>
        <pc:cxnChg chg="mod topLvl">
          <ac:chgData name="El Bakkouri, Manal" userId="8b130982-2e3f-4164-b881-fd3a2e4b2453" providerId="ADAL" clId="{4457FA57-250B-44AC-8655-05D46C5A3D8A}" dt="2023-05-24T09:32:15.033" v="10396" actId="1035"/>
          <ac:cxnSpMkLst>
            <pc:docMk/>
            <pc:sldMk cId="4175492050" sldId="230717649"/>
            <ac:cxnSpMk id="55" creationId="{62E49A94-61E8-442B-8DF6-0AE417EC1463}"/>
          </ac:cxnSpMkLst>
        </pc:cxnChg>
        <pc:cxnChg chg="mod topLvl">
          <ac:chgData name="El Bakkouri, Manal" userId="8b130982-2e3f-4164-b881-fd3a2e4b2453" providerId="ADAL" clId="{4457FA57-250B-44AC-8655-05D46C5A3D8A}" dt="2023-05-24T09:32:15.033" v="10396" actId="1035"/>
          <ac:cxnSpMkLst>
            <pc:docMk/>
            <pc:sldMk cId="4175492050" sldId="230717649"/>
            <ac:cxnSpMk id="56" creationId="{5F020F7E-3B1D-4663-BE88-8C46A14C262B}"/>
          </ac:cxnSpMkLst>
        </pc:cxnChg>
        <pc:cxnChg chg="mod topLvl">
          <ac:chgData name="El Bakkouri, Manal" userId="8b130982-2e3f-4164-b881-fd3a2e4b2453" providerId="ADAL" clId="{4457FA57-250B-44AC-8655-05D46C5A3D8A}" dt="2023-05-24T09:32:15.033" v="10396" actId="1035"/>
          <ac:cxnSpMkLst>
            <pc:docMk/>
            <pc:sldMk cId="4175492050" sldId="230717649"/>
            <ac:cxnSpMk id="65" creationId="{BEF0CACB-B2C6-4DFB-A4BB-5C70BB155C26}"/>
          </ac:cxnSpMkLst>
        </pc:cxnChg>
        <pc:cxnChg chg="mod topLvl">
          <ac:chgData name="El Bakkouri, Manal" userId="8b130982-2e3f-4164-b881-fd3a2e4b2453" providerId="ADAL" clId="{4457FA57-250B-44AC-8655-05D46C5A3D8A}" dt="2023-05-24T09:32:15.033" v="10396" actId="1035"/>
          <ac:cxnSpMkLst>
            <pc:docMk/>
            <pc:sldMk cId="4175492050" sldId="230717649"/>
            <ac:cxnSpMk id="66" creationId="{AC7A622D-2AFE-4B15-9A3D-24E9EB4FAC45}"/>
          </ac:cxnSpMkLst>
        </pc:cxnChg>
        <pc:cxnChg chg="mod topLvl">
          <ac:chgData name="El Bakkouri, Manal" userId="8b130982-2e3f-4164-b881-fd3a2e4b2453" providerId="ADAL" clId="{4457FA57-250B-44AC-8655-05D46C5A3D8A}" dt="2023-05-24T09:32:15.033" v="10396" actId="1035"/>
          <ac:cxnSpMkLst>
            <pc:docMk/>
            <pc:sldMk cId="4175492050" sldId="230717649"/>
            <ac:cxnSpMk id="67" creationId="{4FBE30F5-DE1A-44FF-817C-7C7DD6B6ABE5}"/>
          </ac:cxnSpMkLst>
        </pc:cxnChg>
        <pc:cxnChg chg="mod topLvl">
          <ac:chgData name="El Bakkouri, Manal" userId="8b130982-2e3f-4164-b881-fd3a2e4b2453" providerId="ADAL" clId="{4457FA57-250B-44AC-8655-05D46C5A3D8A}" dt="2023-05-24T09:32:15.033" v="10396" actId="1035"/>
          <ac:cxnSpMkLst>
            <pc:docMk/>
            <pc:sldMk cId="4175492050" sldId="230717649"/>
            <ac:cxnSpMk id="68" creationId="{0023611E-9294-42C7-BB45-B30B50291FE6}"/>
          </ac:cxnSpMkLst>
        </pc:cxnChg>
      </pc:sldChg>
      <pc:sldChg chg="modSp add del mod modTransition">
        <pc:chgData name="El Bakkouri, Manal" userId="8b130982-2e3f-4164-b881-fd3a2e4b2453" providerId="ADAL" clId="{4457FA57-250B-44AC-8655-05D46C5A3D8A}" dt="2023-05-26T16:03:19.595" v="14095" actId="47"/>
        <pc:sldMkLst>
          <pc:docMk/>
          <pc:sldMk cId="1403432346" sldId="230717650"/>
        </pc:sldMkLst>
        <pc:spChg chg="mod ord">
          <ac:chgData name="El Bakkouri, Manal" userId="8b130982-2e3f-4164-b881-fd3a2e4b2453" providerId="ADAL" clId="{4457FA57-250B-44AC-8655-05D46C5A3D8A}" dt="2023-05-23T20:16:13.046" v="9929" actId="1038"/>
          <ac:spMkLst>
            <pc:docMk/>
            <pc:sldMk cId="1403432346" sldId="230717650"/>
            <ac:spMk id="3" creationId="{BD8A55B4-B4F6-4B30-BC80-A479E08DF4C9}"/>
          </ac:spMkLst>
        </pc:spChg>
        <pc:spChg chg="mod">
          <ac:chgData name="El Bakkouri, Manal" userId="8b130982-2e3f-4164-b881-fd3a2e4b2453" providerId="ADAL" clId="{4457FA57-250B-44AC-8655-05D46C5A3D8A}" dt="2023-05-23T20:14:59.451" v="9722" actId="403"/>
          <ac:spMkLst>
            <pc:docMk/>
            <pc:sldMk cId="1403432346" sldId="230717650"/>
            <ac:spMk id="13" creationId="{114F29FB-8199-4271-8413-57B0ACE5DE12}"/>
          </ac:spMkLst>
        </pc:spChg>
        <pc:spChg chg="mod">
          <ac:chgData name="El Bakkouri, Manal" userId="8b130982-2e3f-4164-b881-fd3a2e4b2453" providerId="ADAL" clId="{4457FA57-250B-44AC-8655-05D46C5A3D8A}" dt="2023-05-23T20:14:59.451" v="9722" actId="403"/>
          <ac:spMkLst>
            <pc:docMk/>
            <pc:sldMk cId="1403432346" sldId="230717650"/>
            <ac:spMk id="14" creationId="{EF785489-4E84-41CC-8B52-19810BE53C71}"/>
          </ac:spMkLst>
        </pc:spChg>
        <pc:spChg chg="mod">
          <ac:chgData name="El Bakkouri, Manal" userId="8b130982-2e3f-4164-b881-fd3a2e4b2453" providerId="ADAL" clId="{4457FA57-250B-44AC-8655-05D46C5A3D8A}" dt="2023-05-24T09:33:36.774" v="10409" actId="20577"/>
          <ac:spMkLst>
            <pc:docMk/>
            <pc:sldMk cId="1403432346" sldId="230717650"/>
            <ac:spMk id="19" creationId="{4B3B7FDF-BAF1-492C-BEF5-B15E68EA58B2}"/>
          </ac:spMkLst>
        </pc:spChg>
        <pc:spChg chg="mod">
          <ac:chgData name="El Bakkouri, Manal" userId="8b130982-2e3f-4164-b881-fd3a2e4b2453" providerId="ADAL" clId="{4457FA57-250B-44AC-8655-05D46C5A3D8A}" dt="2023-05-23T20:15:29.045" v="9730" actId="403"/>
          <ac:spMkLst>
            <pc:docMk/>
            <pc:sldMk cId="1403432346" sldId="230717650"/>
            <ac:spMk id="20" creationId="{E7FB91E8-FAB8-4D92-88D4-3AD2415F3C8D}"/>
          </ac:spMkLst>
        </pc:spChg>
        <pc:grpChg chg="mod ord">
          <ac:chgData name="El Bakkouri, Manal" userId="8b130982-2e3f-4164-b881-fd3a2e4b2453" providerId="ADAL" clId="{4457FA57-250B-44AC-8655-05D46C5A3D8A}" dt="2023-05-23T20:15:48.063" v="9735" actId="171"/>
          <ac:grpSpMkLst>
            <pc:docMk/>
            <pc:sldMk cId="1403432346" sldId="230717650"/>
            <ac:grpSpMk id="12" creationId="{EB575078-816F-4FBE-AD85-C5EB1FC5D3B1}"/>
          </ac:grpSpMkLst>
        </pc:grpChg>
        <pc:grpChg chg="mod ord">
          <ac:chgData name="El Bakkouri, Manal" userId="8b130982-2e3f-4164-b881-fd3a2e4b2453" providerId="ADAL" clId="{4457FA57-250B-44AC-8655-05D46C5A3D8A}" dt="2023-05-23T20:16:05.286" v="9837" actId="1037"/>
          <ac:grpSpMkLst>
            <pc:docMk/>
            <pc:sldMk cId="1403432346" sldId="230717650"/>
            <ac:grpSpMk id="18" creationId="{B01E8A97-E976-4717-85FD-668EE62A7552}"/>
          </ac:grpSpMkLst>
        </pc:grpChg>
      </pc:sldChg>
      <pc:sldChg chg="addSp delSp modSp new mod modTransition delAnim modAnim">
        <pc:chgData name="El Bakkouri, Manal" userId="8b130982-2e3f-4164-b881-fd3a2e4b2453" providerId="ADAL" clId="{4457FA57-250B-44AC-8655-05D46C5A3D8A}" dt="2023-06-12T13:32:24.910" v="15842" actId="14100"/>
        <pc:sldMkLst>
          <pc:docMk/>
          <pc:sldMk cId="3069625997" sldId="230717651"/>
        </pc:sldMkLst>
        <pc:spChg chg="del">
          <ac:chgData name="El Bakkouri, Manal" userId="8b130982-2e3f-4164-b881-fd3a2e4b2453" providerId="ADAL" clId="{4457FA57-250B-44AC-8655-05D46C5A3D8A}" dt="2023-05-24T08:34:03.510" v="9933" actId="478"/>
          <ac:spMkLst>
            <pc:docMk/>
            <pc:sldMk cId="3069625997" sldId="230717651"/>
            <ac:spMk id="2" creationId="{6EB157F3-A2E3-41E9-9D49-A8083D57AAE6}"/>
          </ac:spMkLst>
        </pc:spChg>
        <pc:spChg chg="del">
          <ac:chgData name="El Bakkouri, Manal" userId="8b130982-2e3f-4164-b881-fd3a2e4b2453" providerId="ADAL" clId="{4457FA57-250B-44AC-8655-05D46C5A3D8A}" dt="2023-05-24T08:34:02.079" v="9932" actId="478"/>
          <ac:spMkLst>
            <pc:docMk/>
            <pc:sldMk cId="3069625997" sldId="230717651"/>
            <ac:spMk id="3" creationId="{7A89F23E-302D-42BD-B252-146F691E8DA9}"/>
          </ac:spMkLst>
        </pc:spChg>
        <pc:spChg chg="del">
          <ac:chgData name="El Bakkouri, Manal" userId="8b130982-2e3f-4164-b881-fd3a2e4b2453" providerId="ADAL" clId="{4457FA57-250B-44AC-8655-05D46C5A3D8A}" dt="2023-05-24T08:34:04.485" v="9934" actId="478"/>
          <ac:spMkLst>
            <pc:docMk/>
            <pc:sldMk cId="3069625997" sldId="230717651"/>
            <ac:spMk id="4" creationId="{52638491-FBB6-4DC9-A82B-BB5D54C2F9AB}"/>
          </ac:spMkLst>
        </pc:spChg>
        <pc:spChg chg="add del mod">
          <ac:chgData name="El Bakkouri, Manal" userId="8b130982-2e3f-4164-b881-fd3a2e4b2453" providerId="ADAL" clId="{4457FA57-250B-44AC-8655-05D46C5A3D8A}" dt="2023-05-24T08:38:54.879" v="10159" actId="478"/>
          <ac:spMkLst>
            <pc:docMk/>
            <pc:sldMk cId="3069625997" sldId="230717651"/>
            <ac:spMk id="6" creationId="{F1936869-8155-4F9B-B3AB-65B62D57B505}"/>
          </ac:spMkLst>
        </pc:spChg>
        <pc:spChg chg="add mod">
          <ac:chgData name="El Bakkouri, Manal" userId="8b130982-2e3f-4164-b881-fd3a2e4b2453" providerId="ADAL" clId="{4457FA57-250B-44AC-8655-05D46C5A3D8A}" dt="2023-05-24T16:47:41.925" v="13245" actId="20577"/>
          <ac:spMkLst>
            <pc:docMk/>
            <pc:sldMk cId="3069625997" sldId="230717651"/>
            <ac:spMk id="7" creationId="{E65646BC-C7E1-4C57-BE54-B6B004694A38}"/>
          </ac:spMkLst>
        </pc:spChg>
        <pc:spChg chg="add mod">
          <ac:chgData name="El Bakkouri, Manal" userId="8b130982-2e3f-4164-b881-fd3a2e4b2453" providerId="ADAL" clId="{4457FA57-250B-44AC-8655-05D46C5A3D8A}" dt="2023-05-24T08:36:58.696" v="10140" actId="207"/>
          <ac:spMkLst>
            <pc:docMk/>
            <pc:sldMk cId="3069625997" sldId="230717651"/>
            <ac:spMk id="8" creationId="{B4ADC545-ED7A-42CD-88BB-D1DF2709C3EB}"/>
          </ac:spMkLst>
        </pc:spChg>
        <pc:spChg chg="add mod">
          <ac:chgData name="El Bakkouri, Manal" userId="8b130982-2e3f-4164-b881-fd3a2e4b2453" providerId="ADAL" clId="{4457FA57-250B-44AC-8655-05D46C5A3D8A}" dt="2023-05-24T08:37:00.549" v="10141" actId="207"/>
          <ac:spMkLst>
            <pc:docMk/>
            <pc:sldMk cId="3069625997" sldId="230717651"/>
            <ac:spMk id="9" creationId="{639B10C4-5D9D-4A80-805B-E319BCB28C66}"/>
          </ac:spMkLst>
        </pc:spChg>
        <pc:spChg chg="add mod">
          <ac:chgData name="El Bakkouri, Manal" userId="8b130982-2e3f-4164-b881-fd3a2e4b2453" providerId="ADAL" clId="{4457FA57-250B-44AC-8655-05D46C5A3D8A}" dt="2023-05-24T08:37:05.005" v="10143" actId="207"/>
          <ac:spMkLst>
            <pc:docMk/>
            <pc:sldMk cId="3069625997" sldId="230717651"/>
            <ac:spMk id="10" creationId="{F01039EA-CF76-4C76-BFAF-9770AA13F8A9}"/>
          </ac:spMkLst>
        </pc:spChg>
        <pc:spChg chg="add mod">
          <ac:chgData name="El Bakkouri, Manal" userId="8b130982-2e3f-4164-b881-fd3a2e4b2453" providerId="ADAL" clId="{4457FA57-250B-44AC-8655-05D46C5A3D8A}" dt="2023-05-24T08:38:23.336" v="10153" actId="12788"/>
          <ac:spMkLst>
            <pc:docMk/>
            <pc:sldMk cId="3069625997" sldId="230717651"/>
            <ac:spMk id="11" creationId="{A9FB814F-61FA-4106-9A25-5628E857C2D2}"/>
          </ac:spMkLst>
        </pc:spChg>
        <pc:spChg chg="add mod">
          <ac:chgData name="El Bakkouri, Manal" userId="8b130982-2e3f-4164-b881-fd3a2e4b2453" providerId="ADAL" clId="{4457FA57-250B-44AC-8655-05D46C5A3D8A}" dt="2023-05-24T08:38:37.977" v="10156" actId="12788"/>
          <ac:spMkLst>
            <pc:docMk/>
            <pc:sldMk cId="3069625997" sldId="230717651"/>
            <ac:spMk id="12" creationId="{A2F08A38-7F4B-4573-BA7C-C76055022F52}"/>
          </ac:spMkLst>
        </pc:spChg>
        <pc:spChg chg="add mod">
          <ac:chgData name="El Bakkouri, Manal" userId="8b130982-2e3f-4164-b881-fd3a2e4b2453" providerId="ADAL" clId="{4457FA57-250B-44AC-8655-05D46C5A3D8A}" dt="2023-05-24T08:38:51.442" v="10158" actId="12788"/>
          <ac:spMkLst>
            <pc:docMk/>
            <pc:sldMk cId="3069625997" sldId="230717651"/>
            <ac:spMk id="13" creationId="{398D9F4E-D9AB-4C7D-B1EF-C567310C402E}"/>
          </ac:spMkLst>
        </pc:spChg>
        <pc:spChg chg="add mod">
          <ac:chgData name="El Bakkouri, Manal" userId="8b130982-2e3f-4164-b881-fd3a2e4b2453" providerId="ADAL" clId="{4457FA57-250B-44AC-8655-05D46C5A3D8A}" dt="2023-05-24T08:38:23.336" v="10153" actId="12788"/>
          <ac:spMkLst>
            <pc:docMk/>
            <pc:sldMk cId="3069625997" sldId="230717651"/>
            <ac:spMk id="14" creationId="{F1DA8FF4-6946-415C-B4BF-F229B6D25A07}"/>
          </ac:spMkLst>
        </pc:spChg>
        <pc:spChg chg="add mod">
          <ac:chgData name="El Bakkouri, Manal" userId="8b130982-2e3f-4164-b881-fd3a2e4b2453" providerId="ADAL" clId="{4457FA57-250B-44AC-8655-05D46C5A3D8A}" dt="2023-05-24T08:38:51.442" v="10158" actId="12788"/>
          <ac:spMkLst>
            <pc:docMk/>
            <pc:sldMk cId="3069625997" sldId="230717651"/>
            <ac:spMk id="15" creationId="{302A369F-8B36-4969-89B3-D101C1B06C8A}"/>
          </ac:spMkLst>
        </pc:spChg>
        <pc:spChg chg="add mod">
          <ac:chgData name="El Bakkouri, Manal" userId="8b130982-2e3f-4164-b881-fd3a2e4b2453" providerId="ADAL" clId="{4457FA57-250B-44AC-8655-05D46C5A3D8A}" dt="2023-05-24T08:38:37.977" v="10156" actId="12788"/>
          <ac:spMkLst>
            <pc:docMk/>
            <pc:sldMk cId="3069625997" sldId="230717651"/>
            <ac:spMk id="16" creationId="{AD636E5F-BB95-4C8E-9C82-9A5E48C90264}"/>
          </ac:spMkLst>
        </pc:spChg>
        <pc:spChg chg="add del mod">
          <ac:chgData name="El Bakkouri, Manal" userId="8b130982-2e3f-4164-b881-fd3a2e4b2453" providerId="ADAL" clId="{4457FA57-250B-44AC-8655-05D46C5A3D8A}" dt="2023-05-24T09:45:39.541" v="10588" actId="478"/>
          <ac:spMkLst>
            <pc:docMk/>
            <pc:sldMk cId="3069625997" sldId="230717651"/>
            <ac:spMk id="17" creationId="{740D34B8-74C5-4764-A8AB-723ACB7EFDB2}"/>
          </ac:spMkLst>
        </pc:spChg>
        <pc:spChg chg="add del mod">
          <ac:chgData name="El Bakkouri, Manal" userId="8b130982-2e3f-4164-b881-fd3a2e4b2453" providerId="ADAL" clId="{4457FA57-250B-44AC-8655-05D46C5A3D8A}" dt="2023-05-24T09:45:39.541" v="10588" actId="478"/>
          <ac:spMkLst>
            <pc:docMk/>
            <pc:sldMk cId="3069625997" sldId="230717651"/>
            <ac:spMk id="18" creationId="{3A095A74-3C1C-403C-81D2-8E08FB145CF1}"/>
          </ac:spMkLst>
        </pc:spChg>
        <pc:spChg chg="add del mod">
          <ac:chgData name="El Bakkouri, Manal" userId="8b130982-2e3f-4164-b881-fd3a2e4b2453" providerId="ADAL" clId="{4457FA57-250B-44AC-8655-05D46C5A3D8A}" dt="2023-05-24T09:45:39.541" v="10588" actId="478"/>
          <ac:spMkLst>
            <pc:docMk/>
            <pc:sldMk cId="3069625997" sldId="230717651"/>
            <ac:spMk id="19" creationId="{85305397-D8FD-405C-B2E6-F3DF4EBCCEC1}"/>
          </ac:spMkLst>
        </pc:spChg>
        <pc:spChg chg="add del mod">
          <ac:chgData name="El Bakkouri, Manal" userId="8b130982-2e3f-4164-b881-fd3a2e4b2453" providerId="ADAL" clId="{4457FA57-250B-44AC-8655-05D46C5A3D8A}" dt="2023-05-24T09:45:39.541" v="10588" actId="478"/>
          <ac:spMkLst>
            <pc:docMk/>
            <pc:sldMk cId="3069625997" sldId="230717651"/>
            <ac:spMk id="20" creationId="{0073E154-E3F4-4040-895C-43F3019E627A}"/>
          </ac:spMkLst>
        </pc:spChg>
        <pc:spChg chg="add del mod">
          <ac:chgData name="El Bakkouri, Manal" userId="8b130982-2e3f-4164-b881-fd3a2e4b2453" providerId="ADAL" clId="{4457FA57-250B-44AC-8655-05D46C5A3D8A}" dt="2023-05-24T09:45:39.541" v="10588" actId="478"/>
          <ac:spMkLst>
            <pc:docMk/>
            <pc:sldMk cId="3069625997" sldId="230717651"/>
            <ac:spMk id="21" creationId="{04CEE14F-EA1D-4FBB-9366-628893A8F682}"/>
          </ac:spMkLst>
        </pc:spChg>
        <pc:spChg chg="add del mod">
          <ac:chgData name="El Bakkouri, Manal" userId="8b130982-2e3f-4164-b881-fd3a2e4b2453" providerId="ADAL" clId="{4457FA57-250B-44AC-8655-05D46C5A3D8A}" dt="2023-05-24T09:45:39.541" v="10588" actId="478"/>
          <ac:spMkLst>
            <pc:docMk/>
            <pc:sldMk cId="3069625997" sldId="230717651"/>
            <ac:spMk id="22" creationId="{795AED67-1263-4CC2-BE4C-A4D931211B92}"/>
          </ac:spMkLst>
        </pc:spChg>
        <pc:spChg chg="mod">
          <ac:chgData name="El Bakkouri, Manal" userId="8b130982-2e3f-4164-b881-fd3a2e4b2453" providerId="ADAL" clId="{4457FA57-250B-44AC-8655-05D46C5A3D8A}" dt="2023-05-24T09:45:37.386" v="10587" actId="1076"/>
          <ac:spMkLst>
            <pc:docMk/>
            <pc:sldMk cId="3069625997" sldId="230717651"/>
            <ac:spMk id="24" creationId="{6D76C40B-6984-43C4-8C5D-04274C5BC51A}"/>
          </ac:spMkLst>
        </pc:spChg>
        <pc:spChg chg="mod">
          <ac:chgData name="El Bakkouri, Manal" userId="8b130982-2e3f-4164-b881-fd3a2e4b2453" providerId="ADAL" clId="{4457FA57-250B-44AC-8655-05D46C5A3D8A}" dt="2023-05-24T09:45:37.386" v="10587" actId="1076"/>
          <ac:spMkLst>
            <pc:docMk/>
            <pc:sldMk cId="3069625997" sldId="230717651"/>
            <ac:spMk id="26" creationId="{0D572383-F939-4D7B-ADE9-32DECBB6D59F}"/>
          </ac:spMkLst>
        </pc:spChg>
        <pc:spChg chg="mod">
          <ac:chgData name="El Bakkouri, Manal" userId="8b130982-2e3f-4164-b881-fd3a2e4b2453" providerId="ADAL" clId="{4457FA57-250B-44AC-8655-05D46C5A3D8A}" dt="2023-05-24T09:45:37.386" v="10587" actId="1076"/>
          <ac:spMkLst>
            <pc:docMk/>
            <pc:sldMk cId="3069625997" sldId="230717651"/>
            <ac:spMk id="27" creationId="{8B185FF2-06B6-41A3-A34F-F660DFB9B3C4}"/>
          </ac:spMkLst>
        </pc:spChg>
        <pc:spChg chg="add del mod">
          <ac:chgData name="El Bakkouri, Manal" userId="8b130982-2e3f-4164-b881-fd3a2e4b2453" providerId="ADAL" clId="{4457FA57-250B-44AC-8655-05D46C5A3D8A}" dt="2023-05-24T09:45:39.541" v="10588" actId="478"/>
          <ac:spMkLst>
            <pc:docMk/>
            <pc:sldMk cId="3069625997" sldId="230717651"/>
            <ac:spMk id="28" creationId="{E714DBA4-39EF-40B8-88CA-361CB4FC34BD}"/>
          </ac:spMkLst>
        </pc:spChg>
        <pc:spChg chg="add del mod">
          <ac:chgData name="El Bakkouri, Manal" userId="8b130982-2e3f-4164-b881-fd3a2e4b2453" providerId="ADAL" clId="{4457FA57-250B-44AC-8655-05D46C5A3D8A}" dt="2023-05-24T09:45:39.541" v="10588" actId="478"/>
          <ac:spMkLst>
            <pc:docMk/>
            <pc:sldMk cId="3069625997" sldId="230717651"/>
            <ac:spMk id="29" creationId="{B7A164CD-11D7-4E34-920D-FFCF8F1F1C41}"/>
          </ac:spMkLst>
        </pc:spChg>
        <pc:spChg chg="add del mod">
          <ac:chgData name="El Bakkouri, Manal" userId="8b130982-2e3f-4164-b881-fd3a2e4b2453" providerId="ADAL" clId="{4457FA57-250B-44AC-8655-05D46C5A3D8A}" dt="2023-05-24T09:45:39.541" v="10588" actId="478"/>
          <ac:spMkLst>
            <pc:docMk/>
            <pc:sldMk cId="3069625997" sldId="230717651"/>
            <ac:spMk id="30" creationId="{43CD6664-99C3-4B04-9C64-FC474C202BB0}"/>
          </ac:spMkLst>
        </pc:spChg>
        <pc:spChg chg="add del mod">
          <ac:chgData name="El Bakkouri, Manal" userId="8b130982-2e3f-4164-b881-fd3a2e4b2453" providerId="ADAL" clId="{4457FA57-250B-44AC-8655-05D46C5A3D8A}" dt="2023-05-24T09:45:39.541" v="10588" actId="478"/>
          <ac:spMkLst>
            <pc:docMk/>
            <pc:sldMk cId="3069625997" sldId="230717651"/>
            <ac:spMk id="31" creationId="{89FB4419-8C17-403D-A3D3-65E398C06F5A}"/>
          </ac:spMkLst>
        </pc:spChg>
        <pc:spChg chg="add del mod">
          <ac:chgData name="El Bakkouri, Manal" userId="8b130982-2e3f-4164-b881-fd3a2e4b2453" providerId="ADAL" clId="{4457FA57-250B-44AC-8655-05D46C5A3D8A}" dt="2023-05-24T09:45:39.541" v="10588" actId="478"/>
          <ac:spMkLst>
            <pc:docMk/>
            <pc:sldMk cId="3069625997" sldId="230717651"/>
            <ac:spMk id="32" creationId="{564DFE79-9E86-4F3B-9476-0584B55BA579}"/>
          </ac:spMkLst>
        </pc:spChg>
        <pc:spChg chg="mod">
          <ac:chgData name="El Bakkouri, Manal" userId="8b130982-2e3f-4164-b881-fd3a2e4b2453" providerId="ADAL" clId="{4457FA57-250B-44AC-8655-05D46C5A3D8A}" dt="2023-05-24T09:45:37.386" v="10587" actId="1076"/>
          <ac:spMkLst>
            <pc:docMk/>
            <pc:sldMk cId="3069625997" sldId="230717651"/>
            <ac:spMk id="38" creationId="{C357B46C-D1E9-493C-9C47-3D6C59B73BC7}"/>
          </ac:spMkLst>
        </pc:spChg>
        <pc:spChg chg="mod">
          <ac:chgData name="El Bakkouri, Manal" userId="8b130982-2e3f-4164-b881-fd3a2e4b2453" providerId="ADAL" clId="{4457FA57-250B-44AC-8655-05D46C5A3D8A}" dt="2023-05-24T09:45:37.386" v="10587" actId="1076"/>
          <ac:spMkLst>
            <pc:docMk/>
            <pc:sldMk cId="3069625997" sldId="230717651"/>
            <ac:spMk id="39" creationId="{6F93EE16-D20A-4783-9AC8-460A1E4FFDFE}"/>
          </ac:spMkLst>
        </pc:spChg>
        <pc:spChg chg="mod">
          <ac:chgData name="El Bakkouri, Manal" userId="8b130982-2e3f-4164-b881-fd3a2e4b2453" providerId="ADAL" clId="{4457FA57-250B-44AC-8655-05D46C5A3D8A}" dt="2023-05-24T09:45:37.386" v="10587" actId="1076"/>
          <ac:spMkLst>
            <pc:docMk/>
            <pc:sldMk cId="3069625997" sldId="230717651"/>
            <ac:spMk id="40" creationId="{12901A46-C3AD-476C-9439-EC247E43F2A9}"/>
          </ac:spMkLst>
        </pc:spChg>
        <pc:spChg chg="mod">
          <ac:chgData name="El Bakkouri, Manal" userId="8b130982-2e3f-4164-b881-fd3a2e4b2453" providerId="ADAL" clId="{4457FA57-250B-44AC-8655-05D46C5A3D8A}" dt="2023-05-24T09:45:37.386" v="10587" actId="1076"/>
          <ac:spMkLst>
            <pc:docMk/>
            <pc:sldMk cId="3069625997" sldId="230717651"/>
            <ac:spMk id="41" creationId="{81774AB4-171D-4455-9FF5-DB4BDCE209EE}"/>
          </ac:spMkLst>
        </pc:spChg>
        <pc:spChg chg="mod">
          <ac:chgData name="El Bakkouri, Manal" userId="8b130982-2e3f-4164-b881-fd3a2e4b2453" providerId="ADAL" clId="{4457FA57-250B-44AC-8655-05D46C5A3D8A}" dt="2023-05-24T09:45:37.386" v="10587" actId="1076"/>
          <ac:spMkLst>
            <pc:docMk/>
            <pc:sldMk cId="3069625997" sldId="230717651"/>
            <ac:spMk id="42" creationId="{31771F81-1662-4295-802A-DC3A582358B7}"/>
          </ac:spMkLst>
        </pc:spChg>
        <pc:spChg chg="mod">
          <ac:chgData name="El Bakkouri, Manal" userId="8b130982-2e3f-4164-b881-fd3a2e4b2453" providerId="ADAL" clId="{4457FA57-250B-44AC-8655-05D46C5A3D8A}" dt="2023-05-24T09:45:37.386" v="10587" actId="1076"/>
          <ac:spMkLst>
            <pc:docMk/>
            <pc:sldMk cId="3069625997" sldId="230717651"/>
            <ac:spMk id="43" creationId="{FECB1C46-A5A2-4309-917F-E6FE20034C65}"/>
          </ac:spMkLst>
        </pc:spChg>
        <pc:spChg chg="mod">
          <ac:chgData name="El Bakkouri, Manal" userId="8b130982-2e3f-4164-b881-fd3a2e4b2453" providerId="ADAL" clId="{4457FA57-250B-44AC-8655-05D46C5A3D8A}" dt="2023-05-24T09:45:37.386" v="10587" actId="1076"/>
          <ac:spMkLst>
            <pc:docMk/>
            <pc:sldMk cId="3069625997" sldId="230717651"/>
            <ac:spMk id="44" creationId="{E74704CD-84C3-4B13-8147-63D89C051E41}"/>
          </ac:spMkLst>
        </pc:spChg>
        <pc:spChg chg="mod">
          <ac:chgData name="El Bakkouri, Manal" userId="8b130982-2e3f-4164-b881-fd3a2e4b2453" providerId="ADAL" clId="{4457FA57-250B-44AC-8655-05D46C5A3D8A}" dt="2023-05-24T09:45:37.386" v="10587" actId="1076"/>
          <ac:spMkLst>
            <pc:docMk/>
            <pc:sldMk cId="3069625997" sldId="230717651"/>
            <ac:spMk id="45" creationId="{A2D58E67-25E3-43F8-9450-77797AF9F1CE}"/>
          </ac:spMkLst>
        </pc:spChg>
        <pc:spChg chg="mod">
          <ac:chgData name="El Bakkouri, Manal" userId="8b130982-2e3f-4164-b881-fd3a2e4b2453" providerId="ADAL" clId="{4457FA57-250B-44AC-8655-05D46C5A3D8A}" dt="2023-05-24T09:45:37.386" v="10587" actId="1076"/>
          <ac:spMkLst>
            <pc:docMk/>
            <pc:sldMk cId="3069625997" sldId="230717651"/>
            <ac:spMk id="46" creationId="{F4A53584-4540-481B-9D7E-3C62E5D4E222}"/>
          </ac:spMkLst>
        </pc:spChg>
        <pc:spChg chg="mod">
          <ac:chgData name="El Bakkouri, Manal" userId="8b130982-2e3f-4164-b881-fd3a2e4b2453" providerId="ADAL" clId="{4457FA57-250B-44AC-8655-05D46C5A3D8A}" dt="2023-05-24T09:45:37.386" v="10587" actId="1076"/>
          <ac:spMkLst>
            <pc:docMk/>
            <pc:sldMk cId="3069625997" sldId="230717651"/>
            <ac:spMk id="47" creationId="{A113AA08-FD39-4B56-A200-9C22C66A3EC1}"/>
          </ac:spMkLst>
        </pc:spChg>
        <pc:spChg chg="mod">
          <ac:chgData name="El Bakkouri, Manal" userId="8b130982-2e3f-4164-b881-fd3a2e4b2453" providerId="ADAL" clId="{4457FA57-250B-44AC-8655-05D46C5A3D8A}" dt="2023-05-24T09:45:37.386" v="10587" actId="1076"/>
          <ac:spMkLst>
            <pc:docMk/>
            <pc:sldMk cId="3069625997" sldId="230717651"/>
            <ac:spMk id="48" creationId="{A3B51463-1038-49BA-BE8A-382827316406}"/>
          </ac:spMkLst>
        </pc:spChg>
        <pc:spChg chg="mod">
          <ac:chgData name="El Bakkouri, Manal" userId="8b130982-2e3f-4164-b881-fd3a2e4b2453" providerId="ADAL" clId="{4457FA57-250B-44AC-8655-05D46C5A3D8A}" dt="2023-05-24T09:45:37.386" v="10587" actId="1076"/>
          <ac:spMkLst>
            <pc:docMk/>
            <pc:sldMk cId="3069625997" sldId="230717651"/>
            <ac:spMk id="49" creationId="{DD984D24-1DE3-45CB-8C50-2B2EFC12C9EF}"/>
          </ac:spMkLst>
        </pc:spChg>
        <pc:spChg chg="mod">
          <ac:chgData name="El Bakkouri, Manal" userId="8b130982-2e3f-4164-b881-fd3a2e4b2453" providerId="ADAL" clId="{4457FA57-250B-44AC-8655-05D46C5A3D8A}" dt="2023-05-24T09:45:37.386" v="10587" actId="1076"/>
          <ac:spMkLst>
            <pc:docMk/>
            <pc:sldMk cId="3069625997" sldId="230717651"/>
            <ac:spMk id="60" creationId="{7FCECE0E-830E-447D-8262-5243A5CAABDB}"/>
          </ac:spMkLst>
        </pc:spChg>
        <pc:spChg chg="mod">
          <ac:chgData name="El Bakkouri, Manal" userId="8b130982-2e3f-4164-b881-fd3a2e4b2453" providerId="ADAL" clId="{4457FA57-250B-44AC-8655-05D46C5A3D8A}" dt="2023-05-24T09:45:37.386" v="10587" actId="1076"/>
          <ac:spMkLst>
            <pc:docMk/>
            <pc:sldMk cId="3069625997" sldId="230717651"/>
            <ac:spMk id="61" creationId="{479A8897-34CA-4C7F-84D4-06C3A5D431E6}"/>
          </ac:spMkLst>
        </pc:spChg>
        <pc:spChg chg="mod">
          <ac:chgData name="El Bakkouri, Manal" userId="8b130982-2e3f-4164-b881-fd3a2e4b2453" providerId="ADAL" clId="{4457FA57-250B-44AC-8655-05D46C5A3D8A}" dt="2023-05-24T09:45:37.386" v="10587" actId="1076"/>
          <ac:spMkLst>
            <pc:docMk/>
            <pc:sldMk cId="3069625997" sldId="230717651"/>
            <ac:spMk id="63" creationId="{C8230AE4-FC6B-47DD-9A7A-AC05C17F3D8E}"/>
          </ac:spMkLst>
        </pc:spChg>
        <pc:spChg chg="mod">
          <ac:chgData name="El Bakkouri, Manal" userId="8b130982-2e3f-4164-b881-fd3a2e4b2453" providerId="ADAL" clId="{4457FA57-250B-44AC-8655-05D46C5A3D8A}" dt="2023-05-24T09:45:37.386" v="10587" actId="1076"/>
          <ac:spMkLst>
            <pc:docMk/>
            <pc:sldMk cId="3069625997" sldId="230717651"/>
            <ac:spMk id="64" creationId="{3A8CC4FC-D4A0-40C1-B208-59F14A321BEE}"/>
          </ac:spMkLst>
        </pc:spChg>
        <pc:spChg chg="mod">
          <ac:chgData name="El Bakkouri, Manal" userId="8b130982-2e3f-4164-b881-fd3a2e4b2453" providerId="ADAL" clId="{4457FA57-250B-44AC-8655-05D46C5A3D8A}" dt="2023-05-24T09:45:37.386" v="10587" actId="1076"/>
          <ac:spMkLst>
            <pc:docMk/>
            <pc:sldMk cId="3069625997" sldId="230717651"/>
            <ac:spMk id="65" creationId="{906B422D-30D1-4145-9212-C0D450905BFA}"/>
          </ac:spMkLst>
        </pc:spChg>
        <pc:spChg chg="mod">
          <ac:chgData name="El Bakkouri, Manal" userId="8b130982-2e3f-4164-b881-fd3a2e4b2453" providerId="ADAL" clId="{4457FA57-250B-44AC-8655-05D46C5A3D8A}" dt="2023-05-24T09:45:37.386" v="10587" actId="1076"/>
          <ac:spMkLst>
            <pc:docMk/>
            <pc:sldMk cId="3069625997" sldId="230717651"/>
            <ac:spMk id="66" creationId="{8F60252C-7AAA-4F2C-8A0F-2D120A15D4FF}"/>
          </ac:spMkLst>
        </pc:spChg>
        <pc:spChg chg="mod">
          <ac:chgData name="El Bakkouri, Manal" userId="8b130982-2e3f-4164-b881-fd3a2e4b2453" providerId="ADAL" clId="{4457FA57-250B-44AC-8655-05D46C5A3D8A}" dt="2023-05-24T09:45:37.386" v="10587" actId="1076"/>
          <ac:spMkLst>
            <pc:docMk/>
            <pc:sldMk cId="3069625997" sldId="230717651"/>
            <ac:spMk id="68" creationId="{D5169EC5-2950-4D18-8095-C566B2A6AA45}"/>
          </ac:spMkLst>
        </pc:spChg>
        <pc:spChg chg="mod">
          <ac:chgData name="El Bakkouri, Manal" userId="8b130982-2e3f-4164-b881-fd3a2e4b2453" providerId="ADAL" clId="{4457FA57-250B-44AC-8655-05D46C5A3D8A}" dt="2023-05-24T09:45:37.386" v="10587" actId="1076"/>
          <ac:spMkLst>
            <pc:docMk/>
            <pc:sldMk cId="3069625997" sldId="230717651"/>
            <ac:spMk id="69" creationId="{D308EAE2-305A-4233-99BF-91C4AA38BF87}"/>
          </ac:spMkLst>
        </pc:spChg>
        <pc:spChg chg="mod">
          <ac:chgData name="El Bakkouri, Manal" userId="8b130982-2e3f-4164-b881-fd3a2e4b2453" providerId="ADAL" clId="{4457FA57-250B-44AC-8655-05D46C5A3D8A}" dt="2023-05-24T09:45:37.386" v="10587" actId="1076"/>
          <ac:spMkLst>
            <pc:docMk/>
            <pc:sldMk cId="3069625997" sldId="230717651"/>
            <ac:spMk id="70" creationId="{F4408CDF-8B26-43C5-BED0-E371B9FCDAAC}"/>
          </ac:spMkLst>
        </pc:spChg>
        <pc:spChg chg="mod">
          <ac:chgData name="El Bakkouri, Manal" userId="8b130982-2e3f-4164-b881-fd3a2e4b2453" providerId="ADAL" clId="{4457FA57-250B-44AC-8655-05D46C5A3D8A}" dt="2023-05-24T09:45:37.386" v="10587" actId="1076"/>
          <ac:spMkLst>
            <pc:docMk/>
            <pc:sldMk cId="3069625997" sldId="230717651"/>
            <ac:spMk id="71" creationId="{E42B2F93-E14D-40AE-A5F7-D2A82B20FB08}"/>
          </ac:spMkLst>
        </pc:spChg>
        <pc:spChg chg="mod">
          <ac:chgData name="El Bakkouri, Manal" userId="8b130982-2e3f-4164-b881-fd3a2e4b2453" providerId="ADAL" clId="{4457FA57-250B-44AC-8655-05D46C5A3D8A}" dt="2023-05-24T09:45:37.386" v="10587" actId="1076"/>
          <ac:spMkLst>
            <pc:docMk/>
            <pc:sldMk cId="3069625997" sldId="230717651"/>
            <ac:spMk id="72" creationId="{51D4D1C3-2330-430A-83CE-B23A2FA782E8}"/>
          </ac:spMkLst>
        </pc:spChg>
        <pc:spChg chg="mod">
          <ac:chgData name="El Bakkouri, Manal" userId="8b130982-2e3f-4164-b881-fd3a2e4b2453" providerId="ADAL" clId="{4457FA57-250B-44AC-8655-05D46C5A3D8A}" dt="2023-05-24T09:45:37.386" v="10587" actId="1076"/>
          <ac:spMkLst>
            <pc:docMk/>
            <pc:sldMk cId="3069625997" sldId="230717651"/>
            <ac:spMk id="73" creationId="{648835F5-8D4C-48C6-A35F-AB012AFC491C}"/>
          </ac:spMkLst>
        </pc:spChg>
        <pc:spChg chg="mod">
          <ac:chgData name="El Bakkouri, Manal" userId="8b130982-2e3f-4164-b881-fd3a2e4b2453" providerId="ADAL" clId="{4457FA57-250B-44AC-8655-05D46C5A3D8A}" dt="2023-05-24T09:45:37.386" v="10587" actId="1076"/>
          <ac:spMkLst>
            <pc:docMk/>
            <pc:sldMk cId="3069625997" sldId="230717651"/>
            <ac:spMk id="74" creationId="{761DE2EE-A8FB-42E0-9673-033D61287632}"/>
          </ac:spMkLst>
        </pc:spChg>
        <pc:spChg chg="mod">
          <ac:chgData name="El Bakkouri, Manal" userId="8b130982-2e3f-4164-b881-fd3a2e4b2453" providerId="ADAL" clId="{4457FA57-250B-44AC-8655-05D46C5A3D8A}" dt="2023-05-24T09:45:37.386" v="10587" actId="1076"/>
          <ac:spMkLst>
            <pc:docMk/>
            <pc:sldMk cId="3069625997" sldId="230717651"/>
            <ac:spMk id="75" creationId="{1CED215C-3715-482A-BCCE-8D5B1635D2F2}"/>
          </ac:spMkLst>
        </pc:spChg>
        <pc:spChg chg="mod">
          <ac:chgData name="El Bakkouri, Manal" userId="8b130982-2e3f-4164-b881-fd3a2e4b2453" providerId="ADAL" clId="{4457FA57-250B-44AC-8655-05D46C5A3D8A}" dt="2023-05-24T09:45:37.386" v="10587" actId="1076"/>
          <ac:spMkLst>
            <pc:docMk/>
            <pc:sldMk cId="3069625997" sldId="230717651"/>
            <ac:spMk id="76" creationId="{9A6AB334-61E5-483D-9547-37096EB4457A}"/>
          </ac:spMkLst>
        </pc:spChg>
        <pc:spChg chg="mod">
          <ac:chgData name="El Bakkouri, Manal" userId="8b130982-2e3f-4164-b881-fd3a2e4b2453" providerId="ADAL" clId="{4457FA57-250B-44AC-8655-05D46C5A3D8A}" dt="2023-05-24T09:45:37.386" v="10587" actId="1076"/>
          <ac:spMkLst>
            <pc:docMk/>
            <pc:sldMk cId="3069625997" sldId="230717651"/>
            <ac:spMk id="77" creationId="{6B91A0A2-F099-415A-AE96-4EE61BF862DB}"/>
          </ac:spMkLst>
        </pc:spChg>
        <pc:spChg chg="mod">
          <ac:chgData name="El Bakkouri, Manal" userId="8b130982-2e3f-4164-b881-fd3a2e4b2453" providerId="ADAL" clId="{4457FA57-250B-44AC-8655-05D46C5A3D8A}" dt="2023-05-24T09:45:37.386" v="10587" actId="1076"/>
          <ac:spMkLst>
            <pc:docMk/>
            <pc:sldMk cId="3069625997" sldId="230717651"/>
            <ac:spMk id="78" creationId="{E6B130CE-8FB3-453B-B689-3C5286C989C8}"/>
          </ac:spMkLst>
        </pc:spChg>
        <pc:spChg chg="add del mod">
          <ac:chgData name="El Bakkouri, Manal" userId="8b130982-2e3f-4164-b881-fd3a2e4b2453" providerId="ADAL" clId="{4457FA57-250B-44AC-8655-05D46C5A3D8A}" dt="2023-05-24T09:45:39.541" v="10588" actId="478"/>
          <ac:spMkLst>
            <pc:docMk/>
            <pc:sldMk cId="3069625997" sldId="230717651"/>
            <ac:spMk id="79" creationId="{3C9EA84B-97FF-4D1D-AA01-91AE3C06E21E}"/>
          </ac:spMkLst>
        </pc:spChg>
        <pc:spChg chg="add del mod">
          <ac:chgData name="El Bakkouri, Manal" userId="8b130982-2e3f-4164-b881-fd3a2e4b2453" providerId="ADAL" clId="{4457FA57-250B-44AC-8655-05D46C5A3D8A}" dt="2023-05-24T09:45:39.541" v="10588" actId="478"/>
          <ac:spMkLst>
            <pc:docMk/>
            <pc:sldMk cId="3069625997" sldId="230717651"/>
            <ac:spMk id="83" creationId="{EC222785-575A-4C07-959D-228B33C02FAC}"/>
          </ac:spMkLst>
        </pc:spChg>
        <pc:spChg chg="add del mod">
          <ac:chgData name="El Bakkouri, Manal" userId="8b130982-2e3f-4164-b881-fd3a2e4b2453" providerId="ADAL" clId="{4457FA57-250B-44AC-8655-05D46C5A3D8A}" dt="2023-05-24T09:45:39.541" v="10588" actId="478"/>
          <ac:spMkLst>
            <pc:docMk/>
            <pc:sldMk cId="3069625997" sldId="230717651"/>
            <ac:spMk id="84" creationId="{373CEA1E-3555-481F-B548-FAAFE5E9494E}"/>
          </ac:spMkLst>
        </pc:spChg>
        <pc:spChg chg="add del mod">
          <ac:chgData name="El Bakkouri, Manal" userId="8b130982-2e3f-4164-b881-fd3a2e4b2453" providerId="ADAL" clId="{4457FA57-250B-44AC-8655-05D46C5A3D8A}" dt="2023-05-24T09:45:39.541" v="10588" actId="478"/>
          <ac:spMkLst>
            <pc:docMk/>
            <pc:sldMk cId="3069625997" sldId="230717651"/>
            <ac:spMk id="85" creationId="{AB7BC95E-D11D-428F-9A83-6392301712B3}"/>
          </ac:spMkLst>
        </pc:spChg>
        <pc:spChg chg="add del mod">
          <ac:chgData name="El Bakkouri, Manal" userId="8b130982-2e3f-4164-b881-fd3a2e4b2453" providerId="ADAL" clId="{4457FA57-250B-44AC-8655-05D46C5A3D8A}" dt="2023-05-24T09:45:39.541" v="10588" actId="478"/>
          <ac:spMkLst>
            <pc:docMk/>
            <pc:sldMk cId="3069625997" sldId="230717651"/>
            <ac:spMk id="86" creationId="{ED4BC051-10DE-4ED4-B6D8-BD20EA793DA6}"/>
          </ac:spMkLst>
        </pc:spChg>
        <pc:spChg chg="mod">
          <ac:chgData name="El Bakkouri, Manal" userId="8b130982-2e3f-4164-b881-fd3a2e4b2453" providerId="ADAL" clId="{4457FA57-250B-44AC-8655-05D46C5A3D8A}" dt="2023-06-12T13:32:22.285" v="15841" actId="403"/>
          <ac:spMkLst>
            <pc:docMk/>
            <pc:sldMk cId="3069625997" sldId="230717651"/>
            <ac:spMk id="91" creationId="{55CB25D3-D7D9-460A-8DF3-88EDC0259AC7}"/>
          </ac:spMkLst>
        </pc:spChg>
        <pc:spChg chg="mod">
          <ac:chgData name="El Bakkouri, Manal" userId="8b130982-2e3f-4164-b881-fd3a2e4b2453" providerId="ADAL" clId="{4457FA57-250B-44AC-8655-05D46C5A3D8A}" dt="2023-06-12T13:32:22.285" v="15841" actId="403"/>
          <ac:spMkLst>
            <pc:docMk/>
            <pc:sldMk cId="3069625997" sldId="230717651"/>
            <ac:spMk id="93" creationId="{640CA422-2F34-4744-B13E-466F5B7A02CA}"/>
          </ac:spMkLst>
        </pc:spChg>
        <pc:spChg chg="mod">
          <ac:chgData name="El Bakkouri, Manal" userId="8b130982-2e3f-4164-b881-fd3a2e4b2453" providerId="ADAL" clId="{4457FA57-250B-44AC-8655-05D46C5A3D8A}" dt="2023-06-12T13:32:22.285" v="15841" actId="403"/>
          <ac:spMkLst>
            <pc:docMk/>
            <pc:sldMk cId="3069625997" sldId="230717651"/>
            <ac:spMk id="95" creationId="{8D4FAAF9-9C72-4D26-A2C7-1E0EED269558}"/>
          </ac:spMkLst>
        </pc:spChg>
        <pc:spChg chg="mod">
          <ac:chgData name="El Bakkouri, Manal" userId="8b130982-2e3f-4164-b881-fd3a2e4b2453" providerId="ADAL" clId="{4457FA57-250B-44AC-8655-05D46C5A3D8A}" dt="2023-06-12T13:32:17.356" v="15840" actId="403"/>
          <ac:spMkLst>
            <pc:docMk/>
            <pc:sldMk cId="3069625997" sldId="230717651"/>
            <ac:spMk id="96" creationId="{CA95E5DD-1091-4669-9243-4E12407274E1}"/>
          </ac:spMkLst>
        </pc:spChg>
        <pc:spChg chg="add mod">
          <ac:chgData name="El Bakkouri, Manal" userId="8b130982-2e3f-4164-b881-fd3a2e4b2453" providerId="ADAL" clId="{4457FA57-250B-44AC-8655-05D46C5A3D8A}" dt="2023-05-24T09:46:25.019" v="10590" actId="1076"/>
          <ac:spMkLst>
            <pc:docMk/>
            <pc:sldMk cId="3069625997" sldId="230717651"/>
            <ac:spMk id="97" creationId="{D05313CC-4710-4962-92AA-A4B7C6652B6D}"/>
          </ac:spMkLst>
        </pc:spChg>
        <pc:spChg chg="add mod">
          <ac:chgData name="El Bakkouri, Manal" userId="8b130982-2e3f-4164-b881-fd3a2e4b2453" providerId="ADAL" clId="{4457FA57-250B-44AC-8655-05D46C5A3D8A}" dt="2023-05-24T09:46:25.019" v="10590" actId="1076"/>
          <ac:spMkLst>
            <pc:docMk/>
            <pc:sldMk cId="3069625997" sldId="230717651"/>
            <ac:spMk id="98" creationId="{D37ECEF6-85BD-4182-B793-994D3688BECD}"/>
          </ac:spMkLst>
        </pc:spChg>
        <pc:spChg chg="add mod">
          <ac:chgData name="El Bakkouri, Manal" userId="8b130982-2e3f-4164-b881-fd3a2e4b2453" providerId="ADAL" clId="{4457FA57-250B-44AC-8655-05D46C5A3D8A}" dt="2023-05-24T09:46:25.019" v="10590" actId="1076"/>
          <ac:spMkLst>
            <pc:docMk/>
            <pc:sldMk cId="3069625997" sldId="230717651"/>
            <ac:spMk id="99" creationId="{BD72F142-11B0-40E4-AD73-9F834CB606B5}"/>
          </ac:spMkLst>
        </pc:spChg>
        <pc:spChg chg="add mod">
          <ac:chgData name="El Bakkouri, Manal" userId="8b130982-2e3f-4164-b881-fd3a2e4b2453" providerId="ADAL" clId="{4457FA57-250B-44AC-8655-05D46C5A3D8A}" dt="2023-05-24T09:46:25.019" v="10590" actId="1076"/>
          <ac:spMkLst>
            <pc:docMk/>
            <pc:sldMk cId="3069625997" sldId="230717651"/>
            <ac:spMk id="100" creationId="{AD4D5844-C9D9-4333-8AB6-25E8CD2EBFEA}"/>
          </ac:spMkLst>
        </pc:spChg>
        <pc:spChg chg="add mod">
          <ac:chgData name="El Bakkouri, Manal" userId="8b130982-2e3f-4164-b881-fd3a2e4b2453" providerId="ADAL" clId="{4457FA57-250B-44AC-8655-05D46C5A3D8A}" dt="2023-05-24T09:46:25.019" v="10590" actId="1076"/>
          <ac:spMkLst>
            <pc:docMk/>
            <pc:sldMk cId="3069625997" sldId="230717651"/>
            <ac:spMk id="101" creationId="{61C0C6D2-3225-4ECE-A146-B6C396F6F1B5}"/>
          </ac:spMkLst>
        </pc:spChg>
        <pc:spChg chg="add mod">
          <ac:chgData name="El Bakkouri, Manal" userId="8b130982-2e3f-4164-b881-fd3a2e4b2453" providerId="ADAL" clId="{4457FA57-250B-44AC-8655-05D46C5A3D8A}" dt="2023-05-24T10:14:46.809" v="11144" actId="12789"/>
          <ac:spMkLst>
            <pc:docMk/>
            <pc:sldMk cId="3069625997" sldId="230717651"/>
            <ac:spMk id="102" creationId="{8CF9F09D-B251-4877-B939-51EEC00267F2}"/>
          </ac:spMkLst>
        </pc:spChg>
        <pc:spChg chg="mod">
          <ac:chgData name="El Bakkouri, Manal" userId="8b130982-2e3f-4164-b881-fd3a2e4b2453" providerId="ADAL" clId="{4457FA57-250B-44AC-8655-05D46C5A3D8A}" dt="2023-06-12T13:32:22.285" v="15841" actId="403"/>
          <ac:spMkLst>
            <pc:docMk/>
            <pc:sldMk cId="3069625997" sldId="230717651"/>
            <ac:spMk id="103" creationId="{3DB44DA8-F006-42B9-8C1B-5DA9646562DA}"/>
          </ac:spMkLst>
        </pc:spChg>
        <pc:spChg chg="mod">
          <ac:chgData name="El Bakkouri, Manal" userId="8b130982-2e3f-4164-b881-fd3a2e4b2453" providerId="ADAL" clId="{4457FA57-250B-44AC-8655-05D46C5A3D8A}" dt="2023-06-12T13:32:17.356" v="15840" actId="403"/>
          <ac:spMkLst>
            <pc:docMk/>
            <pc:sldMk cId="3069625997" sldId="230717651"/>
            <ac:spMk id="104" creationId="{6D245B66-390B-42C2-97F2-BB750BE99A99}"/>
          </ac:spMkLst>
        </pc:spChg>
        <pc:spChg chg="mod">
          <ac:chgData name="El Bakkouri, Manal" userId="8b130982-2e3f-4164-b881-fd3a2e4b2453" providerId="ADAL" clId="{4457FA57-250B-44AC-8655-05D46C5A3D8A}" dt="2023-05-24T09:46:25.019" v="10590" actId="1076"/>
          <ac:spMkLst>
            <pc:docMk/>
            <pc:sldMk cId="3069625997" sldId="230717651"/>
            <ac:spMk id="104" creationId="{D49AE974-E0EC-484D-A065-AFFBAF74D025}"/>
          </ac:spMkLst>
        </pc:spChg>
        <pc:spChg chg="mod">
          <ac:chgData name="El Bakkouri, Manal" userId="8b130982-2e3f-4164-b881-fd3a2e4b2453" providerId="ADAL" clId="{4457FA57-250B-44AC-8655-05D46C5A3D8A}" dt="2023-06-12T13:32:17.356" v="15840" actId="403"/>
          <ac:spMkLst>
            <pc:docMk/>
            <pc:sldMk cId="3069625997" sldId="230717651"/>
            <ac:spMk id="105" creationId="{D8BF6B3A-7035-49C5-80B8-76D1DC8639AA}"/>
          </ac:spMkLst>
        </pc:spChg>
        <pc:spChg chg="mod">
          <ac:chgData name="El Bakkouri, Manal" userId="8b130982-2e3f-4164-b881-fd3a2e4b2453" providerId="ADAL" clId="{4457FA57-250B-44AC-8655-05D46C5A3D8A}" dt="2023-05-24T09:46:25.019" v="10590" actId="1076"/>
          <ac:spMkLst>
            <pc:docMk/>
            <pc:sldMk cId="3069625997" sldId="230717651"/>
            <ac:spMk id="106" creationId="{384A933F-3552-4660-A47E-93717605E579}"/>
          </ac:spMkLst>
        </pc:spChg>
        <pc:spChg chg="mod">
          <ac:chgData name="El Bakkouri, Manal" userId="8b130982-2e3f-4164-b881-fd3a2e4b2453" providerId="ADAL" clId="{4457FA57-250B-44AC-8655-05D46C5A3D8A}" dt="2023-06-12T13:32:22.285" v="15841" actId="403"/>
          <ac:spMkLst>
            <pc:docMk/>
            <pc:sldMk cId="3069625997" sldId="230717651"/>
            <ac:spMk id="107" creationId="{811B5071-BA95-48FD-ADDC-BCF3A6108A9E}"/>
          </ac:spMkLst>
        </pc:spChg>
        <pc:spChg chg="mod">
          <ac:chgData name="El Bakkouri, Manal" userId="8b130982-2e3f-4164-b881-fd3a2e4b2453" providerId="ADAL" clId="{4457FA57-250B-44AC-8655-05D46C5A3D8A}" dt="2023-05-24T09:46:25.019" v="10590" actId="1076"/>
          <ac:spMkLst>
            <pc:docMk/>
            <pc:sldMk cId="3069625997" sldId="230717651"/>
            <ac:spMk id="107" creationId="{88EFF11B-6E6A-4D9F-A080-BD612DADCDF3}"/>
          </ac:spMkLst>
        </pc:spChg>
        <pc:spChg chg="add mod topLvl">
          <ac:chgData name="El Bakkouri, Manal" userId="8b130982-2e3f-4164-b881-fd3a2e4b2453" providerId="ADAL" clId="{4457FA57-250B-44AC-8655-05D46C5A3D8A}" dt="2023-05-24T10:06:54.641" v="10880" actId="207"/>
          <ac:spMkLst>
            <pc:docMk/>
            <pc:sldMk cId="3069625997" sldId="230717651"/>
            <ac:spMk id="108" creationId="{782C5281-52E4-4F4E-86B4-1C2A1F96FE68}"/>
          </ac:spMkLst>
        </pc:spChg>
        <pc:spChg chg="add mod topLvl">
          <ac:chgData name="El Bakkouri, Manal" userId="8b130982-2e3f-4164-b881-fd3a2e4b2453" providerId="ADAL" clId="{4457FA57-250B-44AC-8655-05D46C5A3D8A}" dt="2023-05-24T10:07:13.229" v="10884" actId="207"/>
          <ac:spMkLst>
            <pc:docMk/>
            <pc:sldMk cId="3069625997" sldId="230717651"/>
            <ac:spMk id="109" creationId="{9EB7303C-DB95-48B4-AC44-2E6328845BD1}"/>
          </ac:spMkLst>
        </pc:spChg>
        <pc:spChg chg="add mod topLvl">
          <ac:chgData name="El Bakkouri, Manal" userId="8b130982-2e3f-4164-b881-fd3a2e4b2453" providerId="ADAL" clId="{4457FA57-250B-44AC-8655-05D46C5A3D8A}" dt="2023-05-24T10:07:10.130" v="10883" actId="207"/>
          <ac:spMkLst>
            <pc:docMk/>
            <pc:sldMk cId="3069625997" sldId="230717651"/>
            <ac:spMk id="110" creationId="{A8E66BC6-1DA6-445C-8832-6ECD5CA4C987}"/>
          </ac:spMkLst>
        </pc:spChg>
        <pc:spChg chg="add mod topLvl">
          <ac:chgData name="El Bakkouri, Manal" userId="8b130982-2e3f-4164-b881-fd3a2e4b2453" providerId="ADAL" clId="{4457FA57-250B-44AC-8655-05D46C5A3D8A}" dt="2023-05-24T10:06:57.594" v="10881" actId="207"/>
          <ac:spMkLst>
            <pc:docMk/>
            <pc:sldMk cId="3069625997" sldId="230717651"/>
            <ac:spMk id="111" creationId="{CE24A784-8CB6-45E0-B9FB-6BC03987C927}"/>
          </ac:spMkLst>
        </pc:spChg>
        <pc:spChg chg="add mod topLvl">
          <ac:chgData name="El Bakkouri, Manal" userId="8b130982-2e3f-4164-b881-fd3a2e4b2453" providerId="ADAL" clId="{4457FA57-250B-44AC-8655-05D46C5A3D8A}" dt="2023-05-24T10:07:06.933" v="10882" actId="207"/>
          <ac:spMkLst>
            <pc:docMk/>
            <pc:sldMk cId="3069625997" sldId="230717651"/>
            <ac:spMk id="112" creationId="{76152915-D530-4588-9347-19B30FFDA3F5}"/>
          </ac:spMkLst>
        </pc:spChg>
        <pc:spChg chg="mod">
          <ac:chgData name="El Bakkouri, Manal" userId="8b130982-2e3f-4164-b881-fd3a2e4b2453" providerId="ADAL" clId="{4457FA57-250B-44AC-8655-05D46C5A3D8A}" dt="2023-05-24T10:04:06.863" v="10863" actId="12788"/>
          <ac:spMkLst>
            <pc:docMk/>
            <pc:sldMk cId="3069625997" sldId="230717651"/>
            <ac:spMk id="118" creationId="{5DE3C119-3C90-4CD2-976D-C065BA615C23}"/>
          </ac:spMkLst>
        </pc:spChg>
        <pc:spChg chg="mod">
          <ac:chgData name="El Bakkouri, Manal" userId="8b130982-2e3f-4164-b881-fd3a2e4b2453" providerId="ADAL" clId="{4457FA57-250B-44AC-8655-05D46C5A3D8A}" dt="2023-05-24T10:04:06.863" v="10863" actId="12788"/>
          <ac:spMkLst>
            <pc:docMk/>
            <pc:sldMk cId="3069625997" sldId="230717651"/>
            <ac:spMk id="119" creationId="{CF82DFE9-E8DA-4642-90F1-8C5474E51AC3}"/>
          </ac:spMkLst>
        </pc:spChg>
        <pc:spChg chg="mod">
          <ac:chgData name="El Bakkouri, Manal" userId="8b130982-2e3f-4164-b881-fd3a2e4b2453" providerId="ADAL" clId="{4457FA57-250B-44AC-8655-05D46C5A3D8A}" dt="2023-05-24T10:04:06.863" v="10863" actId="12788"/>
          <ac:spMkLst>
            <pc:docMk/>
            <pc:sldMk cId="3069625997" sldId="230717651"/>
            <ac:spMk id="120" creationId="{2E3412C4-27FE-4039-9100-F18164DAB203}"/>
          </ac:spMkLst>
        </pc:spChg>
        <pc:spChg chg="mod">
          <ac:chgData name="El Bakkouri, Manal" userId="8b130982-2e3f-4164-b881-fd3a2e4b2453" providerId="ADAL" clId="{4457FA57-250B-44AC-8655-05D46C5A3D8A}" dt="2023-05-24T10:04:06.863" v="10863" actId="12788"/>
          <ac:spMkLst>
            <pc:docMk/>
            <pc:sldMk cId="3069625997" sldId="230717651"/>
            <ac:spMk id="121" creationId="{1A68188F-BFC6-42DC-8691-DC386894C9C2}"/>
          </ac:spMkLst>
        </pc:spChg>
        <pc:spChg chg="mod">
          <ac:chgData name="El Bakkouri, Manal" userId="8b130982-2e3f-4164-b881-fd3a2e4b2453" providerId="ADAL" clId="{4457FA57-250B-44AC-8655-05D46C5A3D8A}" dt="2023-05-24T10:04:06.863" v="10863" actId="12788"/>
          <ac:spMkLst>
            <pc:docMk/>
            <pc:sldMk cId="3069625997" sldId="230717651"/>
            <ac:spMk id="122" creationId="{07B143DD-7436-4D80-AF88-2E1E52643819}"/>
          </ac:spMkLst>
        </pc:spChg>
        <pc:spChg chg="mod">
          <ac:chgData name="El Bakkouri, Manal" userId="8b130982-2e3f-4164-b881-fd3a2e4b2453" providerId="ADAL" clId="{4457FA57-250B-44AC-8655-05D46C5A3D8A}" dt="2023-05-24T10:04:06.863" v="10863" actId="12788"/>
          <ac:spMkLst>
            <pc:docMk/>
            <pc:sldMk cId="3069625997" sldId="230717651"/>
            <ac:spMk id="123" creationId="{18026A77-140F-43AA-B841-6C02B5EC7121}"/>
          </ac:spMkLst>
        </pc:spChg>
        <pc:spChg chg="mod">
          <ac:chgData name="El Bakkouri, Manal" userId="8b130982-2e3f-4164-b881-fd3a2e4b2453" providerId="ADAL" clId="{4457FA57-250B-44AC-8655-05D46C5A3D8A}" dt="2023-05-24T10:04:06.863" v="10863" actId="12788"/>
          <ac:spMkLst>
            <pc:docMk/>
            <pc:sldMk cId="3069625997" sldId="230717651"/>
            <ac:spMk id="124" creationId="{699EC536-746D-469D-883D-222B9150E008}"/>
          </ac:spMkLst>
        </pc:spChg>
        <pc:spChg chg="mod">
          <ac:chgData name="El Bakkouri, Manal" userId="8b130982-2e3f-4164-b881-fd3a2e4b2453" providerId="ADAL" clId="{4457FA57-250B-44AC-8655-05D46C5A3D8A}" dt="2023-05-24T10:04:06.863" v="10863" actId="12788"/>
          <ac:spMkLst>
            <pc:docMk/>
            <pc:sldMk cId="3069625997" sldId="230717651"/>
            <ac:spMk id="125" creationId="{5E2CCF00-8812-4FCE-ABD0-1883CE52EACB}"/>
          </ac:spMkLst>
        </pc:spChg>
        <pc:spChg chg="mod">
          <ac:chgData name="El Bakkouri, Manal" userId="8b130982-2e3f-4164-b881-fd3a2e4b2453" providerId="ADAL" clId="{4457FA57-250B-44AC-8655-05D46C5A3D8A}" dt="2023-05-24T10:04:06.863" v="10863" actId="12788"/>
          <ac:spMkLst>
            <pc:docMk/>
            <pc:sldMk cId="3069625997" sldId="230717651"/>
            <ac:spMk id="126" creationId="{9307248B-03E6-4011-B10E-5C12BFCF8C59}"/>
          </ac:spMkLst>
        </pc:spChg>
        <pc:spChg chg="mod">
          <ac:chgData name="El Bakkouri, Manal" userId="8b130982-2e3f-4164-b881-fd3a2e4b2453" providerId="ADAL" clId="{4457FA57-250B-44AC-8655-05D46C5A3D8A}" dt="2023-05-24T10:04:06.863" v="10863" actId="12788"/>
          <ac:spMkLst>
            <pc:docMk/>
            <pc:sldMk cId="3069625997" sldId="230717651"/>
            <ac:spMk id="127" creationId="{AED5C182-EB74-447A-81D2-304C33ADF6B0}"/>
          </ac:spMkLst>
        </pc:spChg>
        <pc:spChg chg="mod">
          <ac:chgData name="El Bakkouri, Manal" userId="8b130982-2e3f-4164-b881-fd3a2e4b2453" providerId="ADAL" clId="{4457FA57-250B-44AC-8655-05D46C5A3D8A}" dt="2023-05-24T10:04:06.863" v="10863" actId="12788"/>
          <ac:spMkLst>
            <pc:docMk/>
            <pc:sldMk cId="3069625997" sldId="230717651"/>
            <ac:spMk id="128" creationId="{52206205-25DF-4682-ACB7-677EA3892B97}"/>
          </ac:spMkLst>
        </pc:spChg>
        <pc:spChg chg="mod">
          <ac:chgData name="El Bakkouri, Manal" userId="8b130982-2e3f-4164-b881-fd3a2e4b2453" providerId="ADAL" clId="{4457FA57-250B-44AC-8655-05D46C5A3D8A}" dt="2023-05-24T10:04:06.863" v="10863" actId="12788"/>
          <ac:spMkLst>
            <pc:docMk/>
            <pc:sldMk cId="3069625997" sldId="230717651"/>
            <ac:spMk id="129" creationId="{83326B29-A916-443D-92C7-73BF0F98DBD9}"/>
          </ac:spMkLst>
        </pc:spChg>
        <pc:spChg chg="mod">
          <ac:chgData name="El Bakkouri, Manal" userId="8b130982-2e3f-4164-b881-fd3a2e4b2453" providerId="ADAL" clId="{4457FA57-250B-44AC-8655-05D46C5A3D8A}" dt="2023-06-12T13:32:22.285" v="15841" actId="403"/>
          <ac:spMkLst>
            <pc:docMk/>
            <pc:sldMk cId="3069625997" sldId="230717651"/>
            <ac:spMk id="139" creationId="{969D7887-140C-4C4E-B2A4-4B3C140BBD88}"/>
          </ac:spMkLst>
        </pc:spChg>
        <pc:spChg chg="mod">
          <ac:chgData name="El Bakkouri, Manal" userId="8b130982-2e3f-4164-b881-fd3a2e4b2453" providerId="ADAL" clId="{4457FA57-250B-44AC-8655-05D46C5A3D8A}" dt="2023-05-24T09:46:25.019" v="10590" actId="1076"/>
          <ac:spMkLst>
            <pc:docMk/>
            <pc:sldMk cId="3069625997" sldId="230717651"/>
            <ac:spMk id="140" creationId="{B2F8A85E-9ED3-42A9-B80D-D4A614DE7C31}"/>
          </ac:spMkLst>
        </pc:spChg>
        <pc:spChg chg="mod">
          <ac:chgData name="El Bakkouri, Manal" userId="8b130982-2e3f-4164-b881-fd3a2e4b2453" providerId="ADAL" clId="{4457FA57-250B-44AC-8655-05D46C5A3D8A}" dt="2023-06-12T13:32:22.285" v="15841" actId="403"/>
          <ac:spMkLst>
            <pc:docMk/>
            <pc:sldMk cId="3069625997" sldId="230717651"/>
            <ac:spMk id="140" creationId="{B5552091-D634-42CA-8502-6BF17E90B9D7}"/>
          </ac:spMkLst>
        </pc:spChg>
        <pc:spChg chg="mod">
          <ac:chgData name="El Bakkouri, Manal" userId="8b130982-2e3f-4164-b881-fd3a2e4b2453" providerId="ADAL" clId="{4457FA57-250B-44AC-8655-05D46C5A3D8A}" dt="2023-06-12T13:32:22.285" v="15841" actId="403"/>
          <ac:spMkLst>
            <pc:docMk/>
            <pc:sldMk cId="3069625997" sldId="230717651"/>
            <ac:spMk id="141" creationId="{B7868559-DDF1-45B3-974A-B2FB608A8C1C}"/>
          </ac:spMkLst>
        </pc:spChg>
        <pc:spChg chg="mod">
          <ac:chgData name="El Bakkouri, Manal" userId="8b130982-2e3f-4164-b881-fd3a2e4b2453" providerId="ADAL" clId="{4457FA57-250B-44AC-8655-05D46C5A3D8A}" dt="2023-05-24T09:46:25.019" v="10590" actId="1076"/>
          <ac:spMkLst>
            <pc:docMk/>
            <pc:sldMk cId="3069625997" sldId="230717651"/>
            <ac:spMk id="141" creationId="{C670812D-605B-46B5-820C-6E19CA0D0CCB}"/>
          </ac:spMkLst>
        </pc:spChg>
        <pc:spChg chg="mod">
          <ac:chgData name="El Bakkouri, Manal" userId="8b130982-2e3f-4164-b881-fd3a2e4b2453" providerId="ADAL" clId="{4457FA57-250B-44AC-8655-05D46C5A3D8A}" dt="2023-05-24T09:46:25.019" v="10590" actId="1076"/>
          <ac:spMkLst>
            <pc:docMk/>
            <pc:sldMk cId="3069625997" sldId="230717651"/>
            <ac:spMk id="143" creationId="{686D01E9-0E77-4B75-AB5E-7573C181D552}"/>
          </ac:spMkLst>
        </pc:spChg>
        <pc:spChg chg="mod">
          <ac:chgData name="El Bakkouri, Manal" userId="8b130982-2e3f-4164-b881-fd3a2e4b2453" providerId="ADAL" clId="{4457FA57-250B-44AC-8655-05D46C5A3D8A}" dt="2023-05-24T09:46:25.019" v="10590" actId="1076"/>
          <ac:spMkLst>
            <pc:docMk/>
            <pc:sldMk cId="3069625997" sldId="230717651"/>
            <ac:spMk id="144" creationId="{BE3ADAFC-275A-4691-94EC-0421150E170F}"/>
          </ac:spMkLst>
        </pc:spChg>
        <pc:spChg chg="mod">
          <ac:chgData name="El Bakkouri, Manal" userId="8b130982-2e3f-4164-b881-fd3a2e4b2453" providerId="ADAL" clId="{4457FA57-250B-44AC-8655-05D46C5A3D8A}" dt="2023-05-24T09:46:25.019" v="10590" actId="1076"/>
          <ac:spMkLst>
            <pc:docMk/>
            <pc:sldMk cId="3069625997" sldId="230717651"/>
            <ac:spMk id="145" creationId="{AC307DEC-C114-4FD2-8C67-83F661B82F41}"/>
          </ac:spMkLst>
        </pc:spChg>
        <pc:spChg chg="mod">
          <ac:chgData name="El Bakkouri, Manal" userId="8b130982-2e3f-4164-b881-fd3a2e4b2453" providerId="ADAL" clId="{4457FA57-250B-44AC-8655-05D46C5A3D8A}" dt="2023-05-24T09:46:25.019" v="10590" actId="1076"/>
          <ac:spMkLst>
            <pc:docMk/>
            <pc:sldMk cId="3069625997" sldId="230717651"/>
            <ac:spMk id="146" creationId="{54496EF0-2E9A-45C0-8E6C-21B8D2F6B5A9}"/>
          </ac:spMkLst>
        </pc:spChg>
        <pc:spChg chg="mod">
          <ac:chgData name="El Bakkouri, Manal" userId="8b130982-2e3f-4164-b881-fd3a2e4b2453" providerId="ADAL" clId="{4457FA57-250B-44AC-8655-05D46C5A3D8A}" dt="2023-05-24T09:46:25.019" v="10590" actId="1076"/>
          <ac:spMkLst>
            <pc:docMk/>
            <pc:sldMk cId="3069625997" sldId="230717651"/>
            <ac:spMk id="148" creationId="{F1D00424-9599-4277-B00A-F7805A7B5A17}"/>
          </ac:spMkLst>
        </pc:spChg>
        <pc:spChg chg="mod">
          <ac:chgData name="El Bakkouri, Manal" userId="8b130982-2e3f-4164-b881-fd3a2e4b2453" providerId="ADAL" clId="{4457FA57-250B-44AC-8655-05D46C5A3D8A}" dt="2023-05-24T09:46:25.019" v="10590" actId="1076"/>
          <ac:spMkLst>
            <pc:docMk/>
            <pc:sldMk cId="3069625997" sldId="230717651"/>
            <ac:spMk id="149" creationId="{874099DE-AB52-4827-9E47-A170B336B474}"/>
          </ac:spMkLst>
        </pc:spChg>
        <pc:spChg chg="mod">
          <ac:chgData name="El Bakkouri, Manal" userId="8b130982-2e3f-4164-b881-fd3a2e4b2453" providerId="ADAL" clId="{4457FA57-250B-44AC-8655-05D46C5A3D8A}" dt="2023-05-24T09:46:25.019" v="10590" actId="1076"/>
          <ac:spMkLst>
            <pc:docMk/>
            <pc:sldMk cId="3069625997" sldId="230717651"/>
            <ac:spMk id="150" creationId="{98A83711-F7C2-4B27-B794-650B1CF427AF}"/>
          </ac:spMkLst>
        </pc:spChg>
        <pc:spChg chg="mod">
          <ac:chgData name="El Bakkouri, Manal" userId="8b130982-2e3f-4164-b881-fd3a2e4b2453" providerId="ADAL" clId="{4457FA57-250B-44AC-8655-05D46C5A3D8A}" dt="2023-05-24T09:46:25.019" v="10590" actId="1076"/>
          <ac:spMkLst>
            <pc:docMk/>
            <pc:sldMk cId="3069625997" sldId="230717651"/>
            <ac:spMk id="151" creationId="{6E21E930-2F57-40F5-A848-FD7458518AF6}"/>
          </ac:spMkLst>
        </pc:spChg>
        <pc:spChg chg="mod">
          <ac:chgData name="El Bakkouri, Manal" userId="8b130982-2e3f-4164-b881-fd3a2e4b2453" providerId="ADAL" clId="{4457FA57-250B-44AC-8655-05D46C5A3D8A}" dt="2023-05-24T09:46:25.019" v="10590" actId="1076"/>
          <ac:spMkLst>
            <pc:docMk/>
            <pc:sldMk cId="3069625997" sldId="230717651"/>
            <ac:spMk id="152" creationId="{D1743A77-9F2C-49D1-8DC7-CC923C592DAD}"/>
          </ac:spMkLst>
        </pc:spChg>
        <pc:spChg chg="mod">
          <ac:chgData name="El Bakkouri, Manal" userId="8b130982-2e3f-4164-b881-fd3a2e4b2453" providerId="ADAL" clId="{4457FA57-250B-44AC-8655-05D46C5A3D8A}" dt="2023-05-24T09:46:25.019" v="10590" actId="1076"/>
          <ac:spMkLst>
            <pc:docMk/>
            <pc:sldMk cId="3069625997" sldId="230717651"/>
            <ac:spMk id="153" creationId="{6E41E943-1485-4837-8AB2-52206AB2CF57}"/>
          </ac:spMkLst>
        </pc:spChg>
        <pc:spChg chg="mod">
          <ac:chgData name="El Bakkouri, Manal" userId="8b130982-2e3f-4164-b881-fd3a2e4b2453" providerId="ADAL" clId="{4457FA57-250B-44AC-8655-05D46C5A3D8A}" dt="2023-05-24T09:46:25.019" v="10590" actId="1076"/>
          <ac:spMkLst>
            <pc:docMk/>
            <pc:sldMk cId="3069625997" sldId="230717651"/>
            <ac:spMk id="154" creationId="{2977AE0A-C025-4E30-9C68-7BB900059D11}"/>
          </ac:spMkLst>
        </pc:spChg>
        <pc:spChg chg="mod">
          <ac:chgData name="El Bakkouri, Manal" userId="8b130982-2e3f-4164-b881-fd3a2e4b2453" providerId="ADAL" clId="{4457FA57-250B-44AC-8655-05D46C5A3D8A}" dt="2023-05-24T09:46:25.019" v="10590" actId="1076"/>
          <ac:spMkLst>
            <pc:docMk/>
            <pc:sldMk cId="3069625997" sldId="230717651"/>
            <ac:spMk id="155" creationId="{73A0AD5B-7B8B-4783-BAA9-AD321E4A009B}"/>
          </ac:spMkLst>
        </pc:spChg>
        <pc:spChg chg="mod">
          <ac:chgData name="El Bakkouri, Manal" userId="8b130982-2e3f-4164-b881-fd3a2e4b2453" providerId="ADAL" clId="{4457FA57-250B-44AC-8655-05D46C5A3D8A}" dt="2023-05-24T09:46:25.019" v="10590" actId="1076"/>
          <ac:spMkLst>
            <pc:docMk/>
            <pc:sldMk cId="3069625997" sldId="230717651"/>
            <ac:spMk id="156" creationId="{68E8E546-5395-481E-8E1D-961459AC6B2F}"/>
          </ac:spMkLst>
        </pc:spChg>
        <pc:spChg chg="mod">
          <ac:chgData name="El Bakkouri, Manal" userId="8b130982-2e3f-4164-b881-fd3a2e4b2453" providerId="ADAL" clId="{4457FA57-250B-44AC-8655-05D46C5A3D8A}" dt="2023-05-24T09:46:25.019" v="10590" actId="1076"/>
          <ac:spMkLst>
            <pc:docMk/>
            <pc:sldMk cId="3069625997" sldId="230717651"/>
            <ac:spMk id="157" creationId="{EE40AB5A-5C86-4144-B188-2B2CD881FF85}"/>
          </ac:spMkLst>
        </pc:spChg>
        <pc:spChg chg="mod">
          <ac:chgData name="El Bakkouri, Manal" userId="8b130982-2e3f-4164-b881-fd3a2e4b2453" providerId="ADAL" clId="{4457FA57-250B-44AC-8655-05D46C5A3D8A}" dt="2023-05-24T09:46:25.019" v="10590" actId="1076"/>
          <ac:spMkLst>
            <pc:docMk/>
            <pc:sldMk cId="3069625997" sldId="230717651"/>
            <ac:spMk id="158" creationId="{90A9E827-AAB5-458D-9E9D-B89EB8513BDE}"/>
          </ac:spMkLst>
        </pc:spChg>
        <pc:spChg chg="add mod">
          <ac:chgData name="El Bakkouri, Manal" userId="8b130982-2e3f-4164-b881-fd3a2e4b2453" providerId="ADAL" clId="{4457FA57-250B-44AC-8655-05D46C5A3D8A}" dt="2023-05-24T10:08:12.510" v="10893" actId="208"/>
          <ac:spMkLst>
            <pc:docMk/>
            <pc:sldMk cId="3069625997" sldId="230717651"/>
            <ac:spMk id="159" creationId="{6E646E4A-E37D-4FCD-A6C3-3573160DBBA5}"/>
          </ac:spMkLst>
        </pc:spChg>
        <pc:spChg chg="add mod">
          <ac:chgData name="El Bakkouri, Manal" userId="8b130982-2e3f-4164-b881-fd3a2e4b2453" providerId="ADAL" clId="{4457FA57-250B-44AC-8655-05D46C5A3D8A}" dt="2023-05-24T10:08:09.085" v="10892" actId="208"/>
          <ac:spMkLst>
            <pc:docMk/>
            <pc:sldMk cId="3069625997" sldId="230717651"/>
            <ac:spMk id="163" creationId="{04EA910B-941F-47A3-ADE3-338B76E175C4}"/>
          </ac:spMkLst>
        </pc:spChg>
        <pc:spChg chg="add mod">
          <ac:chgData name="El Bakkouri, Manal" userId="8b130982-2e3f-4164-b881-fd3a2e4b2453" providerId="ADAL" clId="{4457FA57-250B-44AC-8655-05D46C5A3D8A}" dt="2023-05-24T10:08:15.773" v="10895" actId="208"/>
          <ac:spMkLst>
            <pc:docMk/>
            <pc:sldMk cId="3069625997" sldId="230717651"/>
            <ac:spMk id="164" creationId="{56CF9B32-396B-48F3-9F1A-5E79C2C4A3D1}"/>
          </ac:spMkLst>
        </pc:spChg>
        <pc:spChg chg="add mod">
          <ac:chgData name="El Bakkouri, Manal" userId="8b130982-2e3f-4164-b881-fd3a2e4b2453" providerId="ADAL" clId="{4457FA57-250B-44AC-8655-05D46C5A3D8A}" dt="2023-05-24T10:08:22.653" v="10899" actId="207"/>
          <ac:spMkLst>
            <pc:docMk/>
            <pc:sldMk cId="3069625997" sldId="230717651"/>
            <ac:spMk id="165" creationId="{B6250C8E-C29A-45A2-ADC8-FA936E09D285}"/>
          </ac:spMkLst>
        </pc:spChg>
        <pc:spChg chg="add mod">
          <ac:chgData name="El Bakkouri, Manal" userId="8b130982-2e3f-4164-b881-fd3a2e4b2453" providerId="ADAL" clId="{4457FA57-250B-44AC-8655-05D46C5A3D8A}" dt="2023-05-24T10:08:19.260" v="10897" actId="207"/>
          <ac:spMkLst>
            <pc:docMk/>
            <pc:sldMk cId="3069625997" sldId="230717651"/>
            <ac:spMk id="166" creationId="{7F408942-2022-46A3-B5A8-6EF2880A7DFF}"/>
          </ac:spMkLst>
        </pc:spChg>
        <pc:spChg chg="mod">
          <ac:chgData name="El Bakkouri, Manal" userId="8b130982-2e3f-4164-b881-fd3a2e4b2453" providerId="ADAL" clId="{4457FA57-250B-44AC-8655-05D46C5A3D8A}" dt="2023-06-12T13:32:22.285" v="15841" actId="403"/>
          <ac:spMkLst>
            <pc:docMk/>
            <pc:sldMk cId="3069625997" sldId="230717651"/>
            <ac:spMk id="177" creationId="{5E0767A9-18ED-40D0-AD6F-FA436B3C4563}"/>
          </ac:spMkLst>
        </pc:spChg>
        <pc:spChg chg="mod">
          <ac:chgData name="El Bakkouri, Manal" userId="8b130982-2e3f-4164-b881-fd3a2e4b2453" providerId="ADAL" clId="{4457FA57-250B-44AC-8655-05D46C5A3D8A}" dt="2023-06-12T13:32:22.285" v="15841" actId="403"/>
          <ac:spMkLst>
            <pc:docMk/>
            <pc:sldMk cId="3069625997" sldId="230717651"/>
            <ac:spMk id="178" creationId="{40698061-C09C-4FDF-A24C-051559BB858B}"/>
          </ac:spMkLst>
        </pc:spChg>
        <pc:spChg chg="mod">
          <ac:chgData name="El Bakkouri, Manal" userId="8b130982-2e3f-4164-b881-fd3a2e4b2453" providerId="ADAL" clId="{4457FA57-250B-44AC-8655-05D46C5A3D8A}" dt="2023-06-12T13:32:17.356" v="15840" actId="403"/>
          <ac:spMkLst>
            <pc:docMk/>
            <pc:sldMk cId="3069625997" sldId="230717651"/>
            <ac:spMk id="179" creationId="{6B9396BD-D90D-4D8C-AB16-E21BE9BF2CE3}"/>
          </ac:spMkLst>
        </pc:spChg>
        <pc:grpChg chg="mod">
          <ac:chgData name="El Bakkouri, Manal" userId="8b130982-2e3f-4164-b881-fd3a2e4b2453" providerId="ADAL" clId="{4457FA57-250B-44AC-8655-05D46C5A3D8A}" dt="2023-06-12T13:32:24.910" v="15842" actId="14100"/>
          <ac:grpSpMkLst>
            <pc:docMk/>
            <pc:sldMk cId="3069625997" sldId="230717651"/>
            <ac:grpSpMk id="8" creationId="{C170B23B-D3ED-4CED-B508-1323F4A89BD9}"/>
          </ac:grpSpMkLst>
        </pc:grpChg>
        <pc:grpChg chg="mod">
          <ac:chgData name="El Bakkouri, Manal" userId="8b130982-2e3f-4164-b881-fd3a2e4b2453" providerId="ADAL" clId="{4457FA57-250B-44AC-8655-05D46C5A3D8A}" dt="2023-06-12T13:32:24.910" v="15842" actId="14100"/>
          <ac:grpSpMkLst>
            <pc:docMk/>
            <pc:sldMk cId="3069625997" sldId="230717651"/>
            <ac:grpSpMk id="9" creationId="{07D9E06F-A5EC-4CCF-AA2B-4ADB82A68C24}"/>
          </ac:grpSpMkLst>
        </pc:grpChg>
        <pc:grpChg chg="mod">
          <ac:chgData name="El Bakkouri, Manal" userId="8b130982-2e3f-4164-b881-fd3a2e4b2453" providerId="ADAL" clId="{4457FA57-250B-44AC-8655-05D46C5A3D8A}" dt="2023-06-12T13:32:24.910" v="15842" actId="14100"/>
          <ac:grpSpMkLst>
            <pc:docMk/>
            <pc:sldMk cId="3069625997" sldId="230717651"/>
            <ac:grpSpMk id="10" creationId="{F072AE2B-AC85-403C-979D-15318FC96A47}"/>
          </ac:grpSpMkLst>
        </pc:grpChg>
        <pc:grpChg chg="mod">
          <ac:chgData name="El Bakkouri, Manal" userId="8b130982-2e3f-4164-b881-fd3a2e4b2453" providerId="ADAL" clId="{4457FA57-250B-44AC-8655-05D46C5A3D8A}" dt="2023-06-12T13:32:24.910" v="15842" actId="14100"/>
          <ac:grpSpMkLst>
            <pc:docMk/>
            <pc:sldMk cId="3069625997" sldId="230717651"/>
            <ac:grpSpMk id="11" creationId="{A98EF6ED-69CB-4E39-9505-91621956D677}"/>
          </ac:grpSpMkLst>
        </pc:grpChg>
        <pc:grpChg chg="mod">
          <ac:chgData name="El Bakkouri, Manal" userId="8b130982-2e3f-4164-b881-fd3a2e4b2453" providerId="ADAL" clId="{4457FA57-250B-44AC-8655-05D46C5A3D8A}" dt="2023-06-12T13:32:24.910" v="15842" actId="14100"/>
          <ac:grpSpMkLst>
            <pc:docMk/>
            <pc:sldMk cId="3069625997" sldId="230717651"/>
            <ac:grpSpMk id="12" creationId="{DECB1828-AE99-4E00-9BA3-15F93521C09A}"/>
          </ac:grpSpMkLst>
        </pc:grpChg>
        <pc:grpChg chg="add del mod">
          <ac:chgData name="El Bakkouri, Manal" userId="8b130982-2e3f-4164-b881-fd3a2e4b2453" providerId="ADAL" clId="{4457FA57-250B-44AC-8655-05D46C5A3D8A}" dt="2023-05-24T09:45:39.541" v="10588" actId="478"/>
          <ac:grpSpMkLst>
            <pc:docMk/>
            <pc:sldMk cId="3069625997" sldId="230717651"/>
            <ac:grpSpMk id="23" creationId="{CA9A4B3B-D5F8-4FAA-9BB4-9C7B521FB6D0}"/>
          </ac:grpSpMkLst>
        </pc:grpChg>
        <pc:grpChg chg="mod">
          <ac:chgData name="El Bakkouri, Manal" userId="8b130982-2e3f-4164-b881-fd3a2e4b2453" providerId="ADAL" clId="{4457FA57-250B-44AC-8655-05D46C5A3D8A}" dt="2023-05-24T09:45:37.386" v="10587" actId="1076"/>
          <ac:grpSpMkLst>
            <pc:docMk/>
            <pc:sldMk cId="3069625997" sldId="230717651"/>
            <ac:grpSpMk id="25" creationId="{37906FC1-82A6-45C2-83BE-CCA20960D8B7}"/>
          </ac:grpSpMkLst>
        </pc:grpChg>
        <pc:grpChg chg="add del mod">
          <ac:chgData name="El Bakkouri, Manal" userId="8b130982-2e3f-4164-b881-fd3a2e4b2453" providerId="ADAL" clId="{4457FA57-250B-44AC-8655-05D46C5A3D8A}" dt="2023-05-24T09:45:39.541" v="10588" actId="478"/>
          <ac:grpSpMkLst>
            <pc:docMk/>
            <pc:sldMk cId="3069625997" sldId="230717651"/>
            <ac:grpSpMk id="37" creationId="{D7437B1E-8F50-4671-9D34-A90488FCA842}"/>
          </ac:grpSpMkLst>
        </pc:grpChg>
        <pc:grpChg chg="add del mod">
          <ac:chgData name="El Bakkouri, Manal" userId="8b130982-2e3f-4164-b881-fd3a2e4b2453" providerId="ADAL" clId="{4457FA57-250B-44AC-8655-05D46C5A3D8A}" dt="2023-05-24T09:45:39.541" v="10588" actId="478"/>
          <ac:grpSpMkLst>
            <pc:docMk/>
            <pc:sldMk cId="3069625997" sldId="230717651"/>
            <ac:grpSpMk id="50" creationId="{16AE2562-9A90-44C7-BE4C-7B12DAFA2304}"/>
          </ac:grpSpMkLst>
        </pc:grpChg>
        <pc:grpChg chg="add del mod">
          <ac:chgData name="El Bakkouri, Manal" userId="8b130982-2e3f-4164-b881-fd3a2e4b2453" providerId="ADAL" clId="{4457FA57-250B-44AC-8655-05D46C5A3D8A}" dt="2023-05-24T09:45:39.541" v="10588" actId="478"/>
          <ac:grpSpMkLst>
            <pc:docMk/>
            <pc:sldMk cId="3069625997" sldId="230717651"/>
            <ac:grpSpMk id="59" creationId="{807C4EF2-3D10-4C89-A2F2-109791AE03C6}"/>
          </ac:grpSpMkLst>
        </pc:grpChg>
        <pc:grpChg chg="add del mod">
          <ac:chgData name="El Bakkouri, Manal" userId="8b130982-2e3f-4164-b881-fd3a2e4b2453" providerId="ADAL" clId="{4457FA57-250B-44AC-8655-05D46C5A3D8A}" dt="2023-05-24T09:45:39.541" v="10588" actId="478"/>
          <ac:grpSpMkLst>
            <pc:docMk/>
            <pc:sldMk cId="3069625997" sldId="230717651"/>
            <ac:grpSpMk id="62" creationId="{9D68887B-470D-4C56-B78A-9419CC1C157B}"/>
          </ac:grpSpMkLst>
        </pc:grpChg>
        <pc:grpChg chg="add del mod">
          <ac:chgData name="El Bakkouri, Manal" userId="8b130982-2e3f-4164-b881-fd3a2e4b2453" providerId="ADAL" clId="{4457FA57-250B-44AC-8655-05D46C5A3D8A}" dt="2023-05-24T09:45:39.541" v="10588" actId="478"/>
          <ac:grpSpMkLst>
            <pc:docMk/>
            <pc:sldMk cId="3069625997" sldId="230717651"/>
            <ac:grpSpMk id="67" creationId="{E8C8065B-DAF3-4FD9-B890-B959FB010FC2}"/>
          </ac:grpSpMkLst>
        </pc:grpChg>
        <pc:grpChg chg="add del mod">
          <ac:chgData name="El Bakkouri, Manal" userId="8b130982-2e3f-4164-b881-fd3a2e4b2453" providerId="ADAL" clId="{4457FA57-250B-44AC-8655-05D46C5A3D8A}" dt="2023-05-24T09:45:39.541" v="10588" actId="478"/>
          <ac:grpSpMkLst>
            <pc:docMk/>
            <pc:sldMk cId="3069625997" sldId="230717651"/>
            <ac:grpSpMk id="80" creationId="{5167CF7D-40FF-4098-8C01-DB111BDCA061}"/>
          </ac:grpSpMkLst>
        </pc:grpChg>
        <pc:grpChg chg="add del mod">
          <ac:chgData name="El Bakkouri, Manal" userId="8b130982-2e3f-4164-b881-fd3a2e4b2453" providerId="ADAL" clId="{4457FA57-250B-44AC-8655-05D46C5A3D8A}" dt="2023-05-24T09:45:39.541" v="10588" actId="478"/>
          <ac:grpSpMkLst>
            <pc:docMk/>
            <pc:sldMk cId="3069625997" sldId="230717651"/>
            <ac:grpSpMk id="88" creationId="{C6A60F9F-FA9B-48E9-B71E-030221A7F976}"/>
          </ac:grpSpMkLst>
        </pc:grpChg>
        <pc:grpChg chg="add del mod">
          <ac:chgData name="El Bakkouri, Manal" userId="8b130982-2e3f-4164-b881-fd3a2e4b2453" providerId="ADAL" clId="{4457FA57-250B-44AC-8655-05D46C5A3D8A}" dt="2023-05-24T09:45:39.541" v="10588" actId="478"/>
          <ac:grpSpMkLst>
            <pc:docMk/>
            <pc:sldMk cId="3069625997" sldId="230717651"/>
            <ac:grpSpMk id="91" creationId="{A8C12A10-FC49-43C3-96DE-21FF6761D860}"/>
          </ac:grpSpMkLst>
        </pc:grpChg>
        <pc:grpChg chg="add del mod">
          <ac:chgData name="El Bakkouri, Manal" userId="8b130982-2e3f-4164-b881-fd3a2e4b2453" providerId="ADAL" clId="{4457FA57-250B-44AC-8655-05D46C5A3D8A}" dt="2023-05-24T09:45:39.541" v="10588" actId="478"/>
          <ac:grpSpMkLst>
            <pc:docMk/>
            <pc:sldMk cId="3069625997" sldId="230717651"/>
            <ac:grpSpMk id="94" creationId="{676445BA-BE36-49BC-98BA-CF1EB85FB68E}"/>
          </ac:grpSpMkLst>
        </pc:grpChg>
        <pc:grpChg chg="add del mod">
          <ac:chgData name="El Bakkouri, Manal" userId="8b130982-2e3f-4164-b881-fd3a2e4b2453" providerId="ADAL" clId="{4457FA57-250B-44AC-8655-05D46C5A3D8A}" dt="2023-05-24T10:05:35.492" v="10870" actId="478"/>
          <ac:grpSpMkLst>
            <pc:docMk/>
            <pc:sldMk cId="3069625997" sldId="230717651"/>
            <ac:grpSpMk id="103" creationId="{E3F839EE-B9C8-4EF8-B379-0CC5D4CB5EF8}"/>
          </ac:grpSpMkLst>
        </pc:grpChg>
        <pc:grpChg chg="mod">
          <ac:chgData name="El Bakkouri, Manal" userId="8b130982-2e3f-4164-b881-fd3a2e4b2453" providerId="ADAL" clId="{4457FA57-250B-44AC-8655-05D46C5A3D8A}" dt="2023-05-24T09:46:25.019" v="10590" actId="1076"/>
          <ac:grpSpMkLst>
            <pc:docMk/>
            <pc:sldMk cId="3069625997" sldId="230717651"/>
            <ac:grpSpMk id="105" creationId="{2D547F34-A333-4FD0-80BA-DE33221FDA53}"/>
          </ac:grpSpMkLst>
        </pc:grpChg>
        <pc:grpChg chg="add mod">
          <ac:chgData name="El Bakkouri, Manal" userId="8b130982-2e3f-4164-b881-fd3a2e4b2453" providerId="ADAL" clId="{4457FA57-250B-44AC-8655-05D46C5A3D8A}" dt="2023-05-24T10:07:54.531" v="10887" actId="207"/>
          <ac:grpSpMkLst>
            <pc:docMk/>
            <pc:sldMk cId="3069625997" sldId="230717651"/>
            <ac:grpSpMk id="117" creationId="{8A30DC2E-D851-465E-986D-E798BE546B6E}"/>
          </ac:grpSpMkLst>
        </pc:grpChg>
        <pc:grpChg chg="add mod">
          <ac:chgData name="El Bakkouri, Manal" userId="8b130982-2e3f-4164-b881-fd3a2e4b2453" providerId="ADAL" clId="{4457FA57-250B-44AC-8655-05D46C5A3D8A}" dt="2023-05-24T09:46:25.019" v="10590" actId="1076"/>
          <ac:grpSpMkLst>
            <pc:docMk/>
            <pc:sldMk cId="3069625997" sldId="230717651"/>
            <ac:grpSpMk id="130" creationId="{D191C6BE-07B7-470D-9C18-1D35E0AF0956}"/>
          </ac:grpSpMkLst>
        </pc:grpChg>
        <pc:grpChg chg="add del mod">
          <ac:chgData name="El Bakkouri, Manal" userId="8b130982-2e3f-4164-b881-fd3a2e4b2453" providerId="ADAL" clId="{4457FA57-250B-44AC-8655-05D46C5A3D8A}" dt="2023-05-24T10:02:31.712" v="10858" actId="478"/>
          <ac:grpSpMkLst>
            <pc:docMk/>
            <pc:sldMk cId="3069625997" sldId="230717651"/>
            <ac:grpSpMk id="139" creationId="{99A5D73C-749E-4993-AF0B-88A9BA284136}"/>
          </ac:grpSpMkLst>
        </pc:grpChg>
        <pc:grpChg chg="add mod">
          <ac:chgData name="El Bakkouri, Manal" userId="8b130982-2e3f-4164-b881-fd3a2e4b2453" providerId="ADAL" clId="{4457FA57-250B-44AC-8655-05D46C5A3D8A}" dt="2023-05-24T10:08:00.477" v="10889" actId="207"/>
          <ac:grpSpMkLst>
            <pc:docMk/>
            <pc:sldMk cId="3069625997" sldId="230717651"/>
            <ac:grpSpMk id="142" creationId="{CB89175E-DCC1-4ACE-8BD3-848334B10A1E}"/>
          </ac:grpSpMkLst>
        </pc:grpChg>
        <pc:grpChg chg="add mod">
          <ac:chgData name="El Bakkouri, Manal" userId="8b130982-2e3f-4164-b881-fd3a2e4b2453" providerId="ADAL" clId="{4457FA57-250B-44AC-8655-05D46C5A3D8A}" dt="2023-05-24T10:07:58.150" v="10888" actId="207"/>
          <ac:grpSpMkLst>
            <pc:docMk/>
            <pc:sldMk cId="3069625997" sldId="230717651"/>
            <ac:grpSpMk id="147" creationId="{B2DC2AE0-A730-4534-B904-0F9C30D284B2}"/>
          </ac:grpSpMkLst>
        </pc:grpChg>
        <pc:grpChg chg="add mod">
          <ac:chgData name="El Bakkouri, Manal" userId="8b130982-2e3f-4164-b881-fd3a2e4b2453" providerId="ADAL" clId="{4457FA57-250B-44AC-8655-05D46C5A3D8A}" dt="2023-05-24T09:46:25.019" v="10590" actId="1076"/>
          <ac:grpSpMkLst>
            <pc:docMk/>
            <pc:sldMk cId="3069625997" sldId="230717651"/>
            <ac:grpSpMk id="160" creationId="{650A6878-D095-4EEC-B532-2318EBCFAE48}"/>
          </ac:grpSpMkLst>
        </pc:grpChg>
        <pc:grpChg chg="add mod">
          <ac:chgData name="El Bakkouri, Manal" userId="8b130982-2e3f-4164-b881-fd3a2e4b2453" providerId="ADAL" clId="{4457FA57-250B-44AC-8655-05D46C5A3D8A}" dt="2023-05-24T09:46:25.019" v="10590" actId="1076"/>
          <ac:grpSpMkLst>
            <pc:docMk/>
            <pc:sldMk cId="3069625997" sldId="230717651"/>
            <ac:grpSpMk id="168" creationId="{117E9269-4352-41AD-B04F-824F08C6D6A0}"/>
          </ac:grpSpMkLst>
        </pc:grpChg>
        <pc:grpChg chg="add mod">
          <ac:chgData name="El Bakkouri, Manal" userId="8b130982-2e3f-4164-b881-fd3a2e4b2453" providerId="ADAL" clId="{4457FA57-250B-44AC-8655-05D46C5A3D8A}" dt="2023-05-24T09:46:25.019" v="10590" actId="1076"/>
          <ac:grpSpMkLst>
            <pc:docMk/>
            <pc:sldMk cId="3069625997" sldId="230717651"/>
            <ac:grpSpMk id="171" creationId="{D648C0DC-B2C0-4D58-964A-B217B2703815}"/>
          </ac:grpSpMkLst>
        </pc:grpChg>
        <pc:grpChg chg="add mod">
          <ac:chgData name="El Bakkouri, Manal" userId="8b130982-2e3f-4164-b881-fd3a2e4b2453" providerId="ADAL" clId="{4457FA57-250B-44AC-8655-05D46C5A3D8A}" dt="2023-05-24T09:46:25.019" v="10590" actId="1076"/>
          <ac:grpSpMkLst>
            <pc:docMk/>
            <pc:sldMk cId="3069625997" sldId="230717651"/>
            <ac:grpSpMk id="174" creationId="{2BA72605-7A28-4F18-AA66-75A869AB58BC}"/>
          </ac:grpSpMkLst>
        </pc:grpChg>
        <pc:grpChg chg="add del mod">
          <ac:chgData name="El Bakkouri, Manal" userId="8b130982-2e3f-4164-b881-fd3a2e4b2453" providerId="ADAL" clId="{4457FA57-250B-44AC-8655-05D46C5A3D8A}" dt="2023-05-24T09:57:13.042" v="10740" actId="164"/>
          <ac:grpSpMkLst>
            <pc:docMk/>
            <pc:sldMk cId="3069625997" sldId="230717651"/>
            <ac:grpSpMk id="177" creationId="{041F2CB2-4CBC-4593-BC0C-4B4C8A01741C}"/>
          </ac:grpSpMkLst>
        </pc:grpChg>
        <pc:grpChg chg="add del mod">
          <ac:chgData name="El Bakkouri, Manal" userId="8b130982-2e3f-4164-b881-fd3a2e4b2453" providerId="ADAL" clId="{4457FA57-250B-44AC-8655-05D46C5A3D8A}" dt="2023-05-24T09:57:13.040" v="10739" actId="164"/>
          <ac:grpSpMkLst>
            <pc:docMk/>
            <pc:sldMk cId="3069625997" sldId="230717651"/>
            <ac:grpSpMk id="178" creationId="{C253FE5B-A2C1-4E5D-9AB4-2350614D32AA}"/>
          </ac:grpSpMkLst>
        </pc:grpChg>
        <pc:grpChg chg="add del mod">
          <ac:chgData name="El Bakkouri, Manal" userId="8b130982-2e3f-4164-b881-fd3a2e4b2453" providerId="ADAL" clId="{4457FA57-250B-44AC-8655-05D46C5A3D8A}" dt="2023-05-24T09:57:13.037" v="10738" actId="164"/>
          <ac:grpSpMkLst>
            <pc:docMk/>
            <pc:sldMk cId="3069625997" sldId="230717651"/>
            <ac:grpSpMk id="179" creationId="{EDD41669-8648-4839-A468-DC5878E4953C}"/>
          </ac:grpSpMkLst>
        </pc:grpChg>
        <pc:grpChg chg="add del mod">
          <ac:chgData name="El Bakkouri, Manal" userId="8b130982-2e3f-4164-b881-fd3a2e4b2453" providerId="ADAL" clId="{4457FA57-250B-44AC-8655-05D46C5A3D8A}" dt="2023-05-24T09:57:13.035" v="10737" actId="164"/>
          <ac:grpSpMkLst>
            <pc:docMk/>
            <pc:sldMk cId="3069625997" sldId="230717651"/>
            <ac:grpSpMk id="180" creationId="{5ED59669-5AED-4DB7-9ABA-E874BD130133}"/>
          </ac:grpSpMkLst>
        </pc:grpChg>
        <pc:grpChg chg="add del mod">
          <ac:chgData name="El Bakkouri, Manal" userId="8b130982-2e3f-4164-b881-fd3a2e4b2453" providerId="ADAL" clId="{4457FA57-250B-44AC-8655-05D46C5A3D8A}" dt="2023-05-24T09:57:13.031" v="10734" actId="164"/>
          <ac:grpSpMkLst>
            <pc:docMk/>
            <pc:sldMk cId="3069625997" sldId="230717651"/>
            <ac:grpSpMk id="181" creationId="{BB34D31C-A3FF-4EC8-AEF2-E1DE4D2FF716}"/>
          </ac:grpSpMkLst>
        </pc:grpChg>
        <pc:picChg chg="add mod">
          <ac:chgData name="El Bakkouri, Manal" userId="8b130982-2e3f-4164-b881-fd3a2e4b2453" providerId="ADAL" clId="{4457FA57-250B-44AC-8655-05D46C5A3D8A}" dt="2023-05-24T10:07:48.609" v="10886" actId="208"/>
          <ac:picMkLst>
            <pc:docMk/>
            <pc:sldMk cId="3069625997" sldId="230717651"/>
            <ac:picMk id="192" creationId="{39C36B60-F718-409D-B01B-67D88AC66C4B}"/>
          </ac:picMkLst>
        </pc:picChg>
        <pc:picChg chg="add del mod">
          <ac:chgData name="El Bakkouri, Manal" userId="8b130982-2e3f-4164-b881-fd3a2e4b2453" providerId="ADAL" clId="{4457FA57-250B-44AC-8655-05D46C5A3D8A}" dt="2023-05-24T10:14:01.465" v="11138" actId="478"/>
          <ac:picMkLst>
            <pc:docMk/>
            <pc:sldMk cId="3069625997" sldId="230717651"/>
            <ac:picMk id="194" creationId="{87088658-CD74-455E-960F-7B036D6F28EF}"/>
          </ac:picMkLst>
        </pc:picChg>
        <pc:picChg chg="add mod">
          <ac:chgData name="El Bakkouri, Manal" userId="8b130982-2e3f-4164-b881-fd3a2e4b2453" providerId="ADAL" clId="{4457FA57-250B-44AC-8655-05D46C5A3D8A}" dt="2023-05-24T10:15:09.175" v="11146" actId="207"/>
          <ac:picMkLst>
            <pc:docMk/>
            <pc:sldMk cId="3069625997" sldId="230717651"/>
            <ac:picMk id="196" creationId="{A71A4240-B3EE-46A5-8914-2B8388675F3E}"/>
          </ac:picMkLst>
        </pc:picChg>
        <pc:picChg chg="add mod ord">
          <ac:chgData name="El Bakkouri, Manal" userId="8b130982-2e3f-4164-b881-fd3a2e4b2453" providerId="ADAL" clId="{4457FA57-250B-44AC-8655-05D46C5A3D8A}" dt="2023-05-31T10:36:53.881" v="14275" actId="14100"/>
          <ac:picMkLst>
            <pc:docMk/>
            <pc:sldMk cId="3069625997" sldId="230717651"/>
            <ac:picMk id="197" creationId="{433D543E-4A4A-4BFD-8E7D-824B01539647}"/>
          </ac:picMkLst>
        </pc:picChg>
        <pc:cxnChg chg="add del mod">
          <ac:chgData name="El Bakkouri, Manal" userId="8b130982-2e3f-4164-b881-fd3a2e4b2453" providerId="ADAL" clId="{4457FA57-250B-44AC-8655-05D46C5A3D8A}" dt="2023-05-24T09:45:39.541" v="10588" actId="478"/>
          <ac:cxnSpMkLst>
            <pc:docMk/>
            <pc:sldMk cId="3069625997" sldId="230717651"/>
            <ac:cxnSpMk id="33" creationId="{91465132-A360-453A-BAA3-5D48DFE781AE}"/>
          </ac:cxnSpMkLst>
        </pc:cxnChg>
        <pc:cxnChg chg="add del mod">
          <ac:chgData name="El Bakkouri, Manal" userId="8b130982-2e3f-4164-b881-fd3a2e4b2453" providerId="ADAL" clId="{4457FA57-250B-44AC-8655-05D46C5A3D8A}" dt="2023-05-24T09:45:39.541" v="10588" actId="478"/>
          <ac:cxnSpMkLst>
            <pc:docMk/>
            <pc:sldMk cId="3069625997" sldId="230717651"/>
            <ac:cxnSpMk id="34" creationId="{DC23F70F-9DDF-4015-A313-C3F415C52032}"/>
          </ac:cxnSpMkLst>
        </pc:cxnChg>
        <pc:cxnChg chg="add del mod">
          <ac:chgData name="El Bakkouri, Manal" userId="8b130982-2e3f-4164-b881-fd3a2e4b2453" providerId="ADAL" clId="{4457FA57-250B-44AC-8655-05D46C5A3D8A}" dt="2023-05-24T09:45:39.541" v="10588" actId="478"/>
          <ac:cxnSpMkLst>
            <pc:docMk/>
            <pc:sldMk cId="3069625997" sldId="230717651"/>
            <ac:cxnSpMk id="35" creationId="{0B095F07-EEC7-446E-8AE7-25D213E3DD75}"/>
          </ac:cxnSpMkLst>
        </pc:cxnChg>
        <pc:cxnChg chg="add del mod">
          <ac:chgData name="El Bakkouri, Manal" userId="8b130982-2e3f-4164-b881-fd3a2e4b2453" providerId="ADAL" clId="{4457FA57-250B-44AC-8655-05D46C5A3D8A}" dt="2023-05-24T09:45:39.541" v="10588" actId="478"/>
          <ac:cxnSpMkLst>
            <pc:docMk/>
            <pc:sldMk cId="3069625997" sldId="230717651"/>
            <ac:cxnSpMk id="36" creationId="{7473A2E0-B4AC-4A53-82F8-C2405B8C8AC2}"/>
          </ac:cxnSpMkLst>
        </pc:cxnChg>
        <pc:cxnChg chg="mod">
          <ac:chgData name="El Bakkouri, Manal" userId="8b130982-2e3f-4164-b881-fd3a2e4b2453" providerId="ADAL" clId="{4457FA57-250B-44AC-8655-05D46C5A3D8A}" dt="2023-05-24T09:45:37.386" v="10587" actId="1076"/>
          <ac:cxnSpMkLst>
            <pc:docMk/>
            <pc:sldMk cId="3069625997" sldId="230717651"/>
            <ac:cxnSpMk id="51" creationId="{8D134EFA-CC72-4203-963F-AE8EE06EABAF}"/>
          </ac:cxnSpMkLst>
        </pc:cxnChg>
        <pc:cxnChg chg="mod">
          <ac:chgData name="El Bakkouri, Manal" userId="8b130982-2e3f-4164-b881-fd3a2e4b2453" providerId="ADAL" clId="{4457FA57-250B-44AC-8655-05D46C5A3D8A}" dt="2023-05-24T09:45:37.386" v="10587" actId="1076"/>
          <ac:cxnSpMkLst>
            <pc:docMk/>
            <pc:sldMk cId="3069625997" sldId="230717651"/>
            <ac:cxnSpMk id="52" creationId="{96044ACE-8831-4A3A-8891-68E942566379}"/>
          </ac:cxnSpMkLst>
        </pc:cxnChg>
        <pc:cxnChg chg="mod">
          <ac:chgData name="El Bakkouri, Manal" userId="8b130982-2e3f-4164-b881-fd3a2e4b2453" providerId="ADAL" clId="{4457FA57-250B-44AC-8655-05D46C5A3D8A}" dt="2023-05-24T09:45:37.386" v="10587" actId="1076"/>
          <ac:cxnSpMkLst>
            <pc:docMk/>
            <pc:sldMk cId="3069625997" sldId="230717651"/>
            <ac:cxnSpMk id="53" creationId="{7DEE2138-2F5A-4272-BAD5-F4537FF426C2}"/>
          </ac:cxnSpMkLst>
        </pc:cxnChg>
        <pc:cxnChg chg="mod">
          <ac:chgData name="El Bakkouri, Manal" userId="8b130982-2e3f-4164-b881-fd3a2e4b2453" providerId="ADAL" clId="{4457FA57-250B-44AC-8655-05D46C5A3D8A}" dt="2023-05-24T09:45:37.386" v="10587" actId="1076"/>
          <ac:cxnSpMkLst>
            <pc:docMk/>
            <pc:sldMk cId="3069625997" sldId="230717651"/>
            <ac:cxnSpMk id="54" creationId="{049A3604-5E44-4A41-9CCB-802841F93AFC}"/>
          </ac:cxnSpMkLst>
        </pc:cxnChg>
        <pc:cxnChg chg="mod">
          <ac:chgData name="El Bakkouri, Manal" userId="8b130982-2e3f-4164-b881-fd3a2e4b2453" providerId="ADAL" clId="{4457FA57-250B-44AC-8655-05D46C5A3D8A}" dt="2023-05-24T09:45:37.386" v="10587" actId="1076"/>
          <ac:cxnSpMkLst>
            <pc:docMk/>
            <pc:sldMk cId="3069625997" sldId="230717651"/>
            <ac:cxnSpMk id="55" creationId="{C0E8FC55-7E2B-4FEF-82FF-859861635912}"/>
          </ac:cxnSpMkLst>
        </pc:cxnChg>
        <pc:cxnChg chg="mod">
          <ac:chgData name="El Bakkouri, Manal" userId="8b130982-2e3f-4164-b881-fd3a2e4b2453" providerId="ADAL" clId="{4457FA57-250B-44AC-8655-05D46C5A3D8A}" dt="2023-05-24T09:45:37.386" v="10587" actId="1076"/>
          <ac:cxnSpMkLst>
            <pc:docMk/>
            <pc:sldMk cId="3069625997" sldId="230717651"/>
            <ac:cxnSpMk id="56" creationId="{B4510275-9A07-476C-8EA9-8A21494692C8}"/>
          </ac:cxnSpMkLst>
        </pc:cxnChg>
        <pc:cxnChg chg="mod">
          <ac:chgData name="El Bakkouri, Manal" userId="8b130982-2e3f-4164-b881-fd3a2e4b2453" providerId="ADAL" clId="{4457FA57-250B-44AC-8655-05D46C5A3D8A}" dt="2023-05-24T09:45:37.386" v="10587" actId="1076"/>
          <ac:cxnSpMkLst>
            <pc:docMk/>
            <pc:sldMk cId="3069625997" sldId="230717651"/>
            <ac:cxnSpMk id="57" creationId="{C0734A37-9570-4FF9-8B13-1CCB8E8E38AE}"/>
          </ac:cxnSpMkLst>
        </pc:cxnChg>
        <pc:cxnChg chg="add del mod">
          <ac:chgData name="El Bakkouri, Manal" userId="8b130982-2e3f-4164-b881-fd3a2e4b2453" providerId="ADAL" clId="{4457FA57-250B-44AC-8655-05D46C5A3D8A}" dt="2023-05-24T09:45:39.541" v="10588" actId="478"/>
          <ac:cxnSpMkLst>
            <pc:docMk/>
            <pc:sldMk cId="3069625997" sldId="230717651"/>
            <ac:cxnSpMk id="58" creationId="{7F803F9C-97AC-4DA6-9553-AF685A051176}"/>
          </ac:cxnSpMkLst>
        </pc:cxnChg>
        <pc:cxnChg chg="mod">
          <ac:chgData name="El Bakkouri, Manal" userId="8b130982-2e3f-4164-b881-fd3a2e4b2453" providerId="ADAL" clId="{4457FA57-250B-44AC-8655-05D46C5A3D8A}" dt="2023-05-24T09:45:37.386" v="10587" actId="1076"/>
          <ac:cxnSpMkLst>
            <pc:docMk/>
            <pc:sldMk cId="3069625997" sldId="230717651"/>
            <ac:cxnSpMk id="81" creationId="{25714E72-807C-48A4-A6E7-9E526BDA3B00}"/>
          </ac:cxnSpMkLst>
        </pc:cxnChg>
        <pc:cxnChg chg="mod">
          <ac:chgData name="El Bakkouri, Manal" userId="8b130982-2e3f-4164-b881-fd3a2e4b2453" providerId="ADAL" clId="{4457FA57-250B-44AC-8655-05D46C5A3D8A}" dt="2023-05-24T09:45:37.386" v="10587" actId="1076"/>
          <ac:cxnSpMkLst>
            <pc:docMk/>
            <pc:sldMk cId="3069625997" sldId="230717651"/>
            <ac:cxnSpMk id="82" creationId="{5C6A21FF-F516-44C7-BD84-0A10BF086126}"/>
          </ac:cxnSpMkLst>
        </pc:cxnChg>
        <pc:cxnChg chg="add del mod">
          <ac:chgData name="El Bakkouri, Manal" userId="8b130982-2e3f-4164-b881-fd3a2e4b2453" providerId="ADAL" clId="{4457FA57-250B-44AC-8655-05D46C5A3D8A}" dt="2023-05-24T09:45:39.541" v="10588" actId="478"/>
          <ac:cxnSpMkLst>
            <pc:docMk/>
            <pc:sldMk cId="3069625997" sldId="230717651"/>
            <ac:cxnSpMk id="87" creationId="{25103015-8348-417A-B67F-6006E80DD759}"/>
          </ac:cxnSpMkLst>
        </pc:cxnChg>
        <pc:cxnChg chg="mod">
          <ac:chgData name="El Bakkouri, Manal" userId="8b130982-2e3f-4164-b881-fd3a2e4b2453" providerId="ADAL" clId="{4457FA57-250B-44AC-8655-05D46C5A3D8A}" dt="2023-05-24T09:45:37.386" v="10587" actId="1076"/>
          <ac:cxnSpMkLst>
            <pc:docMk/>
            <pc:sldMk cId="3069625997" sldId="230717651"/>
            <ac:cxnSpMk id="89" creationId="{0402E70D-FAB1-4E40-9738-F95675DCF294}"/>
          </ac:cxnSpMkLst>
        </pc:cxnChg>
        <pc:cxnChg chg="mod">
          <ac:chgData name="El Bakkouri, Manal" userId="8b130982-2e3f-4164-b881-fd3a2e4b2453" providerId="ADAL" clId="{4457FA57-250B-44AC-8655-05D46C5A3D8A}" dt="2023-05-24T09:45:37.386" v="10587" actId="1076"/>
          <ac:cxnSpMkLst>
            <pc:docMk/>
            <pc:sldMk cId="3069625997" sldId="230717651"/>
            <ac:cxnSpMk id="90" creationId="{B8D1BD6A-D41B-485D-ADE5-56DA56F6203C}"/>
          </ac:cxnSpMkLst>
        </pc:cxnChg>
        <pc:cxnChg chg="mod">
          <ac:chgData name="El Bakkouri, Manal" userId="8b130982-2e3f-4164-b881-fd3a2e4b2453" providerId="ADAL" clId="{4457FA57-250B-44AC-8655-05D46C5A3D8A}" dt="2023-05-24T09:45:37.386" v="10587" actId="1076"/>
          <ac:cxnSpMkLst>
            <pc:docMk/>
            <pc:sldMk cId="3069625997" sldId="230717651"/>
            <ac:cxnSpMk id="92" creationId="{4AE2BA4C-4705-412C-BD09-84AF3752B45D}"/>
          </ac:cxnSpMkLst>
        </pc:cxnChg>
        <pc:cxnChg chg="mod">
          <ac:chgData name="El Bakkouri, Manal" userId="8b130982-2e3f-4164-b881-fd3a2e4b2453" providerId="ADAL" clId="{4457FA57-250B-44AC-8655-05D46C5A3D8A}" dt="2023-05-24T09:45:37.386" v="10587" actId="1076"/>
          <ac:cxnSpMkLst>
            <pc:docMk/>
            <pc:sldMk cId="3069625997" sldId="230717651"/>
            <ac:cxnSpMk id="93" creationId="{0D14862E-4F3F-4523-AEE4-E3A52BEDDA0E}"/>
          </ac:cxnSpMkLst>
        </pc:cxnChg>
        <pc:cxnChg chg="mod">
          <ac:chgData name="El Bakkouri, Manal" userId="8b130982-2e3f-4164-b881-fd3a2e4b2453" providerId="ADAL" clId="{4457FA57-250B-44AC-8655-05D46C5A3D8A}" dt="2023-05-24T09:45:37.386" v="10587" actId="1076"/>
          <ac:cxnSpMkLst>
            <pc:docMk/>
            <pc:sldMk cId="3069625997" sldId="230717651"/>
            <ac:cxnSpMk id="95" creationId="{7B811118-A0AA-4060-B836-BBB2C3E99AF0}"/>
          </ac:cxnSpMkLst>
        </pc:cxnChg>
        <pc:cxnChg chg="mod">
          <ac:chgData name="El Bakkouri, Manal" userId="8b130982-2e3f-4164-b881-fd3a2e4b2453" providerId="ADAL" clId="{4457FA57-250B-44AC-8655-05D46C5A3D8A}" dt="2023-05-24T09:45:37.386" v="10587" actId="1076"/>
          <ac:cxnSpMkLst>
            <pc:docMk/>
            <pc:sldMk cId="3069625997" sldId="230717651"/>
            <ac:cxnSpMk id="96" creationId="{AF57AE41-F913-4067-909D-C85219FF81B8}"/>
          </ac:cxnSpMkLst>
        </pc:cxnChg>
        <pc:cxnChg chg="add mod topLvl">
          <ac:chgData name="El Bakkouri, Manal" userId="8b130982-2e3f-4164-b881-fd3a2e4b2453" providerId="ADAL" clId="{4457FA57-250B-44AC-8655-05D46C5A3D8A}" dt="2023-05-24T10:09:53.043" v="11132" actId="692"/>
          <ac:cxnSpMkLst>
            <pc:docMk/>
            <pc:sldMk cId="3069625997" sldId="230717651"/>
            <ac:cxnSpMk id="113" creationId="{1E6E7BF2-796F-4EBB-9302-C3A7D571CC0D}"/>
          </ac:cxnSpMkLst>
        </pc:cxnChg>
        <pc:cxnChg chg="add mod topLvl">
          <ac:chgData name="El Bakkouri, Manal" userId="8b130982-2e3f-4164-b881-fd3a2e4b2453" providerId="ADAL" clId="{4457FA57-250B-44AC-8655-05D46C5A3D8A}" dt="2023-05-24T10:09:53.043" v="11132" actId="692"/>
          <ac:cxnSpMkLst>
            <pc:docMk/>
            <pc:sldMk cId="3069625997" sldId="230717651"/>
            <ac:cxnSpMk id="114" creationId="{B75E0AC9-664B-4AD8-8B7B-6A22454CC18D}"/>
          </ac:cxnSpMkLst>
        </pc:cxnChg>
        <pc:cxnChg chg="add mod topLvl">
          <ac:chgData name="El Bakkouri, Manal" userId="8b130982-2e3f-4164-b881-fd3a2e4b2453" providerId="ADAL" clId="{4457FA57-250B-44AC-8655-05D46C5A3D8A}" dt="2023-05-24T10:09:53.043" v="11132" actId="692"/>
          <ac:cxnSpMkLst>
            <pc:docMk/>
            <pc:sldMk cId="3069625997" sldId="230717651"/>
            <ac:cxnSpMk id="115" creationId="{095B2AAB-C822-4FC8-B7A6-64ACF0B67093}"/>
          </ac:cxnSpMkLst>
        </pc:cxnChg>
        <pc:cxnChg chg="add mod topLvl">
          <ac:chgData name="El Bakkouri, Manal" userId="8b130982-2e3f-4164-b881-fd3a2e4b2453" providerId="ADAL" clId="{4457FA57-250B-44AC-8655-05D46C5A3D8A}" dt="2023-05-24T10:09:53.043" v="11132" actId="692"/>
          <ac:cxnSpMkLst>
            <pc:docMk/>
            <pc:sldMk cId="3069625997" sldId="230717651"/>
            <ac:cxnSpMk id="116" creationId="{B3E1AD7E-FAB4-42CD-A061-838B1AC95181}"/>
          </ac:cxnSpMkLst>
        </pc:cxnChg>
        <pc:cxnChg chg="mod">
          <ac:chgData name="El Bakkouri, Manal" userId="8b130982-2e3f-4164-b881-fd3a2e4b2453" providerId="ADAL" clId="{4457FA57-250B-44AC-8655-05D46C5A3D8A}" dt="2023-05-24T09:46:25.019" v="10590" actId="1076"/>
          <ac:cxnSpMkLst>
            <pc:docMk/>
            <pc:sldMk cId="3069625997" sldId="230717651"/>
            <ac:cxnSpMk id="131" creationId="{7AEDD64B-F6A0-411F-A215-59E360397ED3}"/>
          </ac:cxnSpMkLst>
        </pc:cxnChg>
        <pc:cxnChg chg="mod">
          <ac:chgData name="El Bakkouri, Manal" userId="8b130982-2e3f-4164-b881-fd3a2e4b2453" providerId="ADAL" clId="{4457FA57-250B-44AC-8655-05D46C5A3D8A}" dt="2023-05-24T09:46:25.019" v="10590" actId="1076"/>
          <ac:cxnSpMkLst>
            <pc:docMk/>
            <pc:sldMk cId="3069625997" sldId="230717651"/>
            <ac:cxnSpMk id="132" creationId="{42476D89-3B9C-4A20-B616-70DF2A170F14}"/>
          </ac:cxnSpMkLst>
        </pc:cxnChg>
        <pc:cxnChg chg="mod">
          <ac:chgData name="El Bakkouri, Manal" userId="8b130982-2e3f-4164-b881-fd3a2e4b2453" providerId="ADAL" clId="{4457FA57-250B-44AC-8655-05D46C5A3D8A}" dt="2023-05-24T09:46:25.019" v="10590" actId="1076"/>
          <ac:cxnSpMkLst>
            <pc:docMk/>
            <pc:sldMk cId="3069625997" sldId="230717651"/>
            <ac:cxnSpMk id="133" creationId="{2E7C03A8-CDBD-441C-8B57-758728648881}"/>
          </ac:cxnSpMkLst>
        </pc:cxnChg>
        <pc:cxnChg chg="mod">
          <ac:chgData name="El Bakkouri, Manal" userId="8b130982-2e3f-4164-b881-fd3a2e4b2453" providerId="ADAL" clId="{4457FA57-250B-44AC-8655-05D46C5A3D8A}" dt="2023-05-24T09:46:25.019" v="10590" actId="1076"/>
          <ac:cxnSpMkLst>
            <pc:docMk/>
            <pc:sldMk cId="3069625997" sldId="230717651"/>
            <ac:cxnSpMk id="134" creationId="{45C27306-1E5A-40C3-A4CE-CC2879B71DDC}"/>
          </ac:cxnSpMkLst>
        </pc:cxnChg>
        <pc:cxnChg chg="mod">
          <ac:chgData name="El Bakkouri, Manal" userId="8b130982-2e3f-4164-b881-fd3a2e4b2453" providerId="ADAL" clId="{4457FA57-250B-44AC-8655-05D46C5A3D8A}" dt="2023-05-24T09:46:25.019" v="10590" actId="1076"/>
          <ac:cxnSpMkLst>
            <pc:docMk/>
            <pc:sldMk cId="3069625997" sldId="230717651"/>
            <ac:cxnSpMk id="135" creationId="{3C9650CE-8A88-4B95-8490-E48504C22BBF}"/>
          </ac:cxnSpMkLst>
        </pc:cxnChg>
        <pc:cxnChg chg="mod">
          <ac:chgData name="El Bakkouri, Manal" userId="8b130982-2e3f-4164-b881-fd3a2e4b2453" providerId="ADAL" clId="{4457FA57-250B-44AC-8655-05D46C5A3D8A}" dt="2023-05-24T09:46:25.019" v="10590" actId="1076"/>
          <ac:cxnSpMkLst>
            <pc:docMk/>
            <pc:sldMk cId="3069625997" sldId="230717651"/>
            <ac:cxnSpMk id="136" creationId="{ED555D16-EC2E-4544-840C-B7A8A96BC3E6}"/>
          </ac:cxnSpMkLst>
        </pc:cxnChg>
        <pc:cxnChg chg="mod">
          <ac:chgData name="El Bakkouri, Manal" userId="8b130982-2e3f-4164-b881-fd3a2e4b2453" providerId="ADAL" clId="{4457FA57-250B-44AC-8655-05D46C5A3D8A}" dt="2023-05-24T09:46:25.019" v="10590" actId="1076"/>
          <ac:cxnSpMkLst>
            <pc:docMk/>
            <pc:sldMk cId="3069625997" sldId="230717651"/>
            <ac:cxnSpMk id="137" creationId="{79923987-8152-49E7-A701-CC29BE9203FD}"/>
          </ac:cxnSpMkLst>
        </pc:cxnChg>
        <pc:cxnChg chg="add mod topLvl">
          <ac:chgData name="El Bakkouri, Manal" userId="8b130982-2e3f-4164-b881-fd3a2e4b2453" providerId="ADAL" clId="{4457FA57-250B-44AC-8655-05D46C5A3D8A}" dt="2023-05-24T10:09:53.043" v="11132" actId="692"/>
          <ac:cxnSpMkLst>
            <pc:docMk/>
            <pc:sldMk cId="3069625997" sldId="230717651"/>
            <ac:cxnSpMk id="138" creationId="{094DC9AC-4CEA-4543-843A-EACEF94A5898}"/>
          </ac:cxnSpMkLst>
        </pc:cxnChg>
        <pc:cxnChg chg="mod">
          <ac:chgData name="El Bakkouri, Manal" userId="8b130982-2e3f-4164-b881-fd3a2e4b2453" providerId="ADAL" clId="{4457FA57-250B-44AC-8655-05D46C5A3D8A}" dt="2023-05-24T09:46:25.019" v="10590" actId="1076"/>
          <ac:cxnSpMkLst>
            <pc:docMk/>
            <pc:sldMk cId="3069625997" sldId="230717651"/>
            <ac:cxnSpMk id="161" creationId="{7518AE1B-E146-4566-9529-933F9DE87E01}"/>
          </ac:cxnSpMkLst>
        </pc:cxnChg>
        <pc:cxnChg chg="mod">
          <ac:chgData name="El Bakkouri, Manal" userId="8b130982-2e3f-4164-b881-fd3a2e4b2453" providerId="ADAL" clId="{4457FA57-250B-44AC-8655-05D46C5A3D8A}" dt="2023-05-24T09:46:25.019" v="10590" actId="1076"/>
          <ac:cxnSpMkLst>
            <pc:docMk/>
            <pc:sldMk cId="3069625997" sldId="230717651"/>
            <ac:cxnSpMk id="162" creationId="{9D355EBD-9988-4AB5-8246-86B069C73B73}"/>
          </ac:cxnSpMkLst>
        </pc:cxnChg>
        <pc:cxnChg chg="add mod">
          <ac:chgData name="El Bakkouri, Manal" userId="8b130982-2e3f-4164-b881-fd3a2e4b2453" providerId="ADAL" clId="{4457FA57-250B-44AC-8655-05D46C5A3D8A}" dt="2023-05-24T09:46:25.019" v="10590" actId="1076"/>
          <ac:cxnSpMkLst>
            <pc:docMk/>
            <pc:sldMk cId="3069625997" sldId="230717651"/>
            <ac:cxnSpMk id="167" creationId="{10A29C1B-9609-4A87-A67F-E0BA614663C8}"/>
          </ac:cxnSpMkLst>
        </pc:cxnChg>
        <pc:cxnChg chg="mod">
          <ac:chgData name="El Bakkouri, Manal" userId="8b130982-2e3f-4164-b881-fd3a2e4b2453" providerId="ADAL" clId="{4457FA57-250B-44AC-8655-05D46C5A3D8A}" dt="2023-05-24T09:46:25.019" v="10590" actId="1076"/>
          <ac:cxnSpMkLst>
            <pc:docMk/>
            <pc:sldMk cId="3069625997" sldId="230717651"/>
            <ac:cxnSpMk id="169" creationId="{CA548332-D96C-48EA-8266-A216FF9AC707}"/>
          </ac:cxnSpMkLst>
        </pc:cxnChg>
        <pc:cxnChg chg="mod">
          <ac:chgData name="El Bakkouri, Manal" userId="8b130982-2e3f-4164-b881-fd3a2e4b2453" providerId="ADAL" clId="{4457FA57-250B-44AC-8655-05D46C5A3D8A}" dt="2023-05-24T09:46:25.019" v="10590" actId="1076"/>
          <ac:cxnSpMkLst>
            <pc:docMk/>
            <pc:sldMk cId="3069625997" sldId="230717651"/>
            <ac:cxnSpMk id="170" creationId="{33626955-143E-4462-8CF5-375657A1093F}"/>
          </ac:cxnSpMkLst>
        </pc:cxnChg>
        <pc:cxnChg chg="mod">
          <ac:chgData name="El Bakkouri, Manal" userId="8b130982-2e3f-4164-b881-fd3a2e4b2453" providerId="ADAL" clId="{4457FA57-250B-44AC-8655-05D46C5A3D8A}" dt="2023-05-24T09:46:25.019" v="10590" actId="1076"/>
          <ac:cxnSpMkLst>
            <pc:docMk/>
            <pc:sldMk cId="3069625997" sldId="230717651"/>
            <ac:cxnSpMk id="172" creationId="{46289570-E29E-4D75-9EB9-6C2A0D6DC3BA}"/>
          </ac:cxnSpMkLst>
        </pc:cxnChg>
        <pc:cxnChg chg="mod">
          <ac:chgData name="El Bakkouri, Manal" userId="8b130982-2e3f-4164-b881-fd3a2e4b2453" providerId="ADAL" clId="{4457FA57-250B-44AC-8655-05D46C5A3D8A}" dt="2023-05-24T09:46:25.019" v="10590" actId="1076"/>
          <ac:cxnSpMkLst>
            <pc:docMk/>
            <pc:sldMk cId="3069625997" sldId="230717651"/>
            <ac:cxnSpMk id="173" creationId="{3A8810B1-F86C-46C4-8016-CA1B5A52CB1E}"/>
          </ac:cxnSpMkLst>
        </pc:cxnChg>
        <pc:cxnChg chg="mod">
          <ac:chgData name="El Bakkouri, Manal" userId="8b130982-2e3f-4164-b881-fd3a2e4b2453" providerId="ADAL" clId="{4457FA57-250B-44AC-8655-05D46C5A3D8A}" dt="2023-05-24T09:46:25.019" v="10590" actId="1076"/>
          <ac:cxnSpMkLst>
            <pc:docMk/>
            <pc:sldMk cId="3069625997" sldId="230717651"/>
            <ac:cxnSpMk id="175" creationId="{BB9EAB84-DB06-4FD7-B592-526B72E33B9A}"/>
          </ac:cxnSpMkLst>
        </pc:cxnChg>
        <pc:cxnChg chg="mod">
          <ac:chgData name="El Bakkouri, Manal" userId="8b130982-2e3f-4164-b881-fd3a2e4b2453" providerId="ADAL" clId="{4457FA57-250B-44AC-8655-05D46C5A3D8A}" dt="2023-05-24T09:46:25.019" v="10590" actId="1076"/>
          <ac:cxnSpMkLst>
            <pc:docMk/>
            <pc:sldMk cId="3069625997" sldId="230717651"/>
            <ac:cxnSpMk id="176" creationId="{C14E4293-BF6A-4862-8770-EF5AD2FE7B6D}"/>
          </ac:cxnSpMkLst>
        </pc:cxnChg>
      </pc:sldChg>
      <pc:sldChg chg="addSp delSp modSp new mod modTransition addAnim delAnim modAnim">
        <pc:chgData name="El Bakkouri, Manal" userId="8b130982-2e3f-4164-b881-fd3a2e4b2453" providerId="ADAL" clId="{4457FA57-250B-44AC-8655-05D46C5A3D8A}" dt="2023-05-30T19:57:03.920" v="14273" actId="554"/>
        <pc:sldMkLst>
          <pc:docMk/>
          <pc:sldMk cId="3670059666" sldId="230717652"/>
        </pc:sldMkLst>
        <pc:spChg chg="del">
          <ac:chgData name="El Bakkouri, Manal" userId="8b130982-2e3f-4164-b881-fd3a2e4b2453" providerId="ADAL" clId="{4457FA57-250B-44AC-8655-05D46C5A3D8A}" dt="2023-05-24T10:16:56.790" v="11149" actId="478"/>
          <ac:spMkLst>
            <pc:docMk/>
            <pc:sldMk cId="3670059666" sldId="230717652"/>
            <ac:spMk id="2" creationId="{759656AC-E8B4-4DE2-8C19-7DE17AD9EBD3}"/>
          </ac:spMkLst>
        </pc:spChg>
        <pc:spChg chg="del">
          <ac:chgData name="El Bakkouri, Manal" userId="8b130982-2e3f-4164-b881-fd3a2e4b2453" providerId="ADAL" clId="{4457FA57-250B-44AC-8655-05D46C5A3D8A}" dt="2023-05-24T10:16:57.764" v="11150" actId="478"/>
          <ac:spMkLst>
            <pc:docMk/>
            <pc:sldMk cId="3670059666" sldId="230717652"/>
            <ac:spMk id="3" creationId="{E5A521EA-9192-4688-A723-EF1BDA82D1F8}"/>
          </ac:spMkLst>
        </pc:spChg>
        <pc:spChg chg="del">
          <ac:chgData name="El Bakkouri, Manal" userId="8b130982-2e3f-4164-b881-fd3a2e4b2453" providerId="ADAL" clId="{4457FA57-250B-44AC-8655-05D46C5A3D8A}" dt="2023-05-24T10:16:58.456" v="11151" actId="478"/>
          <ac:spMkLst>
            <pc:docMk/>
            <pc:sldMk cId="3670059666" sldId="230717652"/>
            <ac:spMk id="4" creationId="{0027DDFA-3855-4415-AFC3-06F24CDC8EC5}"/>
          </ac:spMkLst>
        </pc:spChg>
        <pc:spChg chg="add del mod">
          <ac:chgData name="El Bakkouri, Manal" userId="8b130982-2e3f-4164-b881-fd3a2e4b2453" providerId="ADAL" clId="{4457FA57-250B-44AC-8655-05D46C5A3D8A}" dt="2023-05-24T16:47:47.835" v="13246" actId="478"/>
          <ac:spMkLst>
            <pc:docMk/>
            <pc:sldMk cId="3670059666" sldId="230717652"/>
            <ac:spMk id="5" creationId="{95F27920-D090-4BE1-8ACD-2E4C8D860426}"/>
          </ac:spMkLst>
        </pc:spChg>
        <pc:spChg chg="add mod">
          <ac:chgData name="El Bakkouri, Manal" userId="8b130982-2e3f-4164-b881-fd3a2e4b2453" providerId="ADAL" clId="{4457FA57-250B-44AC-8655-05D46C5A3D8A}" dt="2023-05-24T10:17:00.365" v="11152"/>
          <ac:spMkLst>
            <pc:docMk/>
            <pc:sldMk cId="3670059666" sldId="230717652"/>
            <ac:spMk id="6" creationId="{643CD300-2A1D-4C83-96C9-7DDB285DDE1D}"/>
          </ac:spMkLst>
        </pc:spChg>
        <pc:spChg chg="add mod">
          <ac:chgData name="El Bakkouri, Manal" userId="8b130982-2e3f-4164-b881-fd3a2e4b2453" providerId="ADAL" clId="{4457FA57-250B-44AC-8655-05D46C5A3D8A}" dt="2023-05-24T10:17:00.365" v="11152"/>
          <ac:spMkLst>
            <pc:docMk/>
            <pc:sldMk cId="3670059666" sldId="230717652"/>
            <ac:spMk id="7" creationId="{3B49FFF7-C032-48D8-80FF-DEDF972B38A6}"/>
          </ac:spMkLst>
        </pc:spChg>
        <pc:spChg chg="add mod">
          <ac:chgData name="El Bakkouri, Manal" userId="8b130982-2e3f-4164-b881-fd3a2e4b2453" providerId="ADAL" clId="{4457FA57-250B-44AC-8655-05D46C5A3D8A}" dt="2023-05-24T10:17:00.365" v="11152"/>
          <ac:spMkLst>
            <pc:docMk/>
            <pc:sldMk cId="3670059666" sldId="230717652"/>
            <ac:spMk id="8" creationId="{5703223C-9185-4E42-A6E2-07E55B7ED4AB}"/>
          </ac:spMkLst>
        </pc:spChg>
        <pc:spChg chg="add mod">
          <ac:chgData name="El Bakkouri, Manal" userId="8b130982-2e3f-4164-b881-fd3a2e4b2453" providerId="ADAL" clId="{4457FA57-250B-44AC-8655-05D46C5A3D8A}" dt="2023-05-24T10:20:00.611" v="11154" actId="207"/>
          <ac:spMkLst>
            <pc:docMk/>
            <pc:sldMk cId="3670059666" sldId="230717652"/>
            <ac:spMk id="9" creationId="{5C40C17F-0E9F-4D04-8B7C-FE591884FE9B}"/>
          </ac:spMkLst>
        </pc:spChg>
        <pc:spChg chg="add mod">
          <ac:chgData name="El Bakkouri, Manal" userId="8b130982-2e3f-4164-b881-fd3a2e4b2453" providerId="ADAL" clId="{4457FA57-250B-44AC-8655-05D46C5A3D8A}" dt="2023-05-24T10:20:43.825" v="11162" actId="12788"/>
          <ac:spMkLst>
            <pc:docMk/>
            <pc:sldMk cId="3670059666" sldId="230717652"/>
            <ac:spMk id="10" creationId="{DC680C56-187C-4DB0-A14D-0097A012453D}"/>
          </ac:spMkLst>
        </pc:spChg>
        <pc:spChg chg="add mod">
          <ac:chgData name="El Bakkouri, Manal" userId="8b130982-2e3f-4164-b881-fd3a2e4b2453" providerId="ADAL" clId="{4457FA57-250B-44AC-8655-05D46C5A3D8A}" dt="2023-05-24T10:17:00.365" v="11152"/>
          <ac:spMkLst>
            <pc:docMk/>
            <pc:sldMk cId="3670059666" sldId="230717652"/>
            <ac:spMk id="11" creationId="{A66AD1C9-BCBD-4890-BD86-FCE6CA1480F1}"/>
          </ac:spMkLst>
        </pc:spChg>
        <pc:spChg chg="add mod">
          <ac:chgData name="El Bakkouri, Manal" userId="8b130982-2e3f-4164-b881-fd3a2e4b2453" providerId="ADAL" clId="{4457FA57-250B-44AC-8655-05D46C5A3D8A}" dt="2023-05-24T10:20:07.602" v="11155" actId="207"/>
          <ac:spMkLst>
            <pc:docMk/>
            <pc:sldMk cId="3670059666" sldId="230717652"/>
            <ac:spMk id="12" creationId="{7E451A68-B875-4227-AA31-DFC203AB3516}"/>
          </ac:spMkLst>
        </pc:spChg>
        <pc:spChg chg="add mod">
          <ac:chgData name="El Bakkouri, Manal" userId="8b130982-2e3f-4164-b881-fd3a2e4b2453" providerId="ADAL" clId="{4457FA57-250B-44AC-8655-05D46C5A3D8A}" dt="2023-05-24T10:17:00.365" v="11152"/>
          <ac:spMkLst>
            <pc:docMk/>
            <pc:sldMk cId="3670059666" sldId="230717652"/>
            <ac:spMk id="13" creationId="{625568A2-6F22-44FF-BD26-ACC261227A93}"/>
          </ac:spMkLst>
        </pc:spChg>
        <pc:spChg chg="add mod">
          <ac:chgData name="El Bakkouri, Manal" userId="8b130982-2e3f-4164-b881-fd3a2e4b2453" providerId="ADAL" clId="{4457FA57-250B-44AC-8655-05D46C5A3D8A}" dt="2023-05-24T10:20:43.825" v="11162" actId="12788"/>
          <ac:spMkLst>
            <pc:docMk/>
            <pc:sldMk cId="3670059666" sldId="230717652"/>
            <ac:spMk id="14" creationId="{C2E1FA7D-025E-48B1-ADDC-8553765C02FF}"/>
          </ac:spMkLst>
        </pc:spChg>
        <pc:spChg chg="add mod">
          <ac:chgData name="El Bakkouri, Manal" userId="8b130982-2e3f-4164-b881-fd3a2e4b2453" providerId="ADAL" clId="{4457FA57-250B-44AC-8655-05D46C5A3D8A}" dt="2023-05-24T10:48:20.160" v="11506" actId="207"/>
          <ac:spMkLst>
            <pc:docMk/>
            <pc:sldMk cId="3670059666" sldId="230717652"/>
            <ac:spMk id="15" creationId="{AD5DE521-E22B-44A7-863B-97EABC9B9350}"/>
          </ac:spMkLst>
        </pc:spChg>
        <pc:spChg chg="add mod">
          <ac:chgData name="El Bakkouri, Manal" userId="8b130982-2e3f-4164-b881-fd3a2e4b2453" providerId="ADAL" clId="{4457FA57-250B-44AC-8655-05D46C5A3D8A}" dt="2023-05-24T10:48:05.136" v="11503" actId="207"/>
          <ac:spMkLst>
            <pc:docMk/>
            <pc:sldMk cId="3670059666" sldId="230717652"/>
            <ac:spMk id="20" creationId="{D2374503-D2DF-46B1-BF0B-FD2ABC9EB228}"/>
          </ac:spMkLst>
        </pc:spChg>
        <pc:spChg chg="add mod">
          <ac:chgData name="El Bakkouri, Manal" userId="8b130982-2e3f-4164-b881-fd3a2e4b2453" providerId="ADAL" clId="{4457FA57-250B-44AC-8655-05D46C5A3D8A}" dt="2023-05-24T10:48:05.136" v="11503" actId="207"/>
          <ac:spMkLst>
            <pc:docMk/>
            <pc:sldMk cId="3670059666" sldId="230717652"/>
            <ac:spMk id="22" creationId="{B3A66617-5945-44A7-B710-C335AB368C49}"/>
          </ac:spMkLst>
        </pc:spChg>
        <pc:spChg chg="add mod">
          <ac:chgData name="El Bakkouri, Manal" userId="8b130982-2e3f-4164-b881-fd3a2e4b2453" providerId="ADAL" clId="{4457FA57-250B-44AC-8655-05D46C5A3D8A}" dt="2023-05-24T10:48:05.136" v="11503" actId="207"/>
          <ac:spMkLst>
            <pc:docMk/>
            <pc:sldMk cId="3670059666" sldId="230717652"/>
            <ac:spMk id="24" creationId="{EDA86FE7-565B-45C3-9FE2-524D8DBF6901}"/>
          </ac:spMkLst>
        </pc:spChg>
        <pc:spChg chg="add mod">
          <ac:chgData name="El Bakkouri, Manal" userId="8b130982-2e3f-4164-b881-fd3a2e4b2453" providerId="ADAL" clId="{4457FA57-250B-44AC-8655-05D46C5A3D8A}" dt="2023-05-24T10:48:05.136" v="11503" actId="207"/>
          <ac:spMkLst>
            <pc:docMk/>
            <pc:sldMk cId="3670059666" sldId="230717652"/>
            <ac:spMk id="26" creationId="{3FE951C1-0B11-4452-A474-164E45FB98CF}"/>
          </ac:spMkLst>
        </pc:spChg>
        <pc:spChg chg="add mod">
          <ac:chgData name="El Bakkouri, Manal" userId="8b130982-2e3f-4164-b881-fd3a2e4b2453" providerId="ADAL" clId="{4457FA57-250B-44AC-8655-05D46C5A3D8A}" dt="2023-05-24T10:48:05.136" v="11503" actId="207"/>
          <ac:spMkLst>
            <pc:docMk/>
            <pc:sldMk cId="3670059666" sldId="230717652"/>
            <ac:spMk id="28" creationId="{207A40D3-4897-48DB-BBCA-CF8B7671A2D0}"/>
          </ac:spMkLst>
        </pc:spChg>
        <pc:spChg chg="add mod">
          <ac:chgData name="El Bakkouri, Manal" userId="8b130982-2e3f-4164-b881-fd3a2e4b2453" providerId="ADAL" clId="{4457FA57-250B-44AC-8655-05D46C5A3D8A}" dt="2023-05-30T19:57:03.920" v="14273" actId="554"/>
          <ac:spMkLst>
            <pc:docMk/>
            <pc:sldMk cId="3670059666" sldId="230717652"/>
            <ac:spMk id="58" creationId="{8127F384-E471-473B-A472-5F0F4D409E53}"/>
          </ac:spMkLst>
        </pc:spChg>
        <pc:spChg chg="add mod">
          <ac:chgData name="El Bakkouri, Manal" userId="8b130982-2e3f-4164-b881-fd3a2e4b2453" providerId="ADAL" clId="{4457FA57-250B-44AC-8655-05D46C5A3D8A}" dt="2023-05-30T19:57:03.920" v="14273" actId="554"/>
          <ac:spMkLst>
            <pc:docMk/>
            <pc:sldMk cId="3670059666" sldId="230717652"/>
            <ac:spMk id="59" creationId="{97A9103B-ECC9-4CAF-9CF7-4723B3BCAAE0}"/>
          </ac:spMkLst>
        </pc:spChg>
        <pc:spChg chg="add mod">
          <ac:chgData name="El Bakkouri, Manal" userId="8b130982-2e3f-4164-b881-fd3a2e4b2453" providerId="ADAL" clId="{4457FA57-250B-44AC-8655-05D46C5A3D8A}" dt="2023-05-30T19:57:03.920" v="14273" actId="554"/>
          <ac:spMkLst>
            <pc:docMk/>
            <pc:sldMk cId="3670059666" sldId="230717652"/>
            <ac:spMk id="60" creationId="{3C5D9799-7311-4006-950F-3186B5B292FB}"/>
          </ac:spMkLst>
        </pc:spChg>
        <pc:spChg chg="add del mod">
          <ac:chgData name="El Bakkouri, Manal" userId="8b130982-2e3f-4164-b881-fd3a2e4b2453" providerId="ADAL" clId="{4457FA57-250B-44AC-8655-05D46C5A3D8A}" dt="2023-05-24T10:43:56.654" v="11367"/>
          <ac:spMkLst>
            <pc:docMk/>
            <pc:sldMk cId="3670059666" sldId="230717652"/>
            <ac:spMk id="61" creationId="{C8FCBBE8-BADE-4B03-BA07-3C1AEA676AD8}"/>
          </ac:spMkLst>
        </pc:spChg>
        <pc:spChg chg="add mod">
          <ac:chgData name="El Bakkouri, Manal" userId="8b130982-2e3f-4164-b881-fd3a2e4b2453" providerId="ADAL" clId="{4457FA57-250B-44AC-8655-05D46C5A3D8A}" dt="2023-05-30T19:57:03.920" v="14273" actId="554"/>
          <ac:spMkLst>
            <pc:docMk/>
            <pc:sldMk cId="3670059666" sldId="230717652"/>
            <ac:spMk id="62" creationId="{316C7D17-38FC-4759-A883-FC0996F33D0A}"/>
          </ac:spMkLst>
        </pc:spChg>
        <pc:spChg chg="add mod">
          <ac:chgData name="El Bakkouri, Manal" userId="8b130982-2e3f-4164-b881-fd3a2e4b2453" providerId="ADAL" clId="{4457FA57-250B-44AC-8655-05D46C5A3D8A}" dt="2023-05-30T19:57:03.920" v="14273" actId="554"/>
          <ac:spMkLst>
            <pc:docMk/>
            <pc:sldMk cId="3670059666" sldId="230717652"/>
            <ac:spMk id="63" creationId="{BE85CA9C-E291-4288-B71B-4279209B85A6}"/>
          </ac:spMkLst>
        </pc:spChg>
        <pc:spChg chg="add mod">
          <ac:chgData name="El Bakkouri, Manal" userId="8b130982-2e3f-4164-b881-fd3a2e4b2453" providerId="ADAL" clId="{4457FA57-250B-44AC-8655-05D46C5A3D8A}" dt="2023-05-30T19:57:03.920" v="14273" actId="554"/>
          <ac:spMkLst>
            <pc:docMk/>
            <pc:sldMk cId="3670059666" sldId="230717652"/>
            <ac:spMk id="64" creationId="{CA2D988A-B059-4866-BB9A-82651EBCD302}"/>
          </ac:spMkLst>
        </pc:spChg>
        <pc:spChg chg="add mod topLvl">
          <ac:chgData name="El Bakkouri, Manal" userId="8b130982-2e3f-4164-b881-fd3a2e4b2453" providerId="ADAL" clId="{4457FA57-250B-44AC-8655-05D46C5A3D8A}" dt="2023-05-24T13:43:22.920" v="12140" actId="208"/>
          <ac:spMkLst>
            <pc:docMk/>
            <pc:sldMk cId="3670059666" sldId="230717652"/>
            <ac:spMk id="79" creationId="{8CC4E0CB-8AF2-4DE7-A89F-3B207000B566}"/>
          </ac:spMkLst>
        </pc:spChg>
        <pc:spChg chg="add mod topLvl">
          <ac:chgData name="El Bakkouri, Manal" userId="8b130982-2e3f-4164-b881-fd3a2e4b2453" providerId="ADAL" clId="{4457FA57-250B-44AC-8655-05D46C5A3D8A}" dt="2023-05-24T13:43:20.897" v="12139" actId="208"/>
          <ac:spMkLst>
            <pc:docMk/>
            <pc:sldMk cId="3670059666" sldId="230717652"/>
            <ac:spMk id="80" creationId="{0FD35EA9-A193-4EB1-B4AA-E230991ABAAD}"/>
          </ac:spMkLst>
        </pc:spChg>
        <pc:spChg chg="add mod topLvl">
          <ac:chgData name="El Bakkouri, Manal" userId="8b130982-2e3f-4164-b881-fd3a2e4b2453" providerId="ADAL" clId="{4457FA57-250B-44AC-8655-05D46C5A3D8A}" dt="2023-05-24T13:43:18.547" v="12138" actId="208"/>
          <ac:spMkLst>
            <pc:docMk/>
            <pc:sldMk cId="3670059666" sldId="230717652"/>
            <ac:spMk id="81" creationId="{B318F750-B51F-44A2-B271-AE47307C2F8E}"/>
          </ac:spMkLst>
        </pc:spChg>
        <pc:spChg chg="add mod topLvl">
          <ac:chgData name="El Bakkouri, Manal" userId="8b130982-2e3f-4164-b881-fd3a2e4b2453" providerId="ADAL" clId="{4457FA57-250B-44AC-8655-05D46C5A3D8A}" dt="2023-05-24T13:43:15.815" v="12137" actId="208"/>
          <ac:spMkLst>
            <pc:docMk/>
            <pc:sldMk cId="3670059666" sldId="230717652"/>
            <ac:spMk id="82" creationId="{340FA47E-117E-417B-9111-E5A9280B85A8}"/>
          </ac:spMkLst>
        </pc:spChg>
        <pc:spChg chg="add mod topLvl">
          <ac:chgData name="El Bakkouri, Manal" userId="8b130982-2e3f-4164-b881-fd3a2e4b2453" providerId="ADAL" clId="{4457FA57-250B-44AC-8655-05D46C5A3D8A}" dt="2023-05-24T13:43:08.987" v="12135" actId="208"/>
          <ac:spMkLst>
            <pc:docMk/>
            <pc:sldMk cId="3670059666" sldId="230717652"/>
            <ac:spMk id="83" creationId="{5015FC7F-69D4-41A9-8188-07A35A4A7E57}"/>
          </ac:spMkLst>
        </pc:spChg>
        <pc:spChg chg="add mod topLvl">
          <ac:chgData name="El Bakkouri, Manal" userId="8b130982-2e3f-4164-b881-fd3a2e4b2453" providerId="ADAL" clId="{4457FA57-250B-44AC-8655-05D46C5A3D8A}" dt="2023-05-24T13:43:13.610" v="12136" actId="208"/>
          <ac:spMkLst>
            <pc:docMk/>
            <pc:sldMk cId="3670059666" sldId="230717652"/>
            <ac:spMk id="84" creationId="{C5811E6C-21D8-41BF-81A4-3B7F1ADE5467}"/>
          </ac:spMkLst>
        </pc:spChg>
        <pc:spChg chg="add del">
          <ac:chgData name="El Bakkouri, Manal" userId="8b130982-2e3f-4164-b881-fd3a2e4b2453" providerId="ADAL" clId="{4457FA57-250B-44AC-8655-05D46C5A3D8A}" dt="2023-05-24T13:21:43.647" v="11928" actId="478"/>
          <ac:spMkLst>
            <pc:docMk/>
            <pc:sldMk cId="3670059666" sldId="230717652"/>
            <ac:spMk id="100" creationId="{FB9C31F7-F2DE-44D8-BE9C-AD4A299E0E38}"/>
          </ac:spMkLst>
        </pc:spChg>
        <pc:spChg chg="add del">
          <ac:chgData name="El Bakkouri, Manal" userId="8b130982-2e3f-4164-b881-fd3a2e4b2453" providerId="ADAL" clId="{4457FA57-250B-44AC-8655-05D46C5A3D8A}" dt="2023-05-24T13:34:10.669" v="11997"/>
          <ac:spMkLst>
            <pc:docMk/>
            <pc:sldMk cId="3670059666" sldId="230717652"/>
            <ac:spMk id="102" creationId="{CEFC47F8-9F6A-4D37-B996-479762CA5688}"/>
          </ac:spMkLst>
        </pc:spChg>
        <pc:spChg chg="add del mod">
          <ac:chgData name="El Bakkouri, Manal" userId="8b130982-2e3f-4164-b881-fd3a2e4b2453" providerId="ADAL" clId="{4457FA57-250B-44AC-8655-05D46C5A3D8A}" dt="2023-05-24T13:36:25.265" v="12014" actId="478"/>
          <ac:spMkLst>
            <pc:docMk/>
            <pc:sldMk cId="3670059666" sldId="230717652"/>
            <ac:spMk id="103" creationId="{FDD209AE-7CCF-44FE-AC42-646887749727}"/>
          </ac:spMkLst>
        </pc:spChg>
        <pc:spChg chg="add del mod">
          <ac:chgData name="El Bakkouri, Manal" userId="8b130982-2e3f-4164-b881-fd3a2e4b2453" providerId="ADAL" clId="{4457FA57-250B-44AC-8655-05D46C5A3D8A}" dt="2023-05-24T13:36:15.395" v="12013" actId="478"/>
          <ac:spMkLst>
            <pc:docMk/>
            <pc:sldMk cId="3670059666" sldId="230717652"/>
            <ac:spMk id="104" creationId="{AF6A9AF9-EDAA-44A0-837D-6A763E4E308A}"/>
          </ac:spMkLst>
        </pc:spChg>
        <pc:spChg chg="mod topLvl">
          <ac:chgData name="El Bakkouri, Manal" userId="8b130982-2e3f-4164-b881-fd3a2e4b2453" providerId="ADAL" clId="{4457FA57-250B-44AC-8655-05D46C5A3D8A}" dt="2023-05-24T13:45:32.415" v="12178" actId="242"/>
          <ac:spMkLst>
            <pc:docMk/>
            <pc:sldMk cId="3670059666" sldId="230717652"/>
            <ac:spMk id="106" creationId="{5EAB17F9-6758-4CE7-A47E-8C150B81FBB8}"/>
          </ac:spMkLst>
        </pc:spChg>
        <pc:spChg chg="add del mod topLvl">
          <ac:chgData name="El Bakkouri, Manal" userId="8b130982-2e3f-4164-b881-fd3a2e4b2453" providerId="ADAL" clId="{4457FA57-250B-44AC-8655-05D46C5A3D8A}" dt="2023-05-24T13:45:35.297" v="12179" actId="242"/>
          <ac:spMkLst>
            <pc:docMk/>
            <pc:sldMk cId="3670059666" sldId="230717652"/>
            <ac:spMk id="107" creationId="{1A333DF2-67CA-4E4B-92FF-3C796B1F0DF2}"/>
          </ac:spMkLst>
        </pc:spChg>
        <pc:spChg chg="mod topLvl">
          <ac:chgData name="El Bakkouri, Manal" userId="8b130982-2e3f-4164-b881-fd3a2e4b2453" providerId="ADAL" clId="{4457FA57-250B-44AC-8655-05D46C5A3D8A}" dt="2023-05-24T13:42:07.464" v="12129" actId="242"/>
          <ac:spMkLst>
            <pc:docMk/>
            <pc:sldMk cId="3670059666" sldId="230717652"/>
            <ac:spMk id="109" creationId="{F25A2E43-A7D3-4531-8702-11E9A4A57BA2}"/>
          </ac:spMkLst>
        </pc:spChg>
        <pc:spChg chg="mod topLvl">
          <ac:chgData name="El Bakkouri, Manal" userId="8b130982-2e3f-4164-b881-fd3a2e4b2453" providerId="ADAL" clId="{4457FA57-250B-44AC-8655-05D46C5A3D8A}" dt="2023-05-24T13:42:07.464" v="12129" actId="242"/>
          <ac:spMkLst>
            <pc:docMk/>
            <pc:sldMk cId="3670059666" sldId="230717652"/>
            <ac:spMk id="110" creationId="{8D61CE2E-CEDE-4E93-8426-05044B87ED9B}"/>
          </ac:spMkLst>
        </pc:spChg>
        <pc:spChg chg="mod topLvl">
          <ac:chgData name="El Bakkouri, Manal" userId="8b130982-2e3f-4164-b881-fd3a2e4b2453" providerId="ADAL" clId="{4457FA57-250B-44AC-8655-05D46C5A3D8A}" dt="2023-05-24T13:42:07.464" v="12129" actId="242"/>
          <ac:spMkLst>
            <pc:docMk/>
            <pc:sldMk cId="3670059666" sldId="230717652"/>
            <ac:spMk id="112" creationId="{6224090B-2387-4B92-99DF-A5A24EFC86D3}"/>
          </ac:spMkLst>
        </pc:spChg>
        <pc:spChg chg="mod topLvl">
          <ac:chgData name="El Bakkouri, Manal" userId="8b130982-2e3f-4164-b881-fd3a2e4b2453" providerId="ADAL" clId="{4457FA57-250B-44AC-8655-05D46C5A3D8A}" dt="2023-05-24T13:42:07.464" v="12129" actId="242"/>
          <ac:spMkLst>
            <pc:docMk/>
            <pc:sldMk cId="3670059666" sldId="230717652"/>
            <ac:spMk id="113" creationId="{6F380A82-6CA7-445C-83E4-E9C164D6ECF9}"/>
          </ac:spMkLst>
        </pc:spChg>
        <pc:spChg chg="mod">
          <ac:chgData name="El Bakkouri, Manal" userId="8b130982-2e3f-4164-b881-fd3a2e4b2453" providerId="ADAL" clId="{4457FA57-250B-44AC-8655-05D46C5A3D8A}" dt="2023-05-24T13:46:00.848" v="12180"/>
          <ac:spMkLst>
            <pc:docMk/>
            <pc:sldMk cId="3670059666" sldId="230717652"/>
            <ac:spMk id="119" creationId="{8FCB7F4E-A865-4D3F-BF22-C448EABE48D0}"/>
          </ac:spMkLst>
        </pc:spChg>
        <pc:spChg chg="mod">
          <ac:chgData name="El Bakkouri, Manal" userId="8b130982-2e3f-4164-b881-fd3a2e4b2453" providerId="ADAL" clId="{4457FA57-250B-44AC-8655-05D46C5A3D8A}" dt="2023-05-24T13:46:00.848" v="12180"/>
          <ac:spMkLst>
            <pc:docMk/>
            <pc:sldMk cId="3670059666" sldId="230717652"/>
            <ac:spMk id="120" creationId="{C2298B44-50BE-473D-A942-131787E4AFBF}"/>
          </ac:spMkLst>
        </pc:spChg>
        <pc:spChg chg="mod">
          <ac:chgData name="El Bakkouri, Manal" userId="8b130982-2e3f-4164-b881-fd3a2e4b2453" providerId="ADAL" clId="{4457FA57-250B-44AC-8655-05D46C5A3D8A}" dt="2023-05-24T13:46:21.620" v="12184" actId="571"/>
          <ac:spMkLst>
            <pc:docMk/>
            <pc:sldMk cId="3670059666" sldId="230717652"/>
            <ac:spMk id="122" creationId="{80328D2B-C39F-4716-BCB9-209F0F57A170}"/>
          </ac:spMkLst>
        </pc:spChg>
        <pc:spChg chg="mod">
          <ac:chgData name="El Bakkouri, Manal" userId="8b130982-2e3f-4164-b881-fd3a2e4b2453" providerId="ADAL" clId="{4457FA57-250B-44AC-8655-05D46C5A3D8A}" dt="2023-05-24T13:47:41.519" v="12205" actId="20577"/>
          <ac:spMkLst>
            <pc:docMk/>
            <pc:sldMk cId="3670059666" sldId="230717652"/>
            <ac:spMk id="123" creationId="{07E27D48-E421-4B65-B5D4-9C13D4C93486}"/>
          </ac:spMkLst>
        </pc:spChg>
        <pc:spChg chg="mod">
          <ac:chgData name="El Bakkouri, Manal" userId="8b130982-2e3f-4164-b881-fd3a2e4b2453" providerId="ADAL" clId="{4457FA57-250B-44AC-8655-05D46C5A3D8A}" dt="2023-05-24T13:47:58.303" v="12209" actId="571"/>
          <ac:spMkLst>
            <pc:docMk/>
            <pc:sldMk cId="3670059666" sldId="230717652"/>
            <ac:spMk id="125" creationId="{5FF068EC-D39F-47D0-AD6F-D9C987576BC5}"/>
          </ac:spMkLst>
        </pc:spChg>
        <pc:spChg chg="mod">
          <ac:chgData name="El Bakkouri, Manal" userId="8b130982-2e3f-4164-b881-fd3a2e4b2453" providerId="ADAL" clId="{4457FA57-250B-44AC-8655-05D46C5A3D8A}" dt="2023-05-24T13:48:11.501" v="12220" actId="20577"/>
          <ac:spMkLst>
            <pc:docMk/>
            <pc:sldMk cId="3670059666" sldId="230717652"/>
            <ac:spMk id="126" creationId="{34870250-95D8-4915-A878-2F9D7A266E30}"/>
          </ac:spMkLst>
        </pc:spChg>
        <pc:spChg chg="add mod">
          <ac:chgData name="El Bakkouri, Manal" userId="8b130982-2e3f-4164-b881-fd3a2e4b2453" providerId="ADAL" clId="{4457FA57-250B-44AC-8655-05D46C5A3D8A}" dt="2023-05-24T16:47:48.166" v="13247"/>
          <ac:spMkLst>
            <pc:docMk/>
            <pc:sldMk cId="3670059666" sldId="230717652"/>
            <ac:spMk id="127" creationId="{D891A883-6AF7-4723-8EC9-B9A16D28BF22}"/>
          </ac:spMkLst>
        </pc:spChg>
        <pc:grpChg chg="add del mod">
          <ac:chgData name="El Bakkouri, Manal" userId="8b130982-2e3f-4164-b881-fd3a2e4b2453" providerId="ADAL" clId="{4457FA57-250B-44AC-8655-05D46C5A3D8A}" dt="2023-05-24T13:48:52.307" v="12228" actId="165"/>
          <ac:grpSpMkLst>
            <pc:docMk/>
            <pc:sldMk cId="3670059666" sldId="230717652"/>
            <ac:grpSpMk id="42" creationId="{BC1D053B-2C65-4A60-BED3-6BBD3B9C46F0}"/>
          </ac:grpSpMkLst>
        </pc:grpChg>
        <pc:grpChg chg="add mod">
          <ac:chgData name="El Bakkouri, Manal" userId="8b130982-2e3f-4164-b881-fd3a2e4b2453" providerId="ADAL" clId="{4457FA57-250B-44AC-8655-05D46C5A3D8A}" dt="2023-05-24T10:41:10.025" v="11293" actId="1035"/>
          <ac:grpSpMkLst>
            <pc:docMk/>
            <pc:sldMk cId="3670059666" sldId="230717652"/>
            <ac:grpSpMk id="43" creationId="{51DF02A9-9FAC-4778-A111-79ED08601893}"/>
          </ac:grpSpMkLst>
        </pc:grpChg>
        <pc:grpChg chg="add del mod">
          <ac:chgData name="El Bakkouri, Manal" userId="8b130982-2e3f-4164-b881-fd3a2e4b2453" providerId="ADAL" clId="{4457FA57-250B-44AC-8655-05D46C5A3D8A}" dt="2023-05-24T10:42:54.106" v="11299" actId="478"/>
          <ac:grpSpMkLst>
            <pc:docMk/>
            <pc:sldMk cId="3670059666" sldId="230717652"/>
            <ac:grpSpMk id="51" creationId="{56B9BDC3-4E86-4B9C-AEDD-3996DB38E8C9}"/>
          </ac:grpSpMkLst>
        </pc:grpChg>
        <pc:grpChg chg="add del mod">
          <ac:chgData name="El Bakkouri, Manal" userId="8b130982-2e3f-4164-b881-fd3a2e4b2453" providerId="ADAL" clId="{4457FA57-250B-44AC-8655-05D46C5A3D8A}" dt="2023-05-24T11:11:34.644" v="11836" actId="165"/>
          <ac:grpSpMkLst>
            <pc:docMk/>
            <pc:sldMk cId="3670059666" sldId="230717652"/>
            <ac:grpSpMk id="85" creationId="{30D98D2A-847E-492D-B4D5-F0155B46F062}"/>
          </ac:grpSpMkLst>
        </pc:grpChg>
        <pc:grpChg chg="add del mod">
          <ac:chgData name="El Bakkouri, Manal" userId="8b130982-2e3f-4164-b881-fd3a2e4b2453" providerId="ADAL" clId="{4457FA57-250B-44AC-8655-05D46C5A3D8A}" dt="2023-05-24T11:11:38.330" v="11837" actId="165"/>
          <ac:grpSpMkLst>
            <pc:docMk/>
            <pc:sldMk cId="3670059666" sldId="230717652"/>
            <ac:grpSpMk id="86" creationId="{2570AFE8-14D8-499B-B8FE-E9EEEF2EF42A}"/>
          </ac:grpSpMkLst>
        </pc:grpChg>
        <pc:grpChg chg="add del mod">
          <ac:chgData name="El Bakkouri, Manal" userId="8b130982-2e3f-4164-b881-fd3a2e4b2453" providerId="ADAL" clId="{4457FA57-250B-44AC-8655-05D46C5A3D8A}" dt="2023-05-24T11:11:41.340" v="11838" actId="165"/>
          <ac:grpSpMkLst>
            <pc:docMk/>
            <pc:sldMk cId="3670059666" sldId="230717652"/>
            <ac:grpSpMk id="87" creationId="{B8B08318-E26E-4171-BE99-30C4E06DF7CE}"/>
          </ac:grpSpMkLst>
        </pc:grpChg>
        <pc:grpChg chg="add del mod">
          <ac:chgData name="El Bakkouri, Manal" userId="8b130982-2e3f-4164-b881-fd3a2e4b2453" providerId="ADAL" clId="{4457FA57-250B-44AC-8655-05D46C5A3D8A}" dt="2023-05-24T11:11:43.578" v="11839" actId="165"/>
          <ac:grpSpMkLst>
            <pc:docMk/>
            <pc:sldMk cId="3670059666" sldId="230717652"/>
            <ac:grpSpMk id="88" creationId="{3E017A2C-C5AE-4F65-A339-449591693130}"/>
          </ac:grpSpMkLst>
        </pc:grpChg>
        <pc:grpChg chg="add del mod">
          <ac:chgData name="El Bakkouri, Manal" userId="8b130982-2e3f-4164-b881-fd3a2e4b2453" providerId="ADAL" clId="{4457FA57-250B-44AC-8655-05D46C5A3D8A}" dt="2023-05-24T11:11:46.493" v="11840" actId="165"/>
          <ac:grpSpMkLst>
            <pc:docMk/>
            <pc:sldMk cId="3670059666" sldId="230717652"/>
            <ac:grpSpMk id="89" creationId="{B267ACCE-FC04-433C-B5C0-4ABD03992786}"/>
          </ac:grpSpMkLst>
        </pc:grpChg>
        <pc:grpChg chg="add del mod">
          <ac:chgData name="El Bakkouri, Manal" userId="8b130982-2e3f-4164-b881-fd3a2e4b2453" providerId="ADAL" clId="{4457FA57-250B-44AC-8655-05D46C5A3D8A}" dt="2023-05-24T11:11:49.442" v="11841" actId="165"/>
          <ac:grpSpMkLst>
            <pc:docMk/>
            <pc:sldMk cId="3670059666" sldId="230717652"/>
            <ac:grpSpMk id="90" creationId="{AE9AA6BD-5AA0-4F59-97B3-32256A44A3C4}"/>
          </ac:grpSpMkLst>
        </pc:grpChg>
        <pc:grpChg chg="add del mod">
          <ac:chgData name="El Bakkouri, Manal" userId="8b130982-2e3f-4164-b881-fd3a2e4b2453" providerId="ADAL" clId="{4457FA57-250B-44AC-8655-05D46C5A3D8A}" dt="2023-05-24T13:40:18.942" v="12116" actId="165"/>
          <ac:grpSpMkLst>
            <pc:docMk/>
            <pc:sldMk cId="3670059666" sldId="230717652"/>
            <ac:grpSpMk id="105" creationId="{229C3870-12C0-4122-A398-F25531F2F35C}"/>
          </ac:grpSpMkLst>
        </pc:grpChg>
        <pc:grpChg chg="add del mod">
          <ac:chgData name="El Bakkouri, Manal" userId="8b130982-2e3f-4164-b881-fd3a2e4b2453" providerId="ADAL" clId="{4457FA57-250B-44AC-8655-05D46C5A3D8A}" dt="2023-05-24T13:40:22.500" v="12117" actId="165"/>
          <ac:grpSpMkLst>
            <pc:docMk/>
            <pc:sldMk cId="3670059666" sldId="230717652"/>
            <ac:grpSpMk id="108" creationId="{354DC066-697A-4242-A28E-7E964CE7847F}"/>
          </ac:grpSpMkLst>
        </pc:grpChg>
        <pc:grpChg chg="add del mod">
          <ac:chgData name="El Bakkouri, Manal" userId="8b130982-2e3f-4164-b881-fd3a2e4b2453" providerId="ADAL" clId="{4457FA57-250B-44AC-8655-05D46C5A3D8A}" dt="2023-05-24T13:40:25.424" v="12118" actId="165"/>
          <ac:grpSpMkLst>
            <pc:docMk/>
            <pc:sldMk cId="3670059666" sldId="230717652"/>
            <ac:grpSpMk id="111" creationId="{4876E54E-4CEB-4B40-A57E-402183AB05FF}"/>
          </ac:grpSpMkLst>
        </pc:grpChg>
        <pc:grpChg chg="add mod">
          <ac:chgData name="El Bakkouri, Manal" userId="8b130982-2e3f-4164-b881-fd3a2e4b2453" providerId="ADAL" clId="{4457FA57-250B-44AC-8655-05D46C5A3D8A}" dt="2023-05-24T13:48:35.919" v="12226" actId="14100"/>
          <ac:grpSpMkLst>
            <pc:docMk/>
            <pc:sldMk cId="3670059666" sldId="230717652"/>
            <ac:grpSpMk id="115" creationId="{C517F8A7-B48A-4696-9E67-BDAB522F3304}"/>
          </ac:grpSpMkLst>
        </pc:grpChg>
        <pc:grpChg chg="add del mod">
          <ac:chgData name="El Bakkouri, Manal" userId="8b130982-2e3f-4164-b881-fd3a2e4b2453" providerId="ADAL" clId="{4457FA57-250B-44AC-8655-05D46C5A3D8A}" dt="2023-05-24T13:46:29.679" v="12186" actId="478"/>
          <ac:grpSpMkLst>
            <pc:docMk/>
            <pc:sldMk cId="3670059666" sldId="230717652"/>
            <ac:grpSpMk id="116" creationId="{ACE59E67-85E9-478D-B104-529984D3C143}"/>
          </ac:grpSpMkLst>
        </pc:grpChg>
        <pc:grpChg chg="add del mod">
          <ac:chgData name="El Bakkouri, Manal" userId="8b130982-2e3f-4164-b881-fd3a2e4b2453" providerId="ADAL" clId="{4457FA57-250B-44AC-8655-05D46C5A3D8A}" dt="2023-05-24T13:46:27.853" v="12185" actId="478"/>
          <ac:grpSpMkLst>
            <pc:docMk/>
            <pc:sldMk cId="3670059666" sldId="230717652"/>
            <ac:grpSpMk id="117" creationId="{D27EB99A-D836-4A69-B968-5C46CE2106B3}"/>
          </ac:grpSpMkLst>
        </pc:grpChg>
        <pc:grpChg chg="add del mod">
          <ac:chgData name="El Bakkouri, Manal" userId="8b130982-2e3f-4164-b881-fd3a2e4b2453" providerId="ADAL" clId="{4457FA57-250B-44AC-8655-05D46C5A3D8A}" dt="2023-05-24T13:46:02.515" v="12181" actId="478"/>
          <ac:grpSpMkLst>
            <pc:docMk/>
            <pc:sldMk cId="3670059666" sldId="230717652"/>
            <ac:grpSpMk id="118" creationId="{5A584CB1-6C82-4FAD-B566-BA68FBCE7211}"/>
          </ac:grpSpMkLst>
        </pc:grpChg>
        <pc:grpChg chg="add del mod">
          <ac:chgData name="El Bakkouri, Manal" userId="8b130982-2e3f-4164-b881-fd3a2e4b2453" providerId="ADAL" clId="{4457FA57-250B-44AC-8655-05D46C5A3D8A}" dt="2023-05-24T13:48:28.223" v="12224" actId="14100"/>
          <ac:grpSpMkLst>
            <pc:docMk/>
            <pc:sldMk cId="3670059666" sldId="230717652"/>
            <ac:grpSpMk id="121" creationId="{0EB0710D-9D9F-4293-8DA8-7584228A2F9B}"/>
          </ac:grpSpMkLst>
        </pc:grpChg>
        <pc:grpChg chg="add mod">
          <ac:chgData name="El Bakkouri, Manal" userId="8b130982-2e3f-4164-b881-fd3a2e4b2453" providerId="ADAL" clId="{4457FA57-250B-44AC-8655-05D46C5A3D8A}" dt="2023-05-24T13:48:43.561" v="12227" actId="14100"/>
          <ac:grpSpMkLst>
            <pc:docMk/>
            <pc:sldMk cId="3670059666" sldId="230717652"/>
            <ac:grpSpMk id="124" creationId="{4DB105E7-C51C-43B2-B03F-4B02BF2FCE56}"/>
          </ac:grpSpMkLst>
        </pc:grpChg>
        <pc:picChg chg="add mod ord">
          <ac:chgData name="El Bakkouri, Manal" userId="8b130982-2e3f-4164-b881-fd3a2e4b2453" providerId="ADAL" clId="{4457FA57-250B-44AC-8655-05D46C5A3D8A}" dt="2023-05-26T16:06:55.087" v="14123" actId="167"/>
          <ac:picMkLst>
            <pc:docMk/>
            <pc:sldMk cId="3670059666" sldId="230717652"/>
            <ac:picMk id="128" creationId="{711A80E2-0AD8-4DE6-9F88-E70524DA3C55}"/>
          </ac:picMkLst>
        </pc:picChg>
        <pc:cxnChg chg="add mod">
          <ac:chgData name="El Bakkouri, Manal" userId="8b130982-2e3f-4164-b881-fd3a2e4b2453" providerId="ADAL" clId="{4457FA57-250B-44AC-8655-05D46C5A3D8A}" dt="2023-05-24T13:48:59.211" v="12229" actId="12788"/>
          <ac:cxnSpMkLst>
            <pc:docMk/>
            <pc:sldMk cId="3670059666" sldId="230717652"/>
            <ac:cxnSpMk id="17" creationId="{D34AD80A-CEEE-4CD3-A904-6EAF9DE626B3}"/>
          </ac:cxnSpMkLst>
        </pc:cxnChg>
        <pc:cxnChg chg="add del mod">
          <ac:chgData name="El Bakkouri, Manal" userId="8b130982-2e3f-4164-b881-fd3a2e4b2453" providerId="ADAL" clId="{4457FA57-250B-44AC-8655-05D46C5A3D8A}" dt="2023-05-24T10:39:00.661" v="11268" actId="478"/>
          <ac:cxnSpMkLst>
            <pc:docMk/>
            <pc:sldMk cId="3670059666" sldId="230717652"/>
            <ac:cxnSpMk id="30" creationId="{BDF5CD18-E6CA-4359-8410-2941C7AC1355}"/>
          </ac:cxnSpMkLst>
        </pc:cxnChg>
        <pc:cxnChg chg="add mod topLvl">
          <ac:chgData name="El Bakkouri, Manal" userId="8b130982-2e3f-4164-b881-fd3a2e4b2453" providerId="ADAL" clId="{4457FA57-250B-44AC-8655-05D46C5A3D8A}" dt="2023-05-24T13:48:52.307" v="12228" actId="165"/>
          <ac:cxnSpMkLst>
            <pc:docMk/>
            <pc:sldMk cId="3670059666" sldId="230717652"/>
            <ac:cxnSpMk id="34" creationId="{8DA499AC-F6EB-46D4-8A60-13A433D63468}"/>
          </ac:cxnSpMkLst>
        </pc:cxnChg>
        <pc:cxnChg chg="add mod topLvl">
          <ac:chgData name="El Bakkouri, Manal" userId="8b130982-2e3f-4164-b881-fd3a2e4b2453" providerId="ADAL" clId="{4457FA57-250B-44AC-8655-05D46C5A3D8A}" dt="2023-05-24T13:48:52.307" v="12228" actId="165"/>
          <ac:cxnSpMkLst>
            <pc:docMk/>
            <pc:sldMk cId="3670059666" sldId="230717652"/>
            <ac:cxnSpMk id="37" creationId="{B7C07A61-B208-49A5-A796-F65528BAF724}"/>
          </ac:cxnSpMkLst>
        </pc:cxnChg>
        <pc:cxnChg chg="add mod topLvl">
          <ac:chgData name="El Bakkouri, Manal" userId="8b130982-2e3f-4164-b881-fd3a2e4b2453" providerId="ADAL" clId="{4457FA57-250B-44AC-8655-05D46C5A3D8A}" dt="2023-05-24T13:48:52.307" v="12228" actId="165"/>
          <ac:cxnSpMkLst>
            <pc:docMk/>
            <pc:sldMk cId="3670059666" sldId="230717652"/>
            <ac:cxnSpMk id="38" creationId="{5134253E-A6DC-4EE1-AC34-1E0D5EF8C8A2}"/>
          </ac:cxnSpMkLst>
        </pc:cxnChg>
        <pc:cxnChg chg="add mod topLvl">
          <ac:chgData name="El Bakkouri, Manal" userId="8b130982-2e3f-4164-b881-fd3a2e4b2453" providerId="ADAL" clId="{4457FA57-250B-44AC-8655-05D46C5A3D8A}" dt="2023-05-24T13:48:59.211" v="12229" actId="12788"/>
          <ac:cxnSpMkLst>
            <pc:docMk/>
            <pc:sldMk cId="3670059666" sldId="230717652"/>
            <ac:cxnSpMk id="39" creationId="{79C3B8EF-428C-457B-9080-62B77AC71E39}"/>
          </ac:cxnSpMkLst>
        </pc:cxnChg>
        <pc:cxnChg chg="add mod topLvl">
          <ac:chgData name="El Bakkouri, Manal" userId="8b130982-2e3f-4164-b881-fd3a2e4b2453" providerId="ADAL" clId="{4457FA57-250B-44AC-8655-05D46C5A3D8A}" dt="2023-05-24T13:48:52.307" v="12228" actId="165"/>
          <ac:cxnSpMkLst>
            <pc:docMk/>
            <pc:sldMk cId="3670059666" sldId="230717652"/>
            <ac:cxnSpMk id="40" creationId="{109C7CEC-3954-475A-8F59-C93AEB07DC0F}"/>
          </ac:cxnSpMkLst>
        </pc:cxnChg>
        <pc:cxnChg chg="add mod topLvl">
          <ac:chgData name="El Bakkouri, Manal" userId="8b130982-2e3f-4164-b881-fd3a2e4b2453" providerId="ADAL" clId="{4457FA57-250B-44AC-8655-05D46C5A3D8A}" dt="2023-05-24T13:48:52.307" v="12228" actId="165"/>
          <ac:cxnSpMkLst>
            <pc:docMk/>
            <pc:sldMk cId="3670059666" sldId="230717652"/>
            <ac:cxnSpMk id="41" creationId="{48D628D2-6D44-46D1-B9C6-5A5532B4E062}"/>
          </ac:cxnSpMkLst>
        </pc:cxnChg>
        <pc:cxnChg chg="mod">
          <ac:chgData name="El Bakkouri, Manal" userId="8b130982-2e3f-4164-b881-fd3a2e4b2453" providerId="ADAL" clId="{4457FA57-250B-44AC-8655-05D46C5A3D8A}" dt="2023-05-24T10:40:52.865" v="11280"/>
          <ac:cxnSpMkLst>
            <pc:docMk/>
            <pc:sldMk cId="3670059666" sldId="230717652"/>
            <ac:cxnSpMk id="44" creationId="{E2F87CC5-5639-48FF-A77B-AE5310F54FAD}"/>
          </ac:cxnSpMkLst>
        </pc:cxnChg>
        <pc:cxnChg chg="mod">
          <ac:chgData name="El Bakkouri, Manal" userId="8b130982-2e3f-4164-b881-fd3a2e4b2453" providerId="ADAL" clId="{4457FA57-250B-44AC-8655-05D46C5A3D8A}" dt="2023-05-24T10:40:52.865" v="11280"/>
          <ac:cxnSpMkLst>
            <pc:docMk/>
            <pc:sldMk cId="3670059666" sldId="230717652"/>
            <ac:cxnSpMk id="45" creationId="{9F9D7EE8-99C2-4903-9D2A-B2E76F561BE5}"/>
          </ac:cxnSpMkLst>
        </pc:cxnChg>
        <pc:cxnChg chg="mod">
          <ac:chgData name="El Bakkouri, Manal" userId="8b130982-2e3f-4164-b881-fd3a2e4b2453" providerId="ADAL" clId="{4457FA57-250B-44AC-8655-05D46C5A3D8A}" dt="2023-05-24T10:40:52.865" v="11280"/>
          <ac:cxnSpMkLst>
            <pc:docMk/>
            <pc:sldMk cId="3670059666" sldId="230717652"/>
            <ac:cxnSpMk id="46" creationId="{BE73AA42-0F5F-4FD1-BB94-9C16A38A4995}"/>
          </ac:cxnSpMkLst>
        </pc:cxnChg>
        <pc:cxnChg chg="mod">
          <ac:chgData name="El Bakkouri, Manal" userId="8b130982-2e3f-4164-b881-fd3a2e4b2453" providerId="ADAL" clId="{4457FA57-250B-44AC-8655-05D46C5A3D8A}" dt="2023-05-24T11:05:19.080" v="11673" actId="1038"/>
          <ac:cxnSpMkLst>
            <pc:docMk/>
            <pc:sldMk cId="3670059666" sldId="230717652"/>
            <ac:cxnSpMk id="47" creationId="{E8DF4D82-BD08-4AFA-A534-2BCB23328EDA}"/>
          </ac:cxnSpMkLst>
        </pc:cxnChg>
        <pc:cxnChg chg="mod">
          <ac:chgData name="El Bakkouri, Manal" userId="8b130982-2e3f-4164-b881-fd3a2e4b2453" providerId="ADAL" clId="{4457FA57-250B-44AC-8655-05D46C5A3D8A}" dt="2023-05-24T10:40:52.865" v="11280"/>
          <ac:cxnSpMkLst>
            <pc:docMk/>
            <pc:sldMk cId="3670059666" sldId="230717652"/>
            <ac:cxnSpMk id="48" creationId="{2BE2ED98-B888-4C73-9D7F-C0FF595964F4}"/>
          </ac:cxnSpMkLst>
        </pc:cxnChg>
        <pc:cxnChg chg="mod">
          <ac:chgData name="El Bakkouri, Manal" userId="8b130982-2e3f-4164-b881-fd3a2e4b2453" providerId="ADAL" clId="{4457FA57-250B-44AC-8655-05D46C5A3D8A}" dt="2023-05-24T10:40:52.865" v="11280"/>
          <ac:cxnSpMkLst>
            <pc:docMk/>
            <pc:sldMk cId="3670059666" sldId="230717652"/>
            <ac:cxnSpMk id="49" creationId="{E5699EB9-1C92-4357-A2AF-2DBB32CE397A}"/>
          </ac:cxnSpMkLst>
        </pc:cxnChg>
        <pc:cxnChg chg="add mod">
          <ac:chgData name="El Bakkouri, Manal" userId="8b130982-2e3f-4164-b881-fd3a2e4b2453" providerId="ADAL" clId="{4457FA57-250B-44AC-8655-05D46C5A3D8A}" dt="2023-05-24T11:15:15.173" v="11897" actId="12788"/>
          <ac:cxnSpMkLst>
            <pc:docMk/>
            <pc:sldMk cId="3670059666" sldId="230717652"/>
            <ac:cxnSpMk id="50" creationId="{72843048-BC31-4719-8F26-7431A118C2DB}"/>
          </ac:cxnSpMkLst>
        </pc:cxnChg>
        <pc:cxnChg chg="mod">
          <ac:chgData name="El Bakkouri, Manal" userId="8b130982-2e3f-4164-b881-fd3a2e4b2453" providerId="ADAL" clId="{4457FA57-250B-44AC-8655-05D46C5A3D8A}" dt="2023-05-24T10:42:40.486" v="11296"/>
          <ac:cxnSpMkLst>
            <pc:docMk/>
            <pc:sldMk cId="3670059666" sldId="230717652"/>
            <ac:cxnSpMk id="52" creationId="{AE0B4567-A0C3-46D6-82BD-BD710DF10834}"/>
          </ac:cxnSpMkLst>
        </pc:cxnChg>
        <pc:cxnChg chg="mod">
          <ac:chgData name="El Bakkouri, Manal" userId="8b130982-2e3f-4164-b881-fd3a2e4b2453" providerId="ADAL" clId="{4457FA57-250B-44AC-8655-05D46C5A3D8A}" dt="2023-05-24T10:42:40.486" v="11296"/>
          <ac:cxnSpMkLst>
            <pc:docMk/>
            <pc:sldMk cId="3670059666" sldId="230717652"/>
            <ac:cxnSpMk id="53" creationId="{5477664F-B0B0-4040-9DF5-47A5E419E3BE}"/>
          </ac:cxnSpMkLst>
        </pc:cxnChg>
        <pc:cxnChg chg="mod">
          <ac:chgData name="El Bakkouri, Manal" userId="8b130982-2e3f-4164-b881-fd3a2e4b2453" providerId="ADAL" clId="{4457FA57-250B-44AC-8655-05D46C5A3D8A}" dt="2023-05-24T10:42:40.486" v="11296"/>
          <ac:cxnSpMkLst>
            <pc:docMk/>
            <pc:sldMk cId="3670059666" sldId="230717652"/>
            <ac:cxnSpMk id="54" creationId="{A07A742C-CFC6-43CE-8C04-ED7563A84345}"/>
          </ac:cxnSpMkLst>
        </pc:cxnChg>
        <pc:cxnChg chg="mod">
          <ac:chgData name="El Bakkouri, Manal" userId="8b130982-2e3f-4164-b881-fd3a2e4b2453" providerId="ADAL" clId="{4457FA57-250B-44AC-8655-05D46C5A3D8A}" dt="2023-05-24T10:42:40.486" v="11296"/>
          <ac:cxnSpMkLst>
            <pc:docMk/>
            <pc:sldMk cId="3670059666" sldId="230717652"/>
            <ac:cxnSpMk id="55" creationId="{F8C85B49-9DA6-4FB0-987D-C2EB84E3A12E}"/>
          </ac:cxnSpMkLst>
        </pc:cxnChg>
        <pc:cxnChg chg="mod">
          <ac:chgData name="El Bakkouri, Manal" userId="8b130982-2e3f-4164-b881-fd3a2e4b2453" providerId="ADAL" clId="{4457FA57-250B-44AC-8655-05D46C5A3D8A}" dt="2023-05-24T10:42:40.486" v="11296"/>
          <ac:cxnSpMkLst>
            <pc:docMk/>
            <pc:sldMk cId="3670059666" sldId="230717652"/>
            <ac:cxnSpMk id="56" creationId="{77BACD61-B1FA-4D2E-84AB-5EDC1AAD0494}"/>
          </ac:cxnSpMkLst>
        </pc:cxnChg>
        <pc:cxnChg chg="mod">
          <ac:chgData name="El Bakkouri, Manal" userId="8b130982-2e3f-4164-b881-fd3a2e4b2453" providerId="ADAL" clId="{4457FA57-250B-44AC-8655-05D46C5A3D8A}" dt="2023-05-24T10:42:40.486" v="11296"/>
          <ac:cxnSpMkLst>
            <pc:docMk/>
            <pc:sldMk cId="3670059666" sldId="230717652"/>
            <ac:cxnSpMk id="57" creationId="{C2B902B2-8D73-4B23-8869-0ECD32814F97}"/>
          </ac:cxnSpMkLst>
        </pc:cxnChg>
        <pc:cxnChg chg="add mod">
          <ac:chgData name="El Bakkouri, Manal" userId="8b130982-2e3f-4164-b881-fd3a2e4b2453" providerId="ADAL" clId="{4457FA57-250B-44AC-8655-05D46C5A3D8A}" dt="2023-05-24T13:47:26.779" v="12193" actId="554"/>
          <ac:cxnSpMkLst>
            <pc:docMk/>
            <pc:sldMk cId="3670059666" sldId="230717652"/>
            <ac:cxnSpMk id="66" creationId="{57259410-C381-4387-934B-9AD97F94217F}"/>
          </ac:cxnSpMkLst>
        </pc:cxnChg>
        <pc:cxnChg chg="add mod">
          <ac:chgData name="El Bakkouri, Manal" userId="8b130982-2e3f-4164-b881-fd3a2e4b2453" providerId="ADAL" clId="{4457FA57-250B-44AC-8655-05D46C5A3D8A}" dt="2023-05-24T11:15:29.067" v="11899" actId="12788"/>
          <ac:cxnSpMkLst>
            <pc:docMk/>
            <pc:sldMk cId="3670059666" sldId="230717652"/>
            <ac:cxnSpMk id="67" creationId="{AFB4BD25-36E5-49C6-950E-AFA304D8CCC4}"/>
          </ac:cxnSpMkLst>
        </pc:cxnChg>
        <pc:cxnChg chg="add mod">
          <ac:chgData name="El Bakkouri, Manal" userId="8b130982-2e3f-4164-b881-fd3a2e4b2453" providerId="ADAL" clId="{4457FA57-250B-44AC-8655-05D46C5A3D8A}" dt="2023-05-24T11:15:23.010" v="11898" actId="12788"/>
          <ac:cxnSpMkLst>
            <pc:docMk/>
            <pc:sldMk cId="3670059666" sldId="230717652"/>
            <ac:cxnSpMk id="68" creationId="{54E28812-30AC-4ECB-ABD2-97A66E96C72D}"/>
          </ac:cxnSpMkLst>
        </pc:cxnChg>
        <pc:cxnChg chg="add mod">
          <ac:chgData name="El Bakkouri, Manal" userId="8b130982-2e3f-4164-b881-fd3a2e4b2453" providerId="ADAL" clId="{4457FA57-250B-44AC-8655-05D46C5A3D8A}" dt="2023-05-24T11:15:15.173" v="11897" actId="12788"/>
          <ac:cxnSpMkLst>
            <pc:docMk/>
            <pc:sldMk cId="3670059666" sldId="230717652"/>
            <ac:cxnSpMk id="69" creationId="{8C8C3C55-D7DA-4F03-858F-7E03D43B3F6B}"/>
          </ac:cxnSpMkLst>
        </pc:cxnChg>
        <pc:cxnChg chg="add mod">
          <ac:chgData name="El Bakkouri, Manal" userId="8b130982-2e3f-4164-b881-fd3a2e4b2453" providerId="ADAL" clId="{4457FA57-250B-44AC-8655-05D46C5A3D8A}" dt="2023-05-24T11:15:05.333" v="11896" actId="12788"/>
          <ac:cxnSpMkLst>
            <pc:docMk/>
            <pc:sldMk cId="3670059666" sldId="230717652"/>
            <ac:cxnSpMk id="70" creationId="{F3CA43C4-457F-4CE2-BF35-1BE14CA38E6F}"/>
          </ac:cxnSpMkLst>
        </pc:cxnChg>
        <pc:cxnChg chg="add mod">
          <ac:chgData name="El Bakkouri, Manal" userId="8b130982-2e3f-4164-b881-fd3a2e4b2453" providerId="ADAL" clId="{4457FA57-250B-44AC-8655-05D46C5A3D8A}" dt="2023-05-30T19:57:03.920" v="14273" actId="554"/>
          <ac:cxnSpMkLst>
            <pc:docMk/>
            <pc:sldMk cId="3670059666" sldId="230717652"/>
            <ac:cxnSpMk id="71" creationId="{81981A81-B374-4719-A466-A8943A10CDAB}"/>
          </ac:cxnSpMkLst>
        </pc:cxnChg>
        <pc:cxnChg chg="add mod">
          <ac:chgData name="El Bakkouri, Manal" userId="8b130982-2e3f-4164-b881-fd3a2e4b2453" providerId="ADAL" clId="{4457FA57-250B-44AC-8655-05D46C5A3D8A}" dt="2023-05-24T11:13:33.562" v="11870" actId="12788"/>
          <ac:cxnSpMkLst>
            <pc:docMk/>
            <pc:sldMk cId="3670059666" sldId="230717652"/>
            <ac:cxnSpMk id="72" creationId="{3D1F33BA-BC7E-4E0F-BFDE-DAE3E73E8AAE}"/>
          </ac:cxnSpMkLst>
        </pc:cxnChg>
        <pc:cxnChg chg="add mod topLvl">
          <ac:chgData name="El Bakkouri, Manal" userId="8b130982-2e3f-4164-b881-fd3a2e4b2453" providerId="ADAL" clId="{4457FA57-250B-44AC-8655-05D46C5A3D8A}" dt="2023-05-24T11:15:29.067" v="11899" actId="12788"/>
          <ac:cxnSpMkLst>
            <pc:docMk/>
            <pc:sldMk cId="3670059666" sldId="230717652"/>
            <ac:cxnSpMk id="73" creationId="{0C2BED6D-3618-44A6-AE4E-726362228AA2}"/>
          </ac:cxnSpMkLst>
        </pc:cxnChg>
        <pc:cxnChg chg="add mod topLvl">
          <ac:chgData name="El Bakkouri, Manal" userId="8b130982-2e3f-4164-b881-fd3a2e4b2453" providerId="ADAL" clId="{4457FA57-250B-44AC-8655-05D46C5A3D8A}" dt="2023-05-24T11:15:23.010" v="11898" actId="12788"/>
          <ac:cxnSpMkLst>
            <pc:docMk/>
            <pc:sldMk cId="3670059666" sldId="230717652"/>
            <ac:cxnSpMk id="74" creationId="{CB032585-7912-418B-962B-71B00540965B}"/>
          </ac:cxnSpMkLst>
        </pc:cxnChg>
        <pc:cxnChg chg="add mod topLvl">
          <ac:chgData name="El Bakkouri, Manal" userId="8b130982-2e3f-4164-b881-fd3a2e4b2453" providerId="ADAL" clId="{4457FA57-250B-44AC-8655-05D46C5A3D8A}" dt="2023-05-24T11:15:15.173" v="11897" actId="12788"/>
          <ac:cxnSpMkLst>
            <pc:docMk/>
            <pc:sldMk cId="3670059666" sldId="230717652"/>
            <ac:cxnSpMk id="75" creationId="{589F1949-F8D5-43A8-BDC8-9FEE127F6CAF}"/>
          </ac:cxnSpMkLst>
        </pc:cxnChg>
        <pc:cxnChg chg="add mod topLvl">
          <ac:chgData name="El Bakkouri, Manal" userId="8b130982-2e3f-4164-b881-fd3a2e4b2453" providerId="ADAL" clId="{4457FA57-250B-44AC-8655-05D46C5A3D8A}" dt="2023-05-24T11:15:05.333" v="11896" actId="12788"/>
          <ac:cxnSpMkLst>
            <pc:docMk/>
            <pc:sldMk cId="3670059666" sldId="230717652"/>
            <ac:cxnSpMk id="76" creationId="{DA8E3AF3-BB87-4830-89F6-9BE3CCF5F1FA}"/>
          </ac:cxnSpMkLst>
        </pc:cxnChg>
        <pc:cxnChg chg="add mod topLvl">
          <ac:chgData name="El Bakkouri, Manal" userId="8b130982-2e3f-4164-b881-fd3a2e4b2453" providerId="ADAL" clId="{4457FA57-250B-44AC-8655-05D46C5A3D8A}" dt="2023-05-30T19:57:03.920" v="14273" actId="554"/>
          <ac:cxnSpMkLst>
            <pc:docMk/>
            <pc:sldMk cId="3670059666" sldId="230717652"/>
            <ac:cxnSpMk id="77" creationId="{8410CAA5-CBBA-4166-92E8-2EFE83BA7CD1}"/>
          </ac:cxnSpMkLst>
        </pc:cxnChg>
        <pc:cxnChg chg="add mod topLvl">
          <ac:chgData name="El Bakkouri, Manal" userId="8b130982-2e3f-4164-b881-fd3a2e4b2453" providerId="ADAL" clId="{4457FA57-250B-44AC-8655-05D46C5A3D8A}" dt="2023-05-24T11:13:33.562" v="11870" actId="12788"/>
          <ac:cxnSpMkLst>
            <pc:docMk/>
            <pc:sldMk cId="3670059666" sldId="230717652"/>
            <ac:cxnSpMk id="78" creationId="{60B71D9C-AC45-4E5E-8792-D83FD3902396}"/>
          </ac:cxnSpMkLst>
        </pc:cxnChg>
      </pc:sldChg>
      <pc:sldChg chg="addSp delSp modSp new del">
        <pc:chgData name="El Bakkouri, Manal" userId="8b130982-2e3f-4164-b881-fd3a2e4b2453" providerId="ADAL" clId="{4457FA57-250B-44AC-8655-05D46C5A3D8A}" dt="2023-05-24T13:34:33.662" v="12005" actId="2696"/>
        <pc:sldMkLst>
          <pc:docMk/>
          <pc:sldMk cId="1611382596" sldId="230717653"/>
        </pc:sldMkLst>
        <pc:spChg chg="add del">
          <ac:chgData name="El Bakkouri, Manal" userId="8b130982-2e3f-4164-b881-fd3a2e4b2453" providerId="ADAL" clId="{4457FA57-250B-44AC-8655-05D46C5A3D8A}" dt="2023-05-24T13:34:28.978" v="12004"/>
          <ac:spMkLst>
            <pc:docMk/>
            <pc:sldMk cId="1611382596" sldId="230717653"/>
            <ac:spMk id="3" creationId="{6AFE6826-EF5F-41A0-9E14-97C3B2CB3125}"/>
          </ac:spMkLst>
        </pc:spChg>
        <pc:spChg chg="add del mod">
          <ac:chgData name="El Bakkouri, Manal" userId="8b130982-2e3f-4164-b881-fd3a2e4b2453" providerId="ADAL" clId="{4457FA57-250B-44AC-8655-05D46C5A3D8A}" dt="2023-05-24T13:34:28.978" v="12004"/>
          <ac:spMkLst>
            <pc:docMk/>
            <pc:sldMk cId="1611382596" sldId="230717653"/>
            <ac:spMk id="5" creationId="{B2ECC46C-66AF-4F4F-96CA-2CBA2D96F99B}"/>
          </ac:spMkLst>
        </pc:spChg>
      </pc:sldChg>
      <pc:sldChg chg="addSp delSp modSp new mod modTransition">
        <pc:chgData name="El Bakkouri, Manal" userId="8b130982-2e3f-4164-b881-fd3a2e4b2453" providerId="ADAL" clId="{4457FA57-250B-44AC-8655-05D46C5A3D8A}" dt="2023-05-26T16:07:33.511" v="14130" actId="167"/>
        <pc:sldMkLst>
          <pc:docMk/>
          <pc:sldMk cId="1945816871" sldId="230717653"/>
        </pc:sldMkLst>
        <pc:spChg chg="del">
          <ac:chgData name="El Bakkouri, Manal" userId="8b130982-2e3f-4164-b881-fd3a2e4b2453" providerId="ADAL" clId="{4457FA57-250B-44AC-8655-05D46C5A3D8A}" dt="2023-05-24T13:54:32.877" v="12231" actId="478"/>
          <ac:spMkLst>
            <pc:docMk/>
            <pc:sldMk cId="1945816871" sldId="230717653"/>
            <ac:spMk id="2" creationId="{BCA992DA-E580-43B5-86E0-7F121E547EF0}"/>
          </ac:spMkLst>
        </pc:spChg>
        <pc:spChg chg="del">
          <ac:chgData name="El Bakkouri, Manal" userId="8b130982-2e3f-4164-b881-fd3a2e4b2453" providerId="ADAL" clId="{4457FA57-250B-44AC-8655-05D46C5A3D8A}" dt="2023-05-24T13:54:33.923" v="12232" actId="478"/>
          <ac:spMkLst>
            <pc:docMk/>
            <pc:sldMk cId="1945816871" sldId="230717653"/>
            <ac:spMk id="3" creationId="{AE8F45DC-CADE-41F5-81A8-5D119FA6512E}"/>
          </ac:spMkLst>
        </pc:spChg>
        <pc:spChg chg="del mod">
          <ac:chgData name="El Bakkouri, Manal" userId="8b130982-2e3f-4164-b881-fd3a2e4b2453" providerId="ADAL" clId="{4457FA57-250B-44AC-8655-05D46C5A3D8A}" dt="2023-05-24T14:11:54.951" v="12386" actId="478"/>
          <ac:spMkLst>
            <pc:docMk/>
            <pc:sldMk cId="1945816871" sldId="230717653"/>
            <ac:spMk id="4" creationId="{CF5E33C3-D7DC-48BB-852A-71DCB9FE26C4}"/>
          </ac:spMkLst>
        </pc:spChg>
        <pc:spChg chg="add del mod">
          <ac:chgData name="El Bakkouri, Manal" userId="8b130982-2e3f-4164-b881-fd3a2e4b2453" providerId="ADAL" clId="{4457FA57-250B-44AC-8655-05D46C5A3D8A}" dt="2023-05-24T16:47:55.792" v="13250" actId="478"/>
          <ac:spMkLst>
            <pc:docMk/>
            <pc:sldMk cId="1945816871" sldId="230717653"/>
            <ac:spMk id="7" creationId="{3ED2567F-035E-4314-BF22-6491606F3AD6}"/>
          </ac:spMkLst>
        </pc:spChg>
        <pc:spChg chg="add mod">
          <ac:chgData name="El Bakkouri, Manal" userId="8b130982-2e3f-4164-b881-fd3a2e4b2453" providerId="ADAL" clId="{4457FA57-250B-44AC-8655-05D46C5A3D8A}" dt="2023-05-24T13:54:47.554" v="12236"/>
          <ac:spMkLst>
            <pc:docMk/>
            <pc:sldMk cId="1945816871" sldId="230717653"/>
            <ac:spMk id="8" creationId="{5DED022B-3E65-4AF1-B640-3FFA109E1905}"/>
          </ac:spMkLst>
        </pc:spChg>
        <pc:spChg chg="add mod">
          <ac:chgData name="El Bakkouri, Manal" userId="8b130982-2e3f-4164-b881-fd3a2e4b2453" providerId="ADAL" clId="{4457FA57-250B-44AC-8655-05D46C5A3D8A}" dt="2023-05-24T13:54:47.554" v="12236"/>
          <ac:spMkLst>
            <pc:docMk/>
            <pc:sldMk cId="1945816871" sldId="230717653"/>
            <ac:spMk id="9" creationId="{23EAC584-EC06-41B8-89BB-119F6FFABA79}"/>
          </ac:spMkLst>
        </pc:spChg>
        <pc:spChg chg="add mod">
          <ac:chgData name="El Bakkouri, Manal" userId="8b130982-2e3f-4164-b881-fd3a2e4b2453" providerId="ADAL" clId="{4457FA57-250B-44AC-8655-05D46C5A3D8A}" dt="2023-05-24T13:54:47.554" v="12236"/>
          <ac:spMkLst>
            <pc:docMk/>
            <pc:sldMk cId="1945816871" sldId="230717653"/>
            <ac:spMk id="10" creationId="{9DC69718-9F54-4E07-B670-B8F78CAE467E}"/>
          </ac:spMkLst>
        </pc:spChg>
        <pc:spChg chg="add mod">
          <ac:chgData name="El Bakkouri, Manal" userId="8b130982-2e3f-4164-b881-fd3a2e4b2453" providerId="ADAL" clId="{4457FA57-250B-44AC-8655-05D46C5A3D8A}" dt="2023-05-24T13:54:47.554" v="12236"/>
          <ac:spMkLst>
            <pc:docMk/>
            <pc:sldMk cId="1945816871" sldId="230717653"/>
            <ac:spMk id="11" creationId="{645AB11B-C90C-4290-B4DE-6D5C29A0D3FD}"/>
          </ac:spMkLst>
        </pc:spChg>
        <pc:spChg chg="add mod">
          <ac:chgData name="El Bakkouri, Manal" userId="8b130982-2e3f-4164-b881-fd3a2e4b2453" providerId="ADAL" clId="{4457FA57-250B-44AC-8655-05D46C5A3D8A}" dt="2023-05-24T13:54:47.554" v="12236"/>
          <ac:spMkLst>
            <pc:docMk/>
            <pc:sldMk cId="1945816871" sldId="230717653"/>
            <ac:spMk id="12" creationId="{EB057D3F-2809-45E6-B22C-33B58F924DFE}"/>
          </ac:spMkLst>
        </pc:spChg>
        <pc:spChg chg="add mod">
          <ac:chgData name="El Bakkouri, Manal" userId="8b130982-2e3f-4164-b881-fd3a2e4b2453" providerId="ADAL" clId="{4457FA57-250B-44AC-8655-05D46C5A3D8A}" dt="2023-05-24T13:54:47.554" v="12236"/>
          <ac:spMkLst>
            <pc:docMk/>
            <pc:sldMk cId="1945816871" sldId="230717653"/>
            <ac:spMk id="13" creationId="{C3BA4198-280A-4AB7-AEC9-4F40946EB013}"/>
          </ac:spMkLst>
        </pc:spChg>
        <pc:spChg chg="add mod">
          <ac:chgData name="El Bakkouri, Manal" userId="8b130982-2e3f-4164-b881-fd3a2e4b2453" providerId="ADAL" clId="{4457FA57-250B-44AC-8655-05D46C5A3D8A}" dt="2023-05-24T13:54:47.554" v="12236"/>
          <ac:spMkLst>
            <pc:docMk/>
            <pc:sldMk cId="1945816871" sldId="230717653"/>
            <ac:spMk id="14" creationId="{47C2461D-FDEF-488E-80AE-4D437A053E75}"/>
          </ac:spMkLst>
        </pc:spChg>
        <pc:spChg chg="add mod">
          <ac:chgData name="El Bakkouri, Manal" userId="8b130982-2e3f-4164-b881-fd3a2e4b2453" providerId="ADAL" clId="{4457FA57-250B-44AC-8655-05D46C5A3D8A}" dt="2023-05-24T13:54:47.554" v="12236"/>
          <ac:spMkLst>
            <pc:docMk/>
            <pc:sldMk cId="1945816871" sldId="230717653"/>
            <ac:spMk id="15" creationId="{17C55DFA-2E17-48F8-AAF6-363FA0B884EE}"/>
          </ac:spMkLst>
        </pc:spChg>
        <pc:spChg chg="add mod">
          <ac:chgData name="El Bakkouri, Manal" userId="8b130982-2e3f-4164-b881-fd3a2e4b2453" providerId="ADAL" clId="{4457FA57-250B-44AC-8655-05D46C5A3D8A}" dt="2023-05-24T13:54:47.554" v="12236"/>
          <ac:spMkLst>
            <pc:docMk/>
            <pc:sldMk cId="1945816871" sldId="230717653"/>
            <ac:spMk id="16" creationId="{8EA5C80A-71C9-4896-9787-A128469FC8B9}"/>
          </ac:spMkLst>
        </pc:spChg>
        <pc:spChg chg="add del mod">
          <ac:chgData name="El Bakkouri, Manal" userId="8b130982-2e3f-4164-b881-fd3a2e4b2453" providerId="ADAL" clId="{4457FA57-250B-44AC-8655-05D46C5A3D8A}" dt="2023-05-24T15:55:42.982" v="12575"/>
          <ac:spMkLst>
            <pc:docMk/>
            <pc:sldMk cId="1945816871" sldId="230717653"/>
            <ac:spMk id="27" creationId="{DD015971-F8EF-449E-8258-E5988220717F}"/>
          </ac:spMkLst>
        </pc:spChg>
        <pc:spChg chg="add del mod">
          <ac:chgData name="El Bakkouri, Manal" userId="8b130982-2e3f-4164-b881-fd3a2e4b2453" providerId="ADAL" clId="{4457FA57-250B-44AC-8655-05D46C5A3D8A}" dt="2023-05-24T16:46:29.366" v="13233" actId="478"/>
          <ac:spMkLst>
            <pc:docMk/>
            <pc:sldMk cId="1945816871" sldId="230717653"/>
            <ac:spMk id="28" creationId="{74EC4FD7-3CA0-4E6F-A295-C30E5726D02F}"/>
          </ac:spMkLst>
        </pc:spChg>
        <pc:spChg chg="add mod">
          <ac:chgData name="El Bakkouri, Manal" userId="8b130982-2e3f-4164-b881-fd3a2e4b2453" providerId="ADAL" clId="{4457FA57-250B-44AC-8655-05D46C5A3D8A}" dt="2023-05-24T16:47:56.291" v="13251"/>
          <ac:spMkLst>
            <pc:docMk/>
            <pc:sldMk cId="1945816871" sldId="230717653"/>
            <ac:spMk id="29" creationId="{8D782070-1215-4C9F-83F8-7042D56BC9A7}"/>
          </ac:spMkLst>
        </pc:spChg>
        <pc:picChg chg="add mod ord">
          <ac:chgData name="El Bakkouri, Manal" userId="8b130982-2e3f-4164-b881-fd3a2e4b2453" providerId="ADAL" clId="{4457FA57-250B-44AC-8655-05D46C5A3D8A}" dt="2023-05-24T14:15:30.968" v="12395" actId="14100"/>
          <ac:picMkLst>
            <pc:docMk/>
            <pc:sldMk cId="1945816871" sldId="230717653"/>
            <ac:picMk id="6" creationId="{8F1736AE-3BAF-43EE-A347-CEB50370A317}"/>
          </ac:picMkLst>
        </pc:picChg>
        <pc:picChg chg="add mod ord modCrop">
          <ac:chgData name="El Bakkouri, Manal" userId="8b130982-2e3f-4164-b881-fd3a2e4b2453" providerId="ADAL" clId="{4457FA57-250B-44AC-8655-05D46C5A3D8A}" dt="2023-05-24T14:27:52.224" v="12522" actId="1076"/>
          <ac:picMkLst>
            <pc:docMk/>
            <pc:sldMk cId="1945816871" sldId="230717653"/>
            <ac:picMk id="18" creationId="{DD627184-D4DB-4368-95C2-5485143F4BAF}"/>
          </ac:picMkLst>
        </pc:picChg>
        <pc:picChg chg="add mod ord modCrop">
          <ac:chgData name="El Bakkouri, Manal" userId="8b130982-2e3f-4164-b881-fd3a2e4b2453" providerId="ADAL" clId="{4457FA57-250B-44AC-8655-05D46C5A3D8A}" dt="2023-05-24T14:12:34.049" v="12394" actId="1076"/>
          <ac:picMkLst>
            <pc:docMk/>
            <pc:sldMk cId="1945816871" sldId="230717653"/>
            <ac:picMk id="20" creationId="{706F4A6E-E8A8-407E-8B06-150C8070B821}"/>
          </ac:picMkLst>
        </pc:picChg>
        <pc:picChg chg="add mod ord">
          <ac:chgData name="El Bakkouri, Manal" userId="8b130982-2e3f-4164-b881-fd3a2e4b2453" providerId="ADAL" clId="{4457FA57-250B-44AC-8655-05D46C5A3D8A}" dt="2023-05-24T14:12:34.049" v="12394" actId="1076"/>
          <ac:picMkLst>
            <pc:docMk/>
            <pc:sldMk cId="1945816871" sldId="230717653"/>
            <ac:picMk id="22" creationId="{4AD74990-6682-4942-BA11-45AEC9E6F06D}"/>
          </ac:picMkLst>
        </pc:picChg>
        <pc:picChg chg="add mod ord">
          <ac:chgData name="El Bakkouri, Manal" userId="8b130982-2e3f-4164-b881-fd3a2e4b2453" providerId="ADAL" clId="{4457FA57-250B-44AC-8655-05D46C5A3D8A}" dt="2023-05-24T14:12:34.049" v="12394" actId="1076"/>
          <ac:picMkLst>
            <pc:docMk/>
            <pc:sldMk cId="1945816871" sldId="230717653"/>
            <ac:picMk id="24" creationId="{E0FED367-A4B6-40EC-BDDF-A5AC9A750597}"/>
          </ac:picMkLst>
        </pc:picChg>
        <pc:picChg chg="add del mod ord">
          <ac:chgData name="El Bakkouri, Manal" userId="8b130982-2e3f-4164-b881-fd3a2e4b2453" providerId="ADAL" clId="{4457FA57-250B-44AC-8655-05D46C5A3D8A}" dt="2023-05-24T14:09:52.358" v="12344" actId="478"/>
          <ac:picMkLst>
            <pc:docMk/>
            <pc:sldMk cId="1945816871" sldId="230717653"/>
            <ac:picMk id="26" creationId="{DC295F04-53FE-4781-8FEF-FA60BEDFFB1F}"/>
          </ac:picMkLst>
        </pc:picChg>
        <pc:picChg chg="add mod ord">
          <ac:chgData name="El Bakkouri, Manal" userId="8b130982-2e3f-4164-b881-fd3a2e4b2453" providerId="ADAL" clId="{4457FA57-250B-44AC-8655-05D46C5A3D8A}" dt="2023-05-26T16:07:33.511" v="14130" actId="167"/>
          <ac:picMkLst>
            <pc:docMk/>
            <pc:sldMk cId="1945816871" sldId="230717653"/>
            <ac:picMk id="30" creationId="{B0A6B89A-4CAD-42B5-B0C0-5FC638CC3340}"/>
          </ac:picMkLst>
        </pc:picChg>
      </pc:sldChg>
      <pc:sldChg chg="addSp delSp modSp add mod ord modTransition addAnim delAnim modAnim modNotesTx">
        <pc:chgData name="El Bakkouri, Manal" userId="8b130982-2e3f-4164-b881-fd3a2e4b2453" providerId="ADAL" clId="{4457FA57-250B-44AC-8655-05D46C5A3D8A}" dt="2023-06-12T13:33:47.039" v="15858" actId="14100"/>
        <pc:sldMkLst>
          <pc:docMk/>
          <pc:sldMk cId="2547338931" sldId="230717654"/>
        </pc:sldMkLst>
        <pc:spChg chg="add del mod">
          <ac:chgData name="El Bakkouri, Manal" userId="8b130982-2e3f-4164-b881-fd3a2e4b2453" providerId="ADAL" clId="{4457FA57-250B-44AC-8655-05D46C5A3D8A}" dt="2023-05-24T15:59:00.086" v="12588" actId="478"/>
          <ac:spMkLst>
            <pc:docMk/>
            <pc:sldMk cId="2547338931" sldId="230717654"/>
            <ac:spMk id="2" creationId="{097809E3-A29C-4EE7-858A-6C7565AFC3C2}"/>
          </ac:spMkLst>
        </pc:spChg>
        <pc:spChg chg="add del mod">
          <ac:chgData name="El Bakkouri, Manal" userId="8b130982-2e3f-4164-b881-fd3a2e4b2453" providerId="ADAL" clId="{4457FA57-250B-44AC-8655-05D46C5A3D8A}" dt="2023-05-24T15:58:30.248" v="12586" actId="478"/>
          <ac:spMkLst>
            <pc:docMk/>
            <pc:sldMk cId="2547338931" sldId="230717654"/>
            <ac:spMk id="3" creationId="{872A8F04-9F2D-41DB-83BF-E80AF8DABC6B}"/>
          </ac:spMkLst>
        </pc:spChg>
        <pc:spChg chg="add del mod">
          <ac:chgData name="El Bakkouri, Manal" userId="8b130982-2e3f-4164-b881-fd3a2e4b2453" providerId="ADAL" clId="{4457FA57-250B-44AC-8655-05D46C5A3D8A}" dt="2023-05-24T16:10:47.525" v="12634"/>
          <ac:spMkLst>
            <pc:docMk/>
            <pc:sldMk cId="2547338931" sldId="230717654"/>
            <ac:spMk id="4" creationId="{649F6962-1F8A-4356-80A5-CA2A5B315163}"/>
          </ac:spMkLst>
        </pc:spChg>
        <pc:spChg chg="add mod">
          <ac:chgData name="El Bakkouri, Manal" userId="8b130982-2e3f-4164-b881-fd3a2e4b2453" providerId="ADAL" clId="{4457FA57-250B-44AC-8655-05D46C5A3D8A}" dt="2023-05-24T16:40:10.253" v="13201" actId="1582"/>
          <ac:spMkLst>
            <pc:docMk/>
            <pc:sldMk cId="2547338931" sldId="230717654"/>
            <ac:spMk id="5" creationId="{469729C8-20D1-433B-8AA6-5007B7F1DB7B}"/>
          </ac:spMkLst>
        </pc:spChg>
        <pc:spChg chg="del">
          <ac:chgData name="El Bakkouri, Manal" userId="8b130982-2e3f-4164-b881-fd3a2e4b2453" providerId="ADAL" clId="{4457FA57-250B-44AC-8655-05D46C5A3D8A}" dt="2023-05-24T16:47:52.030" v="13248" actId="478"/>
          <ac:spMkLst>
            <pc:docMk/>
            <pc:sldMk cId="2547338931" sldId="230717654"/>
            <ac:spMk id="7" creationId="{3ED2567F-035E-4314-BF22-6491606F3AD6}"/>
          </ac:spMkLst>
        </pc:spChg>
        <pc:spChg chg="add del mod">
          <ac:chgData name="El Bakkouri, Manal" userId="8b130982-2e3f-4164-b881-fd3a2e4b2453" providerId="ADAL" clId="{4457FA57-250B-44AC-8655-05D46C5A3D8A}" dt="2023-05-24T16:00:54.126" v="12619" actId="478"/>
          <ac:spMkLst>
            <pc:docMk/>
            <pc:sldMk cId="2547338931" sldId="230717654"/>
            <ac:spMk id="21" creationId="{8C255343-FF53-4CA0-90BD-12CC89B43F7B}"/>
          </ac:spMkLst>
        </pc:spChg>
        <pc:spChg chg="mod topLvl">
          <ac:chgData name="El Bakkouri, Manal" userId="8b130982-2e3f-4164-b881-fd3a2e4b2453" providerId="ADAL" clId="{4457FA57-250B-44AC-8655-05D46C5A3D8A}" dt="2023-05-24T16:00:54.126" v="12619" actId="478"/>
          <ac:spMkLst>
            <pc:docMk/>
            <pc:sldMk cId="2547338931" sldId="230717654"/>
            <ac:spMk id="23" creationId="{A0EF9CAD-E8CF-4F89-BF9E-4927F2334554}"/>
          </ac:spMkLst>
        </pc:spChg>
        <pc:spChg chg="add del mod topLvl">
          <ac:chgData name="El Bakkouri, Manal" userId="8b130982-2e3f-4164-b881-fd3a2e4b2453" providerId="ADAL" clId="{4457FA57-250B-44AC-8655-05D46C5A3D8A}" dt="2023-05-24T16:00:58.459" v="12629" actId="20577"/>
          <ac:spMkLst>
            <pc:docMk/>
            <pc:sldMk cId="2547338931" sldId="230717654"/>
            <ac:spMk id="25" creationId="{B38B2C07-B9CD-41EB-968D-3AE0C484B823}"/>
          </ac:spMkLst>
        </pc:spChg>
        <pc:spChg chg="mod">
          <ac:chgData name="El Bakkouri, Manal" userId="8b130982-2e3f-4164-b881-fd3a2e4b2453" providerId="ADAL" clId="{4457FA57-250B-44AC-8655-05D46C5A3D8A}" dt="2023-05-24T15:59:29.552" v="12594" actId="14100"/>
          <ac:spMkLst>
            <pc:docMk/>
            <pc:sldMk cId="2547338931" sldId="230717654"/>
            <ac:spMk id="27" creationId="{EC89FEF5-E2B9-499C-A9D0-467874F2B3F4}"/>
          </ac:spMkLst>
        </pc:spChg>
        <pc:spChg chg="mod">
          <ac:chgData name="El Bakkouri, Manal" userId="8b130982-2e3f-4164-b881-fd3a2e4b2453" providerId="ADAL" clId="{4457FA57-250B-44AC-8655-05D46C5A3D8A}" dt="2023-05-24T15:59:29.552" v="12594" actId="14100"/>
          <ac:spMkLst>
            <pc:docMk/>
            <pc:sldMk cId="2547338931" sldId="230717654"/>
            <ac:spMk id="28" creationId="{6D443DF1-0479-425B-8F15-800FDC35C4C9}"/>
          </ac:spMkLst>
        </pc:spChg>
        <pc:spChg chg="mod">
          <ac:chgData name="El Bakkouri, Manal" userId="8b130982-2e3f-4164-b881-fd3a2e4b2453" providerId="ADAL" clId="{4457FA57-250B-44AC-8655-05D46C5A3D8A}" dt="2023-05-24T15:59:29.552" v="12594" actId="14100"/>
          <ac:spMkLst>
            <pc:docMk/>
            <pc:sldMk cId="2547338931" sldId="230717654"/>
            <ac:spMk id="29" creationId="{7F9C2940-C5EF-42F3-8593-A995EC564AFF}"/>
          </ac:spMkLst>
        </pc:spChg>
        <pc:spChg chg="mod">
          <ac:chgData name="El Bakkouri, Manal" userId="8b130982-2e3f-4164-b881-fd3a2e4b2453" providerId="ADAL" clId="{4457FA57-250B-44AC-8655-05D46C5A3D8A}" dt="2023-05-24T15:59:29.552" v="12594" actId="14100"/>
          <ac:spMkLst>
            <pc:docMk/>
            <pc:sldMk cId="2547338931" sldId="230717654"/>
            <ac:spMk id="30" creationId="{02776B2C-4F9E-4D0F-A8EE-F630D4A1AB46}"/>
          </ac:spMkLst>
        </pc:spChg>
        <pc:spChg chg="mod">
          <ac:chgData name="El Bakkouri, Manal" userId="8b130982-2e3f-4164-b881-fd3a2e4b2453" providerId="ADAL" clId="{4457FA57-250B-44AC-8655-05D46C5A3D8A}" dt="2023-05-24T15:59:29.552" v="12594" actId="14100"/>
          <ac:spMkLst>
            <pc:docMk/>
            <pc:sldMk cId="2547338931" sldId="230717654"/>
            <ac:spMk id="32" creationId="{71A5C3D0-A5F8-4F11-AFDE-5D8E08F7142D}"/>
          </ac:spMkLst>
        </pc:spChg>
        <pc:spChg chg="mod">
          <ac:chgData name="El Bakkouri, Manal" userId="8b130982-2e3f-4164-b881-fd3a2e4b2453" providerId="ADAL" clId="{4457FA57-250B-44AC-8655-05D46C5A3D8A}" dt="2023-05-24T15:59:29.552" v="12594" actId="14100"/>
          <ac:spMkLst>
            <pc:docMk/>
            <pc:sldMk cId="2547338931" sldId="230717654"/>
            <ac:spMk id="33" creationId="{B66AB69D-BFD4-46EB-A86D-CA45D990EDDB}"/>
          </ac:spMkLst>
        </pc:spChg>
        <pc:spChg chg="mod">
          <ac:chgData name="El Bakkouri, Manal" userId="8b130982-2e3f-4164-b881-fd3a2e4b2453" providerId="ADAL" clId="{4457FA57-250B-44AC-8655-05D46C5A3D8A}" dt="2023-05-24T15:59:29.552" v="12594" actId="14100"/>
          <ac:spMkLst>
            <pc:docMk/>
            <pc:sldMk cId="2547338931" sldId="230717654"/>
            <ac:spMk id="34" creationId="{DE9BAFBC-BCCC-4658-8579-0D3706900DCC}"/>
          </ac:spMkLst>
        </pc:spChg>
        <pc:spChg chg="mod">
          <ac:chgData name="El Bakkouri, Manal" userId="8b130982-2e3f-4164-b881-fd3a2e4b2453" providerId="ADAL" clId="{4457FA57-250B-44AC-8655-05D46C5A3D8A}" dt="2023-05-24T15:59:29.552" v="12594" actId="14100"/>
          <ac:spMkLst>
            <pc:docMk/>
            <pc:sldMk cId="2547338931" sldId="230717654"/>
            <ac:spMk id="35" creationId="{BFDB29FE-C081-4EB1-90E7-02EECB6C09E4}"/>
          </ac:spMkLst>
        </pc:spChg>
        <pc:spChg chg="add mod">
          <ac:chgData name="El Bakkouri, Manal" userId="8b130982-2e3f-4164-b881-fd3a2e4b2453" providerId="ADAL" clId="{4457FA57-250B-44AC-8655-05D46C5A3D8A}" dt="2023-05-24T16:18:57.605" v="12725" actId="1076"/>
          <ac:spMkLst>
            <pc:docMk/>
            <pc:sldMk cId="2547338931" sldId="230717654"/>
            <ac:spMk id="36" creationId="{2B07480A-2612-4BE2-9A40-034181877038}"/>
          </ac:spMkLst>
        </pc:spChg>
        <pc:spChg chg="add mod">
          <ac:chgData name="El Bakkouri, Manal" userId="8b130982-2e3f-4164-b881-fd3a2e4b2453" providerId="ADAL" clId="{4457FA57-250B-44AC-8655-05D46C5A3D8A}" dt="2023-05-24T16:15:17.313" v="12717" actId="207"/>
          <ac:spMkLst>
            <pc:docMk/>
            <pc:sldMk cId="2547338931" sldId="230717654"/>
            <ac:spMk id="37" creationId="{1EF076D8-BEC4-4535-AE56-D28632C88CA9}"/>
          </ac:spMkLst>
        </pc:spChg>
        <pc:spChg chg="add mod">
          <ac:chgData name="El Bakkouri, Manal" userId="8b130982-2e3f-4164-b881-fd3a2e4b2453" providerId="ADAL" clId="{4457FA57-250B-44AC-8655-05D46C5A3D8A}" dt="2023-05-24T16:14:23.362" v="12689" actId="164"/>
          <ac:spMkLst>
            <pc:docMk/>
            <pc:sldMk cId="2547338931" sldId="230717654"/>
            <ac:spMk id="38" creationId="{D229CA3B-D4D6-45DB-B46E-0B491D15C266}"/>
          </ac:spMkLst>
        </pc:spChg>
        <pc:spChg chg="add mod">
          <ac:chgData name="El Bakkouri, Manal" userId="8b130982-2e3f-4164-b881-fd3a2e4b2453" providerId="ADAL" clId="{4457FA57-250B-44AC-8655-05D46C5A3D8A}" dt="2023-05-24T16:15:33.018" v="12718" actId="207"/>
          <ac:spMkLst>
            <pc:docMk/>
            <pc:sldMk cId="2547338931" sldId="230717654"/>
            <ac:spMk id="39" creationId="{A495C2D7-EFB2-4BC0-B2BF-14CA0B6D4934}"/>
          </ac:spMkLst>
        </pc:spChg>
        <pc:spChg chg="add mod">
          <ac:chgData name="El Bakkouri, Manal" userId="8b130982-2e3f-4164-b881-fd3a2e4b2453" providerId="ADAL" clId="{4457FA57-250B-44AC-8655-05D46C5A3D8A}" dt="2023-05-24T16:14:26.840" v="12690" actId="164"/>
          <ac:spMkLst>
            <pc:docMk/>
            <pc:sldMk cId="2547338931" sldId="230717654"/>
            <ac:spMk id="40" creationId="{4DF41847-9BA4-4A1F-9391-1C845978DAA1}"/>
          </ac:spMkLst>
        </pc:spChg>
        <pc:spChg chg="mod">
          <ac:chgData name="El Bakkouri, Manal" userId="8b130982-2e3f-4164-b881-fd3a2e4b2453" providerId="ADAL" clId="{4457FA57-250B-44AC-8655-05D46C5A3D8A}" dt="2023-05-24T16:44:38.959" v="13220" actId="207"/>
          <ac:spMkLst>
            <pc:docMk/>
            <pc:sldMk cId="2547338931" sldId="230717654"/>
            <ac:spMk id="51" creationId="{9E4A417E-E525-4C19-A91B-316D4F9C2600}"/>
          </ac:spMkLst>
        </pc:spChg>
        <pc:spChg chg="mod">
          <ac:chgData name="El Bakkouri, Manal" userId="8b130982-2e3f-4164-b881-fd3a2e4b2453" providerId="ADAL" clId="{4457FA57-250B-44AC-8655-05D46C5A3D8A}" dt="2023-05-24T16:44:38.959" v="13220" actId="207"/>
          <ac:spMkLst>
            <pc:docMk/>
            <pc:sldMk cId="2547338931" sldId="230717654"/>
            <ac:spMk id="52" creationId="{9C429912-1A39-490F-9D8B-3DF4CCBE4DE3}"/>
          </ac:spMkLst>
        </pc:spChg>
        <pc:spChg chg="mod">
          <ac:chgData name="El Bakkouri, Manal" userId="8b130982-2e3f-4164-b881-fd3a2e4b2453" providerId="ADAL" clId="{4457FA57-250B-44AC-8655-05D46C5A3D8A}" dt="2023-05-24T16:44:35.821" v="13219" actId="207"/>
          <ac:spMkLst>
            <pc:docMk/>
            <pc:sldMk cId="2547338931" sldId="230717654"/>
            <ac:spMk id="54" creationId="{A3B12766-70C3-42E9-807F-FC3DDAFDA6C0}"/>
          </ac:spMkLst>
        </pc:spChg>
        <pc:spChg chg="mod">
          <ac:chgData name="El Bakkouri, Manal" userId="8b130982-2e3f-4164-b881-fd3a2e4b2453" providerId="ADAL" clId="{4457FA57-250B-44AC-8655-05D46C5A3D8A}" dt="2023-05-24T16:44:35.821" v="13219" actId="207"/>
          <ac:spMkLst>
            <pc:docMk/>
            <pc:sldMk cId="2547338931" sldId="230717654"/>
            <ac:spMk id="55" creationId="{8B5FDBCD-1BFC-4973-97F4-7BB861BF5FB9}"/>
          </ac:spMkLst>
        </pc:spChg>
        <pc:spChg chg="mod">
          <ac:chgData name="El Bakkouri, Manal" userId="8b130982-2e3f-4164-b881-fd3a2e4b2453" providerId="ADAL" clId="{4457FA57-250B-44AC-8655-05D46C5A3D8A}" dt="2023-05-24T16:44:32.042" v="13218" actId="207"/>
          <ac:spMkLst>
            <pc:docMk/>
            <pc:sldMk cId="2547338931" sldId="230717654"/>
            <ac:spMk id="57" creationId="{6EE1BDA9-2D2F-4219-B400-8303DC029603}"/>
          </ac:spMkLst>
        </pc:spChg>
        <pc:spChg chg="mod">
          <ac:chgData name="El Bakkouri, Manal" userId="8b130982-2e3f-4164-b881-fd3a2e4b2453" providerId="ADAL" clId="{4457FA57-250B-44AC-8655-05D46C5A3D8A}" dt="2023-05-24T16:44:32.042" v="13218" actId="207"/>
          <ac:spMkLst>
            <pc:docMk/>
            <pc:sldMk cId="2547338931" sldId="230717654"/>
            <ac:spMk id="58" creationId="{15EF64D1-4918-47E0-8584-AAA902FD4F64}"/>
          </ac:spMkLst>
        </pc:spChg>
        <pc:spChg chg="add mod">
          <ac:chgData name="El Bakkouri, Manal" userId="8b130982-2e3f-4164-b881-fd3a2e4b2453" providerId="ADAL" clId="{4457FA57-250B-44AC-8655-05D46C5A3D8A}" dt="2023-05-24T16:47:52.476" v="13249"/>
          <ac:spMkLst>
            <pc:docMk/>
            <pc:sldMk cId="2547338931" sldId="230717654"/>
            <ac:spMk id="59" creationId="{12C9E5EA-D1B0-408A-84AD-92BF11BD9887}"/>
          </ac:spMkLst>
        </pc:spChg>
        <pc:spChg chg="mod">
          <ac:chgData name="El Bakkouri, Manal" userId="8b130982-2e3f-4164-b881-fd3a2e4b2453" providerId="ADAL" clId="{4457FA57-250B-44AC-8655-05D46C5A3D8A}" dt="2023-06-12T13:33:45.005" v="15857" actId="403"/>
          <ac:spMkLst>
            <pc:docMk/>
            <pc:sldMk cId="2547338931" sldId="230717654"/>
            <ac:spMk id="62" creationId="{EEC0EEA8-101A-4542-96DC-D43BDFFAE320}"/>
          </ac:spMkLst>
        </pc:spChg>
        <pc:spChg chg="mod">
          <ac:chgData name="El Bakkouri, Manal" userId="8b130982-2e3f-4164-b881-fd3a2e4b2453" providerId="ADAL" clId="{4457FA57-250B-44AC-8655-05D46C5A3D8A}" dt="2023-06-12T13:33:45.005" v="15857" actId="403"/>
          <ac:spMkLst>
            <pc:docMk/>
            <pc:sldMk cId="2547338931" sldId="230717654"/>
            <ac:spMk id="63" creationId="{E8D976E7-9325-4673-9701-DCF85DB2E0FF}"/>
          </ac:spMkLst>
        </pc:spChg>
        <pc:spChg chg="mod">
          <ac:chgData name="El Bakkouri, Manal" userId="8b130982-2e3f-4164-b881-fd3a2e4b2453" providerId="ADAL" clId="{4457FA57-250B-44AC-8655-05D46C5A3D8A}" dt="2023-06-12T13:33:45.005" v="15857" actId="403"/>
          <ac:spMkLst>
            <pc:docMk/>
            <pc:sldMk cId="2547338931" sldId="230717654"/>
            <ac:spMk id="68" creationId="{E73602B3-DEA6-48A5-9306-082993B2ED4E}"/>
          </ac:spMkLst>
        </pc:spChg>
        <pc:spChg chg="mod">
          <ac:chgData name="El Bakkouri, Manal" userId="8b130982-2e3f-4164-b881-fd3a2e4b2453" providerId="ADAL" clId="{4457FA57-250B-44AC-8655-05D46C5A3D8A}" dt="2023-06-12T13:33:45.005" v="15857" actId="403"/>
          <ac:spMkLst>
            <pc:docMk/>
            <pc:sldMk cId="2547338931" sldId="230717654"/>
            <ac:spMk id="69" creationId="{31062983-918A-4B9A-B61C-E2F595BD8F3E}"/>
          </ac:spMkLst>
        </pc:spChg>
        <pc:spChg chg="mod">
          <ac:chgData name="El Bakkouri, Manal" userId="8b130982-2e3f-4164-b881-fd3a2e4b2453" providerId="ADAL" clId="{4457FA57-250B-44AC-8655-05D46C5A3D8A}" dt="2023-06-12T13:33:45.005" v="15857" actId="403"/>
          <ac:spMkLst>
            <pc:docMk/>
            <pc:sldMk cId="2547338931" sldId="230717654"/>
            <ac:spMk id="71" creationId="{E0A16A3E-9D05-4A76-B37A-5C8D9B925EBA}"/>
          </ac:spMkLst>
        </pc:spChg>
        <pc:spChg chg="mod">
          <ac:chgData name="El Bakkouri, Manal" userId="8b130982-2e3f-4164-b881-fd3a2e4b2453" providerId="ADAL" clId="{4457FA57-250B-44AC-8655-05D46C5A3D8A}" dt="2023-06-12T13:33:45.005" v="15857" actId="403"/>
          <ac:spMkLst>
            <pc:docMk/>
            <pc:sldMk cId="2547338931" sldId="230717654"/>
            <ac:spMk id="72" creationId="{BCD727D0-CC38-4B1E-BAE4-B7E91764C375}"/>
          </ac:spMkLst>
        </pc:spChg>
        <pc:spChg chg="mod">
          <ac:chgData name="El Bakkouri, Manal" userId="8b130982-2e3f-4164-b881-fd3a2e4b2453" providerId="ADAL" clId="{4457FA57-250B-44AC-8655-05D46C5A3D8A}" dt="2023-06-12T13:33:45.005" v="15857" actId="403"/>
          <ac:spMkLst>
            <pc:docMk/>
            <pc:sldMk cId="2547338931" sldId="230717654"/>
            <ac:spMk id="74" creationId="{C156703B-CF3C-447F-936E-5512C73BAF51}"/>
          </ac:spMkLst>
        </pc:spChg>
        <pc:spChg chg="mod">
          <ac:chgData name="El Bakkouri, Manal" userId="8b130982-2e3f-4164-b881-fd3a2e4b2453" providerId="ADAL" clId="{4457FA57-250B-44AC-8655-05D46C5A3D8A}" dt="2023-06-12T13:33:45.005" v="15857" actId="403"/>
          <ac:spMkLst>
            <pc:docMk/>
            <pc:sldMk cId="2547338931" sldId="230717654"/>
            <ac:spMk id="75" creationId="{5D05B5AE-5929-42A7-B124-CFDD2D60F48D}"/>
          </ac:spMkLst>
        </pc:spChg>
        <pc:spChg chg="mod">
          <ac:chgData name="El Bakkouri, Manal" userId="8b130982-2e3f-4164-b881-fd3a2e4b2453" providerId="ADAL" clId="{4457FA57-250B-44AC-8655-05D46C5A3D8A}" dt="2023-06-12T13:33:45.005" v="15857" actId="403"/>
          <ac:spMkLst>
            <pc:docMk/>
            <pc:sldMk cId="2547338931" sldId="230717654"/>
            <ac:spMk id="92" creationId="{276CDA05-B544-4C80-810C-BCA1B6FD3B19}"/>
          </ac:spMkLst>
        </pc:spChg>
        <pc:spChg chg="mod">
          <ac:chgData name="El Bakkouri, Manal" userId="8b130982-2e3f-4164-b881-fd3a2e4b2453" providerId="ADAL" clId="{4457FA57-250B-44AC-8655-05D46C5A3D8A}" dt="2023-06-12T13:33:45.005" v="15857" actId="403"/>
          <ac:spMkLst>
            <pc:docMk/>
            <pc:sldMk cId="2547338931" sldId="230717654"/>
            <ac:spMk id="93" creationId="{07626B8D-31A5-431C-BF90-372DD06CA909}"/>
          </ac:spMkLst>
        </pc:spChg>
        <pc:spChg chg="mod">
          <ac:chgData name="El Bakkouri, Manal" userId="8b130982-2e3f-4164-b881-fd3a2e4b2453" providerId="ADAL" clId="{4457FA57-250B-44AC-8655-05D46C5A3D8A}" dt="2023-06-12T13:33:40.356" v="15856" actId="403"/>
          <ac:spMkLst>
            <pc:docMk/>
            <pc:sldMk cId="2547338931" sldId="230717654"/>
            <ac:spMk id="94" creationId="{F5BCA9B3-6D5B-4B37-BB38-C774F58EF0F8}"/>
          </ac:spMkLst>
        </pc:spChg>
        <pc:spChg chg="mod">
          <ac:chgData name="El Bakkouri, Manal" userId="8b130982-2e3f-4164-b881-fd3a2e4b2453" providerId="ADAL" clId="{4457FA57-250B-44AC-8655-05D46C5A3D8A}" dt="2023-06-12T13:33:40.356" v="15856" actId="403"/>
          <ac:spMkLst>
            <pc:docMk/>
            <pc:sldMk cId="2547338931" sldId="230717654"/>
            <ac:spMk id="95" creationId="{AD958C4D-465A-4C70-9C55-5627D5674ADB}"/>
          </ac:spMkLst>
        </pc:spChg>
        <pc:spChg chg="mod">
          <ac:chgData name="El Bakkouri, Manal" userId="8b130982-2e3f-4164-b881-fd3a2e4b2453" providerId="ADAL" clId="{4457FA57-250B-44AC-8655-05D46C5A3D8A}" dt="2023-06-12T13:33:40.356" v="15856" actId="403"/>
          <ac:spMkLst>
            <pc:docMk/>
            <pc:sldMk cId="2547338931" sldId="230717654"/>
            <ac:spMk id="96" creationId="{B2553605-D4EB-486D-8596-B0B028454FEF}"/>
          </ac:spMkLst>
        </pc:spChg>
        <pc:spChg chg="mod">
          <ac:chgData name="El Bakkouri, Manal" userId="8b130982-2e3f-4164-b881-fd3a2e4b2453" providerId="ADAL" clId="{4457FA57-250B-44AC-8655-05D46C5A3D8A}" dt="2023-06-12T13:33:40.356" v="15856" actId="403"/>
          <ac:spMkLst>
            <pc:docMk/>
            <pc:sldMk cId="2547338931" sldId="230717654"/>
            <ac:spMk id="97" creationId="{B75896A5-5666-4990-A6E6-4A473790FB4F}"/>
          </ac:spMkLst>
        </pc:spChg>
        <pc:grpChg chg="add del mod">
          <ac:chgData name="El Bakkouri, Manal" userId="8b130982-2e3f-4164-b881-fd3a2e4b2453" providerId="ADAL" clId="{4457FA57-250B-44AC-8655-05D46C5A3D8A}" dt="2023-05-24T16:01:05.005" v="12630" actId="478"/>
          <ac:grpSpMkLst>
            <pc:docMk/>
            <pc:sldMk cId="2547338931" sldId="230717654"/>
            <ac:grpSpMk id="19" creationId="{3DADFAF2-9345-4C01-9FB6-52AD14EFA81A}"/>
          </ac:grpSpMkLst>
        </pc:grpChg>
        <pc:grpChg chg="add del mod">
          <ac:chgData name="El Bakkouri, Manal" userId="8b130982-2e3f-4164-b881-fd3a2e4b2453" providerId="ADAL" clId="{4457FA57-250B-44AC-8655-05D46C5A3D8A}" dt="2023-05-24T16:01:05.005" v="12630" actId="478"/>
          <ac:grpSpMkLst>
            <pc:docMk/>
            <pc:sldMk cId="2547338931" sldId="230717654"/>
            <ac:grpSpMk id="26" creationId="{E9EA717E-D190-4FC6-AA00-F67CDC019F64}"/>
          </ac:grpSpMkLst>
        </pc:grpChg>
        <pc:grpChg chg="add del mod">
          <ac:chgData name="El Bakkouri, Manal" userId="8b130982-2e3f-4164-b881-fd3a2e4b2453" providerId="ADAL" clId="{4457FA57-250B-44AC-8655-05D46C5A3D8A}" dt="2023-05-24T16:01:05.005" v="12630" actId="478"/>
          <ac:grpSpMkLst>
            <pc:docMk/>
            <pc:sldMk cId="2547338931" sldId="230717654"/>
            <ac:grpSpMk id="31" creationId="{A97D94D3-F5ED-49F8-923F-1D2DDFE049CE}"/>
          </ac:grpSpMkLst>
        </pc:grpChg>
        <pc:grpChg chg="add mod">
          <ac:chgData name="El Bakkouri, Manal" userId="8b130982-2e3f-4164-b881-fd3a2e4b2453" providerId="ADAL" clId="{4457FA57-250B-44AC-8655-05D46C5A3D8A}" dt="2023-05-24T16:19:37.706" v="12740" actId="1038"/>
          <ac:grpSpMkLst>
            <pc:docMk/>
            <pc:sldMk cId="2547338931" sldId="230717654"/>
            <ac:grpSpMk id="41" creationId="{A7D241EB-CE54-45BA-93FD-28E9554D2F55}"/>
          </ac:grpSpMkLst>
        </pc:grpChg>
        <pc:grpChg chg="add mod">
          <ac:chgData name="El Bakkouri, Manal" userId="8b130982-2e3f-4164-b881-fd3a2e4b2453" providerId="ADAL" clId="{4457FA57-250B-44AC-8655-05D46C5A3D8A}" dt="2023-05-24T16:14:19.270" v="12688" actId="164"/>
          <ac:grpSpMkLst>
            <pc:docMk/>
            <pc:sldMk cId="2547338931" sldId="230717654"/>
            <ac:grpSpMk id="42" creationId="{B6360CF0-8D25-4792-859E-32E47F1169B9}"/>
          </ac:grpSpMkLst>
        </pc:grpChg>
        <pc:grpChg chg="add mod">
          <ac:chgData name="El Bakkouri, Manal" userId="8b130982-2e3f-4164-b881-fd3a2e4b2453" providerId="ADAL" clId="{4457FA57-250B-44AC-8655-05D46C5A3D8A}" dt="2023-05-24T16:19:37.706" v="12740" actId="1038"/>
          <ac:grpSpMkLst>
            <pc:docMk/>
            <pc:sldMk cId="2547338931" sldId="230717654"/>
            <ac:grpSpMk id="43" creationId="{26BDA0EE-8E60-4A60-862F-D0C64FEF1E83}"/>
          </ac:grpSpMkLst>
        </pc:grpChg>
        <pc:grpChg chg="add mod">
          <ac:chgData name="El Bakkouri, Manal" userId="8b130982-2e3f-4164-b881-fd3a2e4b2453" providerId="ADAL" clId="{4457FA57-250B-44AC-8655-05D46C5A3D8A}" dt="2023-05-24T16:19:37.706" v="12740" actId="1038"/>
          <ac:grpSpMkLst>
            <pc:docMk/>
            <pc:sldMk cId="2547338931" sldId="230717654"/>
            <ac:grpSpMk id="44" creationId="{72B7858C-5E0D-455B-AE2F-5BD2C5DE4FB2}"/>
          </ac:grpSpMkLst>
        </pc:grpChg>
        <pc:grpChg chg="add mod">
          <ac:chgData name="El Bakkouri, Manal" userId="8b130982-2e3f-4164-b881-fd3a2e4b2453" providerId="ADAL" clId="{4457FA57-250B-44AC-8655-05D46C5A3D8A}" dt="2023-05-24T16:44:38.959" v="13220" actId="207"/>
          <ac:grpSpMkLst>
            <pc:docMk/>
            <pc:sldMk cId="2547338931" sldId="230717654"/>
            <ac:grpSpMk id="50" creationId="{9ECB89D8-783D-4467-A7B7-0E8D866A04B2}"/>
          </ac:grpSpMkLst>
        </pc:grpChg>
        <pc:grpChg chg="add mod">
          <ac:chgData name="El Bakkouri, Manal" userId="8b130982-2e3f-4164-b881-fd3a2e4b2453" providerId="ADAL" clId="{4457FA57-250B-44AC-8655-05D46C5A3D8A}" dt="2023-05-24T16:44:52.544" v="13221" actId="1035"/>
          <ac:grpSpMkLst>
            <pc:docMk/>
            <pc:sldMk cId="2547338931" sldId="230717654"/>
            <ac:grpSpMk id="53" creationId="{0FBF40BA-C416-4AA7-8CED-C03EB3060042}"/>
          </ac:grpSpMkLst>
        </pc:grpChg>
        <pc:grpChg chg="add mod">
          <ac:chgData name="El Bakkouri, Manal" userId="8b130982-2e3f-4164-b881-fd3a2e4b2453" providerId="ADAL" clId="{4457FA57-250B-44AC-8655-05D46C5A3D8A}" dt="2023-05-24T16:44:56.223" v="13222" actId="1036"/>
          <ac:grpSpMkLst>
            <pc:docMk/>
            <pc:sldMk cId="2547338931" sldId="230717654"/>
            <ac:grpSpMk id="56" creationId="{65ED4EF8-02AE-4D67-8D49-F222E4B7F926}"/>
          </ac:grpSpMkLst>
        </pc:grpChg>
        <pc:grpChg chg="mod">
          <ac:chgData name="El Bakkouri, Manal" userId="8b130982-2e3f-4164-b881-fd3a2e4b2453" providerId="ADAL" clId="{4457FA57-250B-44AC-8655-05D46C5A3D8A}" dt="2023-06-12T13:33:47.039" v="15858" actId="14100"/>
          <ac:grpSpMkLst>
            <pc:docMk/>
            <pc:sldMk cId="2547338931" sldId="230717654"/>
            <ac:grpSpMk id="61" creationId="{71B53072-5249-418B-A003-47B8117C3706}"/>
          </ac:grpSpMkLst>
        </pc:grpChg>
        <pc:grpChg chg="mod">
          <ac:chgData name="El Bakkouri, Manal" userId="8b130982-2e3f-4164-b881-fd3a2e4b2453" providerId="ADAL" clId="{4457FA57-250B-44AC-8655-05D46C5A3D8A}" dt="2023-06-12T13:33:47.039" v="15858" actId="14100"/>
          <ac:grpSpMkLst>
            <pc:docMk/>
            <pc:sldMk cId="2547338931" sldId="230717654"/>
            <ac:grpSpMk id="67" creationId="{F60D3D50-CAE0-4845-BAA5-308EE5FB54F7}"/>
          </ac:grpSpMkLst>
        </pc:grpChg>
        <pc:grpChg chg="mod">
          <ac:chgData name="El Bakkouri, Manal" userId="8b130982-2e3f-4164-b881-fd3a2e4b2453" providerId="ADAL" clId="{4457FA57-250B-44AC-8655-05D46C5A3D8A}" dt="2023-06-12T13:33:47.039" v="15858" actId="14100"/>
          <ac:grpSpMkLst>
            <pc:docMk/>
            <pc:sldMk cId="2547338931" sldId="230717654"/>
            <ac:grpSpMk id="70" creationId="{CC963784-89C0-4CAC-BD2E-5385BD5A6006}"/>
          </ac:grpSpMkLst>
        </pc:grpChg>
        <pc:grpChg chg="mod">
          <ac:chgData name="El Bakkouri, Manal" userId="8b130982-2e3f-4164-b881-fd3a2e4b2453" providerId="ADAL" clId="{4457FA57-250B-44AC-8655-05D46C5A3D8A}" dt="2023-06-12T13:33:47.039" v="15858" actId="14100"/>
          <ac:grpSpMkLst>
            <pc:docMk/>
            <pc:sldMk cId="2547338931" sldId="230717654"/>
            <ac:grpSpMk id="73" creationId="{E3CD98FD-C923-4C35-9A98-18B4DBE27421}"/>
          </ac:grpSpMkLst>
        </pc:grpChg>
        <pc:grpChg chg="mod">
          <ac:chgData name="El Bakkouri, Manal" userId="8b130982-2e3f-4164-b881-fd3a2e4b2453" providerId="ADAL" clId="{4457FA57-250B-44AC-8655-05D46C5A3D8A}" dt="2023-06-12T13:33:47.039" v="15858" actId="14100"/>
          <ac:grpSpMkLst>
            <pc:docMk/>
            <pc:sldMk cId="2547338931" sldId="230717654"/>
            <ac:grpSpMk id="91" creationId="{98E12F53-86EB-4EFE-87D3-6674CB9B9F28}"/>
          </ac:grpSpMkLst>
        </pc:grpChg>
        <pc:picChg chg="mod">
          <ac:chgData name="El Bakkouri, Manal" userId="8b130982-2e3f-4164-b881-fd3a2e4b2453" providerId="ADAL" clId="{4457FA57-250B-44AC-8655-05D46C5A3D8A}" dt="2023-05-24T14:15:51.729" v="12401" actId="1076"/>
          <ac:picMkLst>
            <pc:docMk/>
            <pc:sldMk cId="2547338931" sldId="230717654"/>
            <ac:picMk id="6" creationId="{8F1736AE-3BAF-43EE-A347-CEB50370A317}"/>
          </ac:picMkLst>
        </pc:picChg>
        <pc:picChg chg="mod">
          <ac:chgData name="El Bakkouri, Manal" userId="8b130982-2e3f-4164-b881-fd3a2e4b2453" providerId="ADAL" clId="{4457FA57-250B-44AC-8655-05D46C5A3D8A}" dt="2023-05-24T16:41:51.646" v="13204" actId="1076"/>
          <ac:picMkLst>
            <pc:docMk/>
            <pc:sldMk cId="2547338931" sldId="230717654"/>
            <ac:picMk id="18" creationId="{DD627184-D4DB-4368-95C2-5485143F4BAF}"/>
          </ac:picMkLst>
        </pc:picChg>
        <pc:picChg chg="add mod ord">
          <ac:chgData name="El Bakkouri, Manal" userId="8b130982-2e3f-4164-b881-fd3a2e4b2453" providerId="ADAL" clId="{4457FA57-250B-44AC-8655-05D46C5A3D8A}" dt="2023-05-26T16:07:20.232" v="14127" actId="167"/>
          <ac:picMkLst>
            <pc:docMk/>
            <pc:sldMk cId="2547338931" sldId="230717654"/>
            <ac:picMk id="60" creationId="{E8962C45-D513-4C3B-930E-5DE0B32F3374}"/>
          </ac:picMkLst>
        </pc:picChg>
        <pc:cxnChg chg="add del mod">
          <ac:chgData name="El Bakkouri, Manal" userId="8b130982-2e3f-4164-b881-fd3a2e4b2453" providerId="ADAL" clId="{4457FA57-250B-44AC-8655-05D46C5A3D8A}" dt="2023-05-24T16:40:07.011" v="13199" actId="478"/>
          <ac:cxnSpMkLst>
            <pc:docMk/>
            <pc:sldMk cId="2547338931" sldId="230717654"/>
            <ac:cxnSpMk id="46" creationId="{CB2E0283-43BA-4E72-8A11-6196DB3EA9EB}"/>
          </ac:cxnSpMkLst>
        </pc:cxnChg>
        <pc:cxnChg chg="add mod">
          <ac:chgData name="El Bakkouri, Manal" userId="8b130982-2e3f-4164-b881-fd3a2e4b2453" providerId="ADAL" clId="{4457FA57-250B-44AC-8655-05D46C5A3D8A}" dt="2023-05-24T16:19:37.706" v="12740" actId="1038"/>
          <ac:cxnSpMkLst>
            <pc:docMk/>
            <pc:sldMk cId="2547338931" sldId="230717654"/>
            <ac:cxnSpMk id="48" creationId="{DE99B8DC-304B-49E2-954F-A2D316D45AE9}"/>
          </ac:cxnSpMkLst>
        </pc:cxnChg>
        <pc:cxnChg chg="add mod">
          <ac:chgData name="El Bakkouri, Manal" userId="8b130982-2e3f-4164-b881-fd3a2e4b2453" providerId="ADAL" clId="{4457FA57-250B-44AC-8655-05D46C5A3D8A}" dt="2023-05-24T16:19:37.706" v="12740" actId="1038"/>
          <ac:cxnSpMkLst>
            <pc:docMk/>
            <pc:sldMk cId="2547338931" sldId="230717654"/>
            <ac:cxnSpMk id="49" creationId="{BBE609DF-674E-4BC5-A39F-84D91B13D005}"/>
          </ac:cxnSpMkLst>
        </pc:cxnChg>
      </pc:sldChg>
      <pc:sldChg chg="addSp delSp modSp add mod modTransition">
        <pc:chgData name="El Bakkouri, Manal" userId="8b130982-2e3f-4164-b881-fd3a2e4b2453" providerId="ADAL" clId="{4457FA57-250B-44AC-8655-05D46C5A3D8A}" dt="2023-05-26T16:07:44.007" v="14133" actId="167"/>
        <pc:sldMkLst>
          <pc:docMk/>
          <pc:sldMk cId="1168856819" sldId="230717655"/>
        </pc:sldMkLst>
        <pc:spChg chg="del">
          <ac:chgData name="El Bakkouri, Manal" userId="8b130982-2e3f-4164-b881-fd3a2e4b2453" providerId="ADAL" clId="{4457FA57-250B-44AC-8655-05D46C5A3D8A}" dt="2023-05-24T16:47:59.686" v="13252" actId="478"/>
          <ac:spMkLst>
            <pc:docMk/>
            <pc:sldMk cId="1168856819" sldId="230717655"/>
            <ac:spMk id="7" creationId="{3ED2567F-035E-4314-BF22-6491606F3AD6}"/>
          </ac:spMkLst>
        </pc:spChg>
        <pc:spChg chg="add del mod">
          <ac:chgData name="El Bakkouri, Manal" userId="8b130982-2e3f-4164-b881-fd3a2e4b2453" providerId="ADAL" clId="{4457FA57-250B-44AC-8655-05D46C5A3D8A}" dt="2023-05-24T16:46:27.390" v="13232" actId="478"/>
          <ac:spMkLst>
            <pc:docMk/>
            <pc:sldMk cId="1168856819" sldId="230717655"/>
            <ac:spMk id="19" creationId="{CC6DF27A-B89C-4BE3-AEF6-7F2BC9081474}"/>
          </ac:spMkLst>
        </pc:spChg>
        <pc:spChg chg="add mod">
          <ac:chgData name="El Bakkouri, Manal" userId="8b130982-2e3f-4164-b881-fd3a2e4b2453" providerId="ADAL" clId="{4457FA57-250B-44AC-8655-05D46C5A3D8A}" dt="2023-05-24T16:48:00.169" v="13253"/>
          <ac:spMkLst>
            <pc:docMk/>
            <pc:sldMk cId="1168856819" sldId="230717655"/>
            <ac:spMk id="21" creationId="{28C1AB68-121D-4800-BBE6-B300F4E6B9BA}"/>
          </ac:spMkLst>
        </pc:spChg>
        <pc:picChg chg="mod">
          <ac:chgData name="El Bakkouri, Manal" userId="8b130982-2e3f-4164-b881-fd3a2e4b2453" providerId="ADAL" clId="{4457FA57-250B-44AC-8655-05D46C5A3D8A}" dt="2023-05-24T14:18:44.031" v="12433" actId="1076"/>
          <ac:picMkLst>
            <pc:docMk/>
            <pc:sldMk cId="1168856819" sldId="230717655"/>
            <ac:picMk id="6" creationId="{8F1736AE-3BAF-43EE-A347-CEB50370A317}"/>
          </ac:picMkLst>
        </pc:picChg>
        <pc:picChg chg="add del mod">
          <ac:chgData name="El Bakkouri, Manal" userId="8b130982-2e3f-4164-b881-fd3a2e4b2453" providerId="ADAL" clId="{4457FA57-250B-44AC-8655-05D46C5A3D8A}" dt="2023-05-24T14:18:26.309" v="12428" actId="478"/>
          <ac:picMkLst>
            <pc:docMk/>
            <pc:sldMk cId="1168856819" sldId="230717655"/>
            <ac:picMk id="17" creationId="{4F231BFD-320F-454A-91A5-96F29A21678E}"/>
          </ac:picMkLst>
        </pc:picChg>
        <pc:picChg chg="mod ord">
          <ac:chgData name="El Bakkouri, Manal" userId="8b130982-2e3f-4164-b881-fd3a2e4b2453" providerId="ADAL" clId="{4457FA57-250B-44AC-8655-05D46C5A3D8A}" dt="2023-05-24T14:28:14.782" v="12530" actId="1076"/>
          <ac:picMkLst>
            <pc:docMk/>
            <pc:sldMk cId="1168856819" sldId="230717655"/>
            <ac:picMk id="18" creationId="{DD627184-D4DB-4368-95C2-5485143F4BAF}"/>
          </ac:picMkLst>
        </pc:picChg>
        <pc:picChg chg="mod">
          <ac:chgData name="El Bakkouri, Manal" userId="8b130982-2e3f-4164-b881-fd3a2e4b2453" providerId="ADAL" clId="{4457FA57-250B-44AC-8655-05D46C5A3D8A}" dt="2023-05-24T14:18:22.854" v="12427" actId="1076"/>
          <ac:picMkLst>
            <pc:docMk/>
            <pc:sldMk cId="1168856819" sldId="230717655"/>
            <ac:picMk id="20" creationId="{706F4A6E-E8A8-407E-8B06-150C8070B821}"/>
          </ac:picMkLst>
        </pc:picChg>
        <pc:picChg chg="mod">
          <ac:chgData name="El Bakkouri, Manal" userId="8b130982-2e3f-4164-b881-fd3a2e4b2453" providerId="ADAL" clId="{4457FA57-250B-44AC-8655-05D46C5A3D8A}" dt="2023-05-24T14:18:34.160" v="12429" actId="1076"/>
          <ac:picMkLst>
            <pc:docMk/>
            <pc:sldMk cId="1168856819" sldId="230717655"/>
            <ac:picMk id="22" creationId="{4AD74990-6682-4942-BA11-45AEC9E6F06D}"/>
          </ac:picMkLst>
        </pc:picChg>
        <pc:picChg chg="add mod ord">
          <ac:chgData name="El Bakkouri, Manal" userId="8b130982-2e3f-4164-b881-fd3a2e4b2453" providerId="ADAL" clId="{4457FA57-250B-44AC-8655-05D46C5A3D8A}" dt="2023-05-26T16:07:44.007" v="14133" actId="167"/>
          <ac:picMkLst>
            <pc:docMk/>
            <pc:sldMk cId="1168856819" sldId="230717655"/>
            <ac:picMk id="23" creationId="{762C5DD1-3640-48FA-9CEF-4AD5DA9B2774}"/>
          </ac:picMkLst>
        </pc:picChg>
        <pc:picChg chg="mod">
          <ac:chgData name="El Bakkouri, Manal" userId="8b130982-2e3f-4164-b881-fd3a2e4b2453" providerId="ADAL" clId="{4457FA57-250B-44AC-8655-05D46C5A3D8A}" dt="2023-05-24T14:18:37.136" v="12430" actId="1076"/>
          <ac:picMkLst>
            <pc:docMk/>
            <pc:sldMk cId="1168856819" sldId="230717655"/>
            <ac:picMk id="24" creationId="{E0FED367-A4B6-40EC-BDDF-A5AC9A750597}"/>
          </ac:picMkLst>
        </pc:picChg>
      </pc:sldChg>
      <pc:sldChg chg="addSp delSp modSp add mod">
        <pc:chgData name="El Bakkouri, Manal" userId="8b130982-2e3f-4164-b881-fd3a2e4b2453" providerId="ADAL" clId="{4457FA57-250B-44AC-8655-05D46C5A3D8A}" dt="2023-05-26T16:08:00.418" v="14136" actId="167"/>
        <pc:sldMkLst>
          <pc:docMk/>
          <pc:sldMk cId="938173038" sldId="230717656"/>
        </pc:sldMkLst>
        <pc:spChg chg="del">
          <ac:chgData name="El Bakkouri, Manal" userId="8b130982-2e3f-4164-b881-fd3a2e4b2453" providerId="ADAL" clId="{4457FA57-250B-44AC-8655-05D46C5A3D8A}" dt="2023-05-24T16:48:03.509" v="13254" actId="478"/>
          <ac:spMkLst>
            <pc:docMk/>
            <pc:sldMk cId="938173038" sldId="230717656"/>
            <ac:spMk id="7" creationId="{3ED2567F-035E-4314-BF22-6491606F3AD6}"/>
          </ac:spMkLst>
        </pc:spChg>
        <pc:spChg chg="add del mod">
          <ac:chgData name="El Bakkouri, Manal" userId="8b130982-2e3f-4164-b881-fd3a2e4b2453" providerId="ADAL" clId="{4457FA57-250B-44AC-8655-05D46C5A3D8A}" dt="2023-05-24T16:46:33.571" v="13234" actId="478"/>
          <ac:spMkLst>
            <pc:docMk/>
            <pc:sldMk cId="938173038" sldId="230717656"/>
            <ac:spMk id="17" creationId="{501085EA-3D19-4081-B63B-6EA93D8E3B28}"/>
          </ac:spMkLst>
        </pc:spChg>
        <pc:spChg chg="add mod">
          <ac:chgData name="El Bakkouri, Manal" userId="8b130982-2e3f-4164-b881-fd3a2e4b2453" providerId="ADAL" clId="{4457FA57-250B-44AC-8655-05D46C5A3D8A}" dt="2023-05-24T16:48:04.277" v="13255"/>
          <ac:spMkLst>
            <pc:docMk/>
            <pc:sldMk cId="938173038" sldId="230717656"/>
            <ac:spMk id="19" creationId="{1659C3D5-E2B2-4AFF-91DB-B1EEBD213E8E}"/>
          </ac:spMkLst>
        </pc:spChg>
        <pc:picChg chg="mod ord">
          <ac:chgData name="El Bakkouri, Manal" userId="8b130982-2e3f-4164-b881-fd3a2e4b2453" providerId="ADAL" clId="{4457FA57-250B-44AC-8655-05D46C5A3D8A}" dt="2023-05-24T14:30:49.996" v="12545" actId="1076"/>
          <ac:picMkLst>
            <pc:docMk/>
            <pc:sldMk cId="938173038" sldId="230717656"/>
            <ac:picMk id="6" creationId="{8F1736AE-3BAF-43EE-A347-CEB50370A317}"/>
          </ac:picMkLst>
        </pc:picChg>
        <pc:picChg chg="mod ord">
          <ac:chgData name="El Bakkouri, Manal" userId="8b130982-2e3f-4164-b881-fd3a2e4b2453" providerId="ADAL" clId="{4457FA57-250B-44AC-8655-05D46C5A3D8A}" dt="2023-05-24T14:30:43.498" v="12543" actId="166"/>
          <ac:picMkLst>
            <pc:docMk/>
            <pc:sldMk cId="938173038" sldId="230717656"/>
            <ac:picMk id="18" creationId="{DD627184-D4DB-4368-95C2-5485143F4BAF}"/>
          </ac:picMkLst>
        </pc:picChg>
        <pc:picChg chg="mod ord">
          <ac:chgData name="El Bakkouri, Manal" userId="8b130982-2e3f-4164-b881-fd3a2e4b2453" providerId="ADAL" clId="{4457FA57-250B-44AC-8655-05D46C5A3D8A}" dt="2023-05-24T14:30:45.724" v="12544" actId="166"/>
          <ac:picMkLst>
            <pc:docMk/>
            <pc:sldMk cId="938173038" sldId="230717656"/>
            <ac:picMk id="20" creationId="{706F4A6E-E8A8-407E-8B06-150C8070B821}"/>
          </ac:picMkLst>
        </pc:picChg>
        <pc:picChg chg="add mod ord">
          <ac:chgData name="El Bakkouri, Manal" userId="8b130982-2e3f-4164-b881-fd3a2e4b2453" providerId="ADAL" clId="{4457FA57-250B-44AC-8655-05D46C5A3D8A}" dt="2023-05-26T16:08:00.418" v="14136" actId="167"/>
          <ac:picMkLst>
            <pc:docMk/>
            <pc:sldMk cId="938173038" sldId="230717656"/>
            <ac:picMk id="21" creationId="{56E3B31A-715E-41B6-BC77-6CA3BF3A1432}"/>
          </ac:picMkLst>
        </pc:picChg>
        <pc:picChg chg="mod ord">
          <ac:chgData name="El Bakkouri, Manal" userId="8b130982-2e3f-4164-b881-fd3a2e4b2453" providerId="ADAL" clId="{4457FA57-250B-44AC-8655-05D46C5A3D8A}" dt="2023-05-24T14:29:30.758" v="12536" actId="166"/>
          <ac:picMkLst>
            <pc:docMk/>
            <pc:sldMk cId="938173038" sldId="230717656"/>
            <ac:picMk id="22" creationId="{4AD74990-6682-4942-BA11-45AEC9E6F06D}"/>
          </ac:picMkLst>
        </pc:picChg>
        <pc:picChg chg="mod">
          <ac:chgData name="El Bakkouri, Manal" userId="8b130982-2e3f-4164-b881-fd3a2e4b2453" providerId="ADAL" clId="{4457FA57-250B-44AC-8655-05D46C5A3D8A}" dt="2023-05-24T14:30:32.812" v="12540" actId="1076"/>
          <ac:picMkLst>
            <pc:docMk/>
            <pc:sldMk cId="938173038" sldId="230717656"/>
            <ac:picMk id="24" creationId="{E0FED367-A4B6-40EC-BDDF-A5AC9A750597}"/>
          </ac:picMkLst>
        </pc:picChg>
      </pc:sldChg>
      <pc:sldChg chg="addSp delSp modSp add mod">
        <pc:chgData name="El Bakkouri, Manal" userId="8b130982-2e3f-4164-b881-fd3a2e4b2453" providerId="ADAL" clId="{4457FA57-250B-44AC-8655-05D46C5A3D8A}" dt="2023-05-26T16:08:09.895" v="14139" actId="167"/>
        <pc:sldMkLst>
          <pc:docMk/>
          <pc:sldMk cId="374447176" sldId="230717657"/>
        </pc:sldMkLst>
        <pc:spChg chg="del">
          <ac:chgData name="El Bakkouri, Manal" userId="8b130982-2e3f-4164-b881-fd3a2e4b2453" providerId="ADAL" clId="{4457FA57-250B-44AC-8655-05D46C5A3D8A}" dt="2023-05-24T16:48:07.446" v="13256" actId="478"/>
          <ac:spMkLst>
            <pc:docMk/>
            <pc:sldMk cId="374447176" sldId="230717657"/>
            <ac:spMk id="7" creationId="{3ED2567F-035E-4314-BF22-6491606F3AD6}"/>
          </ac:spMkLst>
        </pc:spChg>
        <pc:spChg chg="add del mod">
          <ac:chgData name="El Bakkouri, Manal" userId="8b130982-2e3f-4164-b881-fd3a2e4b2453" providerId="ADAL" clId="{4457FA57-250B-44AC-8655-05D46C5A3D8A}" dt="2023-05-24T16:46:24.387" v="13231" actId="478"/>
          <ac:spMkLst>
            <pc:docMk/>
            <pc:sldMk cId="374447176" sldId="230717657"/>
            <ac:spMk id="17" creationId="{C18A58BF-A364-4570-90CD-B6C06F01283F}"/>
          </ac:spMkLst>
        </pc:spChg>
        <pc:spChg chg="add mod">
          <ac:chgData name="El Bakkouri, Manal" userId="8b130982-2e3f-4164-b881-fd3a2e4b2453" providerId="ADAL" clId="{4457FA57-250B-44AC-8655-05D46C5A3D8A}" dt="2023-05-24T16:48:07.925" v="13257"/>
          <ac:spMkLst>
            <pc:docMk/>
            <pc:sldMk cId="374447176" sldId="230717657"/>
            <ac:spMk id="19" creationId="{F1573991-9145-4882-B86C-95F429343D73}"/>
          </ac:spMkLst>
        </pc:spChg>
        <pc:picChg chg="mod">
          <ac:chgData name="El Bakkouri, Manal" userId="8b130982-2e3f-4164-b881-fd3a2e4b2453" providerId="ADAL" clId="{4457FA57-250B-44AC-8655-05D46C5A3D8A}" dt="2023-05-24T14:25:17.843" v="12483" actId="1076"/>
          <ac:picMkLst>
            <pc:docMk/>
            <pc:sldMk cId="374447176" sldId="230717657"/>
            <ac:picMk id="6" creationId="{8F1736AE-3BAF-43EE-A347-CEB50370A317}"/>
          </ac:picMkLst>
        </pc:picChg>
        <pc:picChg chg="mod">
          <ac:chgData name="El Bakkouri, Manal" userId="8b130982-2e3f-4164-b881-fd3a2e4b2453" providerId="ADAL" clId="{4457FA57-250B-44AC-8655-05D46C5A3D8A}" dt="2023-05-24T14:25:06.180" v="12479" actId="1076"/>
          <ac:picMkLst>
            <pc:docMk/>
            <pc:sldMk cId="374447176" sldId="230717657"/>
            <ac:picMk id="18" creationId="{DD627184-D4DB-4368-95C2-5485143F4BAF}"/>
          </ac:picMkLst>
        </pc:picChg>
        <pc:picChg chg="mod">
          <ac:chgData name="El Bakkouri, Manal" userId="8b130982-2e3f-4164-b881-fd3a2e4b2453" providerId="ADAL" clId="{4457FA57-250B-44AC-8655-05D46C5A3D8A}" dt="2023-05-24T14:25:08.748" v="12480" actId="1076"/>
          <ac:picMkLst>
            <pc:docMk/>
            <pc:sldMk cId="374447176" sldId="230717657"/>
            <ac:picMk id="20" creationId="{706F4A6E-E8A8-407E-8B06-150C8070B821}"/>
          </ac:picMkLst>
        </pc:picChg>
        <pc:picChg chg="add mod ord">
          <ac:chgData name="El Bakkouri, Manal" userId="8b130982-2e3f-4164-b881-fd3a2e4b2453" providerId="ADAL" clId="{4457FA57-250B-44AC-8655-05D46C5A3D8A}" dt="2023-05-26T16:08:09.895" v="14139" actId="167"/>
          <ac:picMkLst>
            <pc:docMk/>
            <pc:sldMk cId="374447176" sldId="230717657"/>
            <ac:picMk id="21" creationId="{5ABF58D1-4A6C-47EB-A342-FED33EEAFABB}"/>
          </ac:picMkLst>
        </pc:picChg>
        <pc:picChg chg="mod ord">
          <ac:chgData name="El Bakkouri, Manal" userId="8b130982-2e3f-4164-b881-fd3a2e4b2453" providerId="ADAL" clId="{4457FA57-250B-44AC-8655-05D46C5A3D8A}" dt="2023-05-24T14:25:46.094" v="12494" actId="1076"/>
          <ac:picMkLst>
            <pc:docMk/>
            <pc:sldMk cId="374447176" sldId="230717657"/>
            <ac:picMk id="22" creationId="{4AD74990-6682-4942-BA11-45AEC9E6F06D}"/>
          </ac:picMkLst>
        </pc:picChg>
        <pc:picChg chg="mod">
          <ac:chgData name="El Bakkouri, Manal" userId="8b130982-2e3f-4164-b881-fd3a2e4b2453" providerId="ADAL" clId="{4457FA57-250B-44AC-8655-05D46C5A3D8A}" dt="2023-05-24T14:25:26.638" v="12488" actId="1076"/>
          <ac:picMkLst>
            <pc:docMk/>
            <pc:sldMk cId="374447176" sldId="230717657"/>
            <ac:picMk id="24" creationId="{E0FED367-A4B6-40EC-BDDF-A5AC9A750597}"/>
          </ac:picMkLst>
        </pc:picChg>
      </pc:sldChg>
      <pc:sldChg chg="addSp delSp modSp add mod">
        <pc:chgData name="El Bakkouri, Manal" userId="8b130982-2e3f-4164-b881-fd3a2e4b2453" providerId="ADAL" clId="{4457FA57-250B-44AC-8655-05D46C5A3D8A}" dt="2023-05-26T16:08:18.039" v="14143" actId="167"/>
        <pc:sldMkLst>
          <pc:docMk/>
          <pc:sldMk cId="2893667124" sldId="230717658"/>
        </pc:sldMkLst>
        <pc:spChg chg="del">
          <ac:chgData name="El Bakkouri, Manal" userId="8b130982-2e3f-4164-b881-fd3a2e4b2453" providerId="ADAL" clId="{4457FA57-250B-44AC-8655-05D46C5A3D8A}" dt="2023-05-24T16:48:13.368" v="13258" actId="478"/>
          <ac:spMkLst>
            <pc:docMk/>
            <pc:sldMk cId="2893667124" sldId="230717658"/>
            <ac:spMk id="7" creationId="{3ED2567F-035E-4314-BF22-6491606F3AD6}"/>
          </ac:spMkLst>
        </pc:spChg>
        <pc:spChg chg="add del mod">
          <ac:chgData name="El Bakkouri, Manal" userId="8b130982-2e3f-4164-b881-fd3a2e4b2453" providerId="ADAL" clId="{4457FA57-250B-44AC-8655-05D46C5A3D8A}" dt="2023-05-24T16:46:36.459" v="13236" actId="478"/>
          <ac:spMkLst>
            <pc:docMk/>
            <pc:sldMk cId="2893667124" sldId="230717658"/>
            <ac:spMk id="17" creationId="{4B6BD7C7-ABBC-48EA-B5BB-1E4D5D6A0362}"/>
          </ac:spMkLst>
        </pc:spChg>
        <pc:spChg chg="add mod">
          <ac:chgData name="El Bakkouri, Manal" userId="8b130982-2e3f-4164-b881-fd3a2e4b2453" providerId="ADAL" clId="{4457FA57-250B-44AC-8655-05D46C5A3D8A}" dt="2023-05-24T16:48:13.842" v="13259"/>
          <ac:spMkLst>
            <pc:docMk/>
            <pc:sldMk cId="2893667124" sldId="230717658"/>
            <ac:spMk id="19" creationId="{603A47D1-7DE6-4758-9D78-6375A8B47411}"/>
          </ac:spMkLst>
        </pc:spChg>
        <pc:picChg chg="mod">
          <ac:chgData name="El Bakkouri, Manal" userId="8b130982-2e3f-4164-b881-fd3a2e4b2453" providerId="ADAL" clId="{4457FA57-250B-44AC-8655-05D46C5A3D8A}" dt="2023-05-24T14:26:19.115" v="12498" actId="1076"/>
          <ac:picMkLst>
            <pc:docMk/>
            <pc:sldMk cId="2893667124" sldId="230717658"/>
            <ac:picMk id="6" creationId="{8F1736AE-3BAF-43EE-A347-CEB50370A317}"/>
          </ac:picMkLst>
        </pc:picChg>
        <pc:picChg chg="mod">
          <ac:chgData name="El Bakkouri, Manal" userId="8b130982-2e3f-4164-b881-fd3a2e4b2453" providerId="ADAL" clId="{4457FA57-250B-44AC-8655-05D46C5A3D8A}" dt="2023-05-24T14:26:22.181" v="12499" actId="1076"/>
          <ac:picMkLst>
            <pc:docMk/>
            <pc:sldMk cId="2893667124" sldId="230717658"/>
            <ac:picMk id="18" creationId="{DD627184-D4DB-4368-95C2-5485143F4BAF}"/>
          </ac:picMkLst>
        </pc:picChg>
        <pc:picChg chg="mod">
          <ac:chgData name="El Bakkouri, Manal" userId="8b130982-2e3f-4164-b881-fd3a2e4b2453" providerId="ADAL" clId="{4457FA57-250B-44AC-8655-05D46C5A3D8A}" dt="2023-05-24T14:26:25.976" v="12500" actId="1076"/>
          <ac:picMkLst>
            <pc:docMk/>
            <pc:sldMk cId="2893667124" sldId="230717658"/>
            <ac:picMk id="20" creationId="{706F4A6E-E8A8-407E-8B06-150C8070B821}"/>
          </ac:picMkLst>
        </pc:picChg>
        <pc:picChg chg="add mod ord">
          <ac:chgData name="El Bakkouri, Manal" userId="8b130982-2e3f-4164-b881-fd3a2e4b2453" providerId="ADAL" clId="{4457FA57-250B-44AC-8655-05D46C5A3D8A}" dt="2023-05-26T16:08:18.039" v="14143" actId="167"/>
          <ac:picMkLst>
            <pc:docMk/>
            <pc:sldMk cId="2893667124" sldId="230717658"/>
            <ac:picMk id="21" creationId="{2574CCD9-577C-425F-9375-02BB93DC404F}"/>
          </ac:picMkLst>
        </pc:picChg>
        <pc:picChg chg="mod">
          <ac:chgData name="El Bakkouri, Manal" userId="8b130982-2e3f-4164-b881-fd3a2e4b2453" providerId="ADAL" clId="{4457FA57-250B-44AC-8655-05D46C5A3D8A}" dt="2023-05-24T14:26:49.120" v="12508" actId="1076"/>
          <ac:picMkLst>
            <pc:docMk/>
            <pc:sldMk cId="2893667124" sldId="230717658"/>
            <ac:picMk id="22" creationId="{4AD74990-6682-4942-BA11-45AEC9E6F06D}"/>
          </ac:picMkLst>
        </pc:picChg>
        <pc:picChg chg="mod ord">
          <ac:chgData name="El Bakkouri, Manal" userId="8b130982-2e3f-4164-b881-fd3a2e4b2453" providerId="ADAL" clId="{4457FA57-250B-44AC-8655-05D46C5A3D8A}" dt="2023-05-24T14:26:43.556" v="12507" actId="1076"/>
          <ac:picMkLst>
            <pc:docMk/>
            <pc:sldMk cId="2893667124" sldId="230717658"/>
            <ac:picMk id="24" creationId="{E0FED367-A4B6-40EC-BDDF-A5AC9A750597}"/>
          </ac:picMkLst>
        </pc:picChg>
      </pc:sldChg>
      <pc:sldChg chg="addSp delSp modSp add mod modTransition">
        <pc:chgData name="El Bakkouri, Manal" userId="8b130982-2e3f-4164-b881-fd3a2e4b2453" providerId="ADAL" clId="{4457FA57-250B-44AC-8655-05D46C5A3D8A}" dt="2023-05-26T16:08:24.666" v="14146" actId="167"/>
        <pc:sldMkLst>
          <pc:docMk/>
          <pc:sldMk cId="2804642972" sldId="230717659"/>
        </pc:sldMkLst>
        <pc:spChg chg="del">
          <ac:chgData name="El Bakkouri, Manal" userId="8b130982-2e3f-4164-b881-fd3a2e4b2453" providerId="ADAL" clId="{4457FA57-250B-44AC-8655-05D46C5A3D8A}" dt="2023-05-24T16:48:18.493" v="13260" actId="478"/>
          <ac:spMkLst>
            <pc:docMk/>
            <pc:sldMk cId="2804642972" sldId="230717659"/>
            <ac:spMk id="7" creationId="{3ED2567F-035E-4314-BF22-6491606F3AD6}"/>
          </ac:spMkLst>
        </pc:spChg>
        <pc:spChg chg="add mod">
          <ac:chgData name="El Bakkouri, Manal" userId="8b130982-2e3f-4164-b881-fd3a2e4b2453" providerId="ADAL" clId="{4457FA57-250B-44AC-8655-05D46C5A3D8A}" dt="2023-05-24T16:48:18.969" v="13261"/>
          <ac:spMkLst>
            <pc:docMk/>
            <pc:sldMk cId="2804642972" sldId="230717659"/>
            <ac:spMk id="17" creationId="{10BEDB5A-3A49-4289-9E59-AE716E382676}"/>
          </ac:spMkLst>
        </pc:spChg>
        <pc:picChg chg="add mod ord">
          <ac:chgData name="El Bakkouri, Manal" userId="8b130982-2e3f-4164-b881-fd3a2e4b2453" providerId="ADAL" clId="{4457FA57-250B-44AC-8655-05D46C5A3D8A}" dt="2023-05-26T16:08:24.666" v="14146" actId="167"/>
          <ac:picMkLst>
            <pc:docMk/>
            <pc:sldMk cId="2804642972" sldId="230717659"/>
            <ac:picMk id="19" creationId="{751AA0F1-6D85-479B-8131-C1C44FFFA232}"/>
          </ac:picMkLst>
        </pc:picChg>
        <pc:picChg chg="mod">
          <ac:chgData name="El Bakkouri, Manal" userId="8b130982-2e3f-4164-b881-fd3a2e4b2453" providerId="ADAL" clId="{4457FA57-250B-44AC-8655-05D46C5A3D8A}" dt="2023-05-24T14:31:31.885" v="12548" actId="1076"/>
          <ac:picMkLst>
            <pc:docMk/>
            <pc:sldMk cId="2804642972" sldId="230717659"/>
            <ac:picMk id="24" creationId="{E0FED367-A4B6-40EC-BDDF-A5AC9A750597}"/>
          </ac:picMkLst>
        </pc:picChg>
      </pc:sldChg>
      <pc:sldChg chg="modSp add del mod">
        <pc:chgData name="El Bakkouri, Manal" userId="8b130982-2e3f-4164-b881-fd3a2e4b2453" providerId="ADAL" clId="{4457FA57-250B-44AC-8655-05D46C5A3D8A}" dt="2023-05-24T14:28:34.889" v="12533" actId="2696"/>
        <pc:sldMkLst>
          <pc:docMk/>
          <pc:sldMk cId="2887167393" sldId="230717659"/>
        </pc:sldMkLst>
        <pc:picChg chg="mod">
          <ac:chgData name="El Bakkouri, Manal" userId="8b130982-2e3f-4164-b881-fd3a2e4b2453" providerId="ADAL" clId="{4457FA57-250B-44AC-8655-05D46C5A3D8A}" dt="2023-05-24T14:27:34.158" v="12516" actId="1076"/>
          <ac:picMkLst>
            <pc:docMk/>
            <pc:sldMk cId="2887167393" sldId="230717659"/>
            <ac:picMk id="6" creationId="{8F1736AE-3BAF-43EE-A347-CEB50370A317}"/>
          </ac:picMkLst>
        </pc:picChg>
        <pc:picChg chg="mod">
          <ac:chgData name="El Bakkouri, Manal" userId="8b130982-2e3f-4164-b881-fd3a2e4b2453" providerId="ADAL" clId="{4457FA57-250B-44AC-8655-05D46C5A3D8A}" dt="2023-05-24T14:28:06.564" v="12528" actId="1076"/>
          <ac:picMkLst>
            <pc:docMk/>
            <pc:sldMk cId="2887167393" sldId="230717659"/>
            <ac:picMk id="18" creationId="{DD627184-D4DB-4368-95C2-5485143F4BAF}"/>
          </ac:picMkLst>
        </pc:picChg>
        <pc:picChg chg="mod">
          <ac:chgData name="El Bakkouri, Manal" userId="8b130982-2e3f-4164-b881-fd3a2e4b2453" providerId="ADAL" clId="{4457FA57-250B-44AC-8655-05D46C5A3D8A}" dt="2023-05-24T14:28:30.781" v="12532" actId="1076"/>
          <ac:picMkLst>
            <pc:docMk/>
            <pc:sldMk cId="2887167393" sldId="230717659"/>
            <ac:picMk id="20" creationId="{706F4A6E-E8A8-407E-8B06-150C8070B821}"/>
          </ac:picMkLst>
        </pc:picChg>
        <pc:picChg chg="mod">
          <ac:chgData name="El Bakkouri, Manal" userId="8b130982-2e3f-4164-b881-fd3a2e4b2453" providerId="ADAL" clId="{4457FA57-250B-44AC-8655-05D46C5A3D8A}" dt="2023-05-24T14:28:29.178" v="12531" actId="1076"/>
          <ac:picMkLst>
            <pc:docMk/>
            <pc:sldMk cId="2887167393" sldId="230717659"/>
            <ac:picMk id="22" creationId="{4AD74990-6682-4942-BA11-45AEC9E6F06D}"/>
          </ac:picMkLst>
        </pc:picChg>
        <pc:picChg chg="mod">
          <ac:chgData name="El Bakkouri, Manal" userId="8b130982-2e3f-4164-b881-fd3a2e4b2453" providerId="ADAL" clId="{4457FA57-250B-44AC-8655-05D46C5A3D8A}" dt="2023-05-24T14:27:31.768" v="12515" actId="1076"/>
          <ac:picMkLst>
            <pc:docMk/>
            <pc:sldMk cId="2887167393" sldId="230717659"/>
            <ac:picMk id="24" creationId="{E0FED367-A4B6-40EC-BDDF-A5AC9A750597}"/>
          </ac:picMkLst>
        </pc:picChg>
      </pc:sldChg>
      <pc:sldChg chg="addSp delSp modSp new del mod">
        <pc:chgData name="El Bakkouri, Manal" userId="8b130982-2e3f-4164-b881-fd3a2e4b2453" providerId="ADAL" clId="{4457FA57-250B-44AC-8655-05D46C5A3D8A}" dt="2023-05-26T16:03:34.821" v="14098" actId="47"/>
        <pc:sldMkLst>
          <pc:docMk/>
          <pc:sldMk cId="2181097521" sldId="230717660"/>
        </pc:sldMkLst>
        <pc:spChg chg="del">
          <ac:chgData name="El Bakkouri, Manal" userId="8b130982-2e3f-4164-b881-fd3a2e4b2453" providerId="ADAL" clId="{4457FA57-250B-44AC-8655-05D46C5A3D8A}" dt="2023-05-26T10:09:57.219" v="13262" actId="478"/>
          <ac:spMkLst>
            <pc:docMk/>
            <pc:sldMk cId="2181097521" sldId="230717660"/>
            <ac:spMk id="2" creationId="{ADCF64A3-B5F8-4D02-ABE2-58DC7B002D86}"/>
          </ac:spMkLst>
        </pc:spChg>
        <pc:spChg chg="del">
          <ac:chgData name="El Bakkouri, Manal" userId="8b130982-2e3f-4164-b881-fd3a2e4b2453" providerId="ADAL" clId="{4457FA57-250B-44AC-8655-05D46C5A3D8A}" dt="2023-05-26T10:09:57.917" v="13263" actId="478"/>
          <ac:spMkLst>
            <pc:docMk/>
            <pc:sldMk cId="2181097521" sldId="230717660"/>
            <ac:spMk id="3" creationId="{6796FFF8-1472-4999-BF7D-67286C00C01B}"/>
          </ac:spMkLst>
        </pc:spChg>
        <pc:spChg chg="del">
          <ac:chgData name="El Bakkouri, Manal" userId="8b130982-2e3f-4164-b881-fd3a2e4b2453" providerId="ADAL" clId="{4457FA57-250B-44AC-8655-05D46C5A3D8A}" dt="2023-05-26T10:20:49.687" v="13340" actId="478"/>
          <ac:spMkLst>
            <pc:docMk/>
            <pc:sldMk cId="2181097521" sldId="230717660"/>
            <ac:spMk id="4" creationId="{74D29403-3CF5-4D96-9EC6-28F31A51B747}"/>
          </ac:spMkLst>
        </pc:spChg>
        <pc:picChg chg="add mod">
          <ac:chgData name="El Bakkouri, Manal" userId="8b130982-2e3f-4164-b881-fd3a2e4b2453" providerId="ADAL" clId="{4457FA57-250B-44AC-8655-05D46C5A3D8A}" dt="2023-05-26T10:16:58.479" v="13277" actId="1076"/>
          <ac:picMkLst>
            <pc:docMk/>
            <pc:sldMk cId="2181097521" sldId="230717660"/>
            <ac:picMk id="5" creationId="{D3D6275F-2671-4889-BB47-E5ACF6F13BB8}"/>
          </ac:picMkLst>
        </pc:picChg>
        <pc:picChg chg="add del mod">
          <ac:chgData name="El Bakkouri, Manal" userId="8b130982-2e3f-4164-b881-fd3a2e4b2453" providerId="ADAL" clId="{4457FA57-250B-44AC-8655-05D46C5A3D8A}" dt="2023-05-26T10:18:21.668" v="13297" actId="478"/>
          <ac:picMkLst>
            <pc:docMk/>
            <pc:sldMk cId="2181097521" sldId="230717660"/>
            <ac:picMk id="7" creationId="{9E8B7696-5052-4CAC-96AD-59CA4C96562E}"/>
          </ac:picMkLst>
        </pc:picChg>
        <pc:picChg chg="add del mod">
          <ac:chgData name="El Bakkouri, Manal" userId="8b130982-2e3f-4164-b881-fd3a2e4b2453" providerId="ADAL" clId="{4457FA57-250B-44AC-8655-05D46C5A3D8A}" dt="2023-05-26T10:18:21.668" v="13297" actId="478"/>
          <ac:picMkLst>
            <pc:docMk/>
            <pc:sldMk cId="2181097521" sldId="230717660"/>
            <ac:picMk id="9" creationId="{5AF63D76-D4E9-45A2-BD56-429B9498CAE7}"/>
          </ac:picMkLst>
        </pc:picChg>
        <pc:picChg chg="add del mod">
          <ac:chgData name="El Bakkouri, Manal" userId="8b130982-2e3f-4164-b881-fd3a2e4b2453" providerId="ADAL" clId="{4457FA57-250B-44AC-8655-05D46C5A3D8A}" dt="2023-05-26T10:18:21.668" v="13297" actId="478"/>
          <ac:picMkLst>
            <pc:docMk/>
            <pc:sldMk cId="2181097521" sldId="230717660"/>
            <ac:picMk id="11" creationId="{9CE3FC0C-9A8C-449B-A0C4-F9394A5A64B1}"/>
          </ac:picMkLst>
        </pc:picChg>
        <pc:picChg chg="add del mod">
          <ac:chgData name="El Bakkouri, Manal" userId="8b130982-2e3f-4164-b881-fd3a2e4b2453" providerId="ADAL" clId="{4457FA57-250B-44AC-8655-05D46C5A3D8A}" dt="2023-05-26T10:18:21.668" v="13297" actId="478"/>
          <ac:picMkLst>
            <pc:docMk/>
            <pc:sldMk cId="2181097521" sldId="230717660"/>
            <ac:picMk id="13" creationId="{1F9A1F69-F293-419C-B9D0-97E0D24F3045}"/>
          </ac:picMkLst>
        </pc:picChg>
        <pc:picChg chg="add del mod">
          <ac:chgData name="El Bakkouri, Manal" userId="8b130982-2e3f-4164-b881-fd3a2e4b2453" providerId="ADAL" clId="{4457FA57-250B-44AC-8655-05D46C5A3D8A}" dt="2023-05-26T10:18:21.668" v="13297" actId="478"/>
          <ac:picMkLst>
            <pc:docMk/>
            <pc:sldMk cId="2181097521" sldId="230717660"/>
            <ac:picMk id="15" creationId="{A6D3666D-0365-40C0-91EC-A063593EE2F4}"/>
          </ac:picMkLst>
        </pc:picChg>
        <pc:picChg chg="add del mod">
          <ac:chgData name="El Bakkouri, Manal" userId="8b130982-2e3f-4164-b881-fd3a2e4b2453" providerId="ADAL" clId="{4457FA57-250B-44AC-8655-05D46C5A3D8A}" dt="2023-05-26T10:18:23.222" v="13298" actId="478"/>
          <ac:picMkLst>
            <pc:docMk/>
            <pc:sldMk cId="2181097521" sldId="230717660"/>
            <ac:picMk id="17" creationId="{01976F48-3986-4D69-8031-45027B93A829}"/>
          </ac:picMkLst>
        </pc:picChg>
        <pc:picChg chg="add del mod">
          <ac:chgData name="El Bakkouri, Manal" userId="8b130982-2e3f-4164-b881-fd3a2e4b2453" providerId="ADAL" clId="{4457FA57-250B-44AC-8655-05D46C5A3D8A}" dt="2023-05-26T10:18:21.668" v="13297" actId="478"/>
          <ac:picMkLst>
            <pc:docMk/>
            <pc:sldMk cId="2181097521" sldId="230717660"/>
            <ac:picMk id="19" creationId="{21DF3B73-FC1E-4146-8884-575F9FD1794B}"/>
          </ac:picMkLst>
        </pc:picChg>
        <pc:picChg chg="add mod">
          <ac:chgData name="El Bakkouri, Manal" userId="8b130982-2e3f-4164-b881-fd3a2e4b2453" providerId="ADAL" clId="{4457FA57-250B-44AC-8655-05D46C5A3D8A}" dt="2023-05-26T10:21:00.387" v="13341" actId="1076"/>
          <ac:picMkLst>
            <pc:docMk/>
            <pc:sldMk cId="2181097521" sldId="230717660"/>
            <ac:picMk id="21" creationId="{A05544CA-F0FE-450F-9448-31A013A636E9}"/>
          </ac:picMkLst>
        </pc:picChg>
        <pc:picChg chg="add mod">
          <ac:chgData name="El Bakkouri, Manal" userId="8b130982-2e3f-4164-b881-fd3a2e4b2453" providerId="ADAL" clId="{4457FA57-250B-44AC-8655-05D46C5A3D8A}" dt="2023-05-26T10:20:39.041" v="13338" actId="14100"/>
          <ac:picMkLst>
            <pc:docMk/>
            <pc:sldMk cId="2181097521" sldId="230717660"/>
            <ac:picMk id="23" creationId="{33E47B05-FFC5-4832-88F8-FB4779AFF46E}"/>
          </ac:picMkLst>
        </pc:picChg>
        <pc:picChg chg="add mod">
          <ac:chgData name="El Bakkouri, Manal" userId="8b130982-2e3f-4164-b881-fd3a2e4b2453" providerId="ADAL" clId="{4457FA57-250B-44AC-8655-05D46C5A3D8A}" dt="2023-05-26T10:20:39.041" v="13338" actId="14100"/>
          <ac:picMkLst>
            <pc:docMk/>
            <pc:sldMk cId="2181097521" sldId="230717660"/>
            <ac:picMk id="25" creationId="{6ADBF579-A036-4D4E-8A08-0ECE003972C0}"/>
          </ac:picMkLst>
        </pc:picChg>
        <pc:picChg chg="add mod">
          <ac:chgData name="El Bakkouri, Manal" userId="8b130982-2e3f-4164-b881-fd3a2e4b2453" providerId="ADAL" clId="{4457FA57-250B-44AC-8655-05D46C5A3D8A}" dt="2023-05-26T10:20:39.041" v="13338" actId="14100"/>
          <ac:picMkLst>
            <pc:docMk/>
            <pc:sldMk cId="2181097521" sldId="230717660"/>
            <ac:picMk id="27" creationId="{3BA699E9-BB84-46BA-9CE6-99902C4FA7FF}"/>
          </ac:picMkLst>
        </pc:picChg>
        <pc:picChg chg="add mod">
          <ac:chgData name="El Bakkouri, Manal" userId="8b130982-2e3f-4164-b881-fd3a2e4b2453" providerId="ADAL" clId="{4457FA57-250B-44AC-8655-05D46C5A3D8A}" dt="2023-05-26T10:20:25.006" v="13337" actId="14100"/>
          <ac:picMkLst>
            <pc:docMk/>
            <pc:sldMk cId="2181097521" sldId="230717660"/>
            <ac:picMk id="29" creationId="{7566C4F2-6CF9-47C2-9B7A-DA95E9DB0041}"/>
          </ac:picMkLst>
        </pc:picChg>
        <pc:picChg chg="add mod">
          <ac:chgData name="El Bakkouri, Manal" userId="8b130982-2e3f-4164-b881-fd3a2e4b2453" providerId="ADAL" clId="{4457FA57-250B-44AC-8655-05D46C5A3D8A}" dt="2023-05-26T10:20:39.041" v="13338" actId="14100"/>
          <ac:picMkLst>
            <pc:docMk/>
            <pc:sldMk cId="2181097521" sldId="230717660"/>
            <ac:picMk id="31" creationId="{797CD60F-E375-4D1F-9DA8-FC0D4C78FB27}"/>
          </ac:picMkLst>
        </pc:picChg>
        <pc:picChg chg="add del mod">
          <ac:chgData name="El Bakkouri, Manal" userId="8b130982-2e3f-4164-b881-fd3a2e4b2453" providerId="ADAL" clId="{4457FA57-250B-44AC-8655-05D46C5A3D8A}" dt="2023-05-26T10:20:45.224" v="13339" actId="478"/>
          <ac:picMkLst>
            <pc:docMk/>
            <pc:sldMk cId="2181097521" sldId="230717660"/>
            <ac:picMk id="33" creationId="{9A293F81-4F55-4044-8F80-A3EFBE9433C7}"/>
          </ac:picMkLst>
        </pc:picChg>
      </pc:sldChg>
      <pc:sldChg chg="addSp delSp modSp new del mod modAnim">
        <pc:chgData name="El Bakkouri, Manal" userId="8b130982-2e3f-4164-b881-fd3a2e4b2453" providerId="ADAL" clId="{4457FA57-250B-44AC-8655-05D46C5A3D8A}" dt="2023-05-31T13:12:11.483" v="14391" actId="47"/>
        <pc:sldMkLst>
          <pc:docMk/>
          <pc:sldMk cId="2042677239" sldId="230717661"/>
        </pc:sldMkLst>
        <pc:spChg chg="del">
          <ac:chgData name="El Bakkouri, Manal" userId="8b130982-2e3f-4164-b881-fd3a2e4b2453" providerId="ADAL" clId="{4457FA57-250B-44AC-8655-05D46C5A3D8A}" dt="2023-05-26T15:22:21.054" v="13345" actId="478"/>
          <ac:spMkLst>
            <pc:docMk/>
            <pc:sldMk cId="2042677239" sldId="230717661"/>
            <ac:spMk id="2" creationId="{0B80DA67-4174-4901-9B61-C13A409A9D9D}"/>
          </ac:spMkLst>
        </pc:spChg>
        <pc:spChg chg="del">
          <ac:chgData name="El Bakkouri, Manal" userId="8b130982-2e3f-4164-b881-fd3a2e4b2453" providerId="ADAL" clId="{4457FA57-250B-44AC-8655-05D46C5A3D8A}" dt="2023-05-26T15:22:24.508" v="13346" actId="478"/>
          <ac:spMkLst>
            <pc:docMk/>
            <pc:sldMk cId="2042677239" sldId="230717661"/>
            <ac:spMk id="3" creationId="{A5E3FAC0-5E61-49B1-A42C-5FA03C6E2166}"/>
          </ac:spMkLst>
        </pc:spChg>
        <pc:spChg chg="del">
          <ac:chgData name="El Bakkouri, Manal" userId="8b130982-2e3f-4164-b881-fd3a2e4b2453" providerId="ADAL" clId="{4457FA57-250B-44AC-8655-05D46C5A3D8A}" dt="2023-05-26T15:22:25.343" v="13347" actId="478"/>
          <ac:spMkLst>
            <pc:docMk/>
            <pc:sldMk cId="2042677239" sldId="230717661"/>
            <ac:spMk id="4" creationId="{1A0133E3-11D1-4E0B-8390-7F194057FDEC}"/>
          </ac:spMkLst>
        </pc:spChg>
        <pc:spChg chg="add mod">
          <ac:chgData name="El Bakkouri, Manal" userId="8b130982-2e3f-4164-b881-fd3a2e4b2453" providerId="ADAL" clId="{4457FA57-250B-44AC-8655-05D46C5A3D8A}" dt="2023-05-26T15:26:05.100" v="13357" actId="207"/>
          <ac:spMkLst>
            <pc:docMk/>
            <pc:sldMk cId="2042677239" sldId="230717661"/>
            <ac:spMk id="6" creationId="{DC0DF68B-E05A-4AE3-8823-51DA5829B49B}"/>
          </ac:spMkLst>
        </pc:spChg>
        <pc:spChg chg="mod topLvl">
          <ac:chgData name="El Bakkouri, Manal" userId="8b130982-2e3f-4164-b881-fd3a2e4b2453" providerId="ADAL" clId="{4457FA57-250B-44AC-8655-05D46C5A3D8A}" dt="2023-05-26T15:57:24.630" v="13703" actId="164"/>
          <ac:spMkLst>
            <pc:docMk/>
            <pc:sldMk cId="2042677239" sldId="230717661"/>
            <ac:spMk id="8" creationId="{2890A044-2674-49D5-A1C8-6D361FE3DDB2}"/>
          </ac:spMkLst>
        </pc:spChg>
        <pc:spChg chg="mod ord topLvl">
          <ac:chgData name="El Bakkouri, Manal" userId="8b130982-2e3f-4164-b881-fd3a2e4b2453" providerId="ADAL" clId="{4457FA57-250B-44AC-8655-05D46C5A3D8A}" dt="2023-05-26T15:33:38.252" v="13514" actId="166"/>
          <ac:spMkLst>
            <pc:docMk/>
            <pc:sldMk cId="2042677239" sldId="230717661"/>
            <ac:spMk id="10" creationId="{9A330B84-6D67-4B2F-9792-32F2626C8A4D}"/>
          </ac:spMkLst>
        </pc:spChg>
        <pc:spChg chg="mod topLvl">
          <ac:chgData name="El Bakkouri, Manal" userId="8b130982-2e3f-4164-b881-fd3a2e4b2453" providerId="ADAL" clId="{4457FA57-250B-44AC-8655-05D46C5A3D8A}" dt="2023-05-26T15:57:24.630" v="13703" actId="164"/>
          <ac:spMkLst>
            <pc:docMk/>
            <pc:sldMk cId="2042677239" sldId="230717661"/>
            <ac:spMk id="11" creationId="{947BDD39-A4AE-4625-8F50-E91AD3140F79}"/>
          </ac:spMkLst>
        </pc:spChg>
        <pc:spChg chg="add del mod topLvl">
          <ac:chgData name="El Bakkouri, Manal" userId="8b130982-2e3f-4164-b881-fd3a2e4b2453" providerId="ADAL" clId="{4457FA57-250B-44AC-8655-05D46C5A3D8A}" dt="2023-05-26T15:44:45.240" v="13609" actId="478"/>
          <ac:spMkLst>
            <pc:docMk/>
            <pc:sldMk cId="2042677239" sldId="230717661"/>
            <ac:spMk id="12" creationId="{164258E4-946C-43B7-8137-110BA2B9BDB1}"/>
          </ac:spMkLst>
        </pc:spChg>
        <pc:spChg chg="del mod topLvl">
          <ac:chgData name="El Bakkouri, Manal" userId="8b130982-2e3f-4164-b881-fd3a2e4b2453" providerId="ADAL" clId="{4457FA57-250B-44AC-8655-05D46C5A3D8A}" dt="2023-05-26T15:43:30.652" v="13594" actId="478"/>
          <ac:spMkLst>
            <pc:docMk/>
            <pc:sldMk cId="2042677239" sldId="230717661"/>
            <ac:spMk id="14" creationId="{5B6B75B5-C735-4844-875B-B46AFF64123C}"/>
          </ac:spMkLst>
        </pc:spChg>
        <pc:spChg chg="mod topLvl">
          <ac:chgData name="El Bakkouri, Manal" userId="8b130982-2e3f-4164-b881-fd3a2e4b2453" providerId="ADAL" clId="{4457FA57-250B-44AC-8655-05D46C5A3D8A}" dt="2023-05-26T15:58:04.295" v="13706" actId="164"/>
          <ac:spMkLst>
            <pc:docMk/>
            <pc:sldMk cId="2042677239" sldId="230717661"/>
            <ac:spMk id="15" creationId="{C9ABE672-CA17-4254-AFF0-A03EA41BB1B8}"/>
          </ac:spMkLst>
        </pc:spChg>
        <pc:spChg chg="mod topLvl">
          <ac:chgData name="El Bakkouri, Manal" userId="8b130982-2e3f-4164-b881-fd3a2e4b2453" providerId="ADAL" clId="{4457FA57-250B-44AC-8655-05D46C5A3D8A}" dt="2023-05-26T15:44:10.200" v="13604" actId="1076"/>
          <ac:spMkLst>
            <pc:docMk/>
            <pc:sldMk cId="2042677239" sldId="230717661"/>
            <ac:spMk id="17" creationId="{07A1EC7F-8449-4C14-AA14-7EFC05703416}"/>
          </ac:spMkLst>
        </pc:spChg>
        <pc:spChg chg="mod ord topLvl">
          <ac:chgData name="El Bakkouri, Manal" userId="8b130982-2e3f-4164-b881-fd3a2e4b2453" providerId="ADAL" clId="{4457FA57-250B-44AC-8655-05D46C5A3D8A}" dt="2023-05-26T15:58:44.090" v="13761" actId="166"/>
          <ac:spMkLst>
            <pc:docMk/>
            <pc:sldMk cId="2042677239" sldId="230717661"/>
            <ac:spMk id="18" creationId="{E9489598-7A23-40E4-A184-5EF4A0FD2AC1}"/>
          </ac:spMkLst>
        </pc:spChg>
        <pc:spChg chg="add mod">
          <ac:chgData name="El Bakkouri, Manal" userId="8b130982-2e3f-4164-b881-fd3a2e4b2453" providerId="ADAL" clId="{4457FA57-250B-44AC-8655-05D46C5A3D8A}" dt="2023-05-26T15:24:33.551" v="13352"/>
          <ac:spMkLst>
            <pc:docMk/>
            <pc:sldMk cId="2042677239" sldId="230717661"/>
            <ac:spMk id="19" creationId="{52677D5E-EDB6-4589-A349-D1CE54B101BC}"/>
          </ac:spMkLst>
        </pc:spChg>
        <pc:spChg chg="del mod topLvl">
          <ac:chgData name="El Bakkouri, Manal" userId="8b130982-2e3f-4164-b881-fd3a2e4b2453" providerId="ADAL" clId="{4457FA57-250B-44AC-8655-05D46C5A3D8A}" dt="2023-05-26T15:48:18.692" v="13621" actId="478"/>
          <ac:spMkLst>
            <pc:docMk/>
            <pc:sldMk cId="2042677239" sldId="230717661"/>
            <ac:spMk id="21" creationId="{C6D17C9B-0907-45BB-967F-4C6C14C965D9}"/>
          </ac:spMkLst>
        </pc:spChg>
        <pc:spChg chg="mod topLvl">
          <ac:chgData name="El Bakkouri, Manal" userId="8b130982-2e3f-4164-b881-fd3a2e4b2453" providerId="ADAL" clId="{4457FA57-250B-44AC-8655-05D46C5A3D8A}" dt="2023-05-26T15:31:26.026" v="13495" actId="1076"/>
          <ac:spMkLst>
            <pc:docMk/>
            <pc:sldMk cId="2042677239" sldId="230717661"/>
            <ac:spMk id="23" creationId="{947E7CFF-2072-4D36-A520-65C9AB0B4560}"/>
          </ac:spMkLst>
        </pc:spChg>
        <pc:spChg chg="mod topLvl">
          <ac:chgData name="El Bakkouri, Manal" userId="8b130982-2e3f-4164-b881-fd3a2e4b2453" providerId="ADAL" clId="{4457FA57-250B-44AC-8655-05D46C5A3D8A}" dt="2023-05-26T15:57:54.590" v="13705" actId="164"/>
          <ac:spMkLst>
            <pc:docMk/>
            <pc:sldMk cId="2042677239" sldId="230717661"/>
            <ac:spMk id="24" creationId="{21A3DAD4-5F6B-4773-B4C3-44C357ACBBD6}"/>
          </ac:spMkLst>
        </pc:spChg>
        <pc:spChg chg="mod topLvl">
          <ac:chgData name="El Bakkouri, Manal" userId="8b130982-2e3f-4164-b881-fd3a2e4b2453" providerId="ADAL" clId="{4457FA57-250B-44AC-8655-05D46C5A3D8A}" dt="2023-05-26T15:57:54.590" v="13705" actId="164"/>
          <ac:spMkLst>
            <pc:docMk/>
            <pc:sldMk cId="2042677239" sldId="230717661"/>
            <ac:spMk id="25" creationId="{E1B2BA3E-6619-4C97-B209-53D413E46457}"/>
          </ac:spMkLst>
        </pc:spChg>
        <pc:spChg chg="mod topLvl">
          <ac:chgData name="El Bakkouri, Manal" userId="8b130982-2e3f-4164-b881-fd3a2e4b2453" providerId="ADAL" clId="{4457FA57-250B-44AC-8655-05D46C5A3D8A}" dt="2023-05-26T15:57:40.468" v="13704" actId="164"/>
          <ac:spMkLst>
            <pc:docMk/>
            <pc:sldMk cId="2042677239" sldId="230717661"/>
            <ac:spMk id="27" creationId="{C6AF6648-F93A-43F4-9A84-ADF9C823F66F}"/>
          </ac:spMkLst>
        </pc:spChg>
        <pc:spChg chg="mod ord topLvl">
          <ac:chgData name="El Bakkouri, Manal" userId="8b130982-2e3f-4164-b881-fd3a2e4b2453" providerId="ADAL" clId="{4457FA57-250B-44AC-8655-05D46C5A3D8A}" dt="2023-05-26T16:00:09.385" v="13844" actId="167"/>
          <ac:spMkLst>
            <pc:docMk/>
            <pc:sldMk cId="2042677239" sldId="230717661"/>
            <ac:spMk id="29" creationId="{1081F09C-1CB6-45DB-8815-693E65CD5859}"/>
          </ac:spMkLst>
        </pc:spChg>
        <pc:spChg chg="mod topLvl">
          <ac:chgData name="El Bakkouri, Manal" userId="8b130982-2e3f-4164-b881-fd3a2e4b2453" providerId="ADAL" clId="{4457FA57-250B-44AC-8655-05D46C5A3D8A}" dt="2023-05-26T15:57:40.468" v="13704" actId="164"/>
          <ac:spMkLst>
            <pc:docMk/>
            <pc:sldMk cId="2042677239" sldId="230717661"/>
            <ac:spMk id="30" creationId="{3D398273-965F-4F93-A08F-81B14D0A8B72}"/>
          </ac:spMkLst>
        </pc:spChg>
        <pc:spChg chg="mod topLvl">
          <ac:chgData name="El Bakkouri, Manal" userId="8b130982-2e3f-4164-b881-fd3a2e4b2453" providerId="ADAL" clId="{4457FA57-250B-44AC-8655-05D46C5A3D8A}" dt="2023-05-26T15:57:40.468" v="13704" actId="164"/>
          <ac:spMkLst>
            <pc:docMk/>
            <pc:sldMk cId="2042677239" sldId="230717661"/>
            <ac:spMk id="31" creationId="{C90A005B-8322-4CA4-81EA-2308F9FE1768}"/>
          </ac:spMkLst>
        </pc:spChg>
        <pc:spChg chg="add del mod">
          <ac:chgData name="El Bakkouri, Manal" userId="8b130982-2e3f-4164-b881-fd3a2e4b2453" providerId="ADAL" clId="{4457FA57-250B-44AC-8655-05D46C5A3D8A}" dt="2023-05-26T15:39:49.855" v="13592"/>
          <ac:spMkLst>
            <pc:docMk/>
            <pc:sldMk cId="2042677239" sldId="230717661"/>
            <ac:spMk id="40" creationId="{6FFE9AC9-CAB3-4E1F-B7A6-54EA1060D1FB}"/>
          </ac:spMkLst>
        </pc:spChg>
        <pc:spChg chg="add del mod">
          <ac:chgData name="El Bakkouri, Manal" userId="8b130982-2e3f-4164-b881-fd3a2e4b2453" providerId="ADAL" clId="{4457FA57-250B-44AC-8655-05D46C5A3D8A}" dt="2023-05-26T15:39:48.848" v="13590"/>
          <ac:spMkLst>
            <pc:docMk/>
            <pc:sldMk cId="2042677239" sldId="230717661"/>
            <ac:spMk id="41" creationId="{41DC44CB-AD56-495B-A4B2-DB9D40A7F21B}"/>
          </ac:spMkLst>
        </pc:spChg>
        <pc:spChg chg="mod topLvl">
          <ac:chgData name="El Bakkouri, Manal" userId="8b130982-2e3f-4164-b881-fd3a2e4b2453" providerId="ADAL" clId="{4457FA57-250B-44AC-8655-05D46C5A3D8A}" dt="2023-05-26T15:39:45.903" v="13586" actId="1076"/>
          <ac:spMkLst>
            <pc:docMk/>
            <pc:sldMk cId="2042677239" sldId="230717661"/>
            <ac:spMk id="43" creationId="{70A08AAA-69A4-4A3D-8335-C21451656E6E}"/>
          </ac:spMkLst>
        </pc:spChg>
        <pc:spChg chg="mod topLvl">
          <ac:chgData name="El Bakkouri, Manal" userId="8b130982-2e3f-4164-b881-fd3a2e4b2453" providerId="ADAL" clId="{4457FA57-250B-44AC-8655-05D46C5A3D8A}" dt="2023-05-26T15:39:44.205" v="13582" actId="165"/>
          <ac:spMkLst>
            <pc:docMk/>
            <pc:sldMk cId="2042677239" sldId="230717661"/>
            <ac:spMk id="45" creationId="{FB338787-4387-47F3-A055-B7B5C6617121}"/>
          </ac:spMkLst>
        </pc:spChg>
        <pc:spChg chg="mod topLvl">
          <ac:chgData name="El Bakkouri, Manal" userId="8b130982-2e3f-4164-b881-fd3a2e4b2453" providerId="ADAL" clId="{4457FA57-250B-44AC-8655-05D46C5A3D8A}" dt="2023-05-26T15:39:46.816" v="13587" actId="1076"/>
          <ac:spMkLst>
            <pc:docMk/>
            <pc:sldMk cId="2042677239" sldId="230717661"/>
            <ac:spMk id="46" creationId="{79DABF08-5E37-47B6-BE64-6D6F7233FCEC}"/>
          </ac:spMkLst>
        </pc:spChg>
        <pc:spChg chg="mod">
          <ac:chgData name="El Bakkouri, Manal" userId="8b130982-2e3f-4164-b881-fd3a2e4b2453" providerId="ADAL" clId="{4457FA57-250B-44AC-8655-05D46C5A3D8A}" dt="2023-05-26T15:43:37.570" v="13597" actId="207"/>
          <ac:spMkLst>
            <pc:docMk/>
            <pc:sldMk cId="2042677239" sldId="230717661"/>
            <ac:spMk id="48" creationId="{B362C0CF-2130-40AC-A4F7-BB6B4B152485}"/>
          </ac:spMkLst>
        </pc:spChg>
        <pc:spChg chg="mod">
          <ac:chgData name="El Bakkouri, Manal" userId="8b130982-2e3f-4164-b881-fd3a2e4b2453" providerId="ADAL" clId="{4457FA57-250B-44AC-8655-05D46C5A3D8A}" dt="2023-05-26T15:43:37.570" v="13597" actId="207"/>
          <ac:spMkLst>
            <pc:docMk/>
            <pc:sldMk cId="2042677239" sldId="230717661"/>
            <ac:spMk id="49" creationId="{A37CAB3B-DFCD-4DEC-82FE-8DC284DA4C66}"/>
          </ac:spMkLst>
        </pc:spChg>
        <pc:spChg chg="mod topLvl">
          <ac:chgData name="El Bakkouri, Manal" userId="8b130982-2e3f-4164-b881-fd3a2e4b2453" providerId="ADAL" clId="{4457FA57-250B-44AC-8655-05D46C5A3D8A}" dt="2023-05-26T15:56:34.485" v="13690" actId="165"/>
          <ac:spMkLst>
            <pc:docMk/>
            <pc:sldMk cId="2042677239" sldId="230717661"/>
            <ac:spMk id="51" creationId="{E44EE54E-8335-4834-AA17-45E79CB518A5}"/>
          </ac:spMkLst>
        </pc:spChg>
        <pc:spChg chg="mod topLvl">
          <ac:chgData name="El Bakkouri, Manal" userId="8b130982-2e3f-4164-b881-fd3a2e4b2453" providerId="ADAL" clId="{4457FA57-250B-44AC-8655-05D46C5A3D8A}" dt="2023-05-26T15:56:34.485" v="13690" actId="165"/>
          <ac:spMkLst>
            <pc:docMk/>
            <pc:sldMk cId="2042677239" sldId="230717661"/>
            <ac:spMk id="52" creationId="{0DCF5307-4E0F-449C-A068-F83699462820}"/>
          </ac:spMkLst>
        </pc:spChg>
        <pc:spChg chg="mod topLvl">
          <ac:chgData name="El Bakkouri, Manal" userId="8b130982-2e3f-4164-b881-fd3a2e4b2453" providerId="ADAL" clId="{4457FA57-250B-44AC-8655-05D46C5A3D8A}" dt="2023-05-26T15:58:04.295" v="13706" actId="164"/>
          <ac:spMkLst>
            <pc:docMk/>
            <pc:sldMk cId="2042677239" sldId="230717661"/>
            <ac:spMk id="53" creationId="{6F2540E0-7B09-4D26-8568-3187EEA14E2D}"/>
          </ac:spMkLst>
        </pc:spChg>
        <pc:spChg chg="mod topLvl">
          <ac:chgData name="El Bakkouri, Manal" userId="8b130982-2e3f-4164-b881-fd3a2e4b2453" providerId="ADAL" clId="{4457FA57-250B-44AC-8655-05D46C5A3D8A}" dt="2023-05-26T15:56:34.485" v="13690" actId="165"/>
          <ac:spMkLst>
            <pc:docMk/>
            <pc:sldMk cId="2042677239" sldId="230717661"/>
            <ac:spMk id="54" creationId="{B03C8AB1-96A9-4577-8CF5-1E6AB5FFAB5C}"/>
          </ac:spMkLst>
        </pc:spChg>
        <pc:spChg chg="mod topLvl">
          <ac:chgData name="El Bakkouri, Manal" userId="8b130982-2e3f-4164-b881-fd3a2e4b2453" providerId="ADAL" clId="{4457FA57-250B-44AC-8655-05D46C5A3D8A}" dt="2023-05-26T15:56:34.485" v="13690" actId="165"/>
          <ac:spMkLst>
            <pc:docMk/>
            <pc:sldMk cId="2042677239" sldId="230717661"/>
            <ac:spMk id="55" creationId="{E245EB2A-7798-441E-BDA4-13838E20EC3F}"/>
          </ac:spMkLst>
        </pc:spChg>
        <pc:spChg chg="mod topLvl">
          <ac:chgData name="El Bakkouri, Manal" userId="8b130982-2e3f-4164-b881-fd3a2e4b2453" providerId="ADAL" clId="{4457FA57-250B-44AC-8655-05D46C5A3D8A}" dt="2023-05-26T15:56:34.485" v="13690" actId="165"/>
          <ac:spMkLst>
            <pc:docMk/>
            <pc:sldMk cId="2042677239" sldId="230717661"/>
            <ac:spMk id="56" creationId="{18074B22-072D-4C5F-9F33-9534B5E7EE14}"/>
          </ac:spMkLst>
        </pc:spChg>
        <pc:spChg chg="mod topLvl">
          <ac:chgData name="El Bakkouri, Manal" userId="8b130982-2e3f-4164-b881-fd3a2e4b2453" providerId="ADAL" clId="{4457FA57-250B-44AC-8655-05D46C5A3D8A}" dt="2023-05-26T15:58:04.295" v="13706" actId="164"/>
          <ac:spMkLst>
            <pc:docMk/>
            <pc:sldMk cId="2042677239" sldId="230717661"/>
            <ac:spMk id="57" creationId="{EE5F0EA5-79B5-4B0A-9D0E-6EA2434B8F67}"/>
          </ac:spMkLst>
        </pc:spChg>
        <pc:spChg chg="mod topLvl">
          <ac:chgData name="El Bakkouri, Manal" userId="8b130982-2e3f-4164-b881-fd3a2e4b2453" providerId="ADAL" clId="{4457FA57-250B-44AC-8655-05D46C5A3D8A}" dt="2023-05-26T15:56:34.485" v="13690" actId="165"/>
          <ac:spMkLst>
            <pc:docMk/>
            <pc:sldMk cId="2042677239" sldId="230717661"/>
            <ac:spMk id="58" creationId="{1B79AEDC-733E-4700-ADBE-454EB6EEFFFA}"/>
          </ac:spMkLst>
        </pc:spChg>
        <pc:spChg chg="mod topLvl">
          <ac:chgData name="El Bakkouri, Manal" userId="8b130982-2e3f-4164-b881-fd3a2e4b2453" providerId="ADAL" clId="{4457FA57-250B-44AC-8655-05D46C5A3D8A}" dt="2023-05-26T15:56:34.485" v="13690" actId="165"/>
          <ac:spMkLst>
            <pc:docMk/>
            <pc:sldMk cId="2042677239" sldId="230717661"/>
            <ac:spMk id="59" creationId="{EC768663-3464-42B9-A74C-C75418A93A39}"/>
          </ac:spMkLst>
        </pc:spChg>
        <pc:spChg chg="add mod">
          <ac:chgData name="El Bakkouri, Manal" userId="8b130982-2e3f-4164-b881-fd3a2e4b2453" providerId="ADAL" clId="{4457FA57-250B-44AC-8655-05D46C5A3D8A}" dt="2023-05-26T15:57:24.630" v="13703" actId="164"/>
          <ac:spMkLst>
            <pc:docMk/>
            <pc:sldMk cId="2042677239" sldId="230717661"/>
            <ac:spMk id="60" creationId="{DF1D0315-0ED4-477E-98A7-DD2342B741E1}"/>
          </ac:spMkLst>
        </pc:spChg>
        <pc:spChg chg="add mod">
          <ac:chgData name="El Bakkouri, Manal" userId="8b130982-2e3f-4164-b881-fd3a2e4b2453" providerId="ADAL" clId="{4457FA57-250B-44AC-8655-05D46C5A3D8A}" dt="2023-05-26T15:57:54.590" v="13705" actId="164"/>
          <ac:spMkLst>
            <pc:docMk/>
            <pc:sldMk cId="2042677239" sldId="230717661"/>
            <ac:spMk id="61" creationId="{FC8CE62A-25B0-483F-9AA2-19B9E19B8C4E}"/>
          </ac:spMkLst>
        </pc:spChg>
        <pc:spChg chg="add mod">
          <ac:chgData name="El Bakkouri, Manal" userId="8b130982-2e3f-4164-b881-fd3a2e4b2453" providerId="ADAL" clId="{4457FA57-250B-44AC-8655-05D46C5A3D8A}" dt="2023-05-26T16:00:04.972" v="13843" actId="1037"/>
          <ac:spMkLst>
            <pc:docMk/>
            <pc:sldMk cId="2042677239" sldId="230717661"/>
            <ac:spMk id="62" creationId="{9F2F1765-363D-4EA9-BD5A-E5A95C06BE79}"/>
          </ac:spMkLst>
        </pc:spChg>
        <pc:grpChg chg="add del mod">
          <ac:chgData name="El Bakkouri, Manal" userId="8b130982-2e3f-4164-b881-fd3a2e4b2453" providerId="ADAL" clId="{4457FA57-250B-44AC-8655-05D46C5A3D8A}" dt="2023-05-26T15:32:35.644" v="13509" actId="165"/>
          <ac:grpSpMkLst>
            <pc:docMk/>
            <pc:sldMk cId="2042677239" sldId="230717661"/>
            <ac:grpSpMk id="7" creationId="{64F54132-1696-4C2C-BE97-9C40928B6684}"/>
          </ac:grpSpMkLst>
        </pc:grpChg>
        <pc:grpChg chg="add del mod">
          <ac:chgData name="El Bakkouri, Manal" userId="8b130982-2e3f-4164-b881-fd3a2e4b2453" providerId="ADAL" clId="{4457FA57-250B-44AC-8655-05D46C5A3D8A}" dt="2023-05-26T15:32:46.702" v="13511" actId="165"/>
          <ac:grpSpMkLst>
            <pc:docMk/>
            <pc:sldMk cId="2042677239" sldId="230717661"/>
            <ac:grpSpMk id="13" creationId="{306721FE-150E-4D8B-903E-063120A156DE}"/>
          </ac:grpSpMkLst>
        </pc:grpChg>
        <pc:grpChg chg="add del mod">
          <ac:chgData name="El Bakkouri, Manal" userId="8b130982-2e3f-4164-b881-fd3a2e4b2453" providerId="ADAL" clId="{4457FA57-250B-44AC-8655-05D46C5A3D8A}" dt="2023-05-26T15:31:05.525" v="13490" actId="165"/>
          <ac:grpSpMkLst>
            <pc:docMk/>
            <pc:sldMk cId="2042677239" sldId="230717661"/>
            <ac:grpSpMk id="20" creationId="{DB829A6F-7415-44C7-A617-89EBC2C0642B}"/>
          </ac:grpSpMkLst>
        </pc:grpChg>
        <pc:grpChg chg="add del mod">
          <ac:chgData name="El Bakkouri, Manal" userId="8b130982-2e3f-4164-b881-fd3a2e4b2453" providerId="ADAL" clId="{4457FA57-250B-44AC-8655-05D46C5A3D8A}" dt="2023-05-26T15:32:40.077" v="13510" actId="165"/>
          <ac:grpSpMkLst>
            <pc:docMk/>
            <pc:sldMk cId="2042677239" sldId="230717661"/>
            <ac:grpSpMk id="26" creationId="{3113D4D3-B8EF-4019-8880-40B4201BFF47}"/>
          </ac:grpSpMkLst>
        </pc:grpChg>
        <pc:grpChg chg="add del mod">
          <ac:chgData name="El Bakkouri, Manal" userId="8b130982-2e3f-4164-b881-fd3a2e4b2453" providerId="ADAL" clId="{4457FA57-250B-44AC-8655-05D46C5A3D8A}" dt="2023-05-26T15:39:47.174" v="13588"/>
          <ac:grpSpMkLst>
            <pc:docMk/>
            <pc:sldMk cId="2042677239" sldId="230717661"/>
            <ac:grpSpMk id="42" creationId="{FD29224B-050E-4176-B0D3-D462C3527695}"/>
          </ac:grpSpMkLst>
        </pc:grpChg>
        <pc:grpChg chg="add del mod topLvl">
          <ac:chgData name="El Bakkouri, Manal" userId="8b130982-2e3f-4164-b881-fd3a2e4b2453" providerId="ADAL" clId="{4457FA57-250B-44AC-8655-05D46C5A3D8A}" dt="2023-05-26T15:39:44.205" v="13582" actId="165"/>
          <ac:grpSpMkLst>
            <pc:docMk/>
            <pc:sldMk cId="2042677239" sldId="230717661"/>
            <ac:grpSpMk id="44" creationId="{00EDAA13-E125-4493-9194-A0AE23620AC3}"/>
          </ac:grpSpMkLst>
        </pc:grpChg>
        <pc:grpChg chg="add del mod">
          <ac:chgData name="El Bakkouri, Manal" userId="8b130982-2e3f-4164-b881-fd3a2e4b2453" providerId="ADAL" clId="{4457FA57-250B-44AC-8655-05D46C5A3D8A}" dt="2023-05-26T15:43:58.015" v="13598" actId="478"/>
          <ac:grpSpMkLst>
            <pc:docMk/>
            <pc:sldMk cId="2042677239" sldId="230717661"/>
            <ac:grpSpMk id="47" creationId="{43919827-C257-407C-8A08-E2D573F31721}"/>
          </ac:grpSpMkLst>
        </pc:grpChg>
        <pc:grpChg chg="add del mod">
          <ac:chgData name="El Bakkouri, Manal" userId="8b130982-2e3f-4164-b881-fd3a2e4b2453" providerId="ADAL" clId="{4457FA57-250B-44AC-8655-05D46C5A3D8A}" dt="2023-05-26T15:56:34.485" v="13690" actId="165"/>
          <ac:grpSpMkLst>
            <pc:docMk/>
            <pc:sldMk cId="2042677239" sldId="230717661"/>
            <ac:grpSpMk id="50" creationId="{20763712-F869-44FD-8351-A0BF80571B5B}"/>
          </ac:grpSpMkLst>
        </pc:grpChg>
        <pc:grpChg chg="add mod">
          <ac:chgData name="El Bakkouri, Manal" userId="8b130982-2e3f-4164-b881-fd3a2e4b2453" providerId="ADAL" clId="{4457FA57-250B-44AC-8655-05D46C5A3D8A}" dt="2023-05-26T15:57:20.627" v="13702" actId="164"/>
          <ac:grpSpMkLst>
            <pc:docMk/>
            <pc:sldMk cId="2042677239" sldId="230717661"/>
            <ac:grpSpMk id="63" creationId="{A0CCA686-52E9-465B-BAFB-AB0D7116E32C}"/>
          </ac:grpSpMkLst>
        </pc:grpChg>
        <pc:grpChg chg="add mod ord">
          <ac:chgData name="El Bakkouri, Manal" userId="8b130982-2e3f-4164-b881-fd3a2e4b2453" providerId="ADAL" clId="{4457FA57-250B-44AC-8655-05D46C5A3D8A}" dt="2023-05-26T15:59:58.270" v="13763" actId="166"/>
          <ac:grpSpMkLst>
            <pc:docMk/>
            <pc:sldMk cId="2042677239" sldId="230717661"/>
            <ac:grpSpMk id="64" creationId="{B098881E-5E2F-4A5E-AEE3-8EA9BBA1478B}"/>
          </ac:grpSpMkLst>
        </pc:grpChg>
        <pc:grpChg chg="add mod">
          <ac:chgData name="El Bakkouri, Manal" userId="8b130982-2e3f-4164-b881-fd3a2e4b2453" providerId="ADAL" clId="{4457FA57-250B-44AC-8655-05D46C5A3D8A}" dt="2023-05-26T15:58:27.793" v="13747" actId="1037"/>
          <ac:grpSpMkLst>
            <pc:docMk/>
            <pc:sldMk cId="2042677239" sldId="230717661"/>
            <ac:grpSpMk id="65" creationId="{A5FFF669-0FE9-4C7F-9CCE-CAC156ABA55F}"/>
          </ac:grpSpMkLst>
        </pc:grpChg>
        <pc:grpChg chg="add mod">
          <ac:chgData name="El Bakkouri, Manal" userId="8b130982-2e3f-4164-b881-fd3a2e4b2453" providerId="ADAL" clId="{4457FA57-250B-44AC-8655-05D46C5A3D8A}" dt="2023-05-26T15:57:54.590" v="13705" actId="164"/>
          <ac:grpSpMkLst>
            <pc:docMk/>
            <pc:sldMk cId="2042677239" sldId="230717661"/>
            <ac:grpSpMk id="66" creationId="{F0B2F60C-EB8F-4C40-B314-203495547A9D}"/>
          </ac:grpSpMkLst>
        </pc:grpChg>
        <pc:grpChg chg="add mod">
          <ac:chgData name="El Bakkouri, Manal" userId="8b130982-2e3f-4164-b881-fd3a2e4b2453" providerId="ADAL" clId="{4457FA57-250B-44AC-8655-05D46C5A3D8A}" dt="2023-05-26T15:58:44.788" v="13762" actId="1038"/>
          <ac:grpSpMkLst>
            <pc:docMk/>
            <pc:sldMk cId="2042677239" sldId="230717661"/>
            <ac:grpSpMk id="67" creationId="{0A57B063-5E07-4AC8-9AD2-FB010C3B27ED}"/>
          </ac:grpSpMkLst>
        </pc:grpChg>
        <pc:picChg chg="add mod">
          <ac:chgData name="El Bakkouri, Manal" userId="8b130982-2e3f-4164-b881-fd3a2e4b2453" providerId="ADAL" clId="{4457FA57-250B-44AC-8655-05D46C5A3D8A}" dt="2023-05-26T15:57:20.627" v="13702" actId="164"/>
          <ac:picMkLst>
            <pc:docMk/>
            <pc:sldMk cId="2042677239" sldId="230717661"/>
            <ac:picMk id="5" creationId="{B91189E4-3152-41C0-9F69-CE5D36ECD280}"/>
          </ac:picMkLst>
        </pc:picChg>
        <pc:cxnChg chg="mod topLvl">
          <ac:chgData name="El Bakkouri, Manal" userId="8b130982-2e3f-4164-b881-fd3a2e4b2453" providerId="ADAL" clId="{4457FA57-250B-44AC-8655-05D46C5A3D8A}" dt="2023-05-26T15:57:24.630" v="13703" actId="164"/>
          <ac:cxnSpMkLst>
            <pc:docMk/>
            <pc:sldMk cId="2042677239" sldId="230717661"/>
            <ac:cxnSpMk id="9" creationId="{AAEE4412-5796-43DC-8A74-6F7A8C565AFE}"/>
          </ac:cxnSpMkLst>
        </pc:cxnChg>
        <pc:cxnChg chg="mod topLvl">
          <ac:chgData name="El Bakkouri, Manal" userId="8b130982-2e3f-4164-b881-fd3a2e4b2453" providerId="ADAL" clId="{4457FA57-250B-44AC-8655-05D46C5A3D8A}" dt="2023-05-26T15:58:04.295" v="13706" actId="164"/>
          <ac:cxnSpMkLst>
            <pc:docMk/>
            <pc:sldMk cId="2042677239" sldId="230717661"/>
            <ac:cxnSpMk id="16" creationId="{48831266-42BF-48AB-A84B-9A48941BB801}"/>
          </ac:cxnSpMkLst>
        </pc:cxnChg>
        <pc:cxnChg chg="mod topLvl">
          <ac:chgData name="El Bakkouri, Manal" userId="8b130982-2e3f-4164-b881-fd3a2e4b2453" providerId="ADAL" clId="{4457FA57-250B-44AC-8655-05D46C5A3D8A}" dt="2023-05-26T15:57:54.590" v="13705" actId="164"/>
          <ac:cxnSpMkLst>
            <pc:docMk/>
            <pc:sldMk cId="2042677239" sldId="230717661"/>
            <ac:cxnSpMk id="22" creationId="{E2306202-EF3E-4269-9B14-402B0818FD34}"/>
          </ac:cxnSpMkLst>
        </pc:cxnChg>
        <pc:cxnChg chg="mod topLvl">
          <ac:chgData name="El Bakkouri, Manal" userId="8b130982-2e3f-4164-b881-fd3a2e4b2453" providerId="ADAL" clId="{4457FA57-250B-44AC-8655-05D46C5A3D8A}" dt="2023-05-26T15:57:40.468" v="13704" actId="164"/>
          <ac:cxnSpMkLst>
            <pc:docMk/>
            <pc:sldMk cId="2042677239" sldId="230717661"/>
            <ac:cxnSpMk id="28" creationId="{63CA835F-88ED-4939-9C2D-44CC6AC205D1}"/>
          </ac:cxnSpMkLst>
        </pc:cxnChg>
      </pc:sldChg>
      <pc:sldChg chg="add del">
        <pc:chgData name="El Bakkouri, Manal" userId="8b130982-2e3f-4164-b881-fd3a2e4b2453" providerId="ADAL" clId="{4457FA57-250B-44AC-8655-05D46C5A3D8A}" dt="2023-05-24T16:39:02.550" v="13195" actId="2696"/>
        <pc:sldMkLst>
          <pc:docMk/>
          <pc:sldMk cId="3296993838" sldId="230717661"/>
        </pc:sldMkLst>
      </pc:sldChg>
      <pc:sldChg chg="addSp delSp modSp add mod ord modTransition">
        <pc:chgData name="El Bakkouri, Manal" userId="8b130982-2e3f-4164-b881-fd3a2e4b2453" providerId="ADAL" clId="{4457FA57-250B-44AC-8655-05D46C5A3D8A}" dt="2023-05-31T13:16:59.472" v="14598"/>
        <pc:sldMkLst>
          <pc:docMk/>
          <pc:sldMk cId="54621492" sldId="230717662"/>
        </pc:sldMkLst>
        <pc:spChg chg="mod">
          <ac:chgData name="El Bakkouri, Manal" userId="8b130982-2e3f-4164-b881-fd3a2e4b2453" providerId="ADAL" clId="{4457FA57-250B-44AC-8655-05D46C5A3D8A}" dt="2023-05-31T13:11:12.900" v="14369" actId="1076"/>
          <ac:spMkLst>
            <pc:docMk/>
            <pc:sldMk cId="54621492" sldId="230717662"/>
            <ac:spMk id="23" creationId="{947E7CFF-2072-4D36-A520-65C9AB0B4560}"/>
          </ac:spMkLst>
        </pc:spChg>
        <pc:spChg chg="add mod">
          <ac:chgData name="El Bakkouri, Manal" userId="8b130982-2e3f-4164-b881-fd3a2e4b2453" providerId="ADAL" clId="{4457FA57-250B-44AC-8655-05D46C5A3D8A}" dt="2023-05-31T13:12:00.411" v="14387"/>
          <ac:spMkLst>
            <pc:docMk/>
            <pc:sldMk cId="54621492" sldId="230717662"/>
            <ac:spMk id="39" creationId="{98AC5754-5BF6-4AA2-89BE-AEF7E68BB71E}"/>
          </ac:spMkLst>
        </pc:spChg>
        <pc:spChg chg="mod ord">
          <ac:chgData name="El Bakkouri, Manal" userId="8b130982-2e3f-4164-b881-fd3a2e4b2453" providerId="ADAL" clId="{4457FA57-250B-44AC-8655-05D46C5A3D8A}" dt="2023-05-31T13:11:55.010" v="14385" actId="1076"/>
          <ac:spMkLst>
            <pc:docMk/>
            <pc:sldMk cId="54621492" sldId="230717662"/>
            <ac:spMk id="62" creationId="{9F2F1765-363D-4EA9-BD5A-E5A95C06BE79}"/>
          </ac:spMkLst>
        </pc:spChg>
        <pc:grpChg chg="ord">
          <ac:chgData name="El Bakkouri, Manal" userId="8b130982-2e3f-4164-b881-fd3a2e4b2453" providerId="ADAL" clId="{4457FA57-250B-44AC-8655-05D46C5A3D8A}" dt="2023-05-31T13:11:50.367" v="14384" actId="166"/>
          <ac:grpSpMkLst>
            <pc:docMk/>
            <pc:sldMk cId="54621492" sldId="230717662"/>
            <ac:grpSpMk id="64" creationId="{B098881E-5E2F-4A5E-AEE3-8EA9BBA1478B}"/>
          </ac:grpSpMkLst>
        </pc:grpChg>
        <pc:grpChg chg="del ord">
          <ac:chgData name="El Bakkouri, Manal" userId="8b130982-2e3f-4164-b881-fd3a2e4b2453" providerId="ADAL" clId="{4457FA57-250B-44AC-8655-05D46C5A3D8A}" dt="2023-05-31T13:10:50.618" v="14367" actId="478"/>
          <ac:grpSpMkLst>
            <pc:docMk/>
            <pc:sldMk cId="54621492" sldId="230717662"/>
            <ac:grpSpMk id="65" creationId="{A5FFF669-0FE9-4C7F-9CCE-CAC156ABA55F}"/>
          </ac:grpSpMkLst>
        </pc:grpChg>
        <pc:grpChg chg="mod">
          <ac:chgData name="El Bakkouri, Manal" userId="8b130982-2e3f-4164-b881-fd3a2e4b2453" providerId="ADAL" clId="{4457FA57-250B-44AC-8655-05D46C5A3D8A}" dt="2023-05-31T13:11:01.963" v="14368" actId="465"/>
          <ac:grpSpMkLst>
            <pc:docMk/>
            <pc:sldMk cId="54621492" sldId="230717662"/>
            <ac:grpSpMk id="66" creationId="{F0B2F60C-EB8F-4C40-B314-203495547A9D}"/>
          </ac:grpSpMkLst>
        </pc:grpChg>
        <pc:grpChg chg="mod">
          <ac:chgData name="El Bakkouri, Manal" userId="8b130982-2e3f-4164-b881-fd3a2e4b2453" providerId="ADAL" clId="{4457FA57-250B-44AC-8655-05D46C5A3D8A}" dt="2023-05-31T13:11:38.023" v="14382" actId="1038"/>
          <ac:grpSpMkLst>
            <pc:docMk/>
            <pc:sldMk cId="54621492" sldId="230717662"/>
            <ac:grpSpMk id="67" creationId="{0A57B063-5E07-4AC8-9AD2-FB010C3B27ED}"/>
          </ac:grpSpMkLst>
        </pc:grpChg>
        <pc:cxnChg chg="mod">
          <ac:chgData name="El Bakkouri, Manal" userId="8b130982-2e3f-4164-b881-fd3a2e4b2453" providerId="ADAL" clId="{4457FA57-250B-44AC-8655-05D46C5A3D8A}" dt="2023-05-31T13:11:12.900" v="14369" actId="1076"/>
          <ac:cxnSpMkLst>
            <pc:docMk/>
            <pc:sldMk cId="54621492" sldId="230717662"/>
            <ac:cxnSpMk id="22" creationId="{E2306202-EF3E-4269-9B14-402B0818FD34}"/>
          </ac:cxnSpMkLst>
        </pc:cxnChg>
      </pc:sldChg>
      <pc:sldChg chg="modSp add mod ord modTransition">
        <pc:chgData name="El Bakkouri, Manal" userId="8b130982-2e3f-4164-b881-fd3a2e4b2453" providerId="ADAL" clId="{4457FA57-250B-44AC-8655-05D46C5A3D8A}" dt="2023-05-31T13:17:21.071" v="14600"/>
        <pc:sldMkLst>
          <pc:docMk/>
          <pc:sldMk cId="768870788" sldId="230717663"/>
        </pc:sldMkLst>
        <pc:spChg chg="mod ord">
          <ac:chgData name="El Bakkouri, Manal" userId="8b130982-2e3f-4164-b881-fd3a2e4b2453" providerId="ADAL" clId="{4457FA57-250B-44AC-8655-05D46C5A3D8A}" dt="2023-05-26T16:03:06.509" v="14093" actId="1037"/>
          <ac:spMkLst>
            <pc:docMk/>
            <pc:sldMk cId="768870788" sldId="230717663"/>
            <ac:spMk id="62" creationId="{9F2F1765-363D-4EA9-BD5A-E5A95C06BE79}"/>
          </ac:spMkLst>
        </pc:spChg>
        <pc:grpChg chg="ord">
          <ac:chgData name="El Bakkouri, Manal" userId="8b130982-2e3f-4164-b881-fd3a2e4b2453" providerId="ADAL" clId="{4457FA57-250B-44AC-8655-05D46C5A3D8A}" dt="2023-05-26T16:02:59.290" v="14021" actId="166"/>
          <ac:grpSpMkLst>
            <pc:docMk/>
            <pc:sldMk cId="768870788" sldId="230717663"/>
            <ac:grpSpMk id="66" creationId="{F0B2F60C-EB8F-4C40-B314-203495547A9D}"/>
          </ac:grpSpMkLst>
        </pc:grpChg>
      </pc:sldChg>
      <pc:sldChg chg="add del ord">
        <pc:chgData name="El Bakkouri, Manal" userId="8b130982-2e3f-4164-b881-fd3a2e4b2453" providerId="ADAL" clId="{4457FA57-250B-44AC-8655-05D46C5A3D8A}" dt="2023-05-31T13:12:59.714" v="14498" actId="47"/>
        <pc:sldMkLst>
          <pc:docMk/>
          <pc:sldMk cId="856753219" sldId="230717664"/>
        </pc:sldMkLst>
      </pc:sldChg>
      <pc:sldChg chg="modSp add mod modTransition">
        <pc:chgData name="El Bakkouri, Manal" userId="8b130982-2e3f-4164-b881-fd3a2e4b2453" providerId="ADAL" clId="{4457FA57-250B-44AC-8655-05D46C5A3D8A}" dt="2023-05-31T13:17:17.165" v="14599"/>
        <pc:sldMkLst>
          <pc:docMk/>
          <pc:sldMk cId="3100754862" sldId="230717665"/>
        </pc:sldMkLst>
        <pc:spChg chg="mod">
          <ac:chgData name="El Bakkouri, Manal" userId="8b130982-2e3f-4164-b881-fd3a2e4b2453" providerId="ADAL" clId="{4457FA57-250B-44AC-8655-05D46C5A3D8A}" dt="2023-05-31T13:12:48.825" v="14494" actId="1037"/>
          <ac:spMkLst>
            <pc:docMk/>
            <pc:sldMk cId="3100754862" sldId="230717665"/>
            <ac:spMk id="62" creationId="{9F2F1765-363D-4EA9-BD5A-E5A95C06BE79}"/>
          </ac:spMkLst>
        </pc:spChg>
        <pc:grpChg chg="ord">
          <ac:chgData name="El Bakkouri, Manal" userId="8b130982-2e3f-4164-b881-fd3a2e4b2453" providerId="ADAL" clId="{4457FA57-250B-44AC-8655-05D46C5A3D8A}" dt="2023-05-31T13:12:33.972" v="14394" actId="171"/>
          <ac:grpSpMkLst>
            <pc:docMk/>
            <pc:sldMk cId="3100754862" sldId="230717665"/>
            <ac:grpSpMk id="64" creationId="{B098881E-5E2F-4A5E-AEE3-8EA9BBA1478B}"/>
          </ac:grpSpMkLst>
        </pc:grpChg>
        <pc:grpChg chg="mod ord">
          <ac:chgData name="El Bakkouri, Manal" userId="8b130982-2e3f-4164-b881-fd3a2e4b2453" providerId="ADAL" clId="{4457FA57-250B-44AC-8655-05D46C5A3D8A}" dt="2023-05-31T13:12:44.072" v="14446" actId="166"/>
          <ac:grpSpMkLst>
            <pc:docMk/>
            <pc:sldMk cId="3100754862" sldId="230717665"/>
            <ac:grpSpMk id="66" creationId="{F0B2F60C-EB8F-4C40-B314-203495547A9D}"/>
          </ac:grpSpMkLst>
        </pc:grpChg>
      </pc:sldChg>
      <pc:sldChg chg="addSp delSp modSp add mod ord">
        <pc:chgData name="El Bakkouri, Manal" userId="8b130982-2e3f-4164-b881-fd3a2e4b2453" providerId="ADAL" clId="{4457FA57-250B-44AC-8655-05D46C5A3D8A}" dt="2023-05-31T13:16:04.498" v="14576" actId="1076"/>
        <pc:sldMkLst>
          <pc:docMk/>
          <pc:sldMk cId="1701904253" sldId="230717666"/>
        </pc:sldMkLst>
        <pc:spChg chg="mod ord">
          <ac:chgData name="El Bakkouri, Manal" userId="8b130982-2e3f-4164-b881-fd3a2e4b2453" providerId="ADAL" clId="{4457FA57-250B-44AC-8655-05D46C5A3D8A}" dt="2023-05-31T13:16:04.498" v="14576" actId="1076"/>
          <ac:spMkLst>
            <pc:docMk/>
            <pc:sldMk cId="1701904253" sldId="230717666"/>
            <ac:spMk id="18" creationId="{E9489598-7A23-40E4-A184-5EF4A0FD2AC1}"/>
          </ac:spMkLst>
        </pc:spChg>
        <pc:spChg chg="mod topLvl">
          <ac:chgData name="El Bakkouri, Manal" userId="8b130982-2e3f-4164-b881-fd3a2e4b2453" providerId="ADAL" clId="{4457FA57-250B-44AC-8655-05D46C5A3D8A}" dt="2023-05-31T13:14:49.923" v="14562" actId="165"/>
          <ac:spMkLst>
            <pc:docMk/>
            <pc:sldMk cId="1701904253" sldId="230717666"/>
            <ac:spMk id="24" creationId="{21A3DAD4-5F6B-4773-B4C3-44C357ACBBD6}"/>
          </ac:spMkLst>
        </pc:spChg>
        <pc:spChg chg="mod topLvl">
          <ac:chgData name="El Bakkouri, Manal" userId="8b130982-2e3f-4164-b881-fd3a2e4b2453" providerId="ADAL" clId="{4457FA57-250B-44AC-8655-05D46C5A3D8A}" dt="2023-05-31T13:14:49.923" v="14562" actId="165"/>
          <ac:spMkLst>
            <pc:docMk/>
            <pc:sldMk cId="1701904253" sldId="230717666"/>
            <ac:spMk id="25" creationId="{E1B2BA3E-6619-4C97-B209-53D413E46457}"/>
          </ac:spMkLst>
        </pc:spChg>
        <pc:spChg chg="ord">
          <ac:chgData name="El Bakkouri, Manal" userId="8b130982-2e3f-4164-b881-fd3a2e4b2453" providerId="ADAL" clId="{4457FA57-250B-44AC-8655-05D46C5A3D8A}" dt="2023-05-31T13:15:48.324" v="14574" actId="166"/>
          <ac:spMkLst>
            <pc:docMk/>
            <pc:sldMk cId="1701904253" sldId="230717666"/>
            <ac:spMk id="51" creationId="{E44EE54E-8335-4834-AA17-45E79CB518A5}"/>
          </ac:spMkLst>
        </pc:spChg>
        <pc:spChg chg="ord">
          <ac:chgData name="El Bakkouri, Manal" userId="8b130982-2e3f-4164-b881-fd3a2e4b2453" providerId="ADAL" clId="{4457FA57-250B-44AC-8655-05D46C5A3D8A}" dt="2023-05-31T13:15:48.324" v="14574" actId="166"/>
          <ac:spMkLst>
            <pc:docMk/>
            <pc:sldMk cId="1701904253" sldId="230717666"/>
            <ac:spMk id="52" creationId="{0DCF5307-4E0F-449C-A068-F83699462820}"/>
          </ac:spMkLst>
        </pc:spChg>
        <pc:spChg chg="ord">
          <ac:chgData name="El Bakkouri, Manal" userId="8b130982-2e3f-4164-b881-fd3a2e4b2453" providerId="ADAL" clId="{4457FA57-250B-44AC-8655-05D46C5A3D8A}" dt="2023-05-31T13:15:48.324" v="14574" actId="166"/>
          <ac:spMkLst>
            <pc:docMk/>
            <pc:sldMk cId="1701904253" sldId="230717666"/>
            <ac:spMk id="54" creationId="{B03C8AB1-96A9-4577-8CF5-1E6AB5FFAB5C}"/>
          </ac:spMkLst>
        </pc:spChg>
        <pc:spChg chg="mod ord">
          <ac:chgData name="El Bakkouri, Manal" userId="8b130982-2e3f-4164-b881-fd3a2e4b2453" providerId="ADAL" clId="{4457FA57-250B-44AC-8655-05D46C5A3D8A}" dt="2023-05-31T13:15:37.203" v="14570" actId="166"/>
          <ac:spMkLst>
            <pc:docMk/>
            <pc:sldMk cId="1701904253" sldId="230717666"/>
            <ac:spMk id="55" creationId="{E245EB2A-7798-441E-BDA4-13838E20EC3F}"/>
          </ac:spMkLst>
        </pc:spChg>
        <pc:spChg chg="ord">
          <ac:chgData name="El Bakkouri, Manal" userId="8b130982-2e3f-4164-b881-fd3a2e4b2453" providerId="ADAL" clId="{4457FA57-250B-44AC-8655-05D46C5A3D8A}" dt="2023-05-31T13:15:48.324" v="14574" actId="166"/>
          <ac:spMkLst>
            <pc:docMk/>
            <pc:sldMk cId="1701904253" sldId="230717666"/>
            <ac:spMk id="56" creationId="{18074B22-072D-4C5F-9F33-9534B5E7EE14}"/>
          </ac:spMkLst>
        </pc:spChg>
        <pc:spChg chg="mod ord">
          <ac:chgData name="El Bakkouri, Manal" userId="8b130982-2e3f-4164-b881-fd3a2e4b2453" providerId="ADAL" clId="{4457FA57-250B-44AC-8655-05D46C5A3D8A}" dt="2023-05-31T13:15:39.970" v="14571" actId="166"/>
          <ac:spMkLst>
            <pc:docMk/>
            <pc:sldMk cId="1701904253" sldId="230717666"/>
            <ac:spMk id="58" creationId="{1B79AEDC-733E-4700-ADBE-454EB6EEFFFA}"/>
          </ac:spMkLst>
        </pc:spChg>
        <pc:spChg chg="mod ord">
          <ac:chgData name="El Bakkouri, Manal" userId="8b130982-2e3f-4164-b881-fd3a2e4b2453" providerId="ADAL" clId="{4457FA57-250B-44AC-8655-05D46C5A3D8A}" dt="2023-05-31T13:15:34.483" v="14569" actId="166"/>
          <ac:spMkLst>
            <pc:docMk/>
            <pc:sldMk cId="1701904253" sldId="230717666"/>
            <ac:spMk id="59" creationId="{EC768663-3464-42B9-A74C-C75418A93A39}"/>
          </ac:spMkLst>
        </pc:spChg>
        <pc:spChg chg="mod topLvl">
          <ac:chgData name="El Bakkouri, Manal" userId="8b130982-2e3f-4164-b881-fd3a2e4b2453" providerId="ADAL" clId="{4457FA57-250B-44AC-8655-05D46C5A3D8A}" dt="2023-05-31T13:14:49.923" v="14562" actId="165"/>
          <ac:spMkLst>
            <pc:docMk/>
            <pc:sldMk cId="1701904253" sldId="230717666"/>
            <ac:spMk id="61" creationId="{FC8CE62A-25B0-483F-9AA2-19B9E19B8C4E}"/>
          </ac:spMkLst>
        </pc:spChg>
        <pc:spChg chg="mod">
          <ac:chgData name="El Bakkouri, Manal" userId="8b130982-2e3f-4164-b881-fd3a2e4b2453" providerId="ADAL" clId="{4457FA57-250B-44AC-8655-05D46C5A3D8A}" dt="2023-05-31T13:15:55.865" v="14575" actId="1076"/>
          <ac:spMkLst>
            <pc:docMk/>
            <pc:sldMk cId="1701904253" sldId="230717666"/>
            <ac:spMk id="62" creationId="{9F2F1765-363D-4EA9-BD5A-E5A95C06BE79}"/>
          </ac:spMkLst>
        </pc:spChg>
        <pc:grpChg chg="add del mod ord">
          <ac:chgData name="El Bakkouri, Manal" userId="8b130982-2e3f-4164-b881-fd3a2e4b2453" providerId="ADAL" clId="{4457FA57-250B-44AC-8655-05D46C5A3D8A}" dt="2023-05-31T13:14:49.923" v="14562" actId="165"/>
          <ac:grpSpMkLst>
            <pc:docMk/>
            <pc:sldMk cId="1701904253" sldId="230717666"/>
            <ac:grpSpMk id="66" creationId="{F0B2F60C-EB8F-4C40-B314-203495547A9D}"/>
          </ac:grpSpMkLst>
        </pc:grpChg>
        <pc:grpChg chg="mod ord">
          <ac:chgData name="El Bakkouri, Manal" userId="8b130982-2e3f-4164-b881-fd3a2e4b2453" providerId="ADAL" clId="{4457FA57-250B-44AC-8655-05D46C5A3D8A}" dt="2023-05-31T13:14:30.059" v="14558" actId="166"/>
          <ac:grpSpMkLst>
            <pc:docMk/>
            <pc:sldMk cId="1701904253" sldId="230717666"/>
            <ac:grpSpMk id="67" creationId="{0A57B063-5E07-4AC8-9AD2-FB010C3B27ED}"/>
          </ac:grpSpMkLst>
        </pc:grpChg>
        <pc:cxnChg chg="mod">
          <ac:chgData name="El Bakkouri, Manal" userId="8b130982-2e3f-4164-b881-fd3a2e4b2453" providerId="ADAL" clId="{4457FA57-250B-44AC-8655-05D46C5A3D8A}" dt="2023-05-31T13:13:56.463" v="14553" actId="1076"/>
          <ac:cxnSpMkLst>
            <pc:docMk/>
            <pc:sldMk cId="1701904253" sldId="230717666"/>
            <ac:cxnSpMk id="16" creationId="{48831266-42BF-48AB-A84B-9A48941BB801}"/>
          </ac:cxnSpMkLst>
        </pc:cxnChg>
        <pc:cxnChg chg="mod topLvl">
          <ac:chgData name="El Bakkouri, Manal" userId="8b130982-2e3f-4164-b881-fd3a2e4b2453" providerId="ADAL" clId="{4457FA57-250B-44AC-8655-05D46C5A3D8A}" dt="2023-05-31T13:14:49.923" v="14562" actId="165"/>
          <ac:cxnSpMkLst>
            <pc:docMk/>
            <pc:sldMk cId="1701904253" sldId="230717666"/>
            <ac:cxnSpMk id="22" creationId="{E2306202-EF3E-4269-9B14-402B0818FD34}"/>
          </ac:cxnSpMkLst>
        </pc:cxnChg>
      </pc:sldChg>
      <pc:sldChg chg="addSp delSp modSp add mod ord modTransition">
        <pc:chgData name="El Bakkouri, Manal" userId="8b130982-2e3f-4164-b881-fd3a2e4b2453" providerId="ADAL" clId="{4457FA57-250B-44AC-8655-05D46C5A3D8A}" dt="2023-05-31T13:16:58.002" v="14597"/>
        <pc:sldMkLst>
          <pc:docMk/>
          <pc:sldMk cId="135264226" sldId="230717667"/>
        </pc:sldMkLst>
        <pc:spChg chg="mod">
          <ac:chgData name="El Bakkouri, Manal" userId="8b130982-2e3f-4164-b881-fd3a2e4b2453" providerId="ADAL" clId="{4457FA57-250B-44AC-8655-05D46C5A3D8A}" dt="2023-05-31T13:16:43.192" v="14592" actId="1036"/>
          <ac:spMkLst>
            <pc:docMk/>
            <pc:sldMk cId="135264226" sldId="230717667"/>
            <ac:spMk id="57" creationId="{EE5F0EA5-79B5-4B0A-9D0E-6EA2434B8F67}"/>
          </ac:spMkLst>
        </pc:spChg>
        <pc:spChg chg="add del">
          <ac:chgData name="El Bakkouri, Manal" userId="8b130982-2e3f-4164-b881-fd3a2e4b2453" providerId="ADAL" clId="{4457FA57-250B-44AC-8655-05D46C5A3D8A}" dt="2023-05-31T13:16:44.979" v="14594" actId="478"/>
          <ac:spMkLst>
            <pc:docMk/>
            <pc:sldMk cId="135264226" sldId="230717667"/>
            <ac:spMk id="62" creationId="{9F2F1765-363D-4EA9-BD5A-E5A95C06BE79}"/>
          </ac:spMkLst>
        </pc:spChg>
      </pc:sldChg>
      <pc:sldChg chg="addSp delSp modSp add mod modAnim">
        <pc:chgData name="El Bakkouri, Manal" userId="8b130982-2e3f-4164-b881-fd3a2e4b2453" providerId="ADAL" clId="{4457FA57-250B-44AC-8655-05D46C5A3D8A}" dt="2023-06-12T13:26:05.641" v="15808" actId="1036"/>
        <pc:sldMkLst>
          <pc:docMk/>
          <pc:sldMk cId="1164779254" sldId="230717668"/>
        </pc:sldMkLst>
        <pc:spChg chg="mod">
          <ac:chgData name="El Bakkouri, Manal" userId="8b130982-2e3f-4164-b881-fd3a2e4b2453" providerId="ADAL" clId="{4457FA57-250B-44AC-8655-05D46C5A3D8A}" dt="2023-05-31T13:48:30.034" v="14821" actId="165"/>
          <ac:spMkLst>
            <pc:docMk/>
            <pc:sldMk cId="1164779254" sldId="230717668"/>
            <ac:spMk id="35" creationId="{8327EBCF-4641-457D-A166-3DAC0BA86CA7}"/>
          </ac:spMkLst>
        </pc:spChg>
        <pc:spChg chg="mod">
          <ac:chgData name="El Bakkouri, Manal" userId="8b130982-2e3f-4164-b881-fd3a2e4b2453" providerId="ADAL" clId="{4457FA57-250B-44AC-8655-05D46C5A3D8A}" dt="2023-05-31T13:48:30.034" v="14821" actId="165"/>
          <ac:spMkLst>
            <pc:docMk/>
            <pc:sldMk cId="1164779254" sldId="230717668"/>
            <ac:spMk id="36" creationId="{4474917D-3455-4D73-837D-2CAF7F2FE1BD}"/>
          </ac:spMkLst>
        </pc:spChg>
        <pc:spChg chg="mod">
          <ac:chgData name="El Bakkouri, Manal" userId="8b130982-2e3f-4164-b881-fd3a2e4b2453" providerId="ADAL" clId="{4457FA57-250B-44AC-8655-05D46C5A3D8A}" dt="2023-05-31T13:48:30.034" v="14821" actId="165"/>
          <ac:spMkLst>
            <pc:docMk/>
            <pc:sldMk cId="1164779254" sldId="230717668"/>
            <ac:spMk id="37" creationId="{1003FC58-07CB-4597-979C-484380B113C6}"/>
          </ac:spMkLst>
        </pc:spChg>
        <pc:spChg chg="mod">
          <ac:chgData name="El Bakkouri, Manal" userId="8b130982-2e3f-4164-b881-fd3a2e4b2453" providerId="ADAL" clId="{4457FA57-250B-44AC-8655-05D46C5A3D8A}" dt="2023-05-31T13:48:30.034" v="14821" actId="165"/>
          <ac:spMkLst>
            <pc:docMk/>
            <pc:sldMk cId="1164779254" sldId="230717668"/>
            <ac:spMk id="38" creationId="{FF66ACE6-E119-4225-9F71-4988B20579A4}"/>
          </ac:spMkLst>
        </pc:spChg>
        <pc:spChg chg="mod">
          <ac:chgData name="El Bakkouri, Manal" userId="8b130982-2e3f-4164-b881-fd3a2e4b2453" providerId="ADAL" clId="{4457FA57-250B-44AC-8655-05D46C5A3D8A}" dt="2023-05-31T13:48:30.034" v="14821" actId="165"/>
          <ac:spMkLst>
            <pc:docMk/>
            <pc:sldMk cId="1164779254" sldId="230717668"/>
            <ac:spMk id="39" creationId="{A0F0134C-722A-4CAF-BB13-2B86165AD311}"/>
          </ac:spMkLst>
        </pc:spChg>
        <pc:spChg chg="mod">
          <ac:chgData name="El Bakkouri, Manal" userId="8b130982-2e3f-4164-b881-fd3a2e4b2453" providerId="ADAL" clId="{4457FA57-250B-44AC-8655-05D46C5A3D8A}" dt="2023-05-31T13:48:30.034" v="14821" actId="165"/>
          <ac:spMkLst>
            <pc:docMk/>
            <pc:sldMk cId="1164779254" sldId="230717668"/>
            <ac:spMk id="40" creationId="{D2B61F3B-069C-48BD-8969-ACDA53CCCA16}"/>
          </ac:spMkLst>
        </pc:spChg>
        <pc:spChg chg="mod">
          <ac:chgData name="El Bakkouri, Manal" userId="8b130982-2e3f-4164-b881-fd3a2e4b2453" providerId="ADAL" clId="{4457FA57-250B-44AC-8655-05D46C5A3D8A}" dt="2023-05-31T13:48:30.034" v="14821" actId="165"/>
          <ac:spMkLst>
            <pc:docMk/>
            <pc:sldMk cId="1164779254" sldId="230717668"/>
            <ac:spMk id="41" creationId="{5053BE02-3172-4ECE-82EF-A6C0225F6EE7}"/>
          </ac:spMkLst>
        </pc:spChg>
        <pc:spChg chg="mod">
          <ac:chgData name="El Bakkouri, Manal" userId="8b130982-2e3f-4164-b881-fd3a2e4b2453" providerId="ADAL" clId="{4457FA57-250B-44AC-8655-05D46C5A3D8A}" dt="2023-05-31T13:48:30.034" v="14821" actId="165"/>
          <ac:spMkLst>
            <pc:docMk/>
            <pc:sldMk cId="1164779254" sldId="230717668"/>
            <ac:spMk id="42" creationId="{AFC82366-5E5E-46B9-9FD1-7B01EE212B94}"/>
          </ac:spMkLst>
        </pc:spChg>
        <pc:spChg chg="mod">
          <ac:chgData name="El Bakkouri, Manal" userId="8b130982-2e3f-4164-b881-fd3a2e4b2453" providerId="ADAL" clId="{4457FA57-250B-44AC-8655-05D46C5A3D8A}" dt="2023-05-31T13:48:30.034" v="14821" actId="165"/>
          <ac:spMkLst>
            <pc:docMk/>
            <pc:sldMk cId="1164779254" sldId="230717668"/>
            <ac:spMk id="43" creationId="{F26F6AC7-0481-4A2D-B22E-55C711AD9FBD}"/>
          </ac:spMkLst>
        </pc:spChg>
        <pc:spChg chg="mod">
          <ac:chgData name="El Bakkouri, Manal" userId="8b130982-2e3f-4164-b881-fd3a2e4b2453" providerId="ADAL" clId="{4457FA57-250B-44AC-8655-05D46C5A3D8A}" dt="2023-05-31T13:48:30.034" v="14821" actId="165"/>
          <ac:spMkLst>
            <pc:docMk/>
            <pc:sldMk cId="1164779254" sldId="230717668"/>
            <ac:spMk id="45" creationId="{2DF7C1A0-AAC9-4C43-ABDC-1D6276C54596}"/>
          </ac:spMkLst>
        </pc:spChg>
        <pc:spChg chg="mod">
          <ac:chgData name="El Bakkouri, Manal" userId="8b130982-2e3f-4164-b881-fd3a2e4b2453" providerId="ADAL" clId="{4457FA57-250B-44AC-8655-05D46C5A3D8A}" dt="2023-05-31T13:48:30.034" v="14821" actId="165"/>
          <ac:spMkLst>
            <pc:docMk/>
            <pc:sldMk cId="1164779254" sldId="230717668"/>
            <ac:spMk id="46" creationId="{625DF50D-3E6E-4247-989D-52FE0462B546}"/>
          </ac:spMkLst>
        </pc:spChg>
        <pc:spChg chg="mod">
          <ac:chgData name="El Bakkouri, Manal" userId="8b130982-2e3f-4164-b881-fd3a2e4b2453" providerId="ADAL" clId="{4457FA57-250B-44AC-8655-05D46C5A3D8A}" dt="2023-05-31T13:48:30.034" v="14821" actId="165"/>
          <ac:spMkLst>
            <pc:docMk/>
            <pc:sldMk cId="1164779254" sldId="230717668"/>
            <ac:spMk id="47" creationId="{9826D1F1-AADE-49B1-8088-15DD0F981EF0}"/>
          </ac:spMkLst>
        </pc:spChg>
        <pc:spChg chg="mod">
          <ac:chgData name="El Bakkouri, Manal" userId="8b130982-2e3f-4164-b881-fd3a2e4b2453" providerId="ADAL" clId="{4457FA57-250B-44AC-8655-05D46C5A3D8A}" dt="2023-05-31T13:48:30.034" v="14821" actId="165"/>
          <ac:spMkLst>
            <pc:docMk/>
            <pc:sldMk cId="1164779254" sldId="230717668"/>
            <ac:spMk id="48" creationId="{038656DE-82E4-41A4-92B9-12B719C1688E}"/>
          </ac:spMkLst>
        </pc:spChg>
        <pc:spChg chg="mod">
          <ac:chgData name="El Bakkouri, Manal" userId="8b130982-2e3f-4164-b881-fd3a2e4b2453" providerId="ADAL" clId="{4457FA57-250B-44AC-8655-05D46C5A3D8A}" dt="2023-05-31T13:48:30.034" v="14821" actId="165"/>
          <ac:spMkLst>
            <pc:docMk/>
            <pc:sldMk cId="1164779254" sldId="230717668"/>
            <ac:spMk id="49" creationId="{E7D5267C-FE4A-4501-A5D2-6674DD658B17}"/>
          </ac:spMkLst>
        </pc:spChg>
        <pc:spChg chg="mod">
          <ac:chgData name="El Bakkouri, Manal" userId="8b130982-2e3f-4164-b881-fd3a2e4b2453" providerId="ADAL" clId="{4457FA57-250B-44AC-8655-05D46C5A3D8A}" dt="2023-05-31T13:48:30.034" v="14821" actId="165"/>
          <ac:spMkLst>
            <pc:docMk/>
            <pc:sldMk cId="1164779254" sldId="230717668"/>
            <ac:spMk id="50" creationId="{737EBD5A-E8F2-45F0-A4BD-C8527FFE91DC}"/>
          </ac:spMkLst>
        </pc:spChg>
        <pc:spChg chg="mod">
          <ac:chgData name="El Bakkouri, Manal" userId="8b130982-2e3f-4164-b881-fd3a2e4b2453" providerId="ADAL" clId="{4457FA57-250B-44AC-8655-05D46C5A3D8A}" dt="2023-05-31T13:48:30.034" v="14821" actId="165"/>
          <ac:spMkLst>
            <pc:docMk/>
            <pc:sldMk cId="1164779254" sldId="230717668"/>
            <ac:spMk id="51" creationId="{0D4E5E4C-2F95-4F50-873D-652D312B5328}"/>
          </ac:spMkLst>
        </pc:spChg>
        <pc:spChg chg="mod">
          <ac:chgData name="El Bakkouri, Manal" userId="8b130982-2e3f-4164-b881-fd3a2e4b2453" providerId="ADAL" clId="{4457FA57-250B-44AC-8655-05D46C5A3D8A}" dt="2023-05-31T13:48:30.034" v="14821" actId="165"/>
          <ac:spMkLst>
            <pc:docMk/>
            <pc:sldMk cId="1164779254" sldId="230717668"/>
            <ac:spMk id="52" creationId="{357E566C-C104-44E9-A243-695751ADF7B5}"/>
          </ac:spMkLst>
        </pc:spChg>
        <pc:spChg chg="mod">
          <ac:chgData name="El Bakkouri, Manal" userId="8b130982-2e3f-4164-b881-fd3a2e4b2453" providerId="ADAL" clId="{4457FA57-250B-44AC-8655-05D46C5A3D8A}" dt="2023-05-31T13:48:30.034" v="14821" actId="165"/>
          <ac:spMkLst>
            <pc:docMk/>
            <pc:sldMk cId="1164779254" sldId="230717668"/>
            <ac:spMk id="53" creationId="{F28B1ADE-47E4-4CF8-B498-38D1A2ED9EDB}"/>
          </ac:spMkLst>
        </pc:spChg>
        <pc:spChg chg="mod">
          <ac:chgData name="El Bakkouri, Manal" userId="8b130982-2e3f-4164-b881-fd3a2e4b2453" providerId="ADAL" clId="{4457FA57-250B-44AC-8655-05D46C5A3D8A}" dt="2023-05-31T13:48:30.034" v="14821" actId="165"/>
          <ac:spMkLst>
            <pc:docMk/>
            <pc:sldMk cId="1164779254" sldId="230717668"/>
            <ac:spMk id="54" creationId="{F6B8812C-3167-4B69-9754-EBDCB0E310A2}"/>
          </ac:spMkLst>
        </pc:spChg>
        <pc:spChg chg="mod">
          <ac:chgData name="El Bakkouri, Manal" userId="8b130982-2e3f-4164-b881-fd3a2e4b2453" providerId="ADAL" clId="{4457FA57-250B-44AC-8655-05D46C5A3D8A}" dt="2023-05-31T13:48:30.034" v="14821" actId="165"/>
          <ac:spMkLst>
            <pc:docMk/>
            <pc:sldMk cId="1164779254" sldId="230717668"/>
            <ac:spMk id="55" creationId="{34D25EC3-8BCC-4466-B39C-41DE8105C14C}"/>
          </ac:spMkLst>
        </pc:spChg>
        <pc:spChg chg="mod">
          <ac:chgData name="El Bakkouri, Manal" userId="8b130982-2e3f-4164-b881-fd3a2e4b2453" providerId="ADAL" clId="{4457FA57-250B-44AC-8655-05D46C5A3D8A}" dt="2023-05-31T13:48:30.034" v="14821" actId="165"/>
          <ac:spMkLst>
            <pc:docMk/>
            <pc:sldMk cId="1164779254" sldId="230717668"/>
            <ac:spMk id="56" creationId="{688817B4-43FB-4DCF-9261-222C74274EB6}"/>
          </ac:spMkLst>
        </pc:spChg>
        <pc:spChg chg="mod">
          <ac:chgData name="El Bakkouri, Manal" userId="8b130982-2e3f-4164-b881-fd3a2e4b2453" providerId="ADAL" clId="{4457FA57-250B-44AC-8655-05D46C5A3D8A}" dt="2023-05-31T13:48:30.034" v="14821" actId="165"/>
          <ac:spMkLst>
            <pc:docMk/>
            <pc:sldMk cId="1164779254" sldId="230717668"/>
            <ac:spMk id="57" creationId="{8B88BD4C-82D2-4CD2-AF0C-F5AC7E090F87}"/>
          </ac:spMkLst>
        </pc:spChg>
        <pc:spChg chg="mod">
          <ac:chgData name="El Bakkouri, Manal" userId="8b130982-2e3f-4164-b881-fd3a2e4b2453" providerId="ADAL" clId="{4457FA57-250B-44AC-8655-05D46C5A3D8A}" dt="2023-05-31T13:48:30.034" v="14821" actId="165"/>
          <ac:spMkLst>
            <pc:docMk/>
            <pc:sldMk cId="1164779254" sldId="230717668"/>
            <ac:spMk id="58" creationId="{05B0388F-8F4D-4C65-BF4A-1C91767C144C}"/>
          </ac:spMkLst>
        </pc:spChg>
        <pc:spChg chg="mod">
          <ac:chgData name="El Bakkouri, Manal" userId="8b130982-2e3f-4164-b881-fd3a2e4b2453" providerId="ADAL" clId="{4457FA57-250B-44AC-8655-05D46C5A3D8A}" dt="2023-05-31T13:48:30.034" v="14821" actId="165"/>
          <ac:spMkLst>
            <pc:docMk/>
            <pc:sldMk cId="1164779254" sldId="230717668"/>
            <ac:spMk id="59" creationId="{4C0FC5E5-53C4-4716-9157-DF64BC7DFC63}"/>
          </ac:spMkLst>
        </pc:spChg>
        <pc:spChg chg="mod">
          <ac:chgData name="El Bakkouri, Manal" userId="8b130982-2e3f-4164-b881-fd3a2e4b2453" providerId="ADAL" clId="{4457FA57-250B-44AC-8655-05D46C5A3D8A}" dt="2023-06-12T13:24:36.998" v="15788" actId="403"/>
          <ac:spMkLst>
            <pc:docMk/>
            <pc:sldMk cId="1164779254" sldId="230717668"/>
            <ac:spMk id="73" creationId="{2F0AD329-AA20-4A56-A817-A060F243E199}"/>
          </ac:spMkLst>
        </pc:spChg>
        <pc:spChg chg="mod">
          <ac:chgData name="El Bakkouri, Manal" userId="8b130982-2e3f-4164-b881-fd3a2e4b2453" providerId="ADAL" clId="{4457FA57-250B-44AC-8655-05D46C5A3D8A}" dt="2023-06-12T13:24:43.597" v="15791" actId="403"/>
          <ac:spMkLst>
            <pc:docMk/>
            <pc:sldMk cId="1164779254" sldId="230717668"/>
            <ac:spMk id="74" creationId="{45A71E01-9D9C-4712-AAF0-B9FB65662F39}"/>
          </ac:spMkLst>
        </pc:spChg>
        <pc:spChg chg="mod">
          <ac:chgData name="El Bakkouri, Manal" userId="8b130982-2e3f-4164-b881-fd3a2e4b2453" providerId="ADAL" clId="{4457FA57-250B-44AC-8655-05D46C5A3D8A}" dt="2023-06-12T13:26:05.641" v="15808" actId="1036"/>
          <ac:spMkLst>
            <pc:docMk/>
            <pc:sldMk cId="1164779254" sldId="230717668"/>
            <ac:spMk id="75" creationId="{EFCB643B-A94C-45C3-B746-E720246EE6F4}"/>
          </ac:spMkLst>
        </pc:spChg>
        <pc:spChg chg="mod">
          <ac:chgData name="El Bakkouri, Manal" userId="8b130982-2e3f-4164-b881-fd3a2e4b2453" providerId="ADAL" clId="{4457FA57-250B-44AC-8655-05D46C5A3D8A}" dt="2023-06-12T13:26:05.641" v="15808" actId="1036"/>
          <ac:spMkLst>
            <pc:docMk/>
            <pc:sldMk cId="1164779254" sldId="230717668"/>
            <ac:spMk id="76" creationId="{C6D17C9F-E3C7-4729-B15F-F755D8716AF9}"/>
          </ac:spMkLst>
        </pc:spChg>
        <pc:spChg chg="mod">
          <ac:chgData name="El Bakkouri, Manal" userId="8b130982-2e3f-4164-b881-fd3a2e4b2453" providerId="ADAL" clId="{4457FA57-250B-44AC-8655-05D46C5A3D8A}" dt="2023-06-12T13:24:41.863" v="15790" actId="403"/>
          <ac:spMkLst>
            <pc:docMk/>
            <pc:sldMk cId="1164779254" sldId="230717668"/>
            <ac:spMk id="77" creationId="{4BF70E39-721C-451C-8F64-C0B1D262912E}"/>
          </ac:spMkLst>
        </pc:spChg>
        <pc:spChg chg="mod">
          <ac:chgData name="El Bakkouri, Manal" userId="8b130982-2e3f-4164-b881-fd3a2e4b2453" providerId="ADAL" clId="{4457FA57-250B-44AC-8655-05D46C5A3D8A}" dt="2023-06-12T13:25:05.588" v="15797" actId="1036"/>
          <ac:spMkLst>
            <pc:docMk/>
            <pc:sldMk cId="1164779254" sldId="230717668"/>
            <ac:spMk id="78" creationId="{732A4D0C-83C9-4AF1-9B5B-7E4178916A04}"/>
          </ac:spMkLst>
        </pc:spChg>
        <pc:spChg chg="mod">
          <ac:chgData name="El Bakkouri, Manal" userId="8b130982-2e3f-4164-b881-fd3a2e4b2453" providerId="ADAL" clId="{4457FA57-250B-44AC-8655-05D46C5A3D8A}" dt="2023-06-12T13:24:54.758" v="15793" actId="14100"/>
          <ac:spMkLst>
            <pc:docMk/>
            <pc:sldMk cId="1164779254" sldId="230717668"/>
            <ac:spMk id="79" creationId="{6791E474-0E02-4278-884D-DDB11EDC9752}"/>
          </ac:spMkLst>
        </pc:spChg>
        <pc:spChg chg="mod">
          <ac:chgData name="El Bakkouri, Manal" userId="8b130982-2e3f-4164-b881-fd3a2e4b2453" providerId="ADAL" clId="{4457FA57-250B-44AC-8655-05D46C5A3D8A}" dt="2023-06-12T13:24:54.758" v="15793" actId="14100"/>
          <ac:spMkLst>
            <pc:docMk/>
            <pc:sldMk cId="1164779254" sldId="230717668"/>
            <ac:spMk id="80" creationId="{0D56D69B-0792-4945-8843-646E90D03D30}"/>
          </ac:spMkLst>
        </pc:spChg>
        <pc:spChg chg="mod">
          <ac:chgData name="El Bakkouri, Manal" userId="8b130982-2e3f-4164-b881-fd3a2e4b2453" providerId="ADAL" clId="{4457FA57-250B-44AC-8655-05D46C5A3D8A}" dt="2023-06-12T13:26:05.641" v="15808" actId="1036"/>
          <ac:spMkLst>
            <pc:docMk/>
            <pc:sldMk cId="1164779254" sldId="230717668"/>
            <ac:spMk id="81" creationId="{FD882820-9FFD-4883-BB50-5A725A32490D}"/>
          </ac:spMkLst>
        </pc:spChg>
        <pc:spChg chg="mod">
          <ac:chgData name="El Bakkouri, Manal" userId="8b130982-2e3f-4164-b881-fd3a2e4b2453" providerId="ADAL" clId="{4457FA57-250B-44AC-8655-05D46C5A3D8A}" dt="2023-06-12T13:24:39.814" v="15789" actId="403"/>
          <ac:spMkLst>
            <pc:docMk/>
            <pc:sldMk cId="1164779254" sldId="230717668"/>
            <ac:spMk id="82" creationId="{6FB96888-5222-4DD2-8185-C38AAE74D86D}"/>
          </ac:spMkLst>
        </pc:spChg>
        <pc:spChg chg="add mod">
          <ac:chgData name="El Bakkouri, Manal" userId="8b130982-2e3f-4164-b881-fd3a2e4b2453" providerId="ADAL" clId="{4457FA57-250B-44AC-8655-05D46C5A3D8A}" dt="2023-05-31T14:01:58.938" v="15099" actId="113"/>
          <ac:spMkLst>
            <pc:docMk/>
            <pc:sldMk cId="1164779254" sldId="230717668"/>
            <ac:spMk id="191" creationId="{19674DF5-5323-472D-B308-208BE9F95D07}"/>
          </ac:spMkLst>
        </pc:spChg>
        <pc:spChg chg="mod">
          <ac:chgData name="El Bakkouri, Manal" userId="8b130982-2e3f-4164-b881-fd3a2e4b2453" providerId="ADAL" clId="{4457FA57-250B-44AC-8655-05D46C5A3D8A}" dt="2023-05-31T13:52:23.262" v="14957" actId="554"/>
          <ac:spMkLst>
            <pc:docMk/>
            <pc:sldMk cId="1164779254" sldId="230717668"/>
            <ac:spMk id="205" creationId="{6B71771C-599B-43C6-9284-8756EA4C1F13}"/>
          </ac:spMkLst>
        </pc:spChg>
        <pc:spChg chg="mod">
          <ac:chgData name="El Bakkouri, Manal" userId="8b130982-2e3f-4164-b881-fd3a2e4b2453" providerId="ADAL" clId="{4457FA57-250B-44AC-8655-05D46C5A3D8A}" dt="2023-05-31T13:30:08.680" v="14681" actId="1076"/>
          <ac:spMkLst>
            <pc:docMk/>
            <pc:sldMk cId="1164779254" sldId="230717668"/>
            <ac:spMk id="207" creationId="{F4BC51A9-C94C-4475-86FE-80A53DEB7815}"/>
          </ac:spMkLst>
        </pc:spChg>
        <pc:spChg chg="mod">
          <ac:chgData name="El Bakkouri, Manal" userId="8b130982-2e3f-4164-b881-fd3a2e4b2453" providerId="ADAL" clId="{4457FA57-250B-44AC-8655-05D46C5A3D8A}" dt="2023-05-31T13:30:08.680" v="14681" actId="1076"/>
          <ac:spMkLst>
            <pc:docMk/>
            <pc:sldMk cId="1164779254" sldId="230717668"/>
            <ac:spMk id="208" creationId="{E5DB07D8-15E1-4ECF-BA43-6D2594BBA7BF}"/>
          </ac:spMkLst>
        </pc:spChg>
        <pc:spChg chg="mod">
          <ac:chgData name="El Bakkouri, Manal" userId="8b130982-2e3f-4164-b881-fd3a2e4b2453" providerId="ADAL" clId="{4457FA57-250B-44AC-8655-05D46C5A3D8A}" dt="2023-05-31T13:30:08.680" v="14681" actId="1076"/>
          <ac:spMkLst>
            <pc:docMk/>
            <pc:sldMk cId="1164779254" sldId="230717668"/>
            <ac:spMk id="209" creationId="{C166BF6A-527F-4279-9575-F0189EC6CEBD}"/>
          </ac:spMkLst>
        </pc:spChg>
        <pc:spChg chg="mod">
          <ac:chgData name="El Bakkouri, Manal" userId="8b130982-2e3f-4164-b881-fd3a2e4b2453" providerId="ADAL" clId="{4457FA57-250B-44AC-8655-05D46C5A3D8A}" dt="2023-05-31T13:30:08.680" v="14681" actId="1076"/>
          <ac:spMkLst>
            <pc:docMk/>
            <pc:sldMk cId="1164779254" sldId="230717668"/>
            <ac:spMk id="210" creationId="{DA9E3E62-F963-4D2A-89F2-CA75E7A46950}"/>
          </ac:spMkLst>
        </pc:spChg>
        <pc:spChg chg="mod">
          <ac:chgData name="El Bakkouri, Manal" userId="8b130982-2e3f-4164-b881-fd3a2e4b2453" providerId="ADAL" clId="{4457FA57-250B-44AC-8655-05D46C5A3D8A}" dt="2023-05-31T13:30:08.680" v="14681" actId="1076"/>
          <ac:spMkLst>
            <pc:docMk/>
            <pc:sldMk cId="1164779254" sldId="230717668"/>
            <ac:spMk id="213" creationId="{44CB49F9-6CAA-4055-8C3D-B8483B46046C}"/>
          </ac:spMkLst>
        </pc:spChg>
        <pc:spChg chg="mod">
          <ac:chgData name="El Bakkouri, Manal" userId="8b130982-2e3f-4164-b881-fd3a2e4b2453" providerId="ADAL" clId="{4457FA57-250B-44AC-8655-05D46C5A3D8A}" dt="2023-05-31T13:30:08.680" v="14681" actId="1076"/>
          <ac:spMkLst>
            <pc:docMk/>
            <pc:sldMk cId="1164779254" sldId="230717668"/>
            <ac:spMk id="214" creationId="{6D2B42F5-4B58-4667-AEAD-DEEF8568998B}"/>
          </ac:spMkLst>
        </pc:spChg>
        <pc:spChg chg="mod">
          <ac:chgData name="El Bakkouri, Manal" userId="8b130982-2e3f-4164-b881-fd3a2e4b2453" providerId="ADAL" clId="{4457FA57-250B-44AC-8655-05D46C5A3D8A}" dt="2023-05-31T13:30:08.680" v="14681" actId="1076"/>
          <ac:spMkLst>
            <pc:docMk/>
            <pc:sldMk cId="1164779254" sldId="230717668"/>
            <ac:spMk id="215" creationId="{A68D81B1-C262-4E99-BE7B-BB5DE3630A1F}"/>
          </ac:spMkLst>
        </pc:spChg>
        <pc:spChg chg="mod">
          <ac:chgData name="El Bakkouri, Manal" userId="8b130982-2e3f-4164-b881-fd3a2e4b2453" providerId="ADAL" clId="{4457FA57-250B-44AC-8655-05D46C5A3D8A}" dt="2023-05-31T13:30:08.680" v="14681" actId="1076"/>
          <ac:spMkLst>
            <pc:docMk/>
            <pc:sldMk cId="1164779254" sldId="230717668"/>
            <ac:spMk id="217" creationId="{C3AC5E23-64F1-4E8D-892E-D00ED85FACF0}"/>
          </ac:spMkLst>
        </pc:spChg>
        <pc:spChg chg="mod">
          <ac:chgData name="El Bakkouri, Manal" userId="8b130982-2e3f-4164-b881-fd3a2e4b2453" providerId="ADAL" clId="{4457FA57-250B-44AC-8655-05D46C5A3D8A}" dt="2023-05-31T13:30:08.680" v="14681" actId="1076"/>
          <ac:spMkLst>
            <pc:docMk/>
            <pc:sldMk cId="1164779254" sldId="230717668"/>
            <ac:spMk id="228" creationId="{9B49AA22-D485-454D-9D56-B134776572FB}"/>
          </ac:spMkLst>
        </pc:spChg>
        <pc:spChg chg="mod">
          <ac:chgData name="El Bakkouri, Manal" userId="8b130982-2e3f-4164-b881-fd3a2e4b2453" providerId="ADAL" clId="{4457FA57-250B-44AC-8655-05D46C5A3D8A}" dt="2023-05-31T13:30:08.680" v="14681" actId="1076"/>
          <ac:spMkLst>
            <pc:docMk/>
            <pc:sldMk cId="1164779254" sldId="230717668"/>
            <ac:spMk id="235" creationId="{A4D9232A-4986-4D4E-A6C6-EE75386F15DF}"/>
          </ac:spMkLst>
        </pc:spChg>
        <pc:spChg chg="mod">
          <ac:chgData name="El Bakkouri, Manal" userId="8b130982-2e3f-4164-b881-fd3a2e4b2453" providerId="ADAL" clId="{4457FA57-250B-44AC-8655-05D46C5A3D8A}" dt="2023-05-31T13:30:08.680" v="14681" actId="1076"/>
          <ac:spMkLst>
            <pc:docMk/>
            <pc:sldMk cId="1164779254" sldId="230717668"/>
            <ac:spMk id="342" creationId="{D040824D-1413-4235-8B45-76BF1B22F8A0}"/>
          </ac:spMkLst>
        </pc:spChg>
        <pc:spChg chg="mod">
          <ac:chgData name="El Bakkouri, Manal" userId="8b130982-2e3f-4164-b881-fd3a2e4b2453" providerId="ADAL" clId="{4457FA57-250B-44AC-8655-05D46C5A3D8A}" dt="2023-05-31T13:30:08.680" v="14681" actId="1076"/>
          <ac:spMkLst>
            <pc:docMk/>
            <pc:sldMk cId="1164779254" sldId="230717668"/>
            <ac:spMk id="343" creationId="{543FFFC6-6D06-4E60-BDED-9F1D80FF3DFD}"/>
          </ac:spMkLst>
        </pc:spChg>
        <pc:spChg chg="mod">
          <ac:chgData name="El Bakkouri, Manal" userId="8b130982-2e3f-4164-b881-fd3a2e4b2453" providerId="ADAL" clId="{4457FA57-250B-44AC-8655-05D46C5A3D8A}" dt="2023-05-31T13:30:08.680" v="14681" actId="1076"/>
          <ac:spMkLst>
            <pc:docMk/>
            <pc:sldMk cId="1164779254" sldId="230717668"/>
            <ac:spMk id="344" creationId="{0A35918E-DAE1-4009-B8AD-E9BCFD704A73}"/>
          </ac:spMkLst>
        </pc:spChg>
        <pc:spChg chg="mod">
          <ac:chgData name="El Bakkouri, Manal" userId="8b130982-2e3f-4164-b881-fd3a2e4b2453" providerId="ADAL" clId="{4457FA57-250B-44AC-8655-05D46C5A3D8A}" dt="2023-05-31T13:30:08.680" v="14681" actId="1076"/>
          <ac:spMkLst>
            <pc:docMk/>
            <pc:sldMk cId="1164779254" sldId="230717668"/>
            <ac:spMk id="345" creationId="{C92E468C-EB85-4877-95DE-0C179C2D8BD2}"/>
          </ac:spMkLst>
        </pc:spChg>
        <pc:spChg chg="mod">
          <ac:chgData name="El Bakkouri, Manal" userId="8b130982-2e3f-4164-b881-fd3a2e4b2453" providerId="ADAL" clId="{4457FA57-250B-44AC-8655-05D46C5A3D8A}" dt="2023-05-31T13:30:08.680" v="14681" actId="1076"/>
          <ac:spMkLst>
            <pc:docMk/>
            <pc:sldMk cId="1164779254" sldId="230717668"/>
            <ac:spMk id="346" creationId="{D6E0B37B-A2E7-4084-AEE5-1179263E3A45}"/>
          </ac:spMkLst>
        </pc:spChg>
        <pc:spChg chg="mod">
          <ac:chgData name="El Bakkouri, Manal" userId="8b130982-2e3f-4164-b881-fd3a2e4b2453" providerId="ADAL" clId="{4457FA57-250B-44AC-8655-05D46C5A3D8A}" dt="2023-05-31T13:30:08.680" v="14681" actId="1076"/>
          <ac:spMkLst>
            <pc:docMk/>
            <pc:sldMk cId="1164779254" sldId="230717668"/>
            <ac:spMk id="347" creationId="{12709438-ED4A-406D-ACFD-440637683E88}"/>
          </ac:spMkLst>
        </pc:spChg>
        <pc:spChg chg="mod">
          <ac:chgData name="El Bakkouri, Manal" userId="8b130982-2e3f-4164-b881-fd3a2e4b2453" providerId="ADAL" clId="{4457FA57-250B-44AC-8655-05D46C5A3D8A}" dt="2023-05-31T13:30:08.680" v="14681" actId="1076"/>
          <ac:spMkLst>
            <pc:docMk/>
            <pc:sldMk cId="1164779254" sldId="230717668"/>
            <ac:spMk id="348" creationId="{294D079C-CA71-4E87-9E22-3504E39076A7}"/>
          </ac:spMkLst>
        </pc:spChg>
        <pc:spChg chg="mod">
          <ac:chgData name="El Bakkouri, Manal" userId="8b130982-2e3f-4164-b881-fd3a2e4b2453" providerId="ADAL" clId="{4457FA57-250B-44AC-8655-05D46C5A3D8A}" dt="2023-05-31T13:30:08.680" v="14681" actId="1076"/>
          <ac:spMkLst>
            <pc:docMk/>
            <pc:sldMk cId="1164779254" sldId="230717668"/>
            <ac:spMk id="349" creationId="{3B1F5D72-87BA-4B46-8513-E012415E3030}"/>
          </ac:spMkLst>
        </pc:spChg>
        <pc:spChg chg="mod">
          <ac:chgData name="El Bakkouri, Manal" userId="8b130982-2e3f-4164-b881-fd3a2e4b2453" providerId="ADAL" clId="{4457FA57-250B-44AC-8655-05D46C5A3D8A}" dt="2023-05-31T13:30:08.680" v="14681" actId="1076"/>
          <ac:spMkLst>
            <pc:docMk/>
            <pc:sldMk cId="1164779254" sldId="230717668"/>
            <ac:spMk id="350" creationId="{A616048F-892D-47CF-A7E1-2341254B07F8}"/>
          </ac:spMkLst>
        </pc:spChg>
        <pc:spChg chg="mod">
          <ac:chgData name="El Bakkouri, Manal" userId="8b130982-2e3f-4164-b881-fd3a2e4b2453" providerId="ADAL" clId="{4457FA57-250B-44AC-8655-05D46C5A3D8A}" dt="2023-05-31T13:30:08.680" v="14681" actId="1076"/>
          <ac:spMkLst>
            <pc:docMk/>
            <pc:sldMk cId="1164779254" sldId="230717668"/>
            <ac:spMk id="351" creationId="{3E082879-E027-4087-9C0E-6F305D501310}"/>
          </ac:spMkLst>
        </pc:spChg>
        <pc:spChg chg="mod">
          <ac:chgData name="El Bakkouri, Manal" userId="8b130982-2e3f-4164-b881-fd3a2e4b2453" providerId="ADAL" clId="{4457FA57-250B-44AC-8655-05D46C5A3D8A}" dt="2023-05-31T13:30:08.680" v="14681" actId="1076"/>
          <ac:spMkLst>
            <pc:docMk/>
            <pc:sldMk cId="1164779254" sldId="230717668"/>
            <ac:spMk id="361" creationId="{FB1E9B49-E881-4016-891D-7BD8C38F73BC}"/>
          </ac:spMkLst>
        </pc:spChg>
        <pc:spChg chg="mod">
          <ac:chgData name="El Bakkouri, Manal" userId="8b130982-2e3f-4164-b881-fd3a2e4b2453" providerId="ADAL" clId="{4457FA57-250B-44AC-8655-05D46C5A3D8A}" dt="2023-05-31T13:30:08.680" v="14681" actId="1076"/>
          <ac:spMkLst>
            <pc:docMk/>
            <pc:sldMk cId="1164779254" sldId="230717668"/>
            <ac:spMk id="363" creationId="{D144AFB9-DC17-4736-B45E-E8DF1BB9FC44}"/>
          </ac:spMkLst>
        </pc:spChg>
        <pc:spChg chg="mod">
          <ac:chgData name="El Bakkouri, Manal" userId="8b130982-2e3f-4164-b881-fd3a2e4b2453" providerId="ADAL" clId="{4457FA57-250B-44AC-8655-05D46C5A3D8A}" dt="2023-05-31T13:30:08.680" v="14681" actId="1076"/>
          <ac:spMkLst>
            <pc:docMk/>
            <pc:sldMk cId="1164779254" sldId="230717668"/>
            <ac:spMk id="365" creationId="{54B3EF98-1FEC-4365-BF1D-5D6D85499AF3}"/>
          </ac:spMkLst>
        </pc:spChg>
        <pc:spChg chg="mod">
          <ac:chgData name="El Bakkouri, Manal" userId="8b130982-2e3f-4164-b881-fd3a2e4b2453" providerId="ADAL" clId="{4457FA57-250B-44AC-8655-05D46C5A3D8A}" dt="2023-05-31T13:30:08.680" v="14681" actId="1076"/>
          <ac:spMkLst>
            <pc:docMk/>
            <pc:sldMk cId="1164779254" sldId="230717668"/>
            <ac:spMk id="367" creationId="{4A70B65A-4A67-4B8D-9AE0-7F12EE60EFA7}"/>
          </ac:spMkLst>
        </pc:spChg>
        <pc:spChg chg="mod">
          <ac:chgData name="El Bakkouri, Manal" userId="8b130982-2e3f-4164-b881-fd3a2e4b2453" providerId="ADAL" clId="{4457FA57-250B-44AC-8655-05D46C5A3D8A}" dt="2023-05-31T13:30:08.680" v="14681" actId="1076"/>
          <ac:spMkLst>
            <pc:docMk/>
            <pc:sldMk cId="1164779254" sldId="230717668"/>
            <ac:spMk id="369" creationId="{65FAA587-EB2A-4BEC-B440-8BFFDAFEEA3E}"/>
          </ac:spMkLst>
        </pc:spChg>
        <pc:spChg chg="mod">
          <ac:chgData name="El Bakkouri, Manal" userId="8b130982-2e3f-4164-b881-fd3a2e4b2453" providerId="ADAL" clId="{4457FA57-250B-44AC-8655-05D46C5A3D8A}" dt="2023-05-31T13:30:08.680" v="14681" actId="1076"/>
          <ac:spMkLst>
            <pc:docMk/>
            <pc:sldMk cId="1164779254" sldId="230717668"/>
            <ac:spMk id="372" creationId="{7B931304-B79D-4948-B788-8EFBF3BFB766}"/>
          </ac:spMkLst>
        </pc:spChg>
        <pc:spChg chg="mod">
          <ac:chgData name="El Bakkouri, Manal" userId="8b130982-2e3f-4164-b881-fd3a2e4b2453" providerId="ADAL" clId="{4457FA57-250B-44AC-8655-05D46C5A3D8A}" dt="2023-05-31T13:30:08.680" v="14681" actId="1076"/>
          <ac:spMkLst>
            <pc:docMk/>
            <pc:sldMk cId="1164779254" sldId="230717668"/>
            <ac:spMk id="374" creationId="{B5514F16-72C2-4E87-9B0F-66AD2389F9BC}"/>
          </ac:spMkLst>
        </pc:spChg>
        <pc:spChg chg="mod">
          <ac:chgData name="El Bakkouri, Manal" userId="8b130982-2e3f-4164-b881-fd3a2e4b2453" providerId="ADAL" clId="{4457FA57-250B-44AC-8655-05D46C5A3D8A}" dt="2023-05-31T13:30:08.680" v="14681" actId="1076"/>
          <ac:spMkLst>
            <pc:docMk/>
            <pc:sldMk cId="1164779254" sldId="230717668"/>
            <ac:spMk id="376" creationId="{97E1095D-782A-4215-886B-B7779D47A523}"/>
          </ac:spMkLst>
        </pc:spChg>
        <pc:spChg chg="mod">
          <ac:chgData name="El Bakkouri, Manal" userId="8b130982-2e3f-4164-b881-fd3a2e4b2453" providerId="ADAL" clId="{4457FA57-250B-44AC-8655-05D46C5A3D8A}" dt="2023-05-31T13:30:08.680" v="14681" actId="1076"/>
          <ac:spMkLst>
            <pc:docMk/>
            <pc:sldMk cId="1164779254" sldId="230717668"/>
            <ac:spMk id="378" creationId="{D365D46E-EBB3-4500-A445-A8CB07E5EBC2}"/>
          </ac:spMkLst>
        </pc:spChg>
        <pc:spChg chg="mod">
          <ac:chgData name="El Bakkouri, Manal" userId="8b130982-2e3f-4164-b881-fd3a2e4b2453" providerId="ADAL" clId="{4457FA57-250B-44AC-8655-05D46C5A3D8A}" dt="2023-05-31T13:30:08.680" v="14681" actId="1076"/>
          <ac:spMkLst>
            <pc:docMk/>
            <pc:sldMk cId="1164779254" sldId="230717668"/>
            <ac:spMk id="379" creationId="{8EE17DD3-247D-4788-BA5A-7BDF6ED8461F}"/>
          </ac:spMkLst>
        </pc:spChg>
        <pc:spChg chg="mod">
          <ac:chgData name="El Bakkouri, Manal" userId="8b130982-2e3f-4164-b881-fd3a2e4b2453" providerId="ADAL" clId="{4457FA57-250B-44AC-8655-05D46C5A3D8A}" dt="2023-05-31T13:30:08.680" v="14681" actId="1076"/>
          <ac:spMkLst>
            <pc:docMk/>
            <pc:sldMk cId="1164779254" sldId="230717668"/>
            <ac:spMk id="381" creationId="{54B2D823-6C2A-43F3-B8FD-E247E1664C60}"/>
          </ac:spMkLst>
        </pc:spChg>
        <pc:spChg chg="mod">
          <ac:chgData name="El Bakkouri, Manal" userId="8b130982-2e3f-4164-b881-fd3a2e4b2453" providerId="ADAL" clId="{4457FA57-250B-44AC-8655-05D46C5A3D8A}" dt="2023-05-31T13:30:08.680" v="14681" actId="1076"/>
          <ac:spMkLst>
            <pc:docMk/>
            <pc:sldMk cId="1164779254" sldId="230717668"/>
            <ac:spMk id="382" creationId="{50FFB622-0A6D-4EA3-9270-C5C1BEF5E5A7}"/>
          </ac:spMkLst>
        </pc:spChg>
        <pc:spChg chg="mod">
          <ac:chgData name="El Bakkouri, Manal" userId="8b130982-2e3f-4164-b881-fd3a2e4b2453" providerId="ADAL" clId="{4457FA57-250B-44AC-8655-05D46C5A3D8A}" dt="2023-05-31T13:30:08.680" v="14681" actId="1076"/>
          <ac:spMkLst>
            <pc:docMk/>
            <pc:sldMk cId="1164779254" sldId="230717668"/>
            <ac:spMk id="383" creationId="{58F248F4-02BB-48D5-89AB-F2018931B08C}"/>
          </ac:spMkLst>
        </pc:spChg>
        <pc:spChg chg="mod">
          <ac:chgData name="El Bakkouri, Manal" userId="8b130982-2e3f-4164-b881-fd3a2e4b2453" providerId="ADAL" clId="{4457FA57-250B-44AC-8655-05D46C5A3D8A}" dt="2023-05-31T13:30:08.680" v="14681" actId="1076"/>
          <ac:spMkLst>
            <pc:docMk/>
            <pc:sldMk cId="1164779254" sldId="230717668"/>
            <ac:spMk id="384" creationId="{A9661E62-11F0-4914-BF2E-CB9D01005E3F}"/>
          </ac:spMkLst>
        </pc:spChg>
        <pc:spChg chg="mod">
          <ac:chgData name="El Bakkouri, Manal" userId="8b130982-2e3f-4164-b881-fd3a2e4b2453" providerId="ADAL" clId="{4457FA57-250B-44AC-8655-05D46C5A3D8A}" dt="2023-05-31T13:30:08.680" v="14681" actId="1076"/>
          <ac:spMkLst>
            <pc:docMk/>
            <pc:sldMk cId="1164779254" sldId="230717668"/>
            <ac:spMk id="385" creationId="{EBFC24F2-7D2B-4295-8A87-33F2CC4DDFF9}"/>
          </ac:spMkLst>
        </pc:spChg>
        <pc:spChg chg="mod">
          <ac:chgData name="El Bakkouri, Manal" userId="8b130982-2e3f-4164-b881-fd3a2e4b2453" providerId="ADAL" clId="{4457FA57-250B-44AC-8655-05D46C5A3D8A}" dt="2023-05-31T13:30:08.680" v="14681" actId="1076"/>
          <ac:spMkLst>
            <pc:docMk/>
            <pc:sldMk cId="1164779254" sldId="230717668"/>
            <ac:spMk id="386" creationId="{E6C04713-46E0-4F4D-8947-7EA5393E2649}"/>
          </ac:spMkLst>
        </pc:spChg>
        <pc:spChg chg="mod">
          <ac:chgData name="El Bakkouri, Manal" userId="8b130982-2e3f-4164-b881-fd3a2e4b2453" providerId="ADAL" clId="{4457FA57-250B-44AC-8655-05D46C5A3D8A}" dt="2023-05-31T13:30:08.680" v="14681" actId="1076"/>
          <ac:spMkLst>
            <pc:docMk/>
            <pc:sldMk cId="1164779254" sldId="230717668"/>
            <ac:spMk id="387" creationId="{0A483C5C-8499-497A-BF30-F191AB98D9D7}"/>
          </ac:spMkLst>
        </pc:spChg>
        <pc:spChg chg="mod">
          <ac:chgData name="El Bakkouri, Manal" userId="8b130982-2e3f-4164-b881-fd3a2e4b2453" providerId="ADAL" clId="{4457FA57-250B-44AC-8655-05D46C5A3D8A}" dt="2023-05-31T13:30:08.680" v="14681" actId="1076"/>
          <ac:spMkLst>
            <pc:docMk/>
            <pc:sldMk cId="1164779254" sldId="230717668"/>
            <ac:spMk id="388" creationId="{84556170-D349-4B2A-83AE-33C7A9EE65A2}"/>
          </ac:spMkLst>
        </pc:spChg>
        <pc:spChg chg="mod">
          <ac:chgData name="El Bakkouri, Manal" userId="8b130982-2e3f-4164-b881-fd3a2e4b2453" providerId="ADAL" clId="{4457FA57-250B-44AC-8655-05D46C5A3D8A}" dt="2023-05-31T13:30:08.680" v="14681" actId="1076"/>
          <ac:spMkLst>
            <pc:docMk/>
            <pc:sldMk cId="1164779254" sldId="230717668"/>
            <ac:spMk id="389" creationId="{690A6907-025D-4EC0-A153-24F976AECD81}"/>
          </ac:spMkLst>
        </pc:spChg>
        <pc:spChg chg="mod">
          <ac:chgData name="El Bakkouri, Manal" userId="8b130982-2e3f-4164-b881-fd3a2e4b2453" providerId="ADAL" clId="{4457FA57-250B-44AC-8655-05D46C5A3D8A}" dt="2023-05-31T13:30:08.680" v="14681" actId="1076"/>
          <ac:spMkLst>
            <pc:docMk/>
            <pc:sldMk cId="1164779254" sldId="230717668"/>
            <ac:spMk id="390" creationId="{C850E63D-9A19-45AD-A878-52415DCA2921}"/>
          </ac:spMkLst>
        </pc:spChg>
        <pc:spChg chg="mod">
          <ac:chgData name="El Bakkouri, Manal" userId="8b130982-2e3f-4164-b881-fd3a2e4b2453" providerId="ADAL" clId="{4457FA57-250B-44AC-8655-05D46C5A3D8A}" dt="2023-05-31T13:30:08.680" v="14681" actId="1076"/>
          <ac:spMkLst>
            <pc:docMk/>
            <pc:sldMk cId="1164779254" sldId="230717668"/>
            <ac:spMk id="391" creationId="{00314DFA-345B-49D1-9D11-39DFA8EE892B}"/>
          </ac:spMkLst>
        </pc:spChg>
        <pc:spChg chg="mod">
          <ac:chgData name="El Bakkouri, Manal" userId="8b130982-2e3f-4164-b881-fd3a2e4b2453" providerId="ADAL" clId="{4457FA57-250B-44AC-8655-05D46C5A3D8A}" dt="2023-05-31T13:30:08.680" v="14681" actId="1076"/>
          <ac:spMkLst>
            <pc:docMk/>
            <pc:sldMk cId="1164779254" sldId="230717668"/>
            <ac:spMk id="392" creationId="{FBB3127F-5774-4594-ACB6-C7337F40F682}"/>
          </ac:spMkLst>
        </pc:spChg>
        <pc:spChg chg="mod">
          <ac:chgData name="El Bakkouri, Manal" userId="8b130982-2e3f-4164-b881-fd3a2e4b2453" providerId="ADAL" clId="{4457FA57-250B-44AC-8655-05D46C5A3D8A}" dt="2023-05-31T13:30:08.680" v="14681" actId="1076"/>
          <ac:spMkLst>
            <pc:docMk/>
            <pc:sldMk cId="1164779254" sldId="230717668"/>
            <ac:spMk id="393" creationId="{51C0B22B-38F2-498A-BD06-21EFF913894D}"/>
          </ac:spMkLst>
        </pc:spChg>
        <pc:spChg chg="mod">
          <ac:chgData name="El Bakkouri, Manal" userId="8b130982-2e3f-4164-b881-fd3a2e4b2453" providerId="ADAL" clId="{4457FA57-250B-44AC-8655-05D46C5A3D8A}" dt="2023-05-31T13:30:08.680" v="14681" actId="1076"/>
          <ac:spMkLst>
            <pc:docMk/>
            <pc:sldMk cId="1164779254" sldId="230717668"/>
            <ac:spMk id="394" creationId="{6A9F7ECB-2A93-4390-A535-51292B43E72F}"/>
          </ac:spMkLst>
        </pc:spChg>
        <pc:spChg chg="mod">
          <ac:chgData name="El Bakkouri, Manal" userId="8b130982-2e3f-4164-b881-fd3a2e4b2453" providerId="ADAL" clId="{4457FA57-250B-44AC-8655-05D46C5A3D8A}" dt="2023-05-31T13:30:08.680" v="14681" actId="1076"/>
          <ac:spMkLst>
            <pc:docMk/>
            <pc:sldMk cId="1164779254" sldId="230717668"/>
            <ac:spMk id="395" creationId="{F0449F72-D9BD-4C98-8EE9-0410C3E01D21}"/>
          </ac:spMkLst>
        </pc:spChg>
        <pc:spChg chg="mod">
          <ac:chgData name="El Bakkouri, Manal" userId="8b130982-2e3f-4164-b881-fd3a2e4b2453" providerId="ADAL" clId="{4457FA57-250B-44AC-8655-05D46C5A3D8A}" dt="2023-05-31T13:30:08.680" v="14681" actId="1076"/>
          <ac:spMkLst>
            <pc:docMk/>
            <pc:sldMk cId="1164779254" sldId="230717668"/>
            <ac:spMk id="396" creationId="{1386FE4B-4600-4B44-A1AD-37C106BA5AF2}"/>
          </ac:spMkLst>
        </pc:spChg>
        <pc:spChg chg="mod">
          <ac:chgData name="El Bakkouri, Manal" userId="8b130982-2e3f-4164-b881-fd3a2e4b2453" providerId="ADAL" clId="{4457FA57-250B-44AC-8655-05D46C5A3D8A}" dt="2023-05-31T13:30:08.680" v="14681" actId="1076"/>
          <ac:spMkLst>
            <pc:docMk/>
            <pc:sldMk cId="1164779254" sldId="230717668"/>
            <ac:spMk id="397" creationId="{6E7B1277-FA31-4DA3-ACA2-B520CC1D87A3}"/>
          </ac:spMkLst>
        </pc:spChg>
        <pc:spChg chg="mod">
          <ac:chgData name="El Bakkouri, Manal" userId="8b130982-2e3f-4164-b881-fd3a2e4b2453" providerId="ADAL" clId="{4457FA57-250B-44AC-8655-05D46C5A3D8A}" dt="2023-05-31T13:30:08.680" v="14681" actId="1076"/>
          <ac:spMkLst>
            <pc:docMk/>
            <pc:sldMk cId="1164779254" sldId="230717668"/>
            <ac:spMk id="398" creationId="{5B74B1EC-F8A6-411D-8FE9-108C1B1C37EF}"/>
          </ac:spMkLst>
        </pc:spChg>
        <pc:spChg chg="mod">
          <ac:chgData name="El Bakkouri, Manal" userId="8b130982-2e3f-4164-b881-fd3a2e4b2453" providerId="ADAL" clId="{4457FA57-250B-44AC-8655-05D46C5A3D8A}" dt="2023-05-31T13:30:08.680" v="14681" actId="1076"/>
          <ac:spMkLst>
            <pc:docMk/>
            <pc:sldMk cId="1164779254" sldId="230717668"/>
            <ac:spMk id="399" creationId="{CA8AB3E7-23E9-40F9-8C4A-29E9476ADD8B}"/>
          </ac:spMkLst>
        </pc:spChg>
        <pc:spChg chg="mod">
          <ac:chgData name="El Bakkouri, Manal" userId="8b130982-2e3f-4164-b881-fd3a2e4b2453" providerId="ADAL" clId="{4457FA57-250B-44AC-8655-05D46C5A3D8A}" dt="2023-05-31T13:30:08.680" v="14681" actId="1076"/>
          <ac:spMkLst>
            <pc:docMk/>
            <pc:sldMk cId="1164779254" sldId="230717668"/>
            <ac:spMk id="400" creationId="{2BF9EDEC-8A47-4601-9F01-4324D40E075B}"/>
          </ac:spMkLst>
        </pc:spChg>
        <pc:spChg chg="mod">
          <ac:chgData name="El Bakkouri, Manal" userId="8b130982-2e3f-4164-b881-fd3a2e4b2453" providerId="ADAL" clId="{4457FA57-250B-44AC-8655-05D46C5A3D8A}" dt="2023-05-31T13:30:08.680" v="14681" actId="1076"/>
          <ac:spMkLst>
            <pc:docMk/>
            <pc:sldMk cId="1164779254" sldId="230717668"/>
            <ac:spMk id="401" creationId="{E4CEF671-3A08-4494-92A2-4367172B6E86}"/>
          </ac:spMkLst>
        </pc:spChg>
        <pc:spChg chg="mod">
          <ac:chgData name="El Bakkouri, Manal" userId="8b130982-2e3f-4164-b881-fd3a2e4b2453" providerId="ADAL" clId="{4457FA57-250B-44AC-8655-05D46C5A3D8A}" dt="2023-05-31T13:30:08.680" v="14681" actId="1076"/>
          <ac:spMkLst>
            <pc:docMk/>
            <pc:sldMk cId="1164779254" sldId="230717668"/>
            <ac:spMk id="402" creationId="{0CEA971C-DCAA-498E-B2B4-94A3480DD890}"/>
          </ac:spMkLst>
        </pc:spChg>
        <pc:spChg chg="mod">
          <ac:chgData name="El Bakkouri, Manal" userId="8b130982-2e3f-4164-b881-fd3a2e4b2453" providerId="ADAL" clId="{4457FA57-250B-44AC-8655-05D46C5A3D8A}" dt="2023-05-31T13:30:08.680" v="14681" actId="1076"/>
          <ac:spMkLst>
            <pc:docMk/>
            <pc:sldMk cId="1164779254" sldId="230717668"/>
            <ac:spMk id="403" creationId="{A9694BC3-AAAB-4D89-9251-C9008F1CE7D2}"/>
          </ac:spMkLst>
        </pc:spChg>
        <pc:spChg chg="mod">
          <ac:chgData name="El Bakkouri, Manal" userId="8b130982-2e3f-4164-b881-fd3a2e4b2453" providerId="ADAL" clId="{4457FA57-250B-44AC-8655-05D46C5A3D8A}" dt="2023-05-31T13:30:08.680" v="14681" actId="1076"/>
          <ac:spMkLst>
            <pc:docMk/>
            <pc:sldMk cId="1164779254" sldId="230717668"/>
            <ac:spMk id="405" creationId="{48FBDE6C-A684-49E0-8925-6D8AFD770A98}"/>
          </ac:spMkLst>
        </pc:spChg>
        <pc:spChg chg="mod">
          <ac:chgData name="El Bakkouri, Manal" userId="8b130982-2e3f-4164-b881-fd3a2e4b2453" providerId="ADAL" clId="{4457FA57-250B-44AC-8655-05D46C5A3D8A}" dt="2023-05-31T13:30:08.680" v="14681" actId="1076"/>
          <ac:spMkLst>
            <pc:docMk/>
            <pc:sldMk cId="1164779254" sldId="230717668"/>
            <ac:spMk id="406" creationId="{6D1D37BE-9C1E-45D1-B4B1-3660B72080E2}"/>
          </ac:spMkLst>
        </pc:spChg>
        <pc:spChg chg="mod">
          <ac:chgData name="El Bakkouri, Manal" userId="8b130982-2e3f-4164-b881-fd3a2e4b2453" providerId="ADAL" clId="{4457FA57-250B-44AC-8655-05D46C5A3D8A}" dt="2023-05-31T13:30:08.680" v="14681" actId="1076"/>
          <ac:spMkLst>
            <pc:docMk/>
            <pc:sldMk cId="1164779254" sldId="230717668"/>
            <ac:spMk id="407" creationId="{130690B8-FFED-47EA-801E-ADDBC925F27E}"/>
          </ac:spMkLst>
        </pc:spChg>
        <pc:spChg chg="mod">
          <ac:chgData name="El Bakkouri, Manal" userId="8b130982-2e3f-4164-b881-fd3a2e4b2453" providerId="ADAL" clId="{4457FA57-250B-44AC-8655-05D46C5A3D8A}" dt="2023-05-31T13:30:08.680" v="14681" actId="1076"/>
          <ac:spMkLst>
            <pc:docMk/>
            <pc:sldMk cId="1164779254" sldId="230717668"/>
            <ac:spMk id="408" creationId="{7D322947-CAC2-477D-8F80-529C21773DEA}"/>
          </ac:spMkLst>
        </pc:spChg>
        <pc:spChg chg="mod">
          <ac:chgData name="El Bakkouri, Manal" userId="8b130982-2e3f-4164-b881-fd3a2e4b2453" providerId="ADAL" clId="{4457FA57-250B-44AC-8655-05D46C5A3D8A}" dt="2023-05-31T13:30:08.680" v="14681" actId="1076"/>
          <ac:spMkLst>
            <pc:docMk/>
            <pc:sldMk cId="1164779254" sldId="230717668"/>
            <ac:spMk id="409" creationId="{0D5441EB-AD10-40F0-B70C-87B952072D6A}"/>
          </ac:spMkLst>
        </pc:spChg>
        <pc:spChg chg="mod">
          <ac:chgData name="El Bakkouri, Manal" userId="8b130982-2e3f-4164-b881-fd3a2e4b2453" providerId="ADAL" clId="{4457FA57-250B-44AC-8655-05D46C5A3D8A}" dt="2023-05-31T13:30:08.680" v="14681" actId="1076"/>
          <ac:spMkLst>
            <pc:docMk/>
            <pc:sldMk cId="1164779254" sldId="230717668"/>
            <ac:spMk id="410" creationId="{A38FAB0D-FB5C-49AF-BBEF-3C9AE75E347F}"/>
          </ac:spMkLst>
        </pc:spChg>
        <pc:spChg chg="mod">
          <ac:chgData name="El Bakkouri, Manal" userId="8b130982-2e3f-4164-b881-fd3a2e4b2453" providerId="ADAL" clId="{4457FA57-250B-44AC-8655-05D46C5A3D8A}" dt="2023-05-31T13:30:08.680" v="14681" actId="1076"/>
          <ac:spMkLst>
            <pc:docMk/>
            <pc:sldMk cId="1164779254" sldId="230717668"/>
            <ac:spMk id="411" creationId="{1DA1EFFC-7549-4DC4-B132-279485781A09}"/>
          </ac:spMkLst>
        </pc:spChg>
        <pc:spChg chg="mod">
          <ac:chgData name="El Bakkouri, Manal" userId="8b130982-2e3f-4164-b881-fd3a2e4b2453" providerId="ADAL" clId="{4457FA57-250B-44AC-8655-05D46C5A3D8A}" dt="2023-05-31T13:30:08.680" v="14681" actId="1076"/>
          <ac:spMkLst>
            <pc:docMk/>
            <pc:sldMk cId="1164779254" sldId="230717668"/>
            <ac:spMk id="412" creationId="{93725B23-F470-4B09-813F-8FD489245916}"/>
          </ac:spMkLst>
        </pc:spChg>
        <pc:spChg chg="mod">
          <ac:chgData name="El Bakkouri, Manal" userId="8b130982-2e3f-4164-b881-fd3a2e4b2453" providerId="ADAL" clId="{4457FA57-250B-44AC-8655-05D46C5A3D8A}" dt="2023-05-31T13:30:08.680" v="14681" actId="1076"/>
          <ac:spMkLst>
            <pc:docMk/>
            <pc:sldMk cId="1164779254" sldId="230717668"/>
            <ac:spMk id="413" creationId="{3F0B3EDE-89BC-4671-9626-038C68B6A30B}"/>
          </ac:spMkLst>
        </pc:spChg>
        <pc:spChg chg="mod">
          <ac:chgData name="El Bakkouri, Manal" userId="8b130982-2e3f-4164-b881-fd3a2e4b2453" providerId="ADAL" clId="{4457FA57-250B-44AC-8655-05D46C5A3D8A}" dt="2023-05-31T13:30:08.680" v="14681" actId="1076"/>
          <ac:spMkLst>
            <pc:docMk/>
            <pc:sldMk cId="1164779254" sldId="230717668"/>
            <ac:spMk id="415" creationId="{C45AE049-4100-447E-9DB5-2DEC13A0E2ED}"/>
          </ac:spMkLst>
        </pc:spChg>
        <pc:spChg chg="mod">
          <ac:chgData name="El Bakkouri, Manal" userId="8b130982-2e3f-4164-b881-fd3a2e4b2453" providerId="ADAL" clId="{4457FA57-250B-44AC-8655-05D46C5A3D8A}" dt="2023-05-31T13:30:08.680" v="14681" actId="1076"/>
          <ac:spMkLst>
            <pc:docMk/>
            <pc:sldMk cId="1164779254" sldId="230717668"/>
            <ac:spMk id="416" creationId="{EFEB181F-265E-4FDC-86A3-CB6BB6061823}"/>
          </ac:spMkLst>
        </pc:spChg>
        <pc:spChg chg="mod">
          <ac:chgData name="El Bakkouri, Manal" userId="8b130982-2e3f-4164-b881-fd3a2e4b2453" providerId="ADAL" clId="{4457FA57-250B-44AC-8655-05D46C5A3D8A}" dt="2023-05-31T13:30:08.680" v="14681" actId="1076"/>
          <ac:spMkLst>
            <pc:docMk/>
            <pc:sldMk cId="1164779254" sldId="230717668"/>
            <ac:spMk id="417" creationId="{F39B9D05-BE95-40E8-8F4E-CCC8AB6880F3}"/>
          </ac:spMkLst>
        </pc:spChg>
        <pc:spChg chg="mod">
          <ac:chgData name="El Bakkouri, Manal" userId="8b130982-2e3f-4164-b881-fd3a2e4b2453" providerId="ADAL" clId="{4457FA57-250B-44AC-8655-05D46C5A3D8A}" dt="2023-05-31T13:30:08.680" v="14681" actId="1076"/>
          <ac:spMkLst>
            <pc:docMk/>
            <pc:sldMk cId="1164779254" sldId="230717668"/>
            <ac:spMk id="418" creationId="{73996655-3039-4634-81B3-5C5FB5F35243}"/>
          </ac:spMkLst>
        </pc:spChg>
        <pc:spChg chg="mod">
          <ac:chgData name="El Bakkouri, Manal" userId="8b130982-2e3f-4164-b881-fd3a2e4b2453" providerId="ADAL" clId="{4457FA57-250B-44AC-8655-05D46C5A3D8A}" dt="2023-05-31T13:30:08.680" v="14681" actId="1076"/>
          <ac:spMkLst>
            <pc:docMk/>
            <pc:sldMk cId="1164779254" sldId="230717668"/>
            <ac:spMk id="419" creationId="{8063BF25-6146-458C-8F9D-0507428253E2}"/>
          </ac:spMkLst>
        </pc:spChg>
        <pc:spChg chg="mod">
          <ac:chgData name="El Bakkouri, Manal" userId="8b130982-2e3f-4164-b881-fd3a2e4b2453" providerId="ADAL" clId="{4457FA57-250B-44AC-8655-05D46C5A3D8A}" dt="2023-05-31T13:30:08.680" v="14681" actId="1076"/>
          <ac:spMkLst>
            <pc:docMk/>
            <pc:sldMk cId="1164779254" sldId="230717668"/>
            <ac:spMk id="420" creationId="{6CC2F7E9-FCE2-44C8-892D-8B6F2ACE538D}"/>
          </ac:spMkLst>
        </pc:spChg>
        <pc:spChg chg="mod">
          <ac:chgData name="El Bakkouri, Manal" userId="8b130982-2e3f-4164-b881-fd3a2e4b2453" providerId="ADAL" clId="{4457FA57-250B-44AC-8655-05D46C5A3D8A}" dt="2023-05-31T13:30:08.680" v="14681" actId="1076"/>
          <ac:spMkLst>
            <pc:docMk/>
            <pc:sldMk cId="1164779254" sldId="230717668"/>
            <ac:spMk id="422" creationId="{D4EF4B71-FB7D-4985-9B09-32E061D91594}"/>
          </ac:spMkLst>
        </pc:spChg>
        <pc:spChg chg="mod">
          <ac:chgData name="El Bakkouri, Manal" userId="8b130982-2e3f-4164-b881-fd3a2e4b2453" providerId="ADAL" clId="{4457FA57-250B-44AC-8655-05D46C5A3D8A}" dt="2023-05-31T13:30:08.680" v="14681" actId="1076"/>
          <ac:spMkLst>
            <pc:docMk/>
            <pc:sldMk cId="1164779254" sldId="230717668"/>
            <ac:spMk id="423" creationId="{984B0C19-DFF3-4C1D-8A3C-CA949E8998C4}"/>
          </ac:spMkLst>
        </pc:spChg>
        <pc:spChg chg="mod">
          <ac:chgData name="El Bakkouri, Manal" userId="8b130982-2e3f-4164-b881-fd3a2e4b2453" providerId="ADAL" clId="{4457FA57-250B-44AC-8655-05D46C5A3D8A}" dt="2023-05-31T13:30:08.680" v="14681" actId="1076"/>
          <ac:spMkLst>
            <pc:docMk/>
            <pc:sldMk cId="1164779254" sldId="230717668"/>
            <ac:spMk id="424" creationId="{E20ABA81-585D-4135-AF13-433F7FE6C8E7}"/>
          </ac:spMkLst>
        </pc:spChg>
        <pc:spChg chg="mod">
          <ac:chgData name="El Bakkouri, Manal" userId="8b130982-2e3f-4164-b881-fd3a2e4b2453" providerId="ADAL" clId="{4457FA57-250B-44AC-8655-05D46C5A3D8A}" dt="2023-05-31T13:30:08.680" v="14681" actId="1076"/>
          <ac:spMkLst>
            <pc:docMk/>
            <pc:sldMk cId="1164779254" sldId="230717668"/>
            <ac:spMk id="425" creationId="{2E5CF9E8-EDC3-408D-93EE-DD6EAC907476}"/>
          </ac:spMkLst>
        </pc:spChg>
        <pc:spChg chg="add mod">
          <ac:chgData name="El Bakkouri, Manal" userId="8b130982-2e3f-4164-b881-fd3a2e4b2453" providerId="ADAL" clId="{4457FA57-250B-44AC-8655-05D46C5A3D8A}" dt="2023-05-31T13:47:46.766" v="14820" actId="207"/>
          <ac:spMkLst>
            <pc:docMk/>
            <pc:sldMk cId="1164779254" sldId="230717668"/>
            <ac:spMk id="428" creationId="{F454AA7B-3AF9-45DE-848C-98258AFBA414}"/>
          </ac:spMkLst>
        </pc:spChg>
        <pc:spChg chg="mod">
          <ac:chgData name="El Bakkouri, Manal" userId="8b130982-2e3f-4164-b881-fd3a2e4b2453" providerId="ADAL" clId="{4457FA57-250B-44AC-8655-05D46C5A3D8A}" dt="2023-05-31T13:33:20.804" v="14707" actId="207"/>
          <ac:spMkLst>
            <pc:docMk/>
            <pc:sldMk cId="1164779254" sldId="230717668"/>
            <ac:spMk id="431" creationId="{08428487-5D16-47C3-9A18-20EC6EBDED70}"/>
          </ac:spMkLst>
        </pc:spChg>
        <pc:spChg chg="mod">
          <ac:chgData name="El Bakkouri, Manal" userId="8b130982-2e3f-4164-b881-fd3a2e4b2453" providerId="ADAL" clId="{4457FA57-250B-44AC-8655-05D46C5A3D8A}" dt="2023-05-31T13:42:51.861" v="14783" actId="207"/>
          <ac:spMkLst>
            <pc:docMk/>
            <pc:sldMk cId="1164779254" sldId="230717668"/>
            <ac:spMk id="432" creationId="{14B86D07-4A46-4367-896A-CF9B9B796D39}"/>
          </ac:spMkLst>
        </pc:spChg>
        <pc:spChg chg="mod">
          <ac:chgData name="El Bakkouri, Manal" userId="8b130982-2e3f-4164-b881-fd3a2e4b2453" providerId="ADAL" clId="{4457FA57-250B-44AC-8655-05D46C5A3D8A}" dt="2023-05-31T13:42:51.861" v="14783" actId="207"/>
          <ac:spMkLst>
            <pc:docMk/>
            <pc:sldMk cId="1164779254" sldId="230717668"/>
            <ac:spMk id="433" creationId="{FF00D24D-5E80-4FA2-9BFA-8C78E136D637}"/>
          </ac:spMkLst>
        </pc:spChg>
        <pc:spChg chg="mod">
          <ac:chgData name="El Bakkouri, Manal" userId="8b130982-2e3f-4164-b881-fd3a2e4b2453" providerId="ADAL" clId="{4457FA57-250B-44AC-8655-05D46C5A3D8A}" dt="2023-05-31T13:42:51.861" v="14783" actId="207"/>
          <ac:spMkLst>
            <pc:docMk/>
            <pc:sldMk cId="1164779254" sldId="230717668"/>
            <ac:spMk id="434" creationId="{40C0FBB2-A677-4792-A461-F737EA23D30D}"/>
          </ac:spMkLst>
        </pc:spChg>
        <pc:spChg chg="mod">
          <ac:chgData name="El Bakkouri, Manal" userId="8b130982-2e3f-4164-b881-fd3a2e4b2453" providerId="ADAL" clId="{4457FA57-250B-44AC-8655-05D46C5A3D8A}" dt="2023-05-31T13:42:51.861" v="14783" actId="207"/>
          <ac:spMkLst>
            <pc:docMk/>
            <pc:sldMk cId="1164779254" sldId="230717668"/>
            <ac:spMk id="435" creationId="{EEB7CBED-7FBA-44F3-9288-93BD0AB8462E}"/>
          </ac:spMkLst>
        </pc:spChg>
        <pc:spChg chg="mod">
          <ac:chgData name="El Bakkouri, Manal" userId="8b130982-2e3f-4164-b881-fd3a2e4b2453" providerId="ADAL" clId="{4457FA57-250B-44AC-8655-05D46C5A3D8A}" dt="2023-05-31T13:42:51.861" v="14783" actId="207"/>
          <ac:spMkLst>
            <pc:docMk/>
            <pc:sldMk cId="1164779254" sldId="230717668"/>
            <ac:spMk id="436" creationId="{CAD27E86-42BF-4725-80CC-B49BAAA8C7A9}"/>
          </ac:spMkLst>
        </pc:spChg>
        <pc:spChg chg="mod">
          <ac:chgData name="El Bakkouri, Manal" userId="8b130982-2e3f-4164-b881-fd3a2e4b2453" providerId="ADAL" clId="{4457FA57-250B-44AC-8655-05D46C5A3D8A}" dt="2023-05-31T13:34:41.647" v="14732" actId="20577"/>
          <ac:spMkLst>
            <pc:docMk/>
            <pc:sldMk cId="1164779254" sldId="230717668"/>
            <ac:spMk id="444" creationId="{D30E0255-92D9-4597-9239-AB8714EF1E35}"/>
          </ac:spMkLst>
        </pc:spChg>
        <pc:spChg chg="mod">
          <ac:chgData name="El Bakkouri, Manal" userId="8b130982-2e3f-4164-b881-fd3a2e4b2453" providerId="ADAL" clId="{4457FA57-250B-44AC-8655-05D46C5A3D8A}" dt="2023-05-31T13:42:51.861" v="14783" actId="207"/>
          <ac:spMkLst>
            <pc:docMk/>
            <pc:sldMk cId="1164779254" sldId="230717668"/>
            <ac:spMk id="445" creationId="{DE8E7B63-A91A-46A2-9406-1603E0FA0B0F}"/>
          </ac:spMkLst>
        </pc:spChg>
        <pc:spChg chg="mod">
          <ac:chgData name="El Bakkouri, Manal" userId="8b130982-2e3f-4164-b881-fd3a2e4b2453" providerId="ADAL" clId="{4457FA57-250B-44AC-8655-05D46C5A3D8A}" dt="2023-05-31T14:08:48.048" v="15176" actId="14100"/>
          <ac:spMkLst>
            <pc:docMk/>
            <pc:sldMk cId="1164779254" sldId="230717668"/>
            <ac:spMk id="446" creationId="{959C700A-81F9-4B3D-A8F8-D3DD7CFBB234}"/>
          </ac:spMkLst>
        </pc:spChg>
        <pc:spChg chg="mod">
          <ac:chgData name="El Bakkouri, Manal" userId="8b130982-2e3f-4164-b881-fd3a2e4b2453" providerId="ADAL" clId="{4457FA57-250B-44AC-8655-05D46C5A3D8A}" dt="2023-05-31T13:33:20.804" v="14707" actId="207"/>
          <ac:spMkLst>
            <pc:docMk/>
            <pc:sldMk cId="1164779254" sldId="230717668"/>
            <ac:spMk id="447" creationId="{6F474F80-1C14-42D8-99E1-0A853884BE52}"/>
          </ac:spMkLst>
        </pc:spChg>
        <pc:spChg chg="mod">
          <ac:chgData name="El Bakkouri, Manal" userId="8b130982-2e3f-4164-b881-fd3a2e4b2453" providerId="ADAL" clId="{4457FA57-250B-44AC-8655-05D46C5A3D8A}" dt="2023-05-31T13:42:51.861" v="14783" actId="207"/>
          <ac:spMkLst>
            <pc:docMk/>
            <pc:sldMk cId="1164779254" sldId="230717668"/>
            <ac:spMk id="448" creationId="{8E72950A-22D3-4FB3-9C16-8C4CD1554001}"/>
          </ac:spMkLst>
        </pc:spChg>
        <pc:spChg chg="mod">
          <ac:chgData name="El Bakkouri, Manal" userId="8b130982-2e3f-4164-b881-fd3a2e4b2453" providerId="ADAL" clId="{4457FA57-250B-44AC-8655-05D46C5A3D8A}" dt="2023-05-31T13:42:51.861" v="14783" actId="207"/>
          <ac:spMkLst>
            <pc:docMk/>
            <pc:sldMk cId="1164779254" sldId="230717668"/>
            <ac:spMk id="449" creationId="{F3D93B9B-25CB-4FF2-AFE8-FCBD4874049F}"/>
          </ac:spMkLst>
        </pc:spChg>
        <pc:spChg chg="mod">
          <ac:chgData name="El Bakkouri, Manal" userId="8b130982-2e3f-4164-b881-fd3a2e4b2453" providerId="ADAL" clId="{4457FA57-250B-44AC-8655-05D46C5A3D8A}" dt="2023-05-31T14:08:36.727" v="15174" actId="1076"/>
          <ac:spMkLst>
            <pc:docMk/>
            <pc:sldMk cId="1164779254" sldId="230717668"/>
            <ac:spMk id="450" creationId="{2297FC4F-B344-4EAC-9E43-4A1AB7C1D55B}"/>
          </ac:spMkLst>
        </pc:spChg>
        <pc:spChg chg="mod">
          <ac:chgData name="El Bakkouri, Manal" userId="8b130982-2e3f-4164-b881-fd3a2e4b2453" providerId="ADAL" clId="{4457FA57-250B-44AC-8655-05D46C5A3D8A}" dt="2023-05-31T13:34:25.071" v="14720" actId="1076"/>
          <ac:spMkLst>
            <pc:docMk/>
            <pc:sldMk cId="1164779254" sldId="230717668"/>
            <ac:spMk id="451" creationId="{F9236F22-A31C-489E-B14C-685188B92B18}"/>
          </ac:spMkLst>
        </pc:spChg>
        <pc:spChg chg="mod">
          <ac:chgData name="El Bakkouri, Manal" userId="8b130982-2e3f-4164-b881-fd3a2e4b2453" providerId="ADAL" clId="{4457FA57-250B-44AC-8655-05D46C5A3D8A}" dt="2023-05-31T13:33:20.804" v="14707" actId="207"/>
          <ac:spMkLst>
            <pc:docMk/>
            <pc:sldMk cId="1164779254" sldId="230717668"/>
            <ac:spMk id="452" creationId="{2AF0800F-03E3-407F-BB1C-36401136F490}"/>
          </ac:spMkLst>
        </pc:spChg>
        <pc:spChg chg="mod">
          <ac:chgData name="El Bakkouri, Manal" userId="8b130982-2e3f-4164-b881-fd3a2e4b2453" providerId="ADAL" clId="{4457FA57-250B-44AC-8655-05D46C5A3D8A}" dt="2023-05-31T13:42:51.861" v="14783" actId="207"/>
          <ac:spMkLst>
            <pc:docMk/>
            <pc:sldMk cId="1164779254" sldId="230717668"/>
            <ac:spMk id="453" creationId="{BDFFAA67-7948-42F0-B605-59E7C8662767}"/>
          </ac:spMkLst>
        </pc:spChg>
        <pc:spChg chg="mod">
          <ac:chgData name="El Bakkouri, Manal" userId="8b130982-2e3f-4164-b881-fd3a2e4b2453" providerId="ADAL" clId="{4457FA57-250B-44AC-8655-05D46C5A3D8A}" dt="2023-05-31T13:42:51.861" v="14783" actId="207"/>
          <ac:spMkLst>
            <pc:docMk/>
            <pc:sldMk cId="1164779254" sldId="230717668"/>
            <ac:spMk id="454" creationId="{0D56DBD7-225F-4B41-AA87-0E1E1F349766}"/>
          </ac:spMkLst>
        </pc:spChg>
        <pc:spChg chg="mod">
          <ac:chgData name="El Bakkouri, Manal" userId="8b130982-2e3f-4164-b881-fd3a2e4b2453" providerId="ADAL" clId="{4457FA57-250B-44AC-8655-05D46C5A3D8A}" dt="2023-05-31T13:33:20.804" v="14707" actId="207"/>
          <ac:spMkLst>
            <pc:docMk/>
            <pc:sldMk cId="1164779254" sldId="230717668"/>
            <ac:spMk id="455" creationId="{1D4E8179-6033-48D5-BEED-976D2B3A3B0E}"/>
          </ac:spMkLst>
        </pc:spChg>
        <pc:spChg chg="del mod">
          <ac:chgData name="El Bakkouri, Manal" userId="8b130982-2e3f-4164-b881-fd3a2e4b2453" providerId="ADAL" clId="{4457FA57-250B-44AC-8655-05D46C5A3D8A}" dt="2023-05-31T14:09:14.003" v="15177" actId="478"/>
          <ac:spMkLst>
            <pc:docMk/>
            <pc:sldMk cId="1164779254" sldId="230717668"/>
            <ac:spMk id="456" creationId="{9DB38994-9CA0-45A5-AD76-C164128B8596}"/>
          </ac:spMkLst>
        </pc:spChg>
        <pc:spChg chg="mod">
          <ac:chgData name="El Bakkouri, Manal" userId="8b130982-2e3f-4164-b881-fd3a2e4b2453" providerId="ADAL" clId="{4457FA57-250B-44AC-8655-05D46C5A3D8A}" dt="2023-05-31T13:41:56.468" v="14779" actId="208"/>
          <ac:spMkLst>
            <pc:docMk/>
            <pc:sldMk cId="1164779254" sldId="230717668"/>
            <ac:spMk id="457" creationId="{E6177E56-93E1-47FF-8953-6728C2A4140E}"/>
          </ac:spMkLst>
        </pc:spChg>
        <pc:spChg chg="mod">
          <ac:chgData name="El Bakkouri, Manal" userId="8b130982-2e3f-4164-b881-fd3a2e4b2453" providerId="ADAL" clId="{4457FA57-250B-44AC-8655-05D46C5A3D8A}" dt="2023-05-31T13:43:16.242" v="14786" actId="2085"/>
          <ac:spMkLst>
            <pc:docMk/>
            <pc:sldMk cId="1164779254" sldId="230717668"/>
            <ac:spMk id="458" creationId="{9062335F-8135-4D79-A247-B300E1F17302}"/>
          </ac:spMkLst>
        </pc:spChg>
        <pc:spChg chg="mod">
          <ac:chgData name="El Bakkouri, Manal" userId="8b130982-2e3f-4164-b881-fd3a2e4b2453" providerId="ADAL" clId="{4457FA57-250B-44AC-8655-05D46C5A3D8A}" dt="2023-05-31T13:43:16.242" v="14786" actId="2085"/>
          <ac:spMkLst>
            <pc:docMk/>
            <pc:sldMk cId="1164779254" sldId="230717668"/>
            <ac:spMk id="459" creationId="{762D92FD-65D4-4E37-A47E-29D498103D68}"/>
          </ac:spMkLst>
        </pc:spChg>
        <pc:spChg chg="mod">
          <ac:chgData name="El Bakkouri, Manal" userId="8b130982-2e3f-4164-b881-fd3a2e4b2453" providerId="ADAL" clId="{4457FA57-250B-44AC-8655-05D46C5A3D8A}" dt="2023-05-31T13:42:18.504" v="14782" actId="208"/>
          <ac:spMkLst>
            <pc:docMk/>
            <pc:sldMk cId="1164779254" sldId="230717668"/>
            <ac:spMk id="460" creationId="{8B4BEE43-4848-4807-86D6-68ABE495B985}"/>
          </ac:spMkLst>
        </pc:spChg>
        <pc:spChg chg="mod">
          <ac:chgData name="El Bakkouri, Manal" userId="8b130982-2e3f-4164-b881-fd3a2e4b2453" providerId="ADAL" clId="{4457FA57-250B-44AC-8655-05D46C5A3D8A}" dt="2023-05-31T13:43:16.242" v="14786" actId="2085"/>
          <ac:spMkLst>
            <pc:docMk/>
            <pc:sldMk cId="1164779254" sldId="230717668"/>
            <ac:spMk id="461" creationId="{8AACAEC3-EF91-4C3B-A020-B6C9C7E41070}"/>
          </ac:spMkLst>
        </pc:spChg>
        <pc:spChg chg="mod">
          <ac:chgData name="El Bakkouri, Manal" userId="8b130982-2e3f-4164-b881-fd3a2e4b2453" providerId="ADAL" clId="{4457FA57-250B-44AC-8655-05D46C5A3D8A}" dt="2023-05-31T13:43:16.242" v="14786" actId="2085"/>
          <ac:spMkLst>
            <pc:docMk/>
            <pc:sldMk cId="1164779254" sldId="230717668"/>
            <ac:spMk id="462" creationId="{51718DF5-A0F6-465A-BEDF-54FBABDA01F8}"/>
          </ac:spMkLst>
        </pc:spChg>
        <pc:spChg chg="mod">
          <ac:chgData name="El Bakkouri, Manal" userId="8b130982-2e3f-4164-b881-fd3a2e4b2453" providerId="ADAL" clId="{4457FA57-250B-44AC-8655-05D46C5A3D8A}" dt="2023-05-31T13:33:20.804" v="14707" actId="207"/>
          <ac:spMkLst>
            <pc:docMk/>
            <pc:sldMk cId="1164779254" sldId="230717668"/>
            <ac:spMk id="463" creationId="{5DF54EC2-544F-4030-AF91-356247DE6B37}"/>
          </ac:spMkLst>
        </pc:spChg>
        <pc:spChg chg="mod">
          <ac:chgData name="El Bakkouri, Manal" userId="8b130982-2e3f-4164-b881-fd3a2e4b2453" providerId="ADAL" clId="{4457FA57-250B-44AC-8655-05D46C5A3D8A}" dt="2023-05-31T13:43:16.242" v="14786" actId="2085"/>
          <ac:spMkLst>
            <pc:docMk/>
            <pc:sldMk cId="1164779254" sldId="230717668"/>
            <ac:spMk id="464" creationId="{6FD8F906-A2E5-463F-9AEB-EE72F279F825}"/>
          </ac:spMkLst>
        </pc:spChg>
        <pc:spChg chg="mod">
          <ac:chgData name="El Bakkouri, Manal" userId="8b130982-2e3f-4164-b881-fd3a2e4b2453" providerId="ADAL" clId="{4457FA57-250B-44AC-8655-05D46C5A3D8A}" dt="2023-05-31T13:43:16.242" v="14786" actId="2085"/>
          <ac:spMkLst>
            <pc:docMk/>
            <pc:sldMk cId="1164779254" sldId="230717668"/>
            <ac:spMk id="465" creationId="{2B1A8D95-61F1-451D-A525-BC79C1BF446F}"/>
          </ac:spMkLst>
        </pc:spChg>
        <pc:spChg chg="mod">
          <ac:chgData name="El Bakkouri, Manal" userId="8b130982-2e3f-4164-b881-fd3a2e4b2453" providerId="ADAL" clId="{4457FA57-250B-44AC-8655-05D46C5A3D8A}" dt="2023-05-31T13:33:20.804" v="14707" actId="207"/>
          <ac:spMkLst>
            <pc:docMk/>
            <pc:sldMk cId="1164779254" sldId="230717668"/>
            <ac:spMk id="466" creationId="{27853038-6244-4251-8C17-CFF6E1E496F1}"/>
          </ac:spMkLst>
        </pc:spChg>
        <pc:spChg chg="mod">
          <ac:chgData name="El Bakkouri, Manal" userId="8b130982-2e3f-4164-b881-fd3a2e4b2453" providerId="ADAL" clId="{4457FA57-250B-44AC-8655-05D46C5A3D8A}" dt="2023-05-31T13:33:20.804" v="14707" actId="207"/>
          <ac:spMkLst>
            <pc:docMk/>
            <pc:sldMk cId="1164779254" sldId="230717668"/>
            <ac:spMk id="467" creationId="{9BD7A3C6-DF05-419A-BD03-F54809CD7FA4}"/>
          </ac:spMkLst>
        </pc:spChg>
        <pc:spChg chg="mod">
          <ac:chgData name="El Bakkouri, Manal" userId="8b130982-2e3f-4164-b881-fd3a2e4b2453" providerId="ADAL" clId="{4457FA57-250B-44AC-8655-05D46C5A3D8A}" dt="2023-05-31T13:33:20.804" v="14707" actId="207"/>
          <ac:spMkLst>
            <pc:docMk/>
            <pc:sldMk cId="1164779254" sldId="230717668"/>
            <ac:spMk id="468" creationId="{65BA7E3C-0438-4A91-864A-0BA1C5089A13}"/>
          </ac:spMkLst>
        </pc:spChg>
        <pc:spChg chg="mod">
          <ac:chgData name="El Bakkouri, Manal" userId="8b130982-2e3f-4164-b881-fd3a2e4b2453" providerId="ADAL" clId="{4457FA57-250B-44AC-8655-05D46C5A3D8A}" dt="2023-05-31T13:41:50.495" v="14777" actId="208"/>
          <ac:spMkLst>
            <pc:docMk/>
            <pc:sldMk cId="1164779254" sldId="230717668"/>
            <ac:spMk id="469" creationId="{B35018E7-BAEE-41C1-B7A2-FE717C260EF0}"/>
          </ac:spMkLst>
        </pc:spChg>
        <pc:spChg chg="mod">
          <ac:chgData name="El Bakkouri, Manal" userId="8b130982-2e3f-4164-b881-fd3a2e4b2453" providerId="ADAL" clId="{4457FA57-250B-44AC-8655-05D46C5A3D8A}" dt="2023-05-31T13:43:16.242" v="14786" actId="2085"/>
          <ac:spMkLst>
            <pc:docMk/>
            <pc:sldMk cId="1164779254" sldId="230717668"/>
            <ac:spMk id="470" creationId="{FC1C8A98-3D32-41FD-AD4F-252AE7933AD0}"/>
          </ac:spMkLst>
        </pc:spChg>
        <pc:spChg chg="mod">
          <ac:chgData name="El Bakkouri, Manal" userId="8b130982-2e3f-4164-b881-fd3a2e4b2453" providerId="ADAL" clId="{4457FA57-250B-44AC-8655-05D46C5A3D8A}" dt="2023-05-31T13:43:16.242" v="14786" actId="2085"/>
          <ac:spMkLst>
            <pc:docMk/>
            <pc:sldMk cId="1164779254" sldId="230717668"/>
            <ac:spMk id="471" creationId="{5B3EDE08-0B2C-4282-8B25-EE9CF323FCC8}"/>
          </ac:spMkLst>
        </pc:spChg>
        <pc:spChg chg="mod">
          <ac:chgData name="El Bakkouri, Manal" userId="8b130982-2e3f-4164-b881-fd3a2e4b2453" providerId="ADAL" clId="{4457FA57-250B-44AC-8655-05D46C5A3D8A}" dt="2023-05-31T13:41:54.032" v="14778" actId="208"/>
          <ac:spMkLst>
            <pc:docMk/>
            <pc:sldMk cId="1164779254" sldId="230717668"/>
            <ac:spMk id="472" creationId="{3C154D73-E6B9-488D-BA54-FE4AEC7DE18A}"/>
          </ac:spMkLst>
        </pc:spChg>
        <pc:spChg chg="mod">
          <ac:chgData name="El Bakkouri, Manal" userId="8b130982-2e3f-4164-b881-fd3a2e4b2453" providerId="ADAL" clId="{4457FA57-250B-44AC-8655-05D46C5A3D8A}" dt="2023-05-31T13:43:16.242" v="14786" actId="2085"/>
          <ac:spMkLst>
            <pc:docMk/>
            <pc:sldMk cId="1164779254" sldId="230717668"/>
            <ac:spMk id="473" creationId="{CA3FDE3D-25D3-4E69-BBAB-E9D23AB66E9A}"/>
          </ac:spMkLst>
        </pc:spChg>
        <pc:spChg chg="mod">
          <ac:chgData name="El Bakkouri, Manal" userId="8b130982-2e3f-4164-b881-fd3a2e4b2453" providerId="ADAL" clId="{4457FA57-250B-44AC-8655-05D46C5A3D8A}" dt="2023-05-31T13:43:16.242" v="14786" actId="2085"/>
          <ac:spMkLst>
            <pc:docMk/>
            <pc:sldMk cId="1164779254" sldId="230717668"/>
            <ac:spMk id="474" creationId="{301DA495-CF17-4756-ABF6-41A13D898E13}"/>
          </ac:spMkLst>
        </pc:spChg>
        <pc:spChg chg="add mod">
          <ac:chgData name="El Bakkouri, Manal" userId="8b130982-2e3f-4164-b881-fd3a2e4b2453" providerId="ADAL" clId="{4457FA57-250B-44AC-8655-05D46C5A3D8A}" dt="2023-05-31T13:40:18.328" v="14765" actId="164"/>
          <ac:spMkLst>
            <pc:docMk/>
            <pc:sldMk cId="1164779254" sldId="230717668"/>
            <ac:spMk id="480" creationId="{8F1016B8-8598-4FCC-99B4-5B0AF9AD1210}"/>
          </ac:spMkLst>
        </pc:spChg>
        <pc:spChg chg="add mod">
          <ac:chgData name="El Bakkouri, Manal" userId="8b130982-2e3f-4164-b881-fd3a2e4b2453" providerId="ADAL" clId="{4457FA57-250B-44AC-8655-05D46C5A3D8A}" dt="2023-05-31T13:40:42.439" v="14772" actId="208"/>
          <ac:spMkLst>
            <pc:docMk/>
            <pc:sldMk cId="1164779254" sldId="230717668"/>
            <ac:spMk id="482" creationId="{32F79C62-3A21-4FFD-B544-684FC744794B}"/>
          </ac:spMkLst>
        </pc:spChg>
        <pc:spChg chg="add mod">
          <ac:chgData name="El Bakkouri, Manal" userId="8b130982-2e3f-4164-b881-fd3a2e4b2453" providerId="ADAL" clId="{4457FA57-250B-44AC-8655-05D46C5A3D8A}" dt="2023-05-31T13:40:18.328" v="14765" actId="164"/>
          <ac:spMkLst>
            <pc:docMk/>
            <pc:sldMk cId="1164779254" sldId="230717668"/>
            <ac:spMk id="483" creationId="{E44164A3-E60A-49AC-9164-846A6E315563}"/>
          </ac:spMkLst>
        </pc:spChg>
        <pc:spChg chg="add mod">
          <ac:chgData name="El Bakkouri, Manal" userId="8b130982-2e3f-4164-b881-fd3a2e4b2453" providerId="ADAL" clId="{4457FA57-250B-44AC-8655-05D46C5A3D8A}" dt="2023-05-31T13:40:18.328" v="14765" actId="164"/>
          <ac:spMkLst>
            <pc:docMk/>
            <pc:sldMk cId="1164779254" sldId="230717668"/>
            <ac:spMk id="484" creationId="{D55E755B-B89D-479A-B716-EA390A7282EE}"/>
          </ac:spMkLst>
        </pc:spChg>
        <pc:spChg chg="mod">
          <ac:chgData name="El Bakkouri, Manal" userId="8b130982-2e3f-4164-b881-fd3a2e4b2453" providerId="ADAL" clId="{4457FA57-250B-44AC-8655-05D46C5A3D8A}" dt="2023-05-31T13:58:25.227" v="15002" actId="164"/>
          <ac:spMkLst>
            <pc:docMk/>
            <pc:sldMk cId="1164779254" sldId="230717668"/>
            <ac:spMk id="488" creationId="{130A35B4-132D-4CF3-8884-A813EF6A8130}"/>
          </ac:spMkLst>
        </pc:spChg>
        <pc:spChg chg="mod">
          <ac:chgData name="El Bakkouri, Manal" userId="8b130982-2e3f-4164-b881-fd3a2e4b2453" providerId="ADAL" clId="{4457FA57-250B-44AC-8655-05D46C5A3D8A}" dt="2023-05-31T13:58:25.227" v="15002" actId="164"/>
          <ac:spMkLst>
            <pc:docMk/>
            <pc:sldMk cId="1164779254" sldId="230717668"/>
            <ac:spMk id="489" creationId="{4911265D-EEB0-4AE9-9B90-9238B402BEAE}"/>
          </ac:spMkLst>
        </pc:spChg>
        <pc:spChg chg="mod">
          <ac:chgData name="El Bakkouri, Manal" userId="8b130982-2e3f-4164-b881-fd3a2e4b2453" providerId="ADAL" clId="{4457FA57-250B-44AC-8655-05D46C5A3D8A}" dt="2023-05-31T13:58:25.227" v="15002" actId="164"/>
          <ac:spMkLst>
            <pc:docMk/>
            <pc:sldMk cId="1164779254" sldId="230717668"/>
            <ac:spMk id="490" creationId="{4582ED67-C280-4B8A-AA0A-7614B6A94E9B}"/>
          </ac:spMkLst>
        </pc:spChg>
        <pc:spChg chg="mod">
          <ac:chgData name="El Bakkouri, Manal" userId="8b130982-2e3f-4164-b881-fd3a2e4b2453" providerId="ADAL" clId="{4457FA57-250B-44AC-8655-05D46C5A3D8A}" dt="2023-05-31T13:58:25.227" v="15002" actId="164"/>
          <ac:spMkLst>
            <pc:docMk/>
            <pc:sldMk cId="1164779254" sldId="230717668"/>
            <ac:spMk id="491" creationId="{09EDDB44-B7A6-44B0-B4FC-3A2D497EF16B}"/>
          </ac:spMkLst>
        </pc:spChg>
        <pc:spChg chg="mod">
          <ac:chgData name="El Bakkouri, Manal" userId="8b130982-2e3f-4164-b881-fd3a2e4b2453" providerId="ADAL" clId="{4457FA57-250B-44AC-8655-05D46C5A3D8A}" dt="2023-05-31T13:58:25.227" v="15002" actId="164"/>
          <ac:spMkLst>
            <pc:docMk/>
            <pc:sldMk cId="1164779254" sldId="230717668"/>
            <ac:spMk id="492" creationId="{28BE35DD-3159-4473-9A65-D64EC77AC3D4}"/>
          </ac:spMkLst>
        </pc:spChg>
        <pc:spChg chg="mod">
          <ac:chgData name="El Bakkouri, Manal" userId="8b130982-2e3f-4164-b881-fd3a2e4b2453" providerId="ADAL" clId="{4457FA57-250B-44AC-8655-05D46C5A3D8A}" dt="2023-05-31T13:58:25.227" v="15002" actId="164"/>
          <ac:spMkLst>
            <pc:docMk/>
            <pc:sldMk cId="1164779254" sldId="230717668"/>
            <ac:spMk id="493" creationId="{17987FF0-38EE-4C7C-8FD5-0FAC1385A2D8}"/>
          </ac:spMkLst>
        </pc:spChg>
        <pc:spChg chg="mod">
          <ac:chgData name="El Bakkouri, Manal" userId="8b130982-2e3f-4164-b881-fd3a2e4b2453" providerId="ADAL" clId="{4457FA57-250B-44AC-8655-05D46C5A3D8A}" dt="2023-05-31T13:58:25.227" v="15002" actId="164"/>
          <ac:spMkLst>
            <pc:docMk/>
            <pc:sldMk cId="1164779254" sldId="230717668"/>
            <ac:spMk id="494" creationId="{83B1F9CC-C991-4999-83B9-10AB8FCD0752}"/>
          </ac:spMkLst>
        </pc:spChg>
        <pc:spChg chg="mod">
          <ac:chgData name="El Bakkouri, Manal" userId="8b130982-2e3f-4164-b881-fd3a2e4b2453" providerId="ADAL" clId="{4457FA57-250B-44AC-8655-05D46C5A3D8A}" dt="2023-05-31T13:58:25.227" v="15002" actId="164"/>
          <ac:spMkLst>
            <pc:docMk/>
            <pc:sldMk cId="1164779254" sldId="230717668"/>
            <ac:spMk id="495" creationId="{BD8C8292-70FF-4B35-8F2E-B175B0E8103C}"/>
          </ac:spMkLst>
        </pc:spChg>
        <pc:spChg chg="mod">
          <ac:chgData name="El Bakkouri, Manal" userId="8b130982-2e3f-4164-b881-fd3a2e4b2453" providerId="ADAL" clId="{4457FA57-250B-44AC-8655-05D46C5A3D8A}" dt="2023-05-31T13:58:25.227" v="15002" actId="164"/>
          <ac:spMkLst>
            <pc:docMk/>
            <pc:sldMk cId="1164779254" sldId="230717668"/>
            <ac:spMk id="496" creationId="{CA686832-FDDE-414A-9CB4-7623D2299B18}"/>
          </ac:spMkLst>
        </pc:spChg>
        <pc:spChg chg="mod">
          <ac:chgData name="El Bakkouri, Manal" userId="8b130982-2e3f-4164-b881-fd3a2e4b2453" providerId="ADAL" clId="{4457FA57-250B-44AC-8655-05D46C5A3D8A}" dt="2023-05-31T13:51:12.729" v="14887"/>
          <ac:spMkLst>
            <pc:docMk/>
            <pc:sldMk cId="1164779254" sldId="230717668"/>
            <ac:spMk id="498" creationId="{7197AF90-3240-43D5-8ED5-5AE19AE8C1AD}"/>
          </ac:spMkLst>
        </pc:spChg>
        <pc:spChg chg="mod">
          <ac:chgData name="El Bakkouri, Manal" userId="8b130982-2e3f-4164-b881-fd3a2e4b2453" providerId="ADAL" clId="{4457FA57-250B-44AC-8655-05D46C5A3D8A}" dt="2023-05-31T13:51:12.729" v="14887"/>
          <ac:spMkLst>
            <pc:docMk/>
            <pc:sldMk cId="1164779254" sldId="230717668"/>
            <ac:spMk id="499" creationId="{8D0C6AEF-7D91-474E-A6A8-ACFBC67938EC}"/>
          </ac:spMkLst>
        </pc:spChg>
        <pc:spChg chg="mod">
          <ac:chgData name="El Bakkouri, Manal" userId="8b130982-2e3f-4164-b881-fd3a2e4b2453" providerId="ADAL" clId="{4457FA57-250B-44AC-8655-05D46C5A3D8A}" dt="2023-05-31T13:51:12.729" v="14887"/>
          <ac:spMkLst>
            <pc:docMk/>
            <pc:sldMk cId="1164779254" sldId="230717668"/>
            <ac:spMk id="500" creationId="{C929EE0C-5834-4A7E-B0FE-0454A85AB80D}"/>
          </ac:spMkLst>
        </pc:spChg>
        <pc:spChg chg="mod">
          <ac:chgData name="El Bakkouri, Manal" userId="8b130982-2e3f-4164-b881-fd3a2e4b2453" providerId="ADAL" clId="{4457FA57-250B-44AC-8655-05D46C5A3D8A}" dt="2023-05-31T13:51:12.729" v="14887"/>
          <ac:spMkLst>
            <pc:docMk/>
            <pc:sldMk cId="1164779254" sldId="230717668"/>
            <ac:spMk id="502" creationId="{FA4C6B08-56E0-4D91-B4DF-3B4860CBD020}"/>
          </ac:spMkLst>
        </pc:spChg>
        <pc:spChg chg="mod">
          <ac:chgData name="El Bakkouri, Manal" userId="8b130982-2e3f-4164-b881-fd3a2e4b2453" providerId="ADAL" clId="{4457FA57-250B-44AC-8655-05D46C5A3D8A}" dt="2023-05-31T13:51:12.729" v="14887"/>
          <ac:spMkLst>
            <pc:docMk/>
            <pc:sldMk cId="1164779254" sldId="230717668"/>
            <ac:spMk id="503" creationId="{8229A063-56B3-4984-A2D9-10E6C14A793F}"/>
          </ac:spMkLst>
        </pc:spChg>
        <pc:spChg chg="mod">
          <ac:chgData name="El Bakkouri, Manal" userId="8b130982-2e3f-4164-b881-fd3a2e4b2453" providerId="ADAL" clId="{4457FA57-250B-44AC-8655-05D46C5A3D8A}" dt="2023-05-31T13:51:12.729" v="14887"/>
          <ac:spMkLst>
            <pc:docMk/>
            <pc:sldMk cId="1164779254" sldId="230717668"/>
            <ac:spMk id="504" creationId="{EBE0ADA8-61AD-4F1D-8EDD-6D6BA54B62FA}"/>
          </ac:spMkLst>
        </pc:spChg>
        <pc:spChg chg="mod">
          <ac:chgData name="El Bakkouri, Manal" userId="8b130982-2e3f-4164-b881-fd3a2e4b2453" providerId="ADAL" clId="{4457FA57-250B-44AC-8655-05D46C5A3D8A}" dt="2023-05-31T13:51:12.729" v="14887"/>
          <ac:spMkLst>
            <pc:docMk/>
            <pc:sldMk cId="1164779254" sldId="230717668"/>
            <ac:spMk id="506" creationId="{F42BBBA8-A6E7-4211-9A7D-9699374ACF5F}"/>
          </ac:spMkLst>
        </pc:spChg>
        <pc:spChg chg="mod">
          <ac:chgData name="El Bakkouri, Manal" userId="8b130982-2e3f-4164-b881-fd3a2e4b2453" providerId="ADAL" clId="{4457FA57-250B-44AC-8655-05D46C5A3D8A}" dt="2023-05-31T13:51:12.729" v="14887"/>
          <ac:spMkLst>
            <pc:docMk/>
            <pc:sldMk cId="1164779254" sldId="230717668"/>
            <ac:spMk id="507" creationId="{EE85CFBD-8384-46F3-B03B-2C25D09010D0}"/>
          </ac:spMkLst>
        </pc:spChg>
        <pc:spChg chg="mod">
          <ac:chgData name="El Bakkouri, Manal" userId="8b130982-2e3f-4164-b881-fd3a2e4b2453" providerId="ADAL" clId="{4457FA57-250B-44AC-8655-05D46C5A3D8A}" dt="2023-05-31T13:51:12.729" v="14887"/>
          <ac:spMkLst>
            <pc:docMk/>
            <pc:sldMk cId="1164779254" sldId="230717668"/>
            <ac:spMk id="508" creationId="{266E5405-CB9F-48CB-883E-FF3D49668052}"/>
          </ac:spMkLst>
        </pc:spChg>
        <pc:spChg chg="mod">
          <ac:chgData name="El Bakkouri, Manal" userId="8b130982-2e3f-4164-b881-fd3a2e4b2453" providerId="ADAL" clId="{4457FA57-250B-44AC-8655-05D46C5A3D8A}" dt="2023-05-31T13:51:12.729" v="14887"/>
          <ac:spMkLst>
            <pc:docMk/>
            <pc:sldMk cId="1164779254" sldId="230717668"/>
            <ac:spMk id="510" creationId="{B0817409-403F-42AA-BCBC-75675D6248CF}"/>
          </ac:spMkLst>
        </pc:spChg>
        <pc:spChg chg="mod">
          <ac:chgData name="El Bakkouri, Manal" userId="8b130982-2e3f-4164-b881-fd3a2e4b2453" providerId="ADAL" clId="{4457FA57-250B-44AC-8655-05D46C5A3D8A}" dt="2023-05-31T13:51:12.729" v="14887"/>
          <ac:spMkLst>
            <pc:docMk/>
            <pc:sldMk cId="1164779254" sldId="230717668"/>
            <ac:spMk id="511" creationId="{04C9729E-C596-4C61-8885-31757E717100}"/>
          </ac:spMkLst>
        </pc:spChg>
        <pc:spChg chg="mod">
          <ac:chgData name="El Bakkouri, Manal" userId="8b130982-2e3f-4164-b881-fd3a2e4b2453" providerId="ADAL" clId="{4457FA57-250B-44AC-8655-05D46C5A3D8A}" dt="2023-05-31T13:51:12.729" v="14887"/>
          <ac:spMkLst>
            <pc:docMk/>
            <pc:sldMk cId="1164779254" sldId="230717668"/>
            <ac:spMk id="512" creationId="{FAF09168-CD17-4931-A037-9F8D29537862}"/>
          </ac:spMkLst>
        </pc:spChg>
        <pc:spChg chg="mod">
          <ac:chgData name="El Bakkouri, Manal" userId="8b130982-2e3f-4164-b881-fd3a2e4b2453" providerId="ADAL" clId="{4457FA57-250B-44AC-8655-05D46C5A3D8A}" dt="2023-05-31T13:51:12.729" v="14887"/>
          <ac:spMkLst>
            <pc:docMk/>
            <pc:sldMk cId="1164779254" sldId="230717668"/>
            <ac:spMk id="514" creationId="{2C517FB4-8BC8-49DF-99A3-74B1D12BC473}"/>
          </ac:spMkLst>
        </pc:spChg>
        <pc:spChg chg="mod">
          <ac:chgData name="El Bakkouri, Manal" userId="8b130982-2e3f-4164-b881-fd3a2e4b2453" providerId="ADAL" clId="{4457FA57-250B-44AC-8655-05D46C5A3D8A}" dt="2023-05-31T13:51:12.729" v="14887"/>
          <ac:spMkLst>
            <pc:docMk/>
            <pc:sldMk cId="1164779254" sldId="230717668"/>
            <ac:spMk id="515" creationId="{8DA42F15-EC55-4A44-9CDD-A9B0A701F16A}"/>
          </ac:spMkLst>
        </pc:spChg>
        <pc:spChg chg="mod">
          <ac:chgData name="El Bakkouri, Manal" userId="8b130982-2e3f-4164-b881-fd3a2e4b2453" providerId="ADAL" clId="{4457FA57-250B-44AC-8655-05D46C5A3D8A}" dt="2023-05-31T13:51:12.729" v="14887"/>
          <ac:spMkLst>
            <pc:docMk/>
            <pc:sldMk cId="1164779254" sldId="230717668"/>
            <ac:spMk id="516" creationId="{D752D569-26CF-4865-859B-39CE845ED88E}"/>
          </ac:spMkLst>
        </pc:spChg>
        <pc:spChg chg="add del">
          <ac:chgData name="El Bakkouri, Manal" userId="8b130982-2e3f-4164-b881-fd3a2e4b2453" providerId="ADAL" clId="{4457FA57-250B-44AC-8655-05D46C5A3D8A}" dt="2023-05-31T13:57:08.245" v="14969" actId="22"/>
          <ac:spMkLst>
            <pc:docMk/>
            <pc:sldMk cId="1164779254" sldId="230717668"/>
            <ac:spMk id="518" creationId="{1E36CD17-64CC-46B2-A90F-9360B08CDAE3}"/>
          </ac:spMkLst>
        </pc:spChg>
        <pc:spChg chg="add del">
          <ac:chgData name="El Bakkouri, Manal" userId="8b130982-2e3f-4164-b881-fd3a2e4b2453" providerId="ADAL" clId="{4457FA57-250B-44AC-8655-05D46C5A3D8A}" dt="2023-05-31T13:57:10.244" v="14971" actId="22"/>
          <ac:spMkLst>
            <pc:docMk/>
            <pc:sldMk cId="1164779254" sldId="230717668"/>
            <ac:spMk id="519" creationId="{96623698-E36C-48DF-AE1E-B11A8D1FBE69}"/>
          </ac:spMkLst>
        </pc:spChg>
        <pc:spChg chg="add del mod">
          <ac:chgData name="El Bakkouri, Manal" userId="8b130982-2e3f-4164-b881-fd3a2e4b2453" providerId="ADAL" clId="{4457FA57-250B-44AC-8655-05D46C5A3D8A}" dt="2023-05-31T13:58:48.024" v="15040" actId="478"/>
          <ac:spMkLst>
            <pc:docMk/>
            <pc:sldMk cId="1164779254" sldId="230717668"/>
            <ac:spMk id="520" creationId="{31065B3A-258D-4564-B8FB-C4657C7FC02E}"/>
          </ac:spMkLst>
        </pc:spChg>
        <pc:spChg chg="add del mod ord">
          <ac:chgData name="El Bakkouri, Manal" userId="8b130982-2e3f-4164-b881-fd3a2e4b2453" providerId="ADAL" clId="{4457FA57-250B-44AC-8655-05D46C5A3D8A}" dt="2023-05-31T13:58:48.708" v="15041" actId="478"/>
          <ac:spMkLst>
            <pc:docMk/>
            <pc:sldMk cId="1164779254" sldId="230717668"/>
            <ac:spMk id="521" creationId="{226132A0-8D58-4A87-8783-1C141EA4E332}"/>
          </ac:spMkLst>
        </pc:spChg>
        <pc:spChg chg="add del mod">
          <ac:chgData name="El Bakkouri, Manal" userId="8b130982-2e3f-4164-b881-fd3a2e4b2453" providerId="ADAL" clId="{4457FA57-250B-44AC-8655-05D46C5A3D8A}" dt="2023-05-31T13:58:57.238" v="15044" actId="478"/>
          <ac:spMkLst>
            <pc:docMk/>
            <pc:sldMk cId="1164779254" sldId="230717668"/>
            <ac:spMk id="522" creationId="{A05F66E4-BDEA-46E7-BB23-A929693D2333}"/>
          </ac:spMkLst>
        </pc:spChg>
        <pc:spChg chg="add mod">
          <ac:chgData name="El Bakkouri, Manal" userId="8b130982-2e3f-4164-b881-fd3a2e4b2453" providerId="ADAL" clId="{4457FA57-250B-44AC-8655-05D46C5A3D8A}" dt="2023-05-31T14:08:03.098" v="15168" actId="207"/>
          <ac:spMkLst>
            <pc:docMk/>
            <pc:sldMk cId="1164779254" sldId="230717668"/>
            <ac:spMk id="523" creationId="{DBA14919-DD6F-4063-9A36-7F87C3CF4DCA}"/>
          </ac:spMkLst>
        </pc:spChg>
        <pc:spChg chg="add mod">
          <ac:chgData name="El Bakkouri, Manal" userId="8b130982-2e3f-4164-b881-fd3a2e4b2453" providerId="ADAL" clId="{4457FA57-250B-44AC-8655-05D46C5A3D8A}" dt="2023-05-31T14:00:12.875" v="15079" actId="164"/>
          <ac:spMkLst>
            <pc:docMk/>
            <pc:sldMk cId="1164779254" sldId="230717668"/>
            <ac:spMk id="524" creationId="{7C87F89C-CF17-4191-BE02-4DE890B49566}"/>
          </ac:spMkLst>
        </pc:spChg>
        <pc:spChg chg="mod">
          <ac:chgData name="El Bakkouri, Manal" userId="8b130982-2e3f-4164-b881-fd3a2e4b2453" providerId="ADAL" clId="{4457FA57-250B-44AC-8655-05D46C5A3D8A}" dt="2023-05-31T13:59:13.861" v="15045"/>
          <ac:spMkLst>
            <pc:docMk/>
            <pc:sldMk cId="1164779254" sldId="230717668"/>
            <ac:spMk id="526" creationId="{328D7B69-7633-443D-8402-72353973197F}"/>
          </ac:spMkLst>
        </pc:spChg>
        <pc:spChg chg="mod">
          <ac:chgData name="El Bakkouri, Manal" userId="8b130982-2e3f-4164-b881-fd3a2e4b2453" providerId="ADAL" clId="{4457FA57-250B-44AC-8655-05D46C5A3D8A}" dt="2023-05-31T13:59:13.861" v="15045"/>
          <ac:spMkLst>
            <pc:docMk/>
            <pc:sldMk cId="1164779254" sldId="230717668"/>
            <ac:spMk id="527" creationId="{EC61AC90-C175-440C-8744-8BD973563DA6}"/>
          </ac:spMkLst>
        </pc:spChg>
        <pc:spChg chg="mod">
          <ac:chgData name="El Bakkouri, Manal" userId="8b130982-2e3f-4164-b881-fd3a2e4b2453" providerId="ADAL" clId="{4457FA57-250B-44AC-8655-05D46C5A3D8A}" dt="2023-05-31T13:59:13.861" v="15045"/>
          <ac:spMkLst>
            <pc:docMk/>
            <pc:sldMk cId="1164779254" sldId="230717668"/>
            <ac:spMk id="528" creationId="{81D34898-51C7-403E-BE78-0380047ADF67}"/>
          </ac:spMkLst>
        </pc:spChg>
        <pc:spChg chg="mod">
          <ac:chgData name="El Bakkouri, Manal" userId="8b130982-2e3f-4164-b881-fd3a2e4b2453" providerId="ADAL" clId="{4457FA57-250B-44AC-8655-05D46C5A3D8A}" dt="2023-05-31T13:59:13.861" v="15045"/>
          <ac:spMkLst>
            <pc:docMk/>
            <pc:sldMk cId="1164779254" sldId="230717668"/>
            <ac:spMk id="529" creationId="{2E6BA2DD-F06D-4536-83ED-56ABE0489901}"/>
          </ac:spMkLst>
        </pc:spChg>
        <pc:spChg chg="mod">
          <ac:chgData name="El Bakkouri, Manal" userId="8b130982-2e3f-4164-b881-fd3a2e4b2453" providerId="ADAL" clId="{4457FA57-250B-44AC-8655-05D46C5A3D8A}" dt="2023-05-31T13:59:13.861" v="15045"/>
          <ac:spMkLst>
            <pc:docMk/>
            <pc:sldMk cId="1164779254" sldId="230717668"/>
            <ac:spMk id="530" creationId="{DED0B033-BA63-45EB-BE92-A8E05E0F9072}"/>
          </ac:spMkLst>
        </pc:spChg>
        <pc:spChg chg="mod">
          <ac:chgData name="El Bakkouri, Manal" userId="8b130982-2e3f-4164-b881-fd3a2e4b2453" providerId="ADAL" clId="{4457FA57-250B-44AC-8655-05D46C5A3D8A}" dt="2023-05-31T13:59:13.861" v="15045"/>
          <ac:spMkLst>
            <pc:docMk/>
            <pc:sldMk cId="1164779254" sldId="230717668"/>
            <ac:spMk id="531" creationId="{83391210-F3DA-4C8A-A6EB-4DDE8BA22B6F}"/>
          </ac:spMkLst>
        </pc:spChg>
        <pc:spChg chg="mod">
          <ac:chgData name="El Bakkouri, Manal" userId="8b130982-2e3f-4164-b881-fd3a2e4b2453" providerId="ADAL" clId="{4457FA57-250B-44AC-8655-05D46C5A3D8A}" dt="2023-05-31T13:59:13.861" v="15045"/>
          <ac:spMkLst>
            <pc:docMk/>
            <pc:sldMk cId="1164779254" sldId="230717668"/>
            <ac:spMk id="532" creationId="{5CB27CE1-8D31-467B-9D62-4149B5769F31}"/>
          </ac:spMkLst>
        </pc:spChg>
        <pc:spChg chg="add mod">
          <ac:chgData name="El Bakkouri, Manal" userId="8b130982-2e3f-4164-b881-fd3a2e4b2453" providerId="ADAL" clId="{4457FA57-250B-44AC-8655-05D46C5A3D8A}" dt="2023-05-31T14:00:12.875" v="15079" actId="164"/>
          <ac:spMkLst>
            <pc:docMk/>
            <pc:sldMk cId="1164779254" sldId="230717668"/>
            <ac:spMk id="533" creationId="{7F0964D9-0C44-4683-B949-E4F3DA33738F}"/>
          </ac:spMkLst>
        </pc:spChg>
        <pc:spChg chg="add mod">
          <ac:chgData name="El Bakkouri, Manal" userId="8b130982-2e3f-4164-b881-fd3a2e4b2453" providerId="ADAL" clId="{4457FA57-250B-44AC-8655-05D46C5A3D8A}" dt="2023-05-31T14:00:12.875" v="15079" actId="164"/>
          <ac:spMkLst>
            <pc:docMk/>
            <pc:sldMk cId="1164779254" sldId="230717668"/>
            <ac:spMk id="534" creationId="{9AC2DF6B-59E6-490A-A525-8BD7AEB0AE68}"/>
          </ac:spMkLst>
        </pc:spChg>
        <pc:spChg chg="mod">
          <ac:chgData name="El Bakkouri, Manal" userId="8b130982-2e3f-4164-b881-fd3a2e4b2453" providerId="ADAL" clId="{4457FA57-250B-44AC-8655-05D46C5A3D8A}" dt="2023-05-31T13:59:33.568" v="15048"/>
          <ac:spMkLst>
            <pc:docMk/>
            <pc:sldMk cId="1164779254" sldId="230717668"/>
            <ac:spMk id="536" creationId="{040F0ED0-ED0F-48B4-9056-2F64FFB93B48}"/>
          </ac:spMkLst>
        </pc:spChg>
        <pc:spChg chg="mod">
          <ac:chgData name="El Bakkouri, Manal" userId="8b130982-2e3f-4164-b881-fd3a2e4b2453" providerId="ADAL" clId="{4457FA57-250B-44AC-8655-05D46C5A3D8A}" dt="2023-05-31T13:59:33.568" v="15048"/>
          <ac:spMkLst>
            <pc:docMk/>
            <pc:sldMk cId="1164779254" sldId="230717668"/>
            <ac:spMk id="537" creationId="{71315E30-D109-454D-A36B-20B6E2985A01}"/>
          </ac:spMkLst>
        </pc:spChg>
        <pc:spChg chg="mod">
          <ac:chgData name="El Bakkouri, Manal" userId="8b130982-2e3f-4164-b881-fd3a2e4b2453" providerId="ADAL" clId="{4457FA57-250B-44AC-8655-05D46C5A3D8A}" dt="2023-05-31T13:59:33.568" v="15048"/>
          <ac:spMkLst>
            <pc:docMk/>
            <pc:sldMk cId="1164779254" sldId="230717668"/>
            <ac:spMk id="539" creationId="{3C90BD35-E5F2-4137-90A9-6C5DEB415A41}"/>
          </ac:spMkLst>
        </pc:spChg>
        <pc:spChg chg="mod">
          <ac:chgData name="El Bakkouri, Manal" userId="8b130982-2e3f-4164-b881-fd3a2e4b2453" providerId="ADAL" clId="{4457FA57-250B-44AC-8655-05D46C5A3D8A}" dt="2023-05-31T13:59:33.568" v="15048"/>
          <ac:spMkLst>
            <pc:docMk/>
            <pc:sldMk cId="1164779254" sldId="230717668"/>
            <ac:spMk id="542" creationId="{5FF142DE-FBE5-43F8-A22E-AAC14B03AB13}"/>
          </ac:spMkLst>
        </pc:spChg>
        <pc:spChg chg="mod">
          <ac:chgData name="El Bakkouri, Manal" userId="8b130982-2e3f-4164-b881-fd3a2e4b2453" providerId="ADAL" clId="{4457FA57-250B-44AC-8655-05D46C5A3D8A}" dt="2023-05-31T13:59:33.568" v="15048"/>
          <ac:spMkLst>
            <pc:docMk/>
            <pc:sldMk cId="1164779254" sldId="230717668"/>
            <ac:spMk id="543" creationId="{91706061-4C0B-4D7E-B7BA-FEC51F7C7EFA}"/>
          </ac:spMkLst>
        </pc:spChg>
        <pc:spChg chg="mod">
          <ac:chgData name="El Bakkouri, Manal" userId="8b130982-2e3f-4164-b881-fd3a2e4b2453" providerId="ADAL" clId="{4457FA57-250B-44AC-8655-05D46C5A3D8A}" dt="2023-05-31T13:59:33.568" v="15048"/>
          <ac:spMkLst>
            <pc:docMk/>
            <pc:sldMk cId="1164779254" sldId="230717668"/>
            <ac:spMk id="545" creationId="{AE2BA02C-2C28-473C-9733-B9F80097F813}"/>
          </ac:spMkLst>
        </pc:spChg>
        <pc:spChg chg="mod">
          <ac:chgData name="El Bakkouri, Manal" userId="8b130982-2e3f-4164-b881-fd3a2e4b2453" providerId="ADAL" clId="{4457FA57-250B-44AC-8655-05D46C5A3D8A}" dt="2023-05-31T13:59:33.568" v="15048"/>
          <ac:spMkLst>
            <pc:docMk/>
            <pc:sldMk cId="1164779254" sldId="230717668"/>
            <ac:spMk id="548" creationId="{B39E544F-560C-44EB-A03B-73E9966C594B}"/>
          </ac:spMkLst>
        </pc:spChg>
        <pc:spChg chg="mod">
          <ac:chgData name="El Bakkouri, Manal" userId="8b130982-2e3f-4164-b881-fd3a2e4b2453" providerId="ADAL" clId="{4457FA57-250B-44AC-8655-05D46C5A3D8A}" dt="2023-05-31T13:59:33.568" v="15048"/>
          <ac:spMkLst>
            <pc:docMk/>
            <pc:sldMk cId="1164779254" sldId="230717668"/>
            <ac:spMk id="549" creationId="{5E3F20A3-A5F7-49C4-9E37-D4FEE7AC6115}"/>
          </ac:spMkLst>
        </pc:spChg>
        <pc:spChg chg="mod">
          <ac:chgData name="El Bakkouri, Manal" userId="8b130982-2e3f-4164-b881-fd3a2e4b2453" providerId="ADAL" clId="{4457FA57-250B-44AC-8655-05D46C5A3D8A}" dt="2023-05-31T13:59:33.568" v="15048"/>
          <ac:spMkLst>
            <pc:docMk/>
            <pc:sldMk cId="1164779254" sldId="230717668"/>
            <ac:spMk id="551" creationId="{C9EEB700-2D52-4F90-BE33-97B4DD49CDB6}"/>
          </ac:spMkLst>
        </pc:spChg>
        <pc:spChg chg="mod">
          <ac:chgData name="El Bakkouri, Manal" userId="8b130982-2e3f-4164-b881-fd3a2e4b2453" providerId="ADAL" clId="{4457FA57-250B-44AC-8655-05D46C5A3D8A}" dt="2023-05-31T13:59:33.568" v="15048"/>
          <ac:spMkLst>
            <pc:docMk/>
            <pc:sldMk cId="1164779254" sldId="230717668"/>
            <ac:spMk id="555" creationId="{89E6B562-B16D-414F-9E27-1096D20C248C}"/>
          </ac:spMkLst>
        </pc:spChg>
        <pc:spChg chg="mod">
          <ac:chgData name="El Bakkouri, Manal" userId="8b130982-2e3f-4164-b881-fd3a2e4b2453" providerId="ADAL" clId="{4457FA57-250B-44AC-8655-05D46C5A3D8A}" dt="2023-05-31T13:59:33.568" v="15048"/>
          <ac:spMkLst>
            <pc:docMk/>
            <pc:sldMk cId="1164779254" sldId="230717668"/>
            <ac:spMk id="556" creationId="{E4CB17D8-7F2F-494B-AA33-58777E752A86}"/>
          </ac:spMkLst>
        </pc:spChg>
        <pc:spChg chg="mod">
          <ac:chgData name="El Bakkouri, Manal" userId="8b130982-2e3f-4164-b881-fd3a2e4b2453" providerId="ADAL" clId="{4457FA57-250B-44AC-8655-05D46C5A3D8A}" dt="2023-05-31T13:59:33.568" v="15048"/>
          <ac:spMkLst>
            <pc:docMk/>
            <pc:sldMk cId="1164779254" sldId="230717668"/>
            <ac:spMk id="557" creationId="{05731C6C-DE1D-4830-89EE-C95C484F48FF}"/>
          </ac:spMkLst>
        </pc:spChg>
        <pc:spChg chg="add mod ord">
          <ac:chgData name="El Bakkouri, Manal" userId="8b130982-2e3f-4164-b881-fd3a2e4b2453" providerId="ADAL" clId="{4457FA57-250B-44AC-8655-05D46C5A3D8A}" dt="2023-05-31T14:06:59.717" v="15165" actId="1076"/>
          <ac:spMkLst>
            <pc:docMk/>
            <pc:sldMk cId="1164779254" sldId="230717668"/>
            <ac:spMk id="560" creationId="{424C22C5-4746-4101-B8B3-DFC71AD04270}"/>
          </ac:spMkLst>
        </pc:spChg>
        <pc:spChg chg="add del mod">
          <ac:chgData name="El Bakkouri, Manal" userId="8b130982-2e3f-4164-b881-fd3a2e4b2453" providerId="ADAL" clId="{4457FA57-250B-44AC-8655-05D46C5A3D8A}" dt="2023-05-31T14:05:19.708" v="15140" actId="478"/>
          <ac:spMkLst>
            <pc:docMk/>
            <pc:sldMk cId="1164779254" sldId="230717668"/>
            <ac:spMk id="561" creationId="{88B858C1-1598-499F-AE1F-FCB12C59C8DD}"/>
          </ac:spMkLst>
        </pc:spChg>
        <pc:spChg chg="add mod">
          <ac:chgData name="El Bakkouri, Manal" userId="8b130982-2e3f-4164-b881-fd3a2e4b2453" providerId="ADAL" clId="{4457FA57-250B-44AC-8655-05D46C5A3D8A}" dt="2023-05-31T14:05:38.524" v="15152" actId="1076"/>
          <ac:spMkLst>
            <pc:docMk/>
            <pc:sldMk cId="1164779254" sldId="230717668"/>
            <ac:spMk id="562" creationId="{E58DF6CF-D551-45FB-A1DE-C719953F1F84}"/>
          </ac:spMkLst>
        </pc:spChg>
        <pc:spChg chg="add mod">
          <ac:chgData name="El Bakkouri, Manal" userId="8b130982-2e3f-4164-b881-fd3a2e4b2453" providerId="ADAL" clId="{4457FA57-250B-44AC-8655-05D46C5A3D8A}" dt="2023-05-31T14:05:30.246" v="15150" actId="1076"/>
          <ac:spMkLst>
            <pc:docMk/>
            <pc:sldMk cId="1164779254" sldId="230717668"/>
            <ac:spMk id="563" creationId="{07B38B3A-CF20-4113-BC98-A78E4C3B04B9}"/>
          </ac:spMkLst>
        </pc:spChg>
        <pc:spChg chg="add mod">
          <ac:chgData name="El Bakkouri, Manal" userId="8b130982-2e3f-4164-b881-fd3a2e4b2453" providerId="ADAL" clId="{4457FA57-250B-44AC-8655-05D46C5A3D8A}" dt="2023-05-31T14:04:19.564" v="15107" actId="164"/>
          <ac:spMkLst>
            <pc:docMk/>
            <pc:sldMk cId="1164779254" sldId="230717668"/>
            <ac:spMk id="567" creationId="{E4E14E29-C432-42F1-B144-08D3BEB4CEB6}"/>
          </ac:spMkLst>
        </pc:spChg>
        <pc:grpChg chg="del">
          <ac:chgData name="El Bakkouri, Manal" userId="8b130982-2e3f-4164-b881-fd3a2e4b2453" providerId="ADAL" clId="{4457FA57-250B-44AC-8655-05D46C5A3D8A}" dt="2023-05-31T13:27:02.462" v="14602" actId="478"/>
          <ac:grpSpMkLst>
            <pc:docMk/>
            <pc:sldMk cId="1164779254" sldId="230717668"/>
            <ac:grpSpMk id="6" creationId="{785CA3A5-1869-4DB3-BEF4-85FCB58A29BF}"/>
          </ac:grpSpMkLst>
        </pc:grpChg>
        <pc:grpChg chg="add del mod">
          <ac:chgData name="El Bakkouri, Manal" userId="8b130982-2e3f-4164-b881-fd3a2e4b2453" providerId="ADAL" clId="{4457FA57-250B-44AC-8655-05D46C5A3D8A}" dt="2023-05-31T14:03:57.917" v="15100" actId="478"/>
          <ac:grpSpMkLst>
            <pc:docMk/>
            <pc:sldMk cId="1164779254" sldId="230717668"/>
            <ac:grpSpMk id="8" creationId="{E1A5DCB7-23ED-448F-B6C3-4F33665488B0}"/>
          </ac:grpSpMkLst>
        </pc:grpChg>
        <pc:grpChg chg="add del mod">
          <ac:chgData name="El Bakkouri, Manal" userId="8b130982-2e3f-4164-b881-fd3a2e4b2453" providerId="ADAL" clId="{4457FA57-250B-44AC-8655-05D46C5A3D8A}" dt="2023-05-31T13:41:28.467" v="14774" actId="478"/>
          <ac:grpSpMkLst>
            <pc:docMk/>
            <pc:sldMk cId="1164779254" sldId="230717668"/>
            <ac:grpSpMk id="9" creationId="{D5A9C16C-E399-4A18-B1EF-3D9D74C45AB1}"/>
          </ac:grpSpMkLst>
        </pc:grpChg>
        <pc:grpChg chg="add mod">
          <ac:chgData name="El Bakkouri, Manal" userId="8b130982-2e3f-4164-b881-fd3a2e4b2453" providerId="ADAL" clId="{4457FA57-250B-44AC-8655-05D46C5A3D8A}" dt="2023-05-31T13:58:25.227" v="15002" actId="164"/>
          <ac:grpSpMkLst>
            <pc:docMk/>
            <pc:sldMk cId="1164779254" sldId="230717668"/>
            <ac:grpSpMk id="16" creationId="{CFBAB0C6-00F8-496F-9D08-171469A19DD1}"/>
          </ac:grpSpMkLst>
        </pc:grpChg>
        <pc:grpChg chg="add mod">
          <ac:chgData name="El Bakkouri, Manal" userId="8b130982-2e3f-4164-b881-fd3a2e4b2453" providerId="ADAL" clId="{4457FA57-250B-44AC-8655-05D46C5A3D8A}" dt="2023-05-31T13:59:58.836" v="15053" actId="164"/>
          <ac:grpSpMkLst>
            <pc:docMk/>
            <pc:sldMk cId="1164779254" sldId="230717668"/>
            <ac:grpSpMk id="17" creationId="{CBE8BA93-07B0-411B-B20B-BEDE2FE2A068}"/>
          </ac:grpSpMkLst>
        </pc:grpChg>
        <pc:grpChg chg="add mod">
          <ac:chgData name="El Bakkouri, Manal" userId="8b130982-2e3f-4164-b881-fd3a2e4b2453" providerId="ADAL" clId="{4457FA57-250B-44AC-8655-05D46C5A3D8A}" dt="2023-05-31T14:00:16.926" v="15097" actId="1036"/>
          <ac:grpSpMkLst>
            <pc:docMk/>
            <pc:sldMk cId="1164779254" sldId="230717668"/>
            <ac:grpSpMk id="18" creationId="{E3CB11FF-18AE-4A55-8BDD-8DEFDF079A9A}"/>
          </ac:grpSpMkLst>
        </pc:grpChg>
        <pc:grpChg chg="add mod">
          <ac:chgData name="El Bakkouri, Manal" userId="8b130982-2e3f-4164-b881-fd3a2e4b2453" providerId="ADAL" clId="{4457FA57-250B-44AC-8655-05D46C5A3D8A}" dt="2023-05-31T14:04:47.236" v="15114" actId="1076"/>
          <ac:grpSpMkLst>
            <pc:docMk/>
            <pc:sldMk cId="1164779254" sldId="230717668"/>
            <ac:grpSpMk id="19" creationId="{1DC95DED-AE68-49DF-B788-5C02F9B6DC37}"/>
          </ac:grpSpMkLst>
        </pc:grpChg>
        <pc:grpChg chg="mod">
          <ac:chgData name="El Bakkouri, Manal" userId="8b130982-2e3f-4164-b881-fd3a2e4b2453" providerId="ADAL" clId="{4457FA57-250B-44AC-8655-05D46C5A3D8A}" dt="2023-05-31T13:48:30.034" v="14821" actId="165"/>
          <ac:grpSpMkLst>
            <pc:docMk/>
            <pc:sldMk cId="1164779254" sldId="230717668"/>
            <ac:grpSpMk id="34" creationId="{3AFC308C-50EC-4AFE-8F4E-94461F7A93BB}"/>
          </ac:grpSpMkLst>
        </pc:grpChg>
        <pc:grpChg chg="del mod topLvl">
          <ac:chgData name="El Bakkouri, Manal" userId="8b130982-2e3f-4164-b881-fd3a2e4b2453" providerId="ADAL" clId="{4457FA57-250B-44AC-8655-05D46C5A3D8A}" dt="2023-05-31T13:51:12.044" v="14886" actId="478"/>
          <ac:grpSpMkLst>
            <pc:docMk/>
            <pc:sldMk cId="1164779254" sldId="230717668"/>
            <ac:grpSpMk id="44" creationId="{0D169CCF-AEAA-44E1-AA5D-453CF60257D8}"/>
          </ac:grpSpMkLst>
        </pc:grpChg>
        <pc:grpChg chg="add del mod">
          <ac:chgData name="El Bakkouri, Manal" userId="8b130982-2e3f-4164-b881-fd3a2e4b2453" providerId="ADAL" clId="{4457FA57-250B-44AC-8655-05D46C5A3D8A}" dt="2023-05-31T13:30:09.857" v="14682" actId="478"/>
          <ac:grpSpMkLst>
            <pc:docMk/>
            <pc:sldMk cId="1164779254" sldId="230717668"/>
            <ac:grpSpMk id="197" creationId="{8EDD988A-3C8C-4BCA-AB88-85E9098BB555}"/>
          </ac:grpSpMkLst>
        </pc:grpChg>
        <pc:grpChg chg="mod">
          <ac:chgData name="El Bakkouri, Manal" userId="8b130982-2e3f-4164-b881-fd3a2e4b2453" providerId="ADAL" clId="{4457FA57-250B-44AC-8655-05D46C5A3D8A}" dt="2023-05-31T13:30:08.680" v="14681" actId="1076"/>
          <ac:grpSpMkLst>
            <pc:docMk/>
            <pc:sldMk cId="1164779254" sldId="230717668"/>
            <ac:grpSpMk id="198" creationId="{8855CA13-50E0-4326-8190-8B53ED422894}"/>
          </ac:grpSpMkLst>
        </pc:grpChg>
        <pc:grpChg chg="mod">
          <ac:chgData name="El Bakkouri, Manal" userId="8b130982-2e3f-4164-b881-fd3a2e4b2453" providerId="ADAL" clId="{4457FA57-250B-44AC-8655-05D46C5A3D8A}" dt="2023-05-31T13:30:08.680" v="14681" actId="1076"/>
          <ac:grpSpMkLst>
            <pc:docMk/>
            <pc:sldMk cId="1164779254" sldId="230717668"/>
            <ac:grpSpMk id="199" creationId="{2AEB5E08-AD63-41CB-88E6-9E02FB185A96}"/>
          </ac:grpSpMkLst>
        </pc:grpChg>
        <pc:grpChg chg="mod">
          <ac:chgData name="El Bakkouri, Manal" userId="8b130982-2e3f-4164-b881-fd3a2e4b2453" providerId="ADAL" clId="{4457FA57-250B-44AC-8655-05D46C5A3D8A}" dt="2023-05-31T13:30:08.680" v="14681" actId="1076"/>
          <ac:grpSpMkLst>
            <pc:docMk/>
            <pc:sldMk cId="1164779254" sldId="230717668"/>
            <ac:grpSpMk id="200" creationId="{3988A6E2-1539-4837-A8F0-DB916585AE82}"/>
          </ac:grpSpMkLst>
        </pc:grpChg>
        <pc:grpChg chg="mod">
          <ac:chgData name="El Bakkouri, Manal" userId="8b130982-2e3f-4164-b881-fd3a2e4b2453" providerId="ADAL" clId="{4457FA57-250B-44AC-8655-05D46C5A3D8A}" dt="2023-05-31T13:30:08.680" v="14681" actId="1076"/>
          <ac:grpSpMkLst>
            <pc:docMk/>
            <pc:sldMk cId="1164779254" sldId="230717668"/>
            <ac:grpSpMk id="201" creationId="{EFF2419F-F64F-41EB-9E2C-ED96A303D47D}"/>
          </ac:grpSpMkLst>
        </pc:grpChg>
        <pc:grpChg chg="mod">
          <ac:chgData name="El Bakkouri, Manal" userId="8b130982-2e3f-4164-b881-fd3a2e4b2453" providerId="ADAL" clId="{4457FA57-250B-44AC-8655-05D46C5A3D8A}" dt="2023-05-31T13:30:08.680" v="14681" actId="1076"/>
          <ac:grpSpMkLst>
            <pc:docMk/>
            <pc:sldMk cId="1164779254" sldId="230717668"/>
            <ac:grpSpMk id="202" creationId="{D4BBBBCD-BE57-41F6-A2C1-F7DBA13B6A00}"/>
          </ac:grpSpMkLst>
        </pc:grpChg>
        <pc:grpChg chg="mod">
          <ac:chgData name="El Bakkouri, Manal" userId="8b130982-2e3f-4164-b881-fd3a2e4b2453" providerId="ADAL" clId="{4457FA57-250B-44AC-8655-05D46C5A3D8A}" dt="2023-05-31T13:30:08.680" v="14681" actId="1076"/>
          <ac:grpSpMkLst>
            <pc:docMk/>
            <pc:sldMk cId="1164779254" sldId="230717668"/>
            <ac:grpSpMk id="203" creationId="{5D8E5F12-5E3C-4DD8-829D-77C60850819E}"/>
          </ac:grpSpMkLst>
        </pc:grpChg>
        <pc:grpChg chg="mod">
          <ac:chgData name="El Bakkouri, Manal" userId="8b130982-2e3f-4164-b881-fd3a2e4b2453" providerId="ADAL" clId="{4457FA57-250B-44AC-8655-05D46C5A3D8A}" dt="2023-05-31T13:30:08.680" v="14681" actId="1076"/>
          <ac:grpSpMkLst>
            <pc:docMk/>
            <pc:sldMk cId="1164779254" sldId="230717668"/>
            <ac:grpSpMk id="204" creationId="{620264F9-1AC3-4CA5-A404-191636DED4DD}"/>
          </ac:grpSpMkLst>
        </pc:grpChg>
        <pc:grpChg chg="mod">
          <ac:chgData name="El Bakkouri, Manal" userId="8b130982-2e3f-4164-b881-fd3a2e4b2453" providerId="ADAL" clId="{4457FA57-250B-44AC-8655-05D46C5A3D8A}" dt="2023-05-31T13:30:08.680" v="14681" actId="1076"/>
          <ac:grpSpMkLst>
            <pc:docMk/>
            <pc:sldMk cId="1164779254" sldId="230717668"/>
            <ac:grpSpMk id="206" creationId="{16F0B590-924A-4BDF-B9AF-A0EBF2037972}"/>
          </ac:grpSpMkLst>
        </pc:grpChg>
        <pc:grpChg chg="del mod topLvl">
          <ac:chgData name="El Bakkouri, Manal" userId="8b130982-2e3f-4164-b881-fd3a2e4b2453" providerId="ADAL" clId="{4457FA57-250B-44AC-8655-05D46C5A3D8A}" dt="2023-05-31T13:51:12.044" v="14886" actId="478"/>
          <ac:grpSpMkLst>
            <pc:docMk/>
            <pc:sldMk cId="1164779254" sldId="230717668"/>
            <ac:grpSpMk id="223" creationId="{2C0E759C-ED3B-450F-922E-81FC94A50BDC}"/>
          </ac:grpSpMkLst>
        </pc:grpChg>
        <pc:grpChg chg="del mod topLvl">
          <ac:chgData name="El Bakkouri, Manal" userId="8b130982-2e3f-4164-b881-fd3a2e4b2453" providerId="ADAL" clId="{4457FA57-250B-44AC-8655-05D46C5A3D8A}" dt="2023-05-31T13:51:12.044" v="14886" actId="478"/>
          <ac:grpSpMkLst>
            <pc:docMk/>
            <pc:sldMk cId="1164779254" sldId="230717668"/>
            <ac:grpSpMk id="224" creationId="{7078C3DA-86FC-48A2-8233-DB526AB1C689}"/>
          </ac:grpSpMkLst>
        </pc:grpChg>
        <pc:grpChg chg="del mod topLvl">
          <ac:chgData name="El Bakkouri, Manal" userId="8b130982-2e3f-4164-b881-fd3a2e4b2453" providerId="ADAL" clId="{4457FA57-250B-44AC-8655-05D46C5A3D8A}" dt="2023-05-31T13:51:12.044" v="14886" actId="478"/>
          <ac:grpSpMkLst>
            <pc:docMk/>
            <pc:sldMk cId="1164779254" sldId="230717668"/>
            <ac:grpSpMk id="225" creationId="{F517A6F1-4A33-4596-8782-1E657A21CD39}"/>
          </ac:grpSpMkLst>
        </pc:grpChg>
        <pc:grpChg chg="del mod topLvl">
          <ac:chgData name="El Bakkouri, Manal" userId="8b130982-2e3f-4164-b881-fd3a2e4b2453" providerId="ADAL" clId="{4457FA57-250B-44AC-8655-05D46C5A3D8A}" dt="2023-05-31T13:51:12.044" v="14886" actId="478"/>
          <ac:grpSpMkLst>
            <pc:docMk/>
            <pc:sldMk cId="1164779254" sldId="230717668"/>
            <ac:grpSpMk id="226" creationId="{0DB58912-3F6D-45D0-B32B-3D61A8CF4183}"/>
          </ac:grpSpMkLst>
        </pc:grpChg>
        <pc:grpChg chg="del mod topLvl">
          <ac:chgData name="El Bakkouri, Manal" userId="8b130982-2e3f-4164-b881-fd3a2e4b2453" providerId="ADAL" clId="{4457FA57-250B-44AC-8655-05D46C5A3D8A}" dt="2023-05-31T13:51:12.044" v="14886" actId="478"/>
          <ac:grpSpMkLst>
            <pc:docMk/>
            <pc:sldMk cId="1164779254" sldId="230717668"/>
            <ac:grpSpMk id="227" creationId="{3B83764E-4369-4767-AF91-33D11006F085}"/>
          </ac:grpSpMkLst>
        </pc:grpChg>
        <pc:grpChg chg="del mod">
          <ac:chgData name="El Bakkouri, Manal" userId="8b130982-2e3f-4164-b881-fd3a2e4b2453" providerId="ADAL" clId="{4457FA57-250B-44AC-8655-05D46C5A3D8A}" dt="2023-05-31T13:48:30.034" v="14821" actId="165"/>
          <ac:grpSpMkLst>
            <pc:docMk/>
            <pc:sldMk cId="1164779254" sldId="230717668"/>
            <ac:grpSpMk id="231" creationId="{F84CCD02-0A95-4D77-888F-32EDF5ACC175}"/>
          </ac:grpSpMkLst>
        </pc:grpChg>
        <pc:grpChg chg="del mod">
          <ac:chgData name="El Bakkouri, Manal" userId="8b130982-2e3f-4164-b881-fd3a2e4b2453" providerId="ADAL" clId="{4457FA57-250B-44AC-8655-05D46C5A3D8A}" dt="2023-05-31T13:31:17.830" v="14683" actId="478"/>
          <ac:grpSpMkLst>
            <pc:docMk/>
            <pc:sldMk cId="1164779254" sldId="230717668"/>
            <ac:grpSpMk id="236" creationId="{C9CE6CF6-DFF1-45B6-AFDA-C3B4E5CEFA1B}"/>
          </ac:grpSpMkLst>
        </pc:grpChg>
        <pc:grpChg chg="mod">
          <ac:chgData name="El Bakkouri, Manal" userId="8b130982-2e3f-4164-b881-fd3a2e4b2453" providerId="ADAL" clId="{4457FA57-250B-44AC-8655-05D46C5A3D8A}" dt="2023-05-31T13:30:08.680" v="14681" actId="1076"/>
          <ac:grpSpMkLst>
            <pc:docMk/>
            <pc:sldMk cId="1164779254" sldId="230717668"/>
            <ac:grpSpMk id="352" creationId="{E9E091E6-22E7-4AB8-819C-30B5D2B8FBD9}"/>
          </ac:grpSpMkLst>
        </pc:grpChg>
        <pc:grpChg chg="mod">
          <ac:chgData name="El Bakkouri, Manal" userId="8b130982-2e3f-4164-b881-fd3a2e4b2453" providerId="ADAL" clId="{4457FA57-250B-44AC-8655-05D46C5A3D8A}" dt="2023-05-31T13:30:08.680" v="14681" actId="1076"/>
          <ac:grpSpMkLst>
            <pc:docMk/>
            <pc:sldMk cId="1164779254" sldId="230717668"/>
            <ac:grpSpMk id="353" creationId="{66B48BB2-2CCC-47BC-AA66-802FCD94D3E7}"/>
          </ac:grpSpMkLst>
        </pc:grpChg>
        <pc:grpChg chg="mod">
          <ac:chgData name="El Bakkouri, Manal" userId="8b130982-2e3f-4164-b881-fd3a2e4b2453" providerId="ADAL" clId="{4457FA57-250B-44AC-8655-05D46C5A3D8A}" dt="2023-05-31T13:30:08.680" v="14681" actId="1076"/>
          <ac:grpSpMkLst>
            <pc:docMk/>
            <pc:sldMk cId="1164779254" sldId="230717668"/>
            <ac:grpSpMk id="354" creationId="{B4881052-7767-4E2D-ABA6-832620262160}"/>
          </ac:grpSpMkLst>
        </pc:grpChg>
        <pc:grpChg chg="mod">
          <ac:chgData name="El Bakkouri, Manal" userId="8b130982-2e3f-4164-b881-fd3a2e4b2453" providerId="ADAL" clId="{4457FA57-250B-44AC-8655-05D46C5A3D8A}" dt="2023-05-31T13:30:08.680" v="14681" actId="1076"/>
          <ac:grpSpMkLst>
            <pc:docMk/>
            <pc:sldMk cId="1164779254" sldId="230717668"/>
            <ac:grpSpMk id="355" creationId="{E923563E-0053-43C7-AAEC-AADC2EF088F4}"/>
          </ac:grpSpMkLst>
        </pc:grpChg>
        <pc:grpChg chg="mod">
          <ac:chgData name="El Bakkouri, Manal" userId="8b130982-2e3f-4164-b881-fd3a2e4b2453" providerId="ADAL" clId="{4457FA57-250B-44AC-8655-05D46C5A3D8A}" dt="2023-05-31T13:30:08.680" v="14681" actId="1076"/>
          <ac:grpSpMkLst>
            <pc:docMk/>
            <pc:sldMk cId="1164779254" sldId="230717668"/>
            <ac:grpSpMk id="356" creationId="{0B883564-1F1F-4E46-8EDB-539068C07FB0}"/>
          </ac:grpSpMkLst>
        </pc:grpChg>
        <pc:grpChg chg="mod">
          <ac:chgData name="El Bakkouri, Manal" userId="8b130982-2e3f-4164-b881-fd3a2e4b2453" providerId="ADAL" clId="{4457FA57-250B-44AC-8655-05D46C5A3D8A}" dt="2023-05-31T13:30:08.680" v="14681" actId="1076"/>
          <ac:grpSpMkLst>
            <pc:docMk/>
            <pc:sldMk cId="1164779254" sldId="230717668"/>
            <ac:grpSpMk id="357" creationId="{44951406-29FD-4EC0-90F1-9A8B8411F094}"/>
          </ac:grpSpMkLst>
        </pc:grpChg>
        <pc:grpChg chg="mod">
          <ac:chgData name="El Bakkouri, Manal" userId="8b130982-2e3f-4164-b881-fd3a2e4b2453" providerId="ADAL" clId="{4457FA57-250B-44AC-8655-05D46C5A3D8A}" dt="2023-05-31T13:30:08.680" v="14681" actId="1076"/>
          <ac:grpSpMkLst>
            <pc:docMk/>
            <pc:sldMk cId="1164779254" sldId="230717668"/>
            <ac:grpSpMk id="358" creationId="{90ECB183-9BB2-4AF6-B405-0BE7A8667BF6}"/>
          </ac:grpSpMkLst>
        </pc:grpChg>
        <pc:grpChg chg="mod">
          <ac:chgData name="El Bakkouri, Manal" userId="8b130982-2e3f-4164-b881-fd3a2e4b2453" providerId="ADAL" clId="{4457FA57-250B-44AC-8655-05D46C5A3D8A}" dt="2023-05-31T13:30:08.680" v="14681" actId="1076"/>
          <ac:grpSpMkLst>
            <pc:docMk/>
            <pc:sldMk cId="1164779254" sldId="230717668"/>
            <ac:grpSpMk id="359" creationId="{8CE01BB4-6EAD-4C75-8BD2-72EDD5375EEB}"/>
          </ac:grpSpMkLst>
        </pc:grpChg>
        <pc:grpChg chg="mod">
          <ac:chgData name="El Bakkouri, Manal" userId="8b130982-2e3f-4164-b881-fd3a2e4b2453" providerId="ADAL" clId="{4457FA57-250B-44AC-8655-05D46C5A3D8A}" dt="2023-05-31T13:30:08.680" v="14681" actId="1076"/>
          <ac:grpSpMkLst>
            <pc:docMk/>
            <pc:sldMk cId="1164779254" sldId="230717668"/>
            <ac:grpSpMk id="360" creationId="{F4E15FAB-EF57-4C18-8DFC-7FE60F6CC898}"/>
          </ac:grpSpMkLst>
        </pc:grpChg>
        <pc:grpChg chg="mod">
          <ac:chgData name="El Bakkouri, Manal" userId="8b130982-2e3f-4164-b881-fd3a2e4b2453" providerId="ADAL" clId="{4457FA57-250B-44AC-8655-05D46C5A3D8A}" dt="2023-05-31T13:30:08.680" v="14681" actId="1076"/>
          <ac:grpSpMkLst>
            <pc:docMk/>
            <pc:sldMk cId="1164779254" sldId="230717668"/>
            <ac:grpSpMk id="380" creationId="{DC780B0D-F2B1-4F85-B3BF-3B44EBB864F5}"/>
          </ac:grpSpMkLst>
        </pc:grpChg>
        <pc:grpChg chg="mod">
          <ac:chgData name="El Bakkouri, Manal" userId="8b130982-2e3f-4164-b881-fd3a2e4b2453" providerId="ADAL" clId="{4457FA57-250B-44AC-8655-05D46C5A3D8A}" dt="2023-05-31T13:30:08.680" v="14681" actId="1076"/>
          <ac:grpSpMkLst>
            <pc:docMk/>
            <pc:sldMk cId="1164779254" sldId="230717668"/>
            <ac:grpSpMk id="404" creationId="{F2C93A55-211A-4F36-A092-F971D1856963}"/>
          </ac:grpSpMkLst>
        </pc:grpChg>
        <pc:grpChg chg="mod">
          <ac:chgData name="El Bakkouri, Manal" userId="8b130982-2e3f-4164-b881-fd3a2e4b2453" providerId="ADAL" clId="{4457FA57-250B-44AC-8655-05D46C5A3D8A}" dt="2023-05-31T13:30:08.680" v="14681" actId="1076"/>
          <ac:grpSpMkLst>
            <pc:docMk/>
            <pc:sldMk cId="1164779254" sldId="230717668"/>
            <ac:grpSpMk id="414" creationId="{372AD969-B210-4379-A076-3D3C1C742C9D}"/>
          </ac:grpSpMkLst>
        </pc:grpChg>
        <pc:grpChg chg="mod">
          <ac:chgData name="El Bakkouri, Manal" userId="8b130982-2e3f-4164-b881-fd3a2e4b2453" providerId="ADAL" clId="{4457FA57-250B-44AC-8655-05D46C5A3D8A}" dt="2023-05-31T13:30:08.680" v="14681" actId="1076"/>
          <ac:grpSpMkLst>
            <pc:docMk/>
            <pc:sldMk cId="1164779254" sldId="230717668"/>
            <ac:grpSpMk id="421" creationId="{8CEFC8BB-BD5B-40E1-91D0-30EC922C21E7}"/>
          </ac:grpSpMkLst>
        </pc:grpChg>
        <pc:grpChg chg="add mod">
          <ac:chgData name="El Bakkouri, Manal" userId="8b130982-2e3f-4164-b881-fd3a2e4b2453" providerId="ADAL" clId="{4457FA57-250B-44AC-8655-05D46C5A3D8A}" dt="2023-05-31T14:08:23.763" v="15170" actId="1076"/>
          <ac:grpSpMkLst>
            <pc:docMk/>
            <pc:sldMk cId="1164779254" sldId="230717668"/>
            <ac:grpSpMk id="429" creationId="{2759A0B7-0917-4267-A36D-77DC4780DF33}"/>
          </ac:grpSpMkLst>
        </pc:grpChg>
        <pc:grpChg chg="mod">
          <ac:chgData name="El Bakkouri, Manal" userId="8b130982-2e3f-4164-b881-fd3a2e4b2453" providerId="ADAL" clId="{4457FA57-250B-44AC-8655-05D46C5A3D8A}" dt="2023-05-31T13:32:58.294" v="14700"/>
          <ac:grpSpMkLst>
            <pc:docMk/>
            <pc:sldMk cId="1164779254" sldId="230717668"/>
            <ac:grpSpMk id="430" creationId="{214254ED-8B19-4B73-AFBC-6DD9AA062E90}"/>
          </ac:grpSpMkLst>
        </pc:grpChg>
        <pc:grpChg chg="mod">
          <ac:chgData name="El Bakkouri, Manal" userId="8b130982-2e3f-4164-b881-fd3a2e4b2453" providerId="ADAL" clId="{4457FA57-250B-44AC-8655-05D46C5A3D8A}" dt="2023-05-31T13:32:58.294" v="14700"/>
          <ac:grpSpMkLst>
            <pc:docMk/>
            <pc:sldMk cId="1164779254" sldId="230717668"/>
            <ac:grpSpMk id="437" creationId="{20C8C50F-D65E-4A2B-9C42-AF371A92BCBE}"/>
          </ac:grpSpMkLst>
        </pc:grpChg>
        <pc:grpChg chg="mod">
          <ac:chgData name="El Bakkouri, Manal" userId="8b130982-2e3f-4164-b881-fd3a2e4b2453" providerId="ADAL" clId="{4457FA57-250B-44AC-8655-05D46C5A3D8A}" dt="2023-05-31T13:32:58.294" v="14700"/>
          <ac:grpSpMkLst>
            <pc:docMk/>
            <pc:sldMk cId="1164779254" sldId="230717668"/>
            <ac:grpSpMk id="438" creationId="{D7E19C55-C58F-4525-A47D-8456E1F0AF7E}"/>
          </ac:grpSpMkLst>
        </pc:grpChg>
        <pc:grpChg chg="mod">
          <ac:chgData name="El Bakkouri, Manal" userId="8b130982-2e3f-4164-b881-fd3a2e4b2453" providerId="ADAL" clId="{4457FA57-250B-44AC-8655-05D46C5A3D8A}" dt="2023-05-31T13:32:58.294" v="14700"/>
          <ac:grpSpMkLst>
            <pc:docMk/>
            <pc:sldMk cId="1164779254" sldId="230717668"/>
            <ac:grpSpMk id="439" creationId="{15B7A845-D3C2-4937-ACE4-8AEB421DE5EC}"/>
          </ac:grpSpMkLst>
        </pc:grpChg>
        <pc:grpChg chg="mod">
          <ac:chgData name="El Bakkouri, Manal" userId="8b130982-2e3f-4164-b881-fd3a2e4b2453" providerId="ADAL" clId="{4457FA57-250B-44AC-8655-05D46C5A3D8A}" dt="2023-05-31T13:32:58.294" v="14700"/>
          <ac:grpSpMkLst>
            <pc:docMk/>
            <pc:sldMk cId="1164779254" sldId="230717668"/>
            <ac:grpSpMk id="440" creationId="{0C43DF61-F1D2-422B-8CD2-F6EB42D318BE}"/>
          </ac:grpSpMkLst>
        </pc:grpChg>
        <pc:grpChg chg="mod">
          <ac:chgData name="El Bakkouri, Manal" userId="8b130982-2e3f-4164-b881-fd3a2e4b2453" providerId="ADAL" clId="{4457FA57-250B-44AC-8655-05D46C5A3D8A}" dt="2023-05-31T13:32:58.294" v="14700"/>
          <ac:grpSpMkLst>
            <pc:docMk/>
            <pc:sldMk cId="1164779254" sldId="230717668"/>
            <ac:grpSpMk id="441" creationId="{9D24B59A-6940-4728-9A7A-BCC5A260BE1D}"/>
          </ac:grpSpMkLst>
        </pc:grpChg>
        <pc:grpChg chg="mod">
          <ac:chgData name="El Bakkouri, Manal" userId="8b130982-2e3f-4164-b881-fd3a2e4b2453" providerId="ADAL" clId="{4457FA57-250B-44AC-8655-05D46C5A3D8A}" dt="2023-05-31T13:32:58.294" v="14700"/>
          <ac:grpSpMkLst>
            <pc:docMk/>
            <pc:sldMk cId="1164779254" sldId="230717668"/>
            <ac:grpSpMk id="442" creationId="{E134FE9E-7A4F-448A-8908-523F0C85AFBA}"/>
          </ac:grpSpMkLst>
        </pc:grpChg>
        <pc:grpChg chg="mod">
          <ac:chgData name="El Bakkouri, Manal" userId="8b130982-2e3f-4164-b881-fd3a2e4b2453" providerId="ADAL" clId="{4457FA57-250B-44AC-8655-05D46C5A3D8A}" dt="2023-05-31T13:32:58.294" v="14700"/>
          <ac:grpSpMkLst>
            <pc:docMk/>
            <pc:sldMk cId="1164779254" sldId="230717668"/>
            <ac:grpSpMk id="443" creationId="{DD7F2B97-4630-4912-A7ED-541A8EFE77EF}"/>
          </ac:grpSpMkLst>
        </pc:grpChg>
        <pc:grpChg chg="add del mod">
          <ac:chgData name="El Bakkouri, Manal" userId="8b130982-2e3f-4164-b881-fd3a2e4b2453" providerId="ADAL" clId="{4457FA57-250B-44AC-8655-05D46C5A3D8A}" dt="2023-05-31T13:58:49.961" v="15042" actId="478"/>
          <ac:grpSpMkLst>
            <pc:docMk/>
            <pc:sldMk cId="1164779254" sldId="230717668"/>
            <ac:grpSpMk id="486" creationId="{AA6ACE40-2747-4F32-B444-4FB0B6624176}"/>
          </ac:grpSpMkLst>
        </pc:grpChg>
        <pc:grpChg chg="mod">
          <ac:chgData name="El Bakkouri, Manal" userId="8b130982-2e3f-4164-b881-fd3a2e4b2453" providerId="ADAL" clId="{4457FA57-250B-44AC-8655-05D46C5A3D8A}" dt="2023-05-31T13:58:25.227" v="15002" actId="164"/>
          <ac:grpSpMkLst>
            <pc:docMk/>
            <pc:sldMk cId="1164779254" sldId="230717668"/>
            <ac:grpSpMk id="487" creationId="{E25B19F5-6D93-4874-B304-996D8911E9EE}"/>
          </ac:grpSpMkLst>
        </pc:grpChg>
        <pc:grpChg chg="add del mod">
          <ac:chgData name="El Bakkouri, Manal" userId="8b130982-2e3f-4164-b881-fd3a2e4b2453" providerId="ADAL" clId="{4457FA57-250B-44AC-8655-05D46C5A3D8A}" dt="2023-05-31T13:59:32.537" v="15047" actId="478"/>
          <ac:grpSpMkLst>
            <pc:docMk/>
            <pc:sldMk cId="1164779254" sldId="230717668"/>
            <ac:grpSpMk id="497" creationId="{44395090-6EDD-4EA8-850A-3257B87712CE}"/>
          </ac:grpSpMkLst>
        </pc:grpChg>
        <pc:grpChg chg="add del mod">
          <ac:chgData name="El Bakkouri, Manal" userId="8b130982-2e3f-4164-b881-fd3a2e4b2453" providerId="ADAL" clId="{4457FA57-250B-44AC-8655-05D46C5A3D8A}" dt="2023-05-31T13:59:32.537" v="15047" actId="478"/>
          <ac:grpSpMkLst>
            <pc:docMk/>
            <pc:sldMk cId="1164779254" sldId="230717668"/>
            <ac:grpSpMk id="501" creationId="{ED832A0F-F911-40A6-9455-561925491266}"/>
          </ac:grpSpMkLst>
        </pc:grpChg>
        <pc:grpChg chg="add del mod">
          <ac:chgData name="El Bakkouri, Manal" userId="8b130982-2e3f-4164-b881-fd3a2e4b2453" providerId="ADAL" clId="{4457FA57-250B-44AC-8655-05D46C5A3D8A}" dt="2023-05-31T13:59:32.537" v="15047" actId="478"/>
          <ac:grpSpMkLst>
            <pc:docMk/>
            <pc:sldMk cId="1164779254" sldId="230717668"/>
            <ac:grpSpMk id="505" creationId="{4198B757-1D41-4370-B0B1-5A38A19E7280}"/>
          </ac:grpSpMkLst>
        </pc:grpChg>
        <pc:grpChg chg="add del mod">
          <ac:chgData name="El Bakkouri, Manal" userId="8b130982-2e3f-4164-b881-fd3a2e4b2453" providerId="ADAL" clId="{4457FA57-250B-44AC-8655-05D46C5A3D8A}" dt="2023-05-31T13:59:32.537" v="15047" actId="478"/>
          <ac:grpSpMkLst>
            <pc:docMk/>
            <pc:sldMk cId="1164779254" sldId="230717668"/>
            <ac:grpSpMk id="509" creationId="{CB7A6570-2276-4708-BD93-2675237BF30D}"/>
          </ac:grpSpMkLst>
        </pc:grpChg>
        <pc:grpChg chg="add del mod">
          <ac:chgData name="El Bakkouri, Manal" userId="8b130982-2e3f-4164-b881-fd3a2e4b2453" providerId="ADAL" clId="{4457FA57-250B-44AC-8655-05D46C5A3D8A}" dt="2023-05-31T13:59:32.537" v="15047" actId="478"/>
          <ac:grpSpMkLst>
            <pc:docMk/>
            <pc:sldMk cId="1164779254" sldId="230717668"/>
            <ac:grpSpMk id="513" creationId="{B5124894-76EB-444F-AF5E-3FE926575A0C}"/>
          </ac:grpSpMkLst>
        </pc:grpChg>
        <pc:grpChg chg="add mod">
          <ac:chgData name="El Bakkouri, Manal" userId="8b130982-2e3f-4164-b881-fd3a2e4b2453" providerId="ADAL" clId="{4457FA57-250B-44AC-8655-05D46C5A3D8A}" dt="2023-05-31T14:00:12.875" v="15079" actId="164"/>
          <ac:grpSpMkLst>
            <pc:docMk/>
            <pc:sldMk cId="1164779254" sldId="230717668"/>
            <ac:grpSpMk id="525" creationId="{C34B6ED5-5A30-4267-A663-5EC328618765}"/>
          </ac:grpSpMkLst>
        </pc:grpChg>
        <pc:grpChg chg="add mod">
          <ac:chgData name="El Bakkouri, Manal" userId="8b130982-2e3f-4164-b881-fd3a2e4b2453" providerId="ADAL" clId="{4457FA57-250B-44AC-8655-05D46C5A3D8A}" dt="2023-05-31T13:59:39.545" v="15049" actId="1076"/>
          <ac:grpSpMkLst>
            <pc:docMk/>
            <pc:sldMk cId="1164779254" sldId="230717668"/>
            <ac:grpSpMk id="535" creationId="{9D989540-01EE-4D56-956E-6392BF57978D}"/>
          </ac:grpSpMkLst>
        </pc:grpChg>
        <pc:grpChg chg="mod">
          <ac:chgData name="El Bakkouri, Manal" userId="8b130982-2e3f-4164-b881-fd3a2e4b2453" providerId="ADAL" clId="{4457FA57-250B-44AC-8655-05D46C5A3D8A}" dt="2023-05-31T13:59:33.568" v="15048"/>
          <ac:grpSpMkLst>
            <pc:docMk/>
            <pc:sldMk cId="1164779254" sldId="230717668"/>
            <ac:grpSpMk id="538" creationId="{221ECEBE-0C77-44CF-9D02-0B8EF4B1C593}"/>
          </ac:grpSpMkLst>
        </pc:grpChg>
        <pc:grpChg chg="add mod">
          <ac:chgData name="El Bakkouri, Manal" userId="8b130982-2e3f-4164-b881-fd3a2e4b2453" providerId="ADAL" clId="{4457FA57-250B-44AC-8655-05D46C5A3D8A}" dt="2023-05-31T13:59:39.545" v="15049" actId="1076"/>
          <ac:grpSpMkLst>
            <pc:docMk/>
            <pc:sldMk cId="1164779254" sldId="230717668"/>
            <ac:grpSpMk id="541" creationId="{48B6B3A8-7C28-4514-A29A-5F58FE9EB33D}"/>
          </ac:grpSpMkLst>
        </pc:grpChg>
        <pc:grpChg chg="mod">
          <ac:chgData name="El Bakkouri, Manal" userId="8b130982-2e3f-4164-b881-fd3a2e4b2453" providerId="ADAL" clId="{4457FA57-250B-44AC-8655-05D46C5A3D8A}" dt="2023-05-31T13:59:33.568" v="15048"/>
          <ac:grpSpMkLst>
            <pc:docMk/>
            <pc:sldMk cId="1164779254" sldId="230717668"/>
            <ac:grpSpMk id="544" creationId="{B2D4EC6A-FF55-427D-A49C-B530501AED78}"/>
          </ac:grpSpMkLst>
        </pc:grpChg>
        <pc:grpChg chg="add mod">
          <ac:chgData name="El Bakkouri, Manal" userId="8b130982-2e3f-4164-b881-fd3a2e4b2453" providerId="ADAL" clId="{4457FA57-250B-44AC-8655-05D46C5A3D8A}" dt="2023-05-31T13:59:39.545" v="15049" actId="1076"/>
          <ac:grpSpMkLst>
            <pc:docMk/>
            <pc:sldMk cId="1164779254" sldId="230717668"/>
            <ac:grpSpMk id="547" creationId="{F8D80365-1D48-4CBF-93B1-B97CC7A956A0}"/>
          </ac:grpSpMkLst>
        </pc:grpChg>
        <pc:grpChg chg="mod">
          <ac:chgData name="El Bakkouri, Manal" userId="8b130982-2e3f-4164-b881-fd3a2e4b2453" providerId="ADAL" clId="{4457FA57-250B-44AC-8655-05D46C5A3D8A}" dt="2023-05-31T13:59:33.568" v="15048"/>
          <ac:grpSpMkLst>
            <pc:docMk/>
            <pc:sldMk cId="1164779254" sldId="230717668"/>
            <ac:grpSpMk id="550" creationId="{336E5B7A-4C6B-4559-86F2-562295B21ACC}"/>
          </ac:grpSpMkLst>
        </pc:grpChg>
        <pc:grpChg chg="add mod">
          <ac:chgData name="El Bakkouri, Manal" userId="8b130982-2e3f-4164-b881-fd3a2e4b2453" providerId="ADAL" clId="{4457FA57-250B-44AC-8655-05D46C5A3D8A}" dt="2023-05-31T13:59:39.545" v="15049" actId="1076"/>
          <ac:grpSpMkLst>
            <pc:docMk/>
            <pc:sldMk cId="1164779254" sldId="230717668"/>
            <ac:grpSpMk id="553" creationId="{4FBE6BAC-CAF8-4469-A1C3-4A6831957D9A}"/>
          </ac:grpSpMkLst>
        </pc:grpChg>
        <pc:grpChg chg="mod">
          <ac:chgData name="El Bakkouri, Manal" userId="8b130982-2e3f-4164-b881-fd3a2e4b2453" providerId="ADAL" clId="{4457FA57-250B-44AC-8655-05D46C5A3D8A}" dt="2023-05-31T13:59:33.568" v="15048"/>
          <ac:grpSpMkLst>
            <pc:docMk/>
            <pc:sldMk cId="1164779254" sldId="230717668"/>
            <ac:grpSpMk id="554" creationId="{552DD832-6028-47E1-8677-603C6E063F9C}"/>
          </ac:grpSpMkLst>
        </pc:grpChg>
        <pc:picChg chg="mod">
          <ac:chgData name="El Bakkouri, Manal" userId="8b130982-2e3f-4164-b881-fd3a2e4b2453" providerId="ADAL" clId="{4457FA57-250B-44AC-8655-05D46C5A3D8A}" dt="2023-05-31T13:28:09.563" v="14658" actId="1035"/>
          <ac:picMkLst>
            <pc:docMk/>
            <pc:sldMk cId="1164779254" sldId="230717668"/>
            <ac:picMk id="4" creationId="{4B59B698-8FD0-4574-A7F2-86213F718AED}"/>
          </ac:picMkLst>
        </pc:picChg>
        <pc:picChg chg="add del mod">
          <ac:chgData name="El Bakkouri, Manal" userId="8b130982-2e3f-4164-b881-fd3a2e4b2453" providerId="ADAL" clId="{4457FA57-250B-44AC-8655-05D46C5A3D8A}" dt="2023-05-31T14:08:28.615" v="15172" actId="478"/>
          <ac:picMkLst>
            <pc:docMk/>
            <pc:sldMk cId="1164779254" sldId="230717668"/>
            <ac:picMk id="11" creationId="{1FDFEEA7-57DF-4AB8-BBBA-AAEAFFB1349F}"/>
          </ac:picMkLst>
        </pc:picChg>
        <pc:picChg chg="add del mod ord">
          <ac:chgData name="El Bakkouri, Manal" userId="8b130982-2e3f-4164-b881-fd3a2e4b2453" providerId="ADAL" clId="{4457FA57-250B-44AC-8655-05D46C5A3D8A}" dt="2023-05-31T13:47:28.096" v="14816" actId="478"/>
          <ac:picMkLst>
            <pc:docMk/>
            <pc:sldMk cId="1164779254" sldId="230717668"/>
            <ac:picMk id="13" creationId="{FFC56088-B706-487C-927B-87B5E67AB5E4}"/>
          </ac:picMkLst>
        </pc:picChg>
        <pc:picChg chg="add del mod">
          <ac:chgData name="El Bakkouri, Manal" userId="8b130982-2e3f-4164-b881-fd3a2e4b2453" providerId="ADAL" clId="{4457FA57-250B-44AC-8655-05D46C5A3D8A}" dt="2023-05-31T13:35:03.733" v="14734" actId="478"/>
          <ac:picMkLst>
            <pc:docMk/>
            <pc:sldMk cId="1164779254" sldId="230717668"/>
            <ac:picMk id="196" creationId="{7EFD748D-6D81-4B42-9829-1878EA59330C}"/>
          </ac:picMkLst>
        </pc:picChg>
        <pc:picChg chg="add mod">
          <ac:chgData name="El Bakkouri, Manal" userId="8b130982-2e3f-4164-b881-fd3a2e4b2453" providerId="ADAL" clId="{4457FA57-250B-44AC-8655-05D46C5A3D8A}" dt="2023-05-31T13:31:22.216" v="14685" actId="164"/>
          <ac:picMkLst>
            <pc:docMk/>
            <pc:sldMk cId="1164779254" sldId="230717668"/>
            <ac:picMk id="426" creationId="{78244651-3ADE-4B2F-AEE6-B697B26A82D5}"/>
          </ac:picMkLst>
        </pc:picChg>
        <pc:picChg chg="add mod">
          <ac:chgData name="El Bakkouri, Manal" userId="8b130982-2e3f-4164-b881-fd3a2e4b2453" providerId="ADAL" clId="{4457FA57-250B-44AC-8655-05D46C5A3D8A}" dt="2023-05-31T13:31:22.216" v="14685" actId="164"/>
          <ac:picMkLst>
            <pc:docMk/>
            <pc:sldMk cId="1164779254" sldId="230717668"/>
            <ac:picMk id="427" creationId="{6F152199-BB6E-437B-B244-47826BDA5F7C}"/>
          </ac:picMkLst>
        </pc:picChg>
        <pc:picChg chg="add del mod">
          <ac:chgData name="El Bakkouri, Manal" userId="8b130982-2e3f-4164-b881-fd3a2e4b2453" providerId="ADAL" clId="{4457FA57-250B-44AC-8655-05D46C5A3D8A}" dt="2023-05-31T13:38:22.808" v="14744" actId="478"/>
          <ac:picMkLst>
            <pc:docMk/>
            <pc:sldMk cId="1164779254" sldId="230717668"/>
            <ac:picMk id="475" creationId="{C23A6DD3-4C1C-4DB7-A771-C81DD3BB3816}"/>
          </ac:picMkLst>
        </pc:picChg>
        <pc:picChg chg="add del mod">
          <ac:chgData name="El Bakkouri, Manal" userId="8b130982-2e3f-4164-b881-fd3a2e4b2453" providerId="ADAL" clId="{4457FA57-250B-44AC-8655-05D46C5A3D8A}" dt="2023-05-31T13:38:22.808" v="14744" actId="478"/>
          <ac:picMkLst>
            <pc:docMk/>
            <pc:sldMk cId="1164779254" sldId="230717668"/>
            <ac:picMk id="476" creationId="{20D20E55-AA8B-4B91-BCC4-EEE6FC653390}"/>
          </ac:picMkLst>
        </pc:picChg>
        <pc:picChg chg="add mod">
          <ac:chgData name="El Bakkouri, Manal" userId="8b130982-2e3f-4164-b881-fd3a2e4b2453" providerId="ADAL" clId="{4457FA57-250B-44AC-8655-05D46C5A3D8A}" dt="2023-05-31T13:40:18.328" v="14765" actId="164"/>
          <ac:picMkLst>
            <pc:docMk/>
            <pc:sldMk cId="1164779254" sldId="230717668"/>
            <ac:picMk id="477" creationId="{E7ABCD65-43B8-42D0-85F8-D30665A854E9}"/>
          </ac:picMkLst>
        </pc:picChg>
        <pc:picChg chg="add mod">
          <ac:chgData name="El Bakkouri, Manal" userId="8b130982-2e3f-4164-b881-fd3a2e4b2453" providerId="ADAL" clId="{4457FA57-250B-44AC-8655-05D46C5A3D8A}" dt="2023-05-31T13:40:18.328" v="14765" actId="164"/>
          <ac:picMkLst>
            <pc:docMk/>
            <pc:sldMk cId="1164779254" sldId="230717668"/>
            <ac:picMk id="478" creationId="{36DCB15A-718B-42DE-9E0C-770254EDA632}"/>
          </ac:picMkLst>
        </pc:picChg>
        <pc:picChg chg="add mod">
          <ac:chgData name="El Bakkouri, Manal" userId="8b130982-2e3f-4164-b881-fd3a2e4b2453" providerId="ADAL" clId="{4457FA57-250B-44AC-8655-05D46C5A3D8A}" dt="2023-05-31T13:40:18.328" v="14765" actId="164"/>
          <ac:picMkLst>
            <pc:docMk/>
            <pc:sldMk cId="1164779254" sldId="230717668"/>
            <ac:picMk id="479" creationId="{7407ABE3-764E-4A7E-A8B3-6233D011E1D7}"/>
          </ac:picMkLst>
        </pc:picChg>
        <pc:picChg chg="add mod">
          <ac:chgData name="El Bakkouri, Manal" userId="8b130982-2e3f-4164-b881-fd3a2e4b2453" providerId="ADAL" clId="{4457FA57-250B-44AC-8655-05D46C5A3D8A}" dt="2023-05-31T13:40:18.328" v="14765" actId="164"/>
          <ac:picMkLst>
            <pc:docMk/>
            <pc:sldMk cId="1164779254" sldId="230717668"/>
            <ac:picMk id="481" creationId="{6D185BCC-49FD-4DDA-9FD7-5240917C8ABC}"/>
          </ac:picMkLst>
        </pc:picChg>
        <pc:picChg chg="add del mod modCrop">
          <ac:chgData name="El Bakkouri, Manal" userId="8b130982-2e3f-4164-b881-fd3a2e4b2453" providerId="ADAL" clId="{4457FA57-250B-44AC-8655-05D46C5A3D8A}" dt="2023-05-31T13:47:31.005" v="14817" actId="478"/>
          <ac:picMkLst>
            <pc:docMk/>
            <pc:sldMk cId="1164779254" sldId="230717668"/>
            <ac:picMk id="485" creationId="{81AFF354-6E86-4336-A292-1DD1DD94E32B}"/>
          </ac:picMkLst>
        </pc:picChg>
        <pc:picChg chg="mod">
          <ac:chgData name="El Bakkouri, Manal" userId="8b130982-2e3f-4164-b881-fd3a2e4b2453" providerId="ADAL" clId="{4457FA57-250B-44AC-8655-05D46C5A3D8A}" dt="2023-05-31T13:59:33.568" v="15048"/>
          <ac:picMkLst>
            <pc:docMk/>
            <pc:sldMk cId="1164779254" sldId="230717668"/>
            <ac:picMk id="540" creationId="{5DF2C52C-E7D2-43FB-8450-AC8B050BC253}"/>
          </ac:picMkLst>
        </pc:picChg>
        <pc:picChg chg="mod">
          <ac:chgData name="El Bakkouri, Manal" userId="8b130982-2e3f-4164-b881-fd3a2e4b2453" providerId="ADAL" clId="{4457FA57-250B-44AC-8655-05D46C5A3D8A}" dt="2023-05-31T13:59:33.568" v="15048"/>
          <ac:picMkLst>
            <pc:docMk/>
            <pc:sldMk cId="1164779254" sldId="230717668"/>
            <ac:picMk id="546" creationId="{CCD15BBB-832C-46E2-AEAD-09C8F18D33D2}"/>
          </ac:picMkLst>
        </pc:picChg>
        <pc:picChg chg="mod">
          <ac:chgData name="El Bakkouri, Manal" userId="8b130982-2e3f-4164-b881-fd3a2e4b2453" providerId="ADAL" clId="{4457FA57-250B-44AC-8655-05D46C5A3D8A}" dt="2023-05-31T13:59:33.568" v="15048"/>
          <ac:picMkLst>
            <pc:docMk/>
            <pc:sldMk cId="1164779254" sldId="230717668"/>
            <ac:picMk id="552" creationId="{C086DD36-54D5-4685-A3F7-148FD16D6A6F}"/>
          </ac:picMkLst>
        </pc:picChg>
        <pc:picChg chg="add mod">
          <ac:chgData name="El Bakkouri, Manal" userId="8b130982-2e3f-4164-b881-fd3a2e4b2453" providerId="ADAL" clId="{4457FA57-250B-44AC-8655-05D46C5A3D8A}" dt="2023-05-31T14:04:19.564" v="15107" actId="164"/>
          <ac:picMkLst>
            <pc:docMk/>
            <pc:sldMk cId="1164779254" sldId="230717668"/>
            <ac:picMk id="558" creationId="{ED5DC17A-4D6F-49D0-B03E-3E5595904353}"/>
          </ac:picMkLst>
        </pc:picChg>
        <pc:picChg chg="add mod">
          <ac:chgData name="El Bakkouri, Manal" userId="8b130982-2e3f-4164-b881-fd3a2e4b2453" providerId="ADAL" clId="{4457FA57-250B-44AC-8655-05D46C5A3D8A}" dt="2023-05-31T14:04:19.564" v="15107" actId="164"/>
          <ac:picMkLst>
            <pc:docMk/>
            <pc:sldMk cId="1164779254" sldId="230717668"/>
            <ac:picMk id="559" creationId="{41BFC673-DDA6-48BE-85F9-CDC5E04FDACD}"/>
          </ac:picMkLst>
        </pc:picChg>
        <pc:picChg chg="add mod ord">
          <ac:chgData name="El Bakkouri, Manal" userId="8b130982-2e3f-4164-b881-fd3a2e4b2453" providerId="ADAL" clId="{4457FA57-250B-44AC-8655-05D46C5A3D8A}" dt="2023-05-31T14:05:51.903" v="15156" actId="1076"/>
          <ac:picMkLst>
            <pc:docMk/>
            <pc:sldMk cId="1164779254" sldId="230717668"/>
            <ac:picMk id="564" creationId="{42BBA6A0-32D7-4679-95C3-DA3159568FCB}"/>
          </ac:picMkLst>
        </pc:picChg>
        <pc:picChg chg="add mod ord">
          <ac:chgData name="El Bakkouri, Manal" userId="8b130982-2e3f-4164-b881-fd3a2e4b2453" providerId="ADAL" clId="{4457FA57-250B-44AC-8655-05D46C5A3D8A}" dt="2023-05-31T14:05:33.477" v="15151" actId="166"/>
          <ac:picMkLst>
            <pc:docMk/>
            <pc:sldMk cId="1164779254" sldId="230717668"/>
            <ac:picMk id="565" creationId="{0386A914-2B75-45C9-ABAF-D89C1F995B86}"/>
          </ac:picMkLst>
        </pc:picChg>
        <pc:picChg chg="add mod">
          <ac:chgData name="El Bakkouri, Manal" userId="8b130982-2e3f-4164-b881-fd3a2e4b2453" providerId="ADAL" clId="{4457FA57-250B-44AC-8655-05D46C5A3D8A}" dt="2023-05-31T14:05:24.728" v="15149" actId="1037"/>
          <ac:picMkLst>
            <pc:docMk/>
            <pc:sldMk cId="1164779254" sldId="230717668"/>
            <ac:picMk id="566" creationId="{7EDE5560-0BBF-433A-95A4-AE9B3C3AED4B}"/>
          </ac:picMkLst>
        </pc:picChg>
        <pc:cxnChg chg="add mod">
          <ac:chgData name="El Bakkouri, Manal" userId="8b130982-2e3f-4164-b881-fd3a2e4b2453" providerId="ADAL" clId="{4457FA57-250B-44AC-8655-05D46C5A3D8A}" dt="2023-05-31T13:52:17.105" v="14956" actId="1037"/>
          <ac:cxnSpMkLst>
            <pc:docMk/>
            <pc:sldMk cId="1164779254" sldId="230717668"/>
            <ac:cxnSpMk id="192" creationId="{FFA0365C-058D-419F-92A9-39DE56EC407C}"/>
          </ac:cxnSpMkLst>
        </pc:cxnChg>
        <pc:cxnChg chg="del mod">
          <ac:chgData name="El Bakkouri, Manal" userId="8b130982-2e3f-4164-b881-fd3a2e4b2453" providerId="ADAL" clId="{4457FA57-250B-44AC-8655-05D46C5A3D8A}" dt="2023-05-31T14:07:09.750" v="15166" actId="478"/>
          <ac:cxnSpMkLst>
            <pc:docMk/>
            <pc:sldMk cId="1164779254" sldId="230717668"/>
            <ac:cxnSpMk id="219" creationId="{FC22B434-FE38-4E69-8120-61D80FAD6E91}"/>
          </ac:cxnSpMkLst>
        </pc:cxnChg>
        <pc:cxnChg chg="mod">
          <ac:chgData name="El Bakkouri, Manal" userId="8b130982-2e3f-4164-b881-fd3a2e4b2453" providerId="ADAL" clId="{4457FA57-250B-44AC-8655-05D46C5A3D8A}" dt="2023-05-31T13:52:17.105" v="14956" actId="1037"/>
          <ac:cxnSpMkLst>
            <pc:docMk/>
            <pc:sldMk cId="1164779254" sldId="230717668"/>
            <ac:cxnSpMk id="229" creationId="{635B23EC-37F6-4B9F-96EC-61FD7CF34B59}"/>
          </ac:cxnSpMkLst>
        </pc:cxnChg>
        <pc:cxnChg chg="mod">
          <ac:chgData name="El Bakkouri, Manal" userId="8b130982-2e3f-4164-b881-fd3a2e4b2453" providerId="ADAL" clId="{4457FA57-250B-44AC-8655-05D46C5A3D8A}" dt="2023-05-31T13:30:08.680" v="14681" actId="1076"/>
          <ac:cxnSpMkLst>
            <pc:docMk/>
            <pc:sldMk cId="1164779254" sldId="230717668"/>
            <ac:cxnSpMk id="362" creationId="{DD274298-9E28-4B1C-9D84-6DBFC1613519}"/>
          </ac:cxnSpMkLst>
        </pc:cxnChg>
        <pc:cxnChg chg="mod">
          <ac:chgData name="El Bakkouri, Manal" userId="8b130982-2e3f-4164-b881-fd3a2e4b2453" providerId="ADAL" clId="{4457FA57-250B-44AC-8655-05D46C5A3D8A}" dt="2023-05-31T13:30:08.680" v="14681" actId="1076"/>
          <ac:cxnSpMkLst>
            <pc:docMk/>
            <pc:sldMk cId="1164779254" sldId="230717668"/>
            <ac:cxnSpMk id="364" creationId="{179FAF03-06D5-4E7A-BFEE-1942053FF1A4}"/>
          </ac:cxnSpMkLst>
        </pc:cxnChg>
        <pc:cxnChg chg="mod">
          <ac:chgData name="El Bakkouri, Manal" userId="8b130982-2e3f-4164-b881-fd3a2e4b2453" providerId="ADAL" clId="{4457FA57-250B-44AC-8655-05D46C5A3D8A}" dt="2023-05-31T13:30:08.680" v="14681" actId="1076"/>
          <ac:cxnSpMkLst>
            <pc:docMk/>
            <pc:sldMk cId="1164779254" sldId="230717668"/>
            <ac:cxnSpMk id="366" creationId="{CA63B820-507B-46EF-9D0E-114BE7F1DBCA}"/>
          </ac:cxnSpMkLst>
        </pc:cxnChg>
        <pc:cxnChg chg="mod">
          <ac:chgData name="El Bakkouri, Manal" userId="8b130982-2e3f-4164-b881-fd3a2e4b2453" providerId="ADAL" clId="{4457FA57-250B-44AC-8655-05D46C5A3D8A}" dt="2023-05-31T13:30:08.680" v="14681" actId="1076"/>
          <ac:cxnSpMkLst>
            <pc:docMk/>
            <pc:sldMk cId="1164779254" sldId="230717668"/>
            <ac:cxnSpMk id="368" creationId="{3685CB19-DBB8-4DDE-873C-4C34EE5BBD32}"/>
          </ac:cxnSpMkLst>
        </pc:cxnChg>
        <pc:cxnChg chg="mod">
          <ac:chgData name="El Bakkouri, Manal" userId="8b130982-2e3f-4164-b881-fd3a2e4b2453" providerId="ADAL" clId="{4457FA57-250B-44AC-8655-05D46C5A3D8A}" dt="2023-05-31T13:30:08.680" v="14681" actId="1076"/>
          <ac:cxnSpMkLst>
            <pc:docMk/>
            <pc:sldMk cId="1164779254" sldId="230717668"/>
            <ac:cxnSpMk id="370" creationId="{F5683E78-29EF-4FAC-B9D3-11DA9DE71193}"/>
          </ac:cxnSpMkLst>
        </pc:cxnChg>
        <pc:cxnChg chg="mod">
          <ac:chgData name="El Bakkouri, Manal" userId="8b130982-2e3f-4164-b881-fd3a2e4b2453" providerId="ADAL" clId="{4457FA57-250B-44AC-8655-05D46C5A3D8A}" dt="2023-05-31T13:30:08.680" v="14681" actId="1076"/>
          <ac:cxnSpMkLst>
            <pc:docMk/>
            <pc:sldMk cId="1164779254" sldId="230717668"/>
            <ac:cxnSpMk id="371" creationId="{3EB29388-1177-469E-8D66-32F0F831D886}"/>
          </ac:cxnSpMkLst>
        </pc:cxnChg>
        <pc:cxnChg chg="mod">
          <ac:chgData name="El Bakkouri, Manal" userId="8b130982-2e3f-4164-b881-fd3a2e4b2453" providerId="ADAL" clId="{4457FA57-250B-44AC-8655-05D46C5A3D8A}" dt="2023-05-31T13:30:08.680" v="14681" actId="1076"/>
          <ac:cxnSpMkLst>
            <pc:docMk/>
            <pc:sldMk cId="1164779254" sldId="230717668"/>
            <ac:cxnSpMk id="373" creationId="{9CD7A395-44AC-425F-8914-08E406EE326E}"/>
          </ac:cxnSpMkLst>
        </pc:cxnChg>
        <pc:cxnChg chg="mod">
          <ac:chgData name="El Bakkouri, Manal" userId="8b130982-2e3f-4164-b881-fd3a2e4b2453" providerId="ADAL" clId="{4457FA57-250B-44AC-8655-05D46C5A3D8A}" dt="2023-05-31T13:30:08.680" v="14681" actId="1076"/>
          <ac:cxnSpMkLst>
            <pc:docMk/>
            <pc:sldMk cId="1164779254" sldId="230717668"/>
            <ac:cxnSpMk id="375" creationId="{6B488AE1-B512-41D5-B131-43D7E4313242}"/>
          </ac:cxnSpMkLst>
        </pc:cxnChg>
        <pc:cxnChg chg="mod">
          <ac:chgData name="El Bakkouri, Manal" userId="8b130982-2e3f-4164-b881-fd3a2e4b2453" providerId="ADAL" clId="{4457FA57-250B-44AC-8655-05D46C5A3D8A}" dt="2023-05-31T13:30:08.680" v="14681" actId="1076"/>
          <ac:cxnSpMkLst>
            <pc:docMk/>
            <pc:sldMk cId="1164779254" sldId="230717668"/>
            <ac:cxnSpMk id="377" creationId="{9D3271A1-7A44-4542-98A1-A585B5BCFE26}"/>
          </ac:cxnSpMkLst>
        </pc:cxnChg>
        <pc:cxnChg chg="add del mod">
          <ac:chgData name="El Bakkouri, Manal" userId="8b130982-2e3f-4164-b881-fd3a2e4b2453" providerId="ADAL" clId="{4457FA57-250B-44AC-8655-05D46C5A3D8A}" dt="2023-05-31T13:51:24.489" v="14903" actId="478"/>
          <ac:cxnSpMkLst>
            <pc:docMk/>
            <pc:sldMk cId="1164779254" sldId="230717668"/>
            <ac:cxnSpMk id="517" creationId="{DC149B56-5BD3-49FE-983D-5DBE601D5BBB}"/>
          </ac:cxnSpMkLst>
        </pc:cxnChg>
      </pc:sldChg>
      <pc:sldChg chg="addSp delSp modSp add mod modAnim">
        <pc:chgData name="El Bakkouri, Manal" userId="8b130982-2e3f-4164-b881-fd3a2e4b2453" providerId="ADAL" clId="{4457FA57-250B-44AC-8655-05D46C5A3D8A}" dt="2023-05-31T14:44:08.309" v="15444" actId="1076"/>
        <pc:sldMkLst>
          <pc:docMk/>
          <pc:sldMk cId="2238209447" sldId="230717669"/>
        </pc:sldMkLst>
        <pc:spChg chg="del">
          <ac:chgData name="El Bakkouri, Manal" userId="8b130982-2e3f-4164-b881-fd3a2e4b2453" providerId="ADAL" clId="{4457FA57-250B-44AC-8655-05D46C5A3D8A}" dt="2023-05-31T14:20:28.211" v="15188" actId="478"/>
          <ac:spMkLst>
            <pc:docMk/>
            <pc:sldMk cId="2238209447" sldId="230717669"/>
            <ac:spMk id="6" creationId="{DC0DF68B-E05A-4AE3-8823-51DA5829B49B}"/>
          </ac:spMkLst>
        </pc:spChg>
        <pc:spChg chg="del">
          <ac:chgData name="El Bakkouri, Manal" userId="8b130982-2e3f-4164-b881-fd3a2e4b2453" providerId="ADAL" clId="{4457FA57-250B-44AC-8655-05D46C5A3D8A}" dt="2023-05-31T14:20:48.115" v="15189" actId="478"/>
          <ac:spMkLst>
            <pc:docMk/>
            <pc:sldMk cId="2238209447" sldId="230717669"/>
            <ac:spMk id="10" creationId="{9A330B84-6D67-4B2F-9792-32F2626C8A4D}"/>
          </ac:spMkLst>
        </pc:spChg>
        <pc:spChg chg="del">
          <ac:chgData name="El Bakkouri, Manal" userId="8b130982-2e3f-4164-b881-fd3a2e4b2453" providerId="ADAL" clId="{4457FA57-250B-44AC-8655-05D46C5A3D8A}" dt="2023-05-31T14:20:48.115" v="15189" actId="478"/>
          <ac:spMkLst>
            <pc:docMk/>
            <pc:sldMk cId="2238209447" sldId="230717669"/>
            <ac:spMk id="17" creationId="{07A1EC7F-8449-4C14-AA14-7EFC05703416}"/>
          </ac:spMkLst>
        </pc:spChg>
        <pc:spChg chg="del">
          <ac:chgData name="El Bakkouri, Manal" userId="8b130982-2e3f-4164-b881-fd3a2e4b2453" providerId="ADAL" clId="{4457FA57-250B-44AC-8655-05D46C5A3D8A}" dt="2023-05-31T14:20:48.115" v="15189" actId="478"/>
          <ac:spMkLst>
            <pc:docMk/>
            <pc:sldMk cId="2238209447" sldId="230717669"/>
            <ac:spMk id="18" creationId="{E9489598-7A23-40E4-A184-5EF4A0FD2AC1}"/>
          </ac:spMkLst>
        </pc:spChg>
        <pc:spChg chg="del">
          <ac:chgData name="El Bakkouri, Manal" userId="8b130982-2e3f-4164-b881-fd3a2e4b2453" providerId="ADAL" clId="{4457FA57-250B-44AC-8655-05D46C5A3D8A}" dt="2023-05-31T14:20:28.211" v="15188" actId="478"/>
          <ac:spMkLst>
            <pc:docMk/>
            <pc:sldMk cId="2238209447" sldId="230717669"/>
            <ac:spMk id="19" creationId="{52677D5E-EDB6-4589-A349-D1CE54B101BC}"/>
          </ac:spMkLst>
        </pc:spChg>
        <pc:spChg chg="del">
          <ac:chgData name="El Bakkouri, Manal" userId="8b130982-2e3f-4164-b881-fd3a2e4b2453" providerId="ADAL" clId="{4457FA57-250B-44AC-8655-05D46C5A3D8A}" dt="2023-05-31T14:20:48.115" v="15189" actId="478"/>
          <ac:spMkLst>
            <pc:docMk/>
            <pc:sldMk cId="2238209447" sldId="230717669"/>
            <ac:spMk id="23" creationId="{947E7CFF-2072-4D36-A520-65C9AB0B4560}"/>
          </ac:spMkLst>
        </pc:spChg>
        <pc:spChg chg="add mod">
          <ac:chgData name="El Bakkouri, Manal" userId="8b130982-2e3f-4164-b881-fd3a2e4b2453" providerId="ADAL" clId="{4457FA57-250B-44AC-8655-05D46C5A3D8A}" dt="2023-05-31T14:44:02.721" v="15442" actId="164"/>
          <ac:spMkLst>
            <pc:docMk/>
            <pc:sldMk cId="2238209447" sldId="230717669"/>
            <ac:spMk id="39" creationId="{CE79FB6D-48E1-4F12-8AB2-8B1F28799D80}"/>
          </ac:spMkLst>
        </pc:spChg>
        <pc:spChg chg="add mod">
          <ac:chgData name="El Bakkouri, Manal" userId="8b130982-2e3f-4164-b881-fd3a2e4b2453" providerId="ADAL" clId="{4457FA57-250B-44AC-8655-05D46C5A3D8A}" dt="2023-05-31T14:43:54.812" v="15440" actId="164"/>
          <ac:spMkLst>
            <pc:docMk/>
            <pc:sldMk cId="2238209447" sldId="230717669"/>
            <ac:spMk id="40" creationId="{AC76D353-BD55-4088-9CBF-727B122B69AE}"/>
          </ac:spMkLst>
        </pc:spChg>
        <pc:spChg chg="add del mod">
          <ac:chgData name="El Bakkouri, Manal" userId="8b130982-2e3f-4164-b881-fd3a2e4b2453" providerId="ADAL" clId="{4457FA57-250B-44AC-8655-05D46C5A3D8A}" dt="2023-05-31T14:43:54.806" v="15439" actId="164"/>
          <ac:spMkLst>
            <pc:docMk/>
            <pc:sldMk cId="2238209447" sldId="230717669"/>
            <ac:spMk id="41" creationId="{06A8CDE4-41F6-4993-9716-2ACC00301977}"/>
          </ac:spMkLst>
        </pc:spChg>
        <pc:spChg chg="add mod">
          <ac:chgData name="El Bakkouri, Manal" userId="8b130982-2e3f-4164-b881-fd3a2e4b2453" providerId="ADAL" clId="{4457FA57-250B-44AC-8655-05D46C5A3D8A}" dt="2023-05-31T14:44:02.721" v="15442" actId="164"/>
          <ac:spMkLst>
            <pc:docMk/>
            <pc:sldMk cId="2238209447" sldId="230717669"/>
            <ac:spMk id="43" creationId="{99B8748E-E8C6-48F9-8C6A-D5F14347E275}"/>
          </ac:spMkLst>
        </pc:spChg>
        <pc:spChg chg="add mod">
          <ac:chgData name="El Bakkouri, Manal" userId="8b130982-2e3f-4164-b881-fd3a2e4b2453" providerId="ADAL" clId="{4457FA57-250B-44AC-8655-05D46C5A3D8A}" dt="2023-05-31T14:43:54.812" v="15440" actId="164"/>
          <ac:spMkLst>
            <pc:docMk/>
            <pc:sldMk cId="2238209447" sldId="230717669"/>
            <ac:spMk id="44" creationId="{6E36F59C-E86C-4EC0-8764-DABF64A569DC}"/>
          </ac:spMkLst>
        </pc:spChg>
        <pc:spChg chg="add mod">
          <ac:chgData name="El Bakkouri, Manal" userId="8b130982-2e3f-4164-b881-fd3a2e4b2453" providerId="ADAL" clId="{4457FA57-250B-44AC-8655-05D46C5A3D8A}" dt="2023-05-31T14:43:54.806" v="15439" actId="164"/>
          <ac:spMkLst>
            <pc:docMk/>
            <pc:sldMk cId="2238209447" sldId="230717669"/>
            <ac:spMk id="45" creationId="{B78287DF-417A-4129-80D6-173AF165856B}"/>
          </ac:spMkLst>
        </pc:spChg>
        <pc:spChg chg="del">
          <ac:chgData name="El Bakkouri, Manal" userId="8b130982-2e3f-4164-b881-fd3a2e4b2453" providerId="ADAL" clId="{4457FA57-250B-44AC-8655-05D46C5A3D8A}" dt="2023-05-31T14:20:52.601" v="15190" actId="478"/>
          <ac:spMkLst>
            <pc:docMk/>
            <pc:sldMk cId="2238209447" sldId="230717669"/>
            <ac:spMk id="51" creationId="{E44EE54E-8335-4834-AA17-45E79CB518A5}"/>
          </ac:spMkLst>
        </pc:spChg>
        <pc:spChg chg="del">
          <ac:chgData name="El Bakkouri, Manal" userId="8b130982-2e3f-4164-b881-fd3a2e4b2453" providerId="ADAL" clId="{4457FA57-250B-44AC-8655-05D46C5A3D8A}" dt="2023-05-31T14:20:52.601" v="15190" actId="478"/>
          <ac:spMkLst>
            <pc:docMk/>
            <pc:sldMk cId="2238209447" sldId="230717669"/>
            <ac:spMk id="52" creationId="{0DCF5307-4E0F-449C-A068-F83699462820}"/>
          </ac:spMkLst>
        </pc:spChg>
        <pc:spChg chg="del">
          <ac:chgData name="El Bakkouri, Manal" userId="8b130982-2e3f-4164-b881-fd3a2e4b2453" providerId="ADAL" clId="{4457FA57-250B-44AC-8655-05D46C5A3D8A}" dt="2023-05-31T14:20:52.601" v="15190" actId="478"/>
          <ac:spMkLst>
            <pc:docMk/>
            <pc:sldMk cId="2238209447" sldId="230717669"/>
            <ac:spMk id="54" creationId="{B03C8AB1-96A9-4577-8CF5-1E6AB5FFAB5C}"/>
          </ac:spMkLst>
        </pc:spChg>
        <pc:spChg chg="del">
          <ac:chgData name="El Bakkouri, Manal" userId="8b130982-2e3f-4164-b881-fd3a2e4b2453" providerId="ADAL" clId="{4457FA57-250B-44AC-8655-05D46C5A3D8A}" dt="2023-05-31T14:20:48.115" v="15189" actId="478"/>
          <ac:spMkLst>
            <pc:docMk/>
            <pc:sldMk cId="2238209447" sldId="230717669"/>
            <ac:spMk id="55" creationId="{E245EB2A-7798-441E-BDA4-13838E20EC3F}"/>
          </ac:spMkLst>
        </pc:spChg>
        <pc:spChg chg="del">
          <ac:chgData name="El Bakkouri, Manal" userId="8b130982-2e3f-4164-b881-fd3a2e4b2453" providerId="ADAL" clId="{4457FA57-250B-44AC-8655-05D46C5A3D8A}" dt="2023-05-31T14:20:52.601" v="15190" actId="478"/>
          <ac:spMkLst>
            <pc:docMk/>
            <pc:sldMk cId="2238209447" sldId="230717669"/>
            <ac:spMk id="56" creationId="{18074B22-072D-4C5F-9F33-9534B5E7EE14}"/>
          </ac:spMkLst>
        </pc:spChg>
        <pc:spChg chg="del">
          <ac:chgData name="El Bakkouri, Manal" userId="8b130982-2e3f-4164-b881-fd3a2e4b2453" providerId="ADAL" clId="{4457FA57-250B-44AC-8655-05D46C5A3D8A}" dt="2023-05-31T14:20:52.601" v="15190" actId="478"/>
          <ac:spMkLst>
            <pc:docMk/>
            <pc:sldMk cId="2238209447" sldId="230717669"/>
            <ac:spMk id="58" creationId="{1B79AEDC-733E-4700-ADBE-454EB6EEFFFA}"/>
          </ac:spMkLst>
        </pc:spChg>
        <pc:spChg chg="del">
          <ac:chgData name="El Bakkouri, Manal" userId="8b130982-2e3f-4164-b881-fd3a2e4b2453" providerId="ADAL" clId="{4457FA57-250B-44AC-8655-05D46C5A3D8A}" dt="2023-05-31T14:20:48.115" v="15189" actId="478"/>
          <ac:spMkLst>
            <pc:docMk/>
            <pc:sldMk cId="2238209447" sldId="230717669"/>
            <ac:spMk id="59" creationId="{EC768663-3464-42B9-A74C-C75418A93A39}"/>
          </ac:spMkLst>
        </pc:spChg>
        <pc:grpChg chg="add mod">
          <ac:chgData name="El Bakkouri, Manal" userId="8b130982-2e3f-4164-b881-fd3a2e4b2453" providerId="ADAL" clId="{4457FA57-250B-44AC-8655-05D46C5A3D8A}" dt="2023-05-31T14:43:54.815" v="15441" actId="164"/>
          <ac:grpSpMkLst>
            <pc:docMk/>
            <pc:sldMk cId="2238209447" sldId="230717669"/>
            <ac:grpSpMk id="3" creationId="{892A37CA-110E-4F59-845E-3CAF989EAFDA}"/>
          </ac:grpSpMkLst>
        </pc:grpChg>
        <pc:grpChg chg="add mod">
          <ac:chgData name="El Bakkouri, Manal" userId="8b130982-2e3f-4164-b881-fd3a2e4b2453" providerId="ADAL" clId="{4457FA57-250B-44AC-8655-05D46C5A3D8A}" dt="2023-05-31T14:43:54.812" v="15440" actId="164"/>
          <ac:grpSpMkLst>
            <pc:docMk/>
            <pc:sldMk cId="2238209447" sldId="230717669"/>
            <ac:grpSpMk id="4" creationId="{7AAA1DD0-C6D0-4B60-BA51-3F6E53FCF4F7}"/>
          </ac:grpSpMkLst>
        </pc:grpChg>
        <pc:grpChg chg="add mod">
          <ac:chgData name="El Bakkouri, Manal" userId="8b130982-2e3f-4164-b881-fd3a2e4b2453" providerId="ADAL" clId="{4457FA57-250B-44AC-8655-05D46C5A3D8A}" dt="2023-05-31T14:43:54.806" v="15439" actId="164"/>
          <ac:grpSpMkLst>
            <pc:docMk/>
            <pc:sldMk cId="2238209447" sldId="230717669"/>
            <ac:grpSpMk id="7" creationId="{61E51AC8-BE78-40D7-8807-24D3811D897D}"/>
          </ac:grpSpMkLst>
        </pc:grpChg>
        <pc:grpChg chg="add mod">
          <ac:chgData name="El Bakkouri, Manal" userId="8b130982-2e3f-4164-b881-fd3a2e4b2453" providerId="ADAL" clId="{4457FA57-250B-44AC-8655-05D46C5A3D8A}" dt="2023-05-31T14:44:08.309" v="15444" actId="1076"/>
          <ac:grpSpMkLst>
            <pc:docMk/>
            <pc:sldMk cId="2238209447" sldId="230717669"/>
            <ac:grpSpMk id="12" creationId="{DF110679-3265-412F-9E14-75CE54E01A1D}"/>
          </ac:grpSpMkLst>
        </pc:grpChg>
        <pc:grpChg chg="del">
          <ac:chgData name="El Bakkouri, Manal" userId="8b130982-2e3f-4164-b881-fd3a2e4b2453" providerId="ADAL" clId="{4457FA57-250B-44AC-8655-05D46C5A3D8A}" dt="2023-05-31T14:20:28.211" v="15188" actId="478"/>
          <ac:grpSpMkLst>
            <pc:docMk/>
            <pc:sldMk cId="2238209447" sldId="230717669"/>
            <ac:grpSpMk id="64" creationId="{B098881E-5E2F-4A5E-AEE3-8EA9BBA1478B}"/>
          </ac:grpSpMkLst>
        </pc:grpChg>
        <pc:grpChg chg="del">
          <ac:chgData name="El Bakkouri, Manal" userId="8b130982-2e3f-4164-b881-fd3a2e4b2453" providerId="ADAL" clId="{4457FA57-250B-44AC-8655-05D46C5A3D8A}" dt="2023-05-31T14:20:28.211" v="15188" actId="478"/>
          <ac:grpSpMkLst>
            <pc:docMk/>
            <pc:sldMk cId="2238209447" sldId="230717669"/>
            <ac:grpSpMk id="66" creationId="{F0B2F60C-EB8F-4C40-B314-203495547A9D}"/>
          </ac:grpSpMkLst>
        </pc:grpChg>
        <pc:grpChg chg="del">
          <ac:chgData name="El Bakkouri, Manal" userId="8b130982-2e3f-4164-b881-fd3a2e4b2453" providerId="ADAL" clId="{4457FA57-250B-44AC-8655-05D46C5A3D8A}" dt="2023-05-31T14:20:28.211" v="15188" actId="478"/>
          <ac:grpSpMkLst>
            <pc:docMk/>
            <pc:sldMk cId="2238209447" sldId="230717669"/>
            <ac:grpSpMk id="67" creationId="{0A57B063-5E07-4AC8-9AD2-FB010C3B27ED}"/>
          </ac:grpSpMkLst>
        </pc:grpChg>
        <pc:picChg chg="add mod">
          <ac:chgData name="El Bakkouri, Manal" userId="8b130982-2e3f-4164-b881-fd3a2e4b2453" providerId="ADAL" clId="{4457FA57-250B-44AC-8655-05D46C5A3D8A}" dt="2023-05-31T14:44:02.721" v="15442" actId="164"/>
          <ac:picMkLst>
            <pc:docMk/>
            <pc:sldMk cId="2238209447" sldId="230717669"/>
            <ac:picMk id="32" creationId="{B614BB23-D682-4688-9B26-00A02203549D}"/>
          </ac:picMkLst>
        </pc:picChg>
        <pc:picChg chg="add del mod">
          <ac:chgData name="El Bakkouri, Manal" userId="8b130982-2e3f-4164-b881-fd3a2e4b2453" providerId="ADAL" clId="{4457FA57-250B-44AC-8655-05D46C5A3D8A}" dt="2023-05-31T14:21:46.634" v="15198" actId="478"/>
          <ac:picMkLst>
            <pc:docMk/>
            <pc:sldMk cId="2238209447" sldId="230717669"/>
            <ac:picMk id="33" creationId="{C977949C-A26E-4643-9B07-FAD79411623B}"/>
          </ac:picMkLst>
        </pc:picChg>
        <pc:picChg chg="add del mod">
          <ac:chgData name="El Bakkouri, Manal" userId="8b130982-2e3f-4164-b881-fd3a2e4b2453" providerId="ADAL" clId="{4457FA57-250B-44AC-8655-05D46C5A3D8A}" dt="2023-05-31T14:21:49.511" v="15199" actId="478"/>
          <ac:picMkLst>
            <pc:docMk/>
            <pc:sldMk cId="2238209447" sldId="230717669"/>
            <ac:picMk id="34" creationId="{0DEAA175-E95F-44F9-B1C1-C60A80BDE693}"/>
          </ac:picMkLst>
        </pc:picChg>
        <pc:picChg chg="add del mod">
          <ac:chgData name="El Bakkouri, Manal" userId="8b130982-2e3f-4164-b881-fd3a2e4b2453" providerId="ADAL" clId="{4457FA57-250B-44AC-8655-05D46C5A3D8A}" dt="2023-05-31T14:27:26.232" v="15222" actId="478"/>
          <ac:picMkLst>
            <pc:docMk/>
            <pc:sldMk cId="2238209447" sldId="230717669"/>
            <ac:picMk id="35" creationId="{E95E39F0-C5E4-47B9-8D95-F1EE59324655}"/>
          </ac:picMkLst>
        </pc:picChg>
        <pc:picChg chg="add del mod">
          <ac:chgData name="El Bakkouri, Manal" userId="8b130982-2e3f-4164-b881-fd3a2e4b2453" providerId="ADAL" clId="{4457FA57-250B-44AC-8655-05D46C5A3D8A}" dt="2023-05-31T14:27:26.524" v="15223" actId="478"/>
          <ac:picMkLst>
            <pc:docMk/>
            <pc:sldMk cId="2238209447" sldId="230717669"/>
            <ac:picMk id="36" creationId="{ADC44509-9EC4-44DC-9740-2A9B3DBFF018}"/>
          </ac:picMkLst>
        </pc:picChg>
        <pc:picChg chg="add mod">
          <ac:chgData name="El Bakkouri, Manal" userId="8b130982-2e3f-4164-b881-fd3a2e4b2453" providerId="ADAL" clId="{4457FA57-250B-44AC-8655-05D46C5A3D8A}" dt="2023-05-31T14:43:54.812" v="15440" actId="164"/>
          <ac:picMkLst>
            <pc:docMk/>
            <pc:sldMk cId="2238209447" sldId="230717669"/>
            <ac:picMk id="37" creationId="{E7EA09C7-DD06-471E-91D1-88DD9DAF3C59}"/>
          </ac:picMkLst>
        </pc:picChg>
        <pc:picChg chg="add mod">
          <ac:chgData name="El Bakkouri, Manal" userId="8b130982-2e3f-4164-b881-fd3a2e4b2453" providerId="ADAL" clId="{4457FA57-250B-44AC-8655-05D46C5A3D8A}" dt="2023-05-31T14:43:54.806" v="15439" actId="164"/>
          <ac:picMkLst>
            <pc:docMk/>
            <pc:sldMk cId="2238209447" sldId="230717669"/>
            <ac:picMk id="38" creationId="{273C6E95-E83C-43DE-8A0F-5E576E14987D}"/>
          </ac:picMkLst>
        </pc:picChg>
        <pc:cxnChg chg="mod">
          <ac:chgData name="El Bakkouri, Manal" userId="8b130982-2e3f-4164-b881-fd3a2e4b2453" providerId="ADAL" clId="{4457FA57-250B-44AC-8655-05D46C5A3D8A}" dt="2023-05-31T14:20:28.211" v="15188" actId="478"/>
          <ac:cxnSpMkLst>
            <pc:docMk/>
            <pc:sldMk cId="2238209447" sldId="230717669"/>
            <ac:cxnSpMk id="9" creationId="{AAEE4412-5796-43DC-8A74-6F7A8C565AFE}"/>
          </ac:cxnSpMkLst>
        </pc:cxnChg>
        <pc:cxnChg chg="mod">
          <ac:chgData name="El Bakkouri, Manal" userId="8b130982-2e3f-4164-b881-fd3a2e4b2453" providerId="ADAL" clId="{4457FA57-250B-44AC-8655-05D46C5A3D8A}" dt="2023-05-31T14:20:28.211" v="15188" actId="478"/>
          <ac:cxnSpMkLst>
            <pc:docMk/>
            <pc:sldMk cId="2238209447" sldId="230717669"/>
            <ac:cxnSpMk id="22" creationId="{E2306202-EF3E-4269-9B14-402B0818FD34}"/>
          </ac:cxnSpMkLst>
        </pc:cxnChg>
      </pc:sldChg>
      <pc:sldChg chg="modSp mod modNotesTx">
        <pc:chgData name="El Bakkouri, Manal" userId="8b130982-2e3f-4164-b881-fd3a2e4b2453" providerId="ADAL" clId="{4457FA57-250B-44AC-8655-05D46C5A3D8A}" dt="2023-06-12T23:09:59.384" v="15981" actId="20577"/>
        <pc:sldMkLst>
          <pc:docMk/>
          <pc:sldMk cId="1397262782" sldId="230717672"/>
        </pc:sldMkLst>
        <pc:spChg chg="mod">
          <ac:chgData name="El Bakkouri, Manal" userId="8b130982-2e3f-4164-b881-fd3a2e4b2453" providerId="ADAL" clId="{4457FA57-250B-44AC-8655-05D46C5A3D8A}" dt="2023-06-12T13:35:37.842" v="15883" actId="403"/>
          <ac:spMkLst>
            <pc:docMk/>
            <pc:sldMk cId="1397262782" sldId="230717672"/>
            <ac:spMk id="7" creationId="{C6ED7FBB-C822-4D80-888B-8B69F71F9A80}"/>
          </ac:spMkLst>
        </pc:spChg>
        <pc:spChg chg="mod">
          <ac:chgData name="El Bakkouri, Manal" userId="8b130982-2e3f-4164-b881-fd3a2e4b2453" providerId="ADAL" clId="{4457FA57-250B-44AC-8655-05D46C5A3D8A}" dt="2023-06-12T13:35:37.842" v="15883" actId="403"/>
          <ac:spMkLst>
            <pc:docMk/>
            <pc:sldMk cId="1397262782" sldId="230717672"/>
            <ac:spMk id="8" creationId="{7944258F-542C-4FD5-AE57-847CE56CBF3C}"/>
          </ac:spMkLst>
        </pc:spChg>
        <pc:spChg chg="mod">
          <ac:chgData name="El Bakkouri, Manal" userId="8b130982-2e3f-4164-b881-fd3a2e4b2453" providerId="ADAL" clId="{4457FA57-250B-44AC-8655-05D46C5A3D8A}" dt="2023-06-12T13:35:37.842" v="15883" actId="403"/>
          <ac:spMkLst>
            <pc:docMk/>
            <pc:sldMk cId="1397262782" sldId="230717672"/>
            <ac:spMk id="9" creationId="{6D2A5BBF-26F7-4BD8-B49E-9BF5038990EB}"/>
          </ac:spMkLst>
        </pc:spChg>
        <pc:spChg chg="mod">
          <ac:chgData name="El Bakkouri, Manal" userId="8b130982-2e3f-4164-b881-fd3a2e4b2453" providerId="ADAL" clId="{4457FA57-250B-44AC-8655-05D46C5A3D8A}" dt="2023-06-12T13:35:49.053" v="15887" actId="14100"/>
          <ac:spMkLst>
            <pc:docMk/>
            <pc:sldMk cId="1397262782" sldId="230717672"/>
            <ac:spMk id="14" creationId="{AB9BE935-45AC-4C32-AF93-3C03F60903F3}"/>
          </ac:spMkLst>
        </pc:spChg>
        <pc:spChg chg="mod">
          <ac:chgData name="El Bakkouri, Manal" userId="8b130982-2e3f-4164-b881-fd3a2e4b2453" providerId="ADAL" clId="{4457FA57-250B-44AC-8655-05D46C5A3D8A}" dt="2023-06-12T13:35:55.046" v="15889" actId="14100"/>
          <ac:spMkLst>
            <pc:docMk/>
            <pc:sldMk cId="1397262782" sldId="230717672"/>
            <ac:spMk id="16" creationId="{D4CBE81A-5997-449C-AD15-81A4BB815EA2}"/>
          </ac:spMkLst>
        </pc:spChg>
        <pc:spChg chg="mod">
          <ac:chgData name="El Bakkouri, Manal" userId="8b130982-2e3f-4164-b881-fd3a2e4b2453" providerId="ADAL" clId="{4457FA57-250B-44AC-8655-05D46C5A3D8A}" dt="2023-06-12T13:35:43.918" v="15885" actId="14100"/>
          <ac:spMkLst>
            <pc:docMk/>
            <pc:sldMk cId="1397262782" sldId="230717672"/>
            <ac:spMk id="18" creationId="{7670BCDF-CEC6-4C27-B5A6-1B8F64FC71E1}"/>
          </ac:spMkLst>
        </pc:spChg>
        <pc:spChg chg="mod">
          <ac:chgData name="El Bakkouri, Manal" userId="8b130982-2e3f-4164-b881-fd3a2e4b2453" providerId="ADAL" clId="{4457FA57-250B-44AC-8655-05D46C5A3D8A}" dt="2023-06-12T13:35:37.842" v="15883" actId="403"/>
          <ac:spMkLst>
            <pc:docMk/>
            <pc:sldMk cId="1397262782" sldId="230717672"/>
            <ac:spMk id="108" creationId="{CC3931AB-0CD1-4A34-9EED-140A126DEF4E}"/>
          </ac:spMkLst>
        </pc:spChg>
        <pc:spChg chg="mod">
          <ac:chgData name="El Bakkouri, Manal" userId="8b130982-2e3f-4164-b881-fd3a2e4b2453" providerId="ADAL" clId="{4457FA57-250B-44AC-8655-05D46C5A3D8A}" dt="2023-06-12T12:54:04.069" v="15787" actId="20577"/>
          <ac:spMkLst>
            <pc:docMk/>
            <pc:sldMk cId="1397262782" sldId="230717672"/>
            <ac:spMk id="136" creationId="{699B04D3-E781-4533-8F27-4E67D0DD4AAF}"/>
          </ac:spMkLst>
        </pc:spChg>
      </pc:sldChg>
      <pc:sldChg chg="addSp delSp modSp mod">
        <pc:chgData name="El Bakkouri, Manal" userId="8b130982-2e3f-4164-b881-fd3a2e4b2453" providerId="ADAL" clId="{4457FA57-250B-44AC-8655-05D46C5A3D8A}" dt="2023-06-12T13:36:03.371" v="15891"/>
        <pc:sldMkLst>
          <pc:docMk/>
          <pc:sldMk cId="2967782731" sldId="230717674"/>
        </pc:sldMkLst>
        <pc:spChg chg="add mod">
          <ac:chgData name="El Bakkouri, Manal" userId="8b130982-2e3f-4164-b881-fd3a2e4b2453" providerId="ADAL" clId="{4457FA57-250B-44AC-8655-05D46C5A3D8A}" dt="2023-06-12T13:36:03.371" v="15891"/>
          <ac:spMkLst>
            <pc:docMk/>
            <pc:sldMk cId="2967782731" sldId="230717674"/>
            <ac:spMk id="110" creationId="{3C3BEF85-CC70-4E0F-B428-62964A41C84F}"/>
          </ac:spMkLst>
        </pc:spChg>
        <pc:spChg chg="add mod">
          <ac:chgData name="El Bakkouri, Manal" userId="8b130982-2e3f-4164-b881-fd3a2e4b2453" providerId="ADAL" clId="{4457FA57-250B-44AC-8655-05D46C5A3D8A}" dt="2023-06-12T13:36:03.371" v="15891"/>
          <ac:spMkLst>
            <pc:docMk/>
            <pc:sldMk cId="2967782731" sldId="230717674"/>
            <ac:spMk id="111" creationId="{BDAF87E8-8B7A-4B5F-924D-831F746BB976}"/>
          </ac:spMkLst>
        </pc:spChg>
        <pc:spChg chg="add mod">
          <ac:chgData name="El Bakkouri, Manal" userId="8b130982-2e3f-4164-b881-fd3a2e4b2453" providerId="ADAL" clId="{4457FA57-250B-44AC-8655-05D46C5A3D8A}" dt="2023-06-12T13:36:03.371" v="15891"/>
          <ac:spMkLst>
            <pc:docMk/>
            <pc:sldMk cId="2967782731" sldId="230717674"/>
            <ac:spMk id="112" creationId="{3F918E86-4834-4D59-BABD-EA014A0A6B42}"/>
          </ac:spMkLst>
        </pc:spChg>
        <pc:spChg chg="del">
          <ac:chgData name="El Bakkouri, Manal" userId="8b130982-2e3f-4164-b881-fd3a2e4b2453" providerId="ADAL" clId="{4457FA57-250B-44AC-8655-05D46C5A3D8A}" dt="2023-06-12T13:36:02.900" v="15890" actId="478"/>
          <ac:spMkLst>
            <pc:docMk/>
            <pc:sldMk cId="2967782731" sldId="230717674"/>
            <ac:spMk id="113" creationId="{AF6930FB-7551-4297-B257-2E9F2B198D19}"/>
          </ac:spMkLst>
        </pc:spChg>
        <pc:spChg chg="del">
          <ac:chgData name="El Bakkouri, Manal" userId="8b130982-2e3f-4164-b881-fd3a2e4b2453" providerId="ADAL" clId="{4457FA57-250B-44AC-8655-05D46C5A3D8A}" dt="2023-06-12T13:36:02.900" v="15890" actId="478"/>
          <ac:spMkLst>
            <pc:docMk/>
            <pc:sldMk cId="2967782731" sldId="230717674"/>
            <ac:spMk id="115" creationId="{E82B954D-DDAD-44FB-A71C-A26EA2981A5D}"/>
          </ac:spMkLst>
        </pc:spChg>
        <pc:spChg chg="del">
          <ac:chgData name="El Bakkouri, Manal" userId="8b130982-2e3f-4164-b881-fd3a2e4b2453" providerId="ADAL" clId="{4457FA57-250B-44AC-8655-05D46C5A3D8A}" dt="2023-06-12T13:36:02.900" v="15890" actId="478"/>
          <ac:spMkLst>
            <pc:docMk/>
            <pc:sldMk cId="2967782731" sldId="230717674"/>
            <ac:spMk id="117" creationId="{1F14A46F-BFDC-4C11-A286-5DAAB9362AF3}"/>
          </ac:spMkLst>
        </pc:spChg>
        <pc:spChg chg="del">
          <ac:chgData name="El Bakkouri, Manal" userId="8b130982-2e3f-4164-b881-fd3a2e4b2453" providerId="ADAL" clId="{4457FA57-250B-44AC-8655-05D46C5A3D8A}" dt="2023-06-12T13:36:02.900" v="15890" actId="478"/>
          <ac:spMkLst>
            <pc:docMk/>
            <pc:sldMk cId="2967782731" sldId="230717674"/>
            <ac:spMk id="118" creationId="{2964A4D8-1D6E-44EE-A17D-3F496F0BE061}"/>
          </ac:spMkLst>
        </pc:spChg>
        <pc:spChg chg="del">
          <ac:chgData name="El Bakkouri, Manal" userId="8b130982-2e3f-4164-b881-fd3a2e4b2453" providerId="ADAL" clId="{4457FA57-250B-44AC-8655-05D46C5A3D8A}" dt="2023-06-12T13:36:02.900" v="15890" actId="478"/>
          <ac:spMkLst>
            <pc:docMk/>
            <pc:sldMk cId="2967782731" sldId="230717674"/>
            <ac:spMk id="119" creationId="{59CDF07D-71F6-46CB-B958-BDC4CAF7D508}"/>
          </ac:spMkLst>
        </pc:spChg>
        <pc:spChg chg="del">
          <ac:chgData name="El Bakkouri, Manal" userId="8b130982-2e3f-4164-b881-fd3a2e4b2453" providerId="ADAL" clId="{4457FA57-250B-44AC-8655-05D46C5A3D8A}" dt="2023-06-12T13:36:02.900" v="15890" actId="478"/>
          <ac:spMkLst>
            <pc:docMk/>
            <pc:sldMk cId="2967782731" sldId="230717674"/>
            <ac:spMk id="120" creationId="{88A59C8F-F1C6-4CCB-B533-1C48D4F15A05}"/>
          </ac:spMkLst>
        </pc:spChg>
        <pc:spChg chg="add mod">
          <ac:chgData name="El Bakkouri, Manal" userId="8b130982-2e3f-4164-b881-fd3a2e4b2453" providerId="ADAL" clId="{4457FA57-250B-44AC-8655-05D46C5A3D8A}" dt="2023-06-12T13:36:03.371" v="15891"/>
          <ac:spMkLst>
            <pc:docMk/>
            <pc:sldMk cId="2967782731" sldId="230717674"/>
            <ac:spMk id="122" creationId="{1A1F57AF-0A3F-43E1-8207-1F113E0AD7FA}"/>
          </ac:spMkLst>
        </pc:spChg>
        <pc:spChg chg="add mod">
          <ac:chgData name="El Bakkouri, Manal" userId="8b130982-2e3f-4164-b881-fd3a2e4b2453" providerId="ADAL" clId="{4457FA57-250B-44AC-8655-05D46C5A3D8A}" dt="2023-06-12T13:36:03.371" v="15891"/>
          <ac:spMkLst>
            <pc:docMk/>
            <pc:sldMk cId="2967782731" sldId="230717674"/>
            <ac:spMk id="123" creationId="{F0B9BEC1-B259-4342-BEB7-8110E0D9400E}"/>
          </ac:spMkLst>
        </pc:spChg>
        <pc:spChg chg="add mod">
          <ac:chgData name="El Bakkouri, Manal" userId="8b130982-2e3f-4164-b881-fd3a2e4b2453" providerId="ADAL" clId="{4457FA57-250B-44AC-8655-05D46C5A3D8A}" dt="2023-06-12T13:36:03.371" v="15891"/>
          <ac:spMkLst>
            <pc:docMk/>
            <pc:sldMk cId="2967782731" sldId="230717674"/>
            <ac:spMk id="124" creationId="{0B6AC3C4-E365-4621-85F3-4DDC850CBA2F}"/>
          </ac:spMkLst>
        </pc:spChg>
        <pc:spChg chg="add mod">
          <ac:chgData name="El Bakkouri, Manal" userId="8b130982-2e3f-4164-b881-fd3a2e4b2453" providerId="ADAL" clId="{4457FA57-250B-44AC-8655-05D46C5A3D8A}" dt="2023-06-12T13:36:03.371" v="15891"/>
          <ac:spMkLst>
            <pc:docMk/>
            <pc:sldMk cId="2967782731" sldId="230717674"/>
            <ac:spMk id="125" creationId="{ACADA7E5-4B1A-4D0B-BB36-7A5519BCB092}"/>
          </ac:spMkLst>
        </pc:spChg>
        <pc:spChg chg="del">
          <ac:chgData name="El Bakkouri, Manal" userId="8b130982-2e3f-4164-b881-fd3a2e4b2453" providerId="ADAL" clId="{4457FA57-250B-44AC-8655-05D46C5A3D8A}" dt="2023-06-12T13:36:02.900" v="15890" actId="478"/>
          <ac:spMkLst>
            <pc:docMk/>
            <pc:sldMk cId="2967782731" sldId="230717674"/>
            <ac:spMk id="126" creationId="{705E6B0A-1DA6-403E-8BFD-28325761767B}"/>
          </ac:spMkLst>
        </pc:spChg>
        <pc:spChg chg="del">
          <ac:chgData name="El Bakkouri, Manal" userId="8b130982-2e3f-4164-b881-fd3a2e4b2453" providerId="ADAL" clId="{4457FA57-250B-44AC-8655-05D46C5A3D8A}" dt="2023-06-12T13:36:02.900" v="15890" actId="478"/>
          <ac:spMkLst>
            <pc:docMk/>
            <pc:sldMk cId="2967782731" sldId="230717674"/>
            <ac:spMk id="127" creationId="{6A99024D-105E-4007-9906-5BE014EF618F}"/>
          </ac:spMkLst>
        </pc:spChg>
        <pc:spChg chg="del">
          <ac:chgData name="El Bakkouri, Manal" userId="8b130982-2e3f-4164-b881-fd3a2e4b2453" providerId="ADAL" clId="{4457FA57-250B-44AC-8655-05D46C5A3D8A}" dt="2023-06-12T13:36:02.900" v="15890" actId="478"/>
          <ac:spMkLst>
            <pc:docMk/>
            <pc:sldMk cId="2967782731" sldId="230717674"/>
            <ac:spMk id="128" creationId="{88E33169-F35E-464E-A9C2-7BBF9AFB1E89}"/>
          </ac:spMkLst>
        </pc:spChg>
        <pc:spChg chg="del">
          <ac:chgData name="El Bakkouri, Manal" userId="8b130982-2e3f-4164-b881-fd3a2e4b2453" providerId="ADAL" clId="{4457FA57-250B-44AC-8655-05D46C5A3D8A}" dt="2023-06-12T13:36:02.900" v="15890" actId="478"/>
          <ac:spMkLst>
            <pc:docMk/>
            <pc:sldMk cId="2967782731" sldId="230717674"/>
            <ac:spMk id="129" creationId="{D36BA187-AC4B-441A-B144-458AC66A436D}"/>
          </ac:spMkLst>
        </pc:spChg>
        <pc:spChg chg="add mod">
          <ac:chgData name="El Bakkouri, Manal" userId="8b130982-2e3f-4164-b881-fd3a2e4b2453" providerId="ADAL" clId="{4457FA57-250B-44AC-8655-05D46C5A3D8A}" dt="2023-06-12T13:36:03.371" v="15891"/>
          <ac:spMkLst>
            <pc:docMk/>
            <pc:sldMk cId="2967782731" sldId="230717674"/>
            <ac:spMk id="130" creationId="{EC82BBC0-D5F6-4E75-ABE8-346D5452D8DF}"/>
          </ac:spMkLst>
        </pc:spChg>
        <pc:spChg chg="add mod">
          <ac:chgData name="El Bakkouri, Manal" userId="8b130982-2e3f-4164-b881-fd3a2e4b2453" providerId="ADAL" clId="{4457FA57-250B-44AC-8655-05D46C5A3D8A}" dt="2023-06-12T13:36:03.371" v="15891"/>
          <ac:spMkLst>
            <pc:docMk/>
            <pc:sldMk cId="2967782731" sldId="230717674"/>
            <ac:spMk id="131" creationId="{55316D08-A918-428B-8001-000B3CE5904A}"/>
          </ac:spMkLst>
        </pc:spChg>
        <pc:spChg chg="add mod">
          <ac:chgData name="El Bakkouri, Manal" userId="8b130982-2e3f-4164-b881-fd3a2e4b2453" providerId="ADAL" clId="{4457FA57-250B-44AC-8655-05D46C5A3D8A}" dt="2023-06-12T13:36:03.371" v="15891"/>
          <ac:spMkLst>
            <pc:docMk/>
            <pc:sldMk cId="2967782731" sldId="230717674"/>
            <ac:spMk id="132" creationId="{2DE7A3E4-4BFE-435E-9B4A-18EEADB8CD81}"/>
          </ac:spMkLst>
        </pc:spChg>
      </pc:sldChg>
      <pc:sldChg chg="modSp mod">
        <pc:chgData name="El Bakkouri, Manal" userId="8b130982-2e3f-4164-b881-fd3a2e4b2453" providerId="ADAL" clId="{4457FA57-250B-44AC-8655-05D46C5A3D8A}" dt="2023-06-12T13:36:20.319" v="15894" actId="14100"/>
        <pc:sldMkLst>
          <pc:docMk/>
          <pc:sldMk cId="421651600" sldId="230717677"/>
        </pc:sldMkLst>
        <pc:spChg chg="mod">
          <ac:chgData name="El Bakkouri, Manal" userId="8b130982-2e3f-4164-b881-fd3a2e4b2453" providerId="ADAL" clId="{4457FA57-250B-44AC-8655-05D46C5A3D8A}" dt="2023-06-12T13:36:20.319" v="15894" actId="14100"/>
          <ac:spMkLst>
            <pc:docMk/>
            <pc:sldMk cId="421651600" sldId="230717677"/>
            <ac:spMk id="19" creationId="{C1B13544-DAFE-440A-A255-339C2949B5C5}"/>
          </ac:spMkLst>
        </pc:spChg>
        <pc:spChg chg="mod">
          <ac:chgData name="El Bakkouri, Manal" userId="8b130982-2e3f-4164-b881-fd3a2e4b2453" providerId="ADAL" clId="{4457FA57-250B-44AC-8655-05D46C5A3D8A}" dt="2023-06-12T13:36:20.319" v="15894" actId="14100"/>
          <ac:spMkLst>
            <pc:docMk/>
            <pc:sldMk cId="421651600" sldId="230717677"/>
            <ac:spMk id="20" creationId="{D0ED360C-E4E2-4306-BD64-0306EA18BF05}"/>
          </ac:spMkLst>
        </pc:spChg>
        <pc:spChg chg="mod">
          <ac:chgData name="El Bakkouri, Manal" userId="8b130982-2e3f-4164-b881-fd3a2e4b2453" providerId="ADAL" clId="{4457FA57-250B-44AC-8655-05D46C5A3D8A}" dt="2023-06-12T13:36:20.319" v="15894" actId="14100"/>
          <ac:spMkLst>
            <pc:docMk/>
            <pc:sldMk cId="421651600" sldId="230717677"/>
            <ac:spMk id="21" creationId="{432A98CC-DC8B-4D5C-A382-BFB64F138686}"/>
          </ac:spMkLst>
        </pc:spChg>
        <pc:spChg chg="mod">
          <ac:chgData name="El Bakkouri, Manal" userId="8b130982-2e3f-4164-b881-fd3a2e4b2453" providerId="ADAL" clId="{4457FA57-250B-44AC-8655-05D46C5A3D8A}" dt="2023-06-12T13:36:10.569" v="15892" actId="403"/>
          <ac:spMkLst>
            <pc:docMk/>
            <pc:sldMk cId="421651600" sldId="230717677"/>
            <ac:spMk id="52" creationId="{3B91E6F8-240B-4D9B-8F32-B35DB8252A34}"/>
          </ac:spMkLst>
        </pc:spChg>
        <pc:spChg chg="mod">
          <ac:chgData name="El Bakkouri, Manal" userId="8b130982-2e3f-4164-b881-fd3a2e4b2453" providerId="ADAL" clId="{4457FA57-250B-44AC-8655-05D46C5A3D8A}" dt="2023-06-12T13:36:10.569" v="15892" actId="403"/>
          <ac:spMkLst>
            <pc:docMk/>
            <pc:sldMk cId="421651600" sldId="230717677"/>
            <ac:spMk id="53" creationId="{332C27C5-2F31-4D21-BAFC-7FEDEC90A95A}"/>
          </ac:spMkLst>
        </pc:spChg>
        <pc:spChg chg="mod">
          <ac:chgData name="El Bakkouri, Manal" userId="8b130982-2e3f-4164-b881-fd3a2e4b2453" providerId="ADAL" clId="{4457FA57-250B-44AC-8655-05D46C5A3D8A}" dt="2023-06-12T13:36:10.569" v="15892" actId="403"/>
          <ac:spMkLst>
            <pc:docMk/>
            <pc:sldMk cId="421651600" sldId="230717677"/>
            <ac:spMk id="54" creationId="{946B8E16-ADE4-46F7-B901-F753707AB567}"/>
          </ac:spMkLst>
        </pc:spChg>
        <pc:spChg chg="mod">
          <ac:chgData name="El Bakkouri, Manal" userId="8b130982-2e3f-4164-b881-fd3a2e4b2453" providerId="ADAL" clId="{4457FA57-250B-44AC-8655-05D46C5A3D8A}" dt="2023-06-12T13:36:10.569" v="15892" actId="403"/>
          <ac:spMkLst>
            <pc:docMk/>
            <pc:sldMk cId="421651600" sldId="230717677"/>
            <ac:spMk id="55" creationId="{AC268416-1950-4A52-A531-893DBC8C7B26}"/>
          </ac:spMkLst>
        </pc:spChg>
      </pc:sldChg>
      <pc:sldChg chg="addSp delSp modSp mod">
        <pc:chgData name="El Bakkouri, Manal" userId="8b130982-2e3f-4164-b881-fd3a2e4b2453" providerId="ADAL" clId="{4457FA57-250B-44AC-8655-05D46C5A3D8A}" dt="2023-06-12T13:36:43.149" v="15896"/>
        <pc:sldMkLst>
          <pc:docMk/>
          <pc:sldMk cId="1384286971" sldId="230717678"/>
        </pc:sldMkLst>
        <pc:spChg chg="del">
          <ac:chgData name="El Bakkouri, Manal" userId="8b130982-2e3f-4164-b881-fd3a2e4b2453" providerId="ADAL" clId="{4457FA57-250B-44AC-8655-05D46C5A3D8A}" dt="2023-06-12T13:36:42.679" v="15895" actId="478"/>
          <ac:spMkLst>
            <pc:docMk/>
            <pc:sldMk cId="1384286971" sldId="230717678"/>
            <ac:spMk id="17" creationId="{5DE8349A-DA28-4904-B6E3-7CC707607C41}"/>
          </ac:spMkLst>
        </pc:spChg>
        <pc:spChg chg="del">
          <ac:chgData name="El Bakkouri, Manal" userId="8b130982-2e3f-4164-b881-fd3a2e4b2453" providerId="ADAL" clId="{4457FA57-250B-44AC-8655-05D46C5A3D8A}" dt="2023-06-12T13:36:42.679" v="15895" actId="478"/>
          <ac:spMkLst>
            <pc:docMk/>
            <pc:sldMk cId="1384286971" sldId="230717678"/>
            <ac:spMk id="18" creationId="{B61F6727-9AC2-4F96-8507-9ED50E03DC1C}"/>
          </ac:spMkLst>
        </pc:spChg>
        <pc:spChg chg="del">
          <ac:chgData name="El Bakkouri, Manal" userId="8b130982-2e3f-4164-b881-fd3a2e4b2453" providerId="ADAL" clId="{4457FA57-250B-44AC-8655-05D46C5A3D8A}" dt="2023-06-12T13:36:42.679" v="15895" actId="478"/>
          <ac:spMkLst>
            <pc:docMk/>
            <pc:sldMk cId="1384286971" sldId="230717678"/>
            <ac:spMk id="19" creationId="{C1B13544-DAFE-440A-A255-339C2949B5C5}"/>
          </ac:spMkLst>
        </pc:spChg>
        <pc:spChg chg="del">
          <ac:chgData name="El Bakkouri, Manal" userId="8b130982-2e3f-4164-b881-fd3a2e4b2453" providerId="ADAL" clId="{4457FA57-250B-44AC-8655-05D46C5A3D8A}" dt="2023-06-12T13:36:42.679" v="15895" actId="478"/>
          <ac:spMkLst>
            <pc:docMk/>
            <pc:sldMk cId="1384286971" sldId="230717678"/>
            <ac:spMk id="20" creationId="{D0ED360C-E4E2-4306-BD64-0306EA18BF05}"/>
          </ac:spMkLst>
        </pc:spChg>
        <pc:spChg chg="del">
          <ac:chgData name="El Bakkouri, Manal" userId="8b130982-2e3f-4164-b881-fd3a2e4b2453" providerId="ADAL" clId="{4457FA57-250B-44AC-8655-05D46C5A3D8A}" dt="2023-06-12T13:36:42.679" v="15895" actId="478"/>
          <ac:spMkLst>
            <pc:docMk/>
            <pc:sldMk cId="1384286971" sldId="230717678"/>
            <ac:spMk id="21" creationId="{432A98CC-DC8B-4D5C-A382-BFB64F138686}"/>
          </ac:spMkLst>
        </pc:spChg>
        <pc:spChg chg="del">
          <ac:chgData name="El Bakkouri, Manal" userId="8b130982-2e3f-4164-b881-fd3a2e4b2453" providerId="ADAL" clId="{4457FA57-250B-44AC-8655-05D46C5A3D8A}" dt="2023-06-12T13:36:42.679" v="15895" actId="478"/>
          <ac:spMkLst>
            <pc:docMk/>
            <pc:sldMk cId="1384286971" sldId="230717678"/>
            <ac:spMk id="22" creationId="{CA615672-F678-45A9-ADEF-1E8E792352AB}"/>
          </ac:spMkLst>
        </pc:spChg>
        <pc:spChg chg="del">
          <ac:chgData name="El Bakkouri, Manal" userId="8b130982-2e3f-4164-b881-fd3a2e4b2453" providerId="ADAL" clId="{4457FA57-250B-44AC-8655-05D46C5A3D8A}" dt="2023-06-12T13:36:42.679" v="15895" actId="478"/>
          <ac:spMkLst>
            <pc:docMk/>
            <pc:sldMk cId="1384286971" sldId="230717678"/>
            <ac:spMk id="48" creationId="{881C3F16-A752-4D37-8F8C-05A125AAB6E0}"/>
          </ac:spMkLst>
        </pc:spChg>
        <pc:spChg chg="del">
          <ac:chgData name="El Bakkouri, Manal" userId="8b130982-2e3f-4164-b881-fd3a2e4b2453" providerId="ADAL" clId="{4457FA57-250B-44AC-8655-05D46C5A3D8A}" dt="2023-06-12T13:36:42.679" v="15895" actId="478"/>
          <ac:spMkLst>
            <pc:docMk/>
            <pc:sldMk cId="1384286971" sldId="230717678"/>
            <ac:spMk id="49" creationId="{F9017E51-3966-47F4-8146-E035AC70C5BD}"/>
          </ac:spMkLst>
        </pc:spChg>
        <pc:spChg chg="del">
          <ac:chgData name="El Bakkouri, Manal" userId="8b130982-2e3f-4164-b881-fd3a2e4b2453" providerId="ADAL" clId="{4457FA57-250B-44AC-8655-05D46C5A3D8A}" dt="2023-06-12T13:36:42.679" v="15895" actId="478"/>
          <ac:spMkLst>
            <pc:docMk/>
            <pc:sldMk cId="1384286971" sldId="230717678"/>
            <ac:spMk id="50" creationId="{10F5F80F-C7A0-428E-8C0A-243C51F42780}"/>
          </ac:spMkLst>
        </pc:spChg>
        <pc:spChg chg="del">
          <ac:chgData name="El Bakkouri, Manal" userId="8b130982-2e3f-4164-b881-fd3a2e4b2453" providerId="ADAL" clId="{4457FA57-250B-44AC-8655-05D46C5A3D8A}" dt="2023-06-12T13:36:42.679" v="15895" actId="478"/>
          <ac:spMkLst>
            <pc:docMk/>
            <pc:sldMk cId="1384286971" sldId="230717678"/>
            <ac:spMk id="51" creationId="{7472CEC7-6FD2-4A82-90F4-3FED520C009C}"/>
          </ac:spMkLst>
        </pc:spChg>
        <pc:spChg chg="add mod">
          <ac:chgData name="El Bakkouri, Manal" userId="8b130982-2e3f-4164-b881-fd3a2e4b2453" providerId="ADAL" clId="{4457FA57-250B-44AC-8655-05D46C5A3D8A}" dt="2023-06-12T13:36:43.149" v="15896"/>
          <ac:spMkLst>
            <pc:docMk/>
            <pc:sldMk cId="1384286971" sldId="230717678"/>
            <ac:spMk id="52" creationId="{1D104D1A-64FE-4C85-BDF5-E316868BBC31}"/>
          </ac:spMkLst>
        </pc:spChg>
        <pc:spChg chg="add mod">
          <ac:chgData name="El Bakkouri, Manal" userId="8b130982-2e3f-4164-b881-fd3a2e4b2453" providerId="ADAL" clId="{4457FA57-250B-44AC-8655-05D46C5A3D8A}" dt="2023-06-12T13:36:43.149" v="15896"/>
          <ac:spMkLst>
            <pc:docMk/>
            <pc:sldMk cId="1384286971" sldId="230717678"/>
            <ac:spMk id="53" creationId="{15D55238-C89E-4ECD-B657-8BB4FDC2185B}"/>
          </ac:spMkLst>
        </pc:spChg>
        <pc:spChg chg="add mod">
          <ac:chgData name="El Bakkouri, Manal" userId="8b130982-2e3f-4164-b881-fd3a2e4b2453" providerId="ADAL" clId="{4457FA57-250B-44AC-8655-05D46C5A3D8A}" dt="2023-06-12T13:36:43.149" v="15896"/>
          <ac:spMkLst>
            <pc:docMk/>
            <pc:sldMk cId="1384286971" sldId="230717678"/>
            <ac:spMk id="54" creationId="{B069C2BD-3C16-4F61-8192-A56C089EDCE3}"/>
          </ac:spMkLst>
        </pc:spChg>
        <pc:spChg chg="add mod">
          <ac:chgData name="El Bakkouri, Manal" userId="8b130982-2e3f-4164-b881-fd3a2e4b2453" providerId="ADAL" clId="{4457FA57-250B-44AC-8655-05D46C5A3D8A}" dt="2023-06-12T13:36:43.149" v="15896"/>
          <ac:spMkLst>
            <pc:docMk/>
            <pc:sldMk cId="1384286971" sldId="230717678"/>
            <ac:spMk id="55" creationId="{E76AA9AB-5FEF-49C0-802B-A075DD135E4C}"/>
          </ac:spMkLst>
        </pc:spChg>
        <pc:spChg chg="add mod">
          <ac:chgData name="El Bakkouri, Manal" userId="8b130982-2e3f-4164-b881-fd3a2e4b2453" providerId="ADAL" clId="{4457FA57-250B-44AC-8655-05D46C5A3D8A}" dt="2023-06-12T13:36:43.149" v="15896"/>
          <ac:spMkLst>
            <pc:docMk/>
            <pc:sldMk cId="1384286971" sldId="230717678"/>
            <ac:spMk id="56" creationId="{E7903AB6-1E46-422F-95D8-6B34AD11B3A0}"/>
          </ac:spMkLst>
        </pc:spChg>
        <pc:spChg chg="add mod">
          <ac:chgData name="El Bakkouri, Manal" userId="8b130982-2e3f-4164-b881-fd3a2e4b2453" providerId="ADAL" clId="{4457FA57-250B-44AC-8655-05D46C5A3D8A}" dt="2023-06-12T13:36:43.149" v="15896"/>
          <ac:spMkLst>
            <pc:docMk/>
            <pc:sldMk cId="1384286971" sldId="230717678"/>
            <ac:spMk id="57" creationId="{F76D8ED6-29C6-4ACF-929A-A13320392B24}"/>
          </ac:spMkLst>
        </pc:spChg>
        <pc:spChg chg="add mod">
          <ac:chgData name="El Bakkouri, Manal" userId="8b130982-2e3f-4164-b881-fd3a2e4b2453" providerId="ADAL" clId="{4457FA57-250B-44AC-8655-05D46C5A3D8A}" dt="2023-06-12T13:36:43.149" v="15896"/>
          <ac:spMkLst>
            <pc:docMk/>
            <pc:sldMk cId="1384286971" sldId="230717678"/>
            <ac:spMk id="58" creationId="{CD1455D8-4E24-4E73-9CD5-2BC800CA596A}"/>
          </ac:spMkLst>
        </pc:spChg>
        <pc:spChg chg="add mod">
          <ac:chgData name="El Bakkouri, Manal" userId="8b130982-2e3f-4164-b881-fd3a2e4b2453" providerId="ADAL" clId="{4457FA57-250B-44AC-8655-05D46C5A3D8A}" dt="2023-06-12T13:36:43.149" v="15896"/>
          <ac:spMkLst>
            <pc:docMk/>
            <pc:sldMk cId="1384286971" sldId="230717678"/>
            <ac:spMk id="59" creationId="{C3BDA411-7739-41A0-95E8-3CF51D8FF6AC}"/>
          </ac:spMkLst>
        </pc:spChg>
        <pc:spChg chg="add mod">
          <ac:chgData name="El Bakkouri, Manal" userId="8b130982-2e3f-4164-b881-fd3a2e4b2453" providerId="ADAL" clId="{4457FA57-250B-44AC-8655-05D46C5A3D8A}" dt="2023-06-12T13:36:43.149" v="15896"/>
          <ac:spMkLst>
            <pc:docMk/>
            <pc:sldMk cId="1384286971" sldId="230717678"/>
            <ac:spMk id="60" creationId="{CEB16538-8C3B-438C-BFA9-1AD9BF45425A}"/>
          </ac:spMkLst>
        </pc:spChg>
        <pc:spChg chg="add mod">
          <ac:chgData name="El Bakkouri, Manal" userId="8b130982-2e3f-4164-b881-fd3a2e4b2453" providerId="ADAL" clId="{4457FA57-250B-44AC-8655-05D46C5A3D8A}" dt="2023-06-12T13:36:43.149" v="15896"/>
          <ac:spMkLst>
            <pc:docMk/>
            <pc:sldMk cId="1384286971" sldId="230717678"/>
            <ac:spMk id="61" creationId="{ABB5E8C6-364F-42E0-A770-725D667278FD}"/>
          </ac:spMkLst>
        </pc:spChg>
      </pc:sldChg>
      <pc:sldChg chg="addSp delSp modSp mod">
        <pc:chgData name="El Bakkouri, Manal" userId="8b130982-2e3f-4164-b881-fd3a2e4b2453" providerId="ADAL" clId="{4457FA57-250B-44AC-8655-05D46C5A3D8A}" dt="2023-06-12T13:36:48.646" v="15898"/>
        <pc:sldMkLst>
          <pc:docMk/>
          <pc:sldMk cId="1796768274" sldId="230717679"/>
        </pc:sldMkLst>
        <pc:spChg chg="del">
          <ac:chgData name="El Bakkouri, Manal" userId="8b130982-2e3f-4164-b881-fd3a2e4b2453" providerId="ADAL" clId="{4457FA57-250B-44AC-8655-05D46C5A3D8A}" dt="2023-06-12T13:36:48.138" v="15897" actId="478"/>
          <ac:spMkLst>
            <pc:docMk/>
            <pc:sldMk cId="1796768274" sldId="230717679"/>
            <ac:spMk id="17" creationId="{5DE8349A-DA28-4904-B6E3-7CC707607C41}"/>
          </ac:spMkLst>
        </pc:spChg>
        <pc:spChg chg="del">
          <ac:chgData name="El Bakkouri, Manal" userId="8b130982-2e3f-4164-b881-fd3a2e4b2453" providerId="ADAL" clId="{4457FA57-250B-44AC-8655-05D46C5A3D8A}" dt="2023-06-12T13:36:48.138" v="15897" actId="478"/>
          <ac:spMkLst>
            <pc:docMk/>
            <pc:sldMk cId="1796768274" sldId="230717679"/>
            <ac:spMk id="18" creationId="{B61F6727-9AC2-4F96-8507-9ED50E03DC1C}"/>
          </ac:spMkLst>
        </pc:spChg>
        <pc:spChg chg="del">
          <ac:chgData name="El Bakkouri, Manal" userId="8b130982-2e3f-4164-b881-fd3a2e4b2453" providerId="ADAL" clId="{4457FA57-250B-44AC-8655-05D46C5A3D8A}" dt="2023-06-12T13:36:48.138" v="15897" actId="478"/>
          <ac:spMkLst>
            <pc:docMk/>
            <pc:sldMk cId="1796768274" sldId="230717679"/>
            <ac:spMk id="19" creationId="{C1B13544-DAFE-440A-A255-339C2949B5C5}"/>
          </ac:spMkLst>
        </pc:spChg>
        <pc:spChg chg="del">
          <ac:chgData name="El Bakkouri, Manal" userId="8b130982-2e3f-4164-b881-fd3a2e4b2453" providerId="ADAL" clId="{4457FA57-250B-44AC-8655-05D46C5A3D8A}" dt="2023-06-12T13:36:48.138" v="15897" actId="478"/>
          <ac:spMkLst>
            <pc:docMk/>
            <pc:sldMk cId="1796768274" sldId="230717679"/>
            <ac:spMk id="20" creationId="{D0ED360C-E4E2-4306-BD64-0306EA18BF05}"/>
          </ac:spMkLst>
        </pc:spChg>
        <pc:spChg chg="del">
          <ac:chgData name="El Bakkouri, Manal" userId="8b130982-2e3f-4164-b881-fd3a2e4b2453" providerId="ADAL" clId="{4457FA57-250B-44AC-8655-05D46C5A3D8A}" dt="2023-06-12T13:36:48.138" v="15897" actId="478"/>
          <ac:spMkLst>
            <pc:docMk/>
            <pc:sldMk cId="1796768274" sldId="230717679"/>
            <ac:spMk id="21" creationId="{432A98CC-DC8B-4D5C-A382-BFB64F138686}"/>
          </ac:spMkLst>
        </pc:spChg>
        <pc:spChg chg="del">
          <ac:chgData name="El Bakkouri, Manal" userId="8b130982-2e3f-4164-b881-fd3a2e4b2453" providerId="ADAL" clId="{4457FA57-250B-44AC-8655-05D46C5A3D8A}" dt="2023-06-12T13:36:48.138" v="15897" actId="478"/>
          <ac:spMkLst>
            <pc:docMk/>
            <pc:sldMk cId="1796768274" sldId="230717679"/>
            <ac:spMk id="22" creationId="{CA615672-F678-45A9-ADEF-1E8E792352AB}"/>
          </ac:spMkLst>
        </pc:spChg>
        <pc:spChg chg="del">
          <ac:chgData name="El Bakkouri, Manal" userId="8b130982-2e3f-4164-b881-fd3a2e4b2453" providerId="ADAL" clId="{4457FA57-250B-44AC-8655-05D46C5A3D8A}" dt="2023-06-12T13:36:48.138" v="15897" actId="478"/>
          <ac:spMkLst>
            <pc:docMk/>
            <pc:sldMk cId="1796768274" sldId="230717679"/>
            <ac:spMk id="48" creationId="{7B64BF32-1F77-4083-9B1A-2CBAABE12EFD}"/>
          </ac:spMkLst>
        </pc:spChg>
        <pc:spChg chg="del">
          <ac:chgData name="El Bakkouri, Manal" userId="8b130982-2e3f-4164-b881-fd3a2e4b2453" providerId="ADAL" clId="{4457FA57-250B-44AC-8655-05D46C5A3D8A}" dt="2023-06-12T13:36:48.138" v="15897" actId="478"/>
          <ac:spMkLst>
            <pc:docMk/>
            <pc:sldMk cId="1796768274" sldId="230717679"/>
            <ac:spMk id="49" creationId="{1D3E52B6-45FA-4681-879F-4C661A22EA65}"/>
          </ac:spMkLst>
        </pc:spChg>
        <pc:spChg chg="del">
          <ac:chgData name="El Bakkouri, Manal" userId="8b130982-2e3f-4164-b881-fd3a2e4b2453" providerId="ADAL" clId="{4457FA57-250B-44AC-8655-05D46C5A3D8A}" dt="2023-06-12T13:36:48.138" v="15897" actId="478"/>
          <ac:spMkLst>
            <pc:docMk/>
            <pc:sldMk cId="1796768274" sldId="230717679"/>
            <ac:spMk id="50" creationId="{2FAB07FF-61C3-473C-AF13-B6CAACAB58DF}"/>
          </ac:spMkLst>
        </pc:spChg>
        <pc:spChg chg="del">
          <ac:chgData name="El Bakkouri, Manal" userId="8b130982-2e3f-4164-b881-fd3a2e4b2453" providerId="ADAL" clId="{4457FA57-250B-44AC-8655-05D46C5A3D8A}" dt="2023-06-12T13:36:48.138" v="15897" actId="478"/>
          <ac:spMkLst>
            <pc:docMk/>
            <pc:sldMk cId="1796768274" sldId="230717679"/>
            <ac:spMk id="51" creationId="{00E5496B-444A-4873-92CC-0C692897DCB8}"/>
          </ac:spMkLst>
        </pc:spChg>
        <pc:spChg chg="add mod">
          <ac:chgData name="El Bakkouri, Manal" userId="8b130982-2e3f-4164-b881-fd3a2e4b2453" providerId="ADAL" clId="{4457FA57-250B-44AC-8655-05D46C5A3D8A}" dt="2023-06-12T13:36:48.646" v="15898"/>
          <ac:spMkLst>
            <pc:docMk/>
            <pc:sldMk cId="1796768274" sldId="230717679"/>
            <ac:spMk id="52" creationId="{024DF68F-9212-427E-ADB4-42910BD26CC5}"/>
          </ac:spMkLst>
        </pc:spChg>
        <pc:spChg chg="add mod">
          <ac:chgData name="El Bakkouri, Manal" userId="8b130982-2e3f-4164-b881-fd3a2e4b2453" providerId="ADAL" clId="{4457FA57-250B-44AC-8655-05D46C5A3D8A}" dt="2023-06-12T13:36:48.646" v="15898"/>
          <ac:spMkLst>
            <pc:docMk/>
            <pc:sldMk cId="1796768274" sldId="230717679"/>
            <ac:spMk id="53" creationId="{16225E57-EEB7-4B26-9CA2-A708959086AF}"/>
          </ac:spMkLst>
        </pc:spChg>
        <pc:spChg chg="add mod">
          <ac:chgData name="El Bakkouri, Manal" userId="8b130982-2e3f-4164-b881-fd3a2e4b2453" providerId="ADAL" clId="{4457FA57-250B-44AC-8655-05D46C5A3D8A}" dt="2023-06-12T13:36:48.646" v="15898"/>
          <ac:spMkLst>
            <pc:docMk/>
            <pc:sldMk cId="1796768274" sldId="230717679"/>
            <ac:spMk id="54" creationId="{51BA5EFA-CE40-4B61-973F-6B36E923746C}"/>
          </ac:spMkLst>
        </pc:spChg>
        <pc:spChg chg="add mod">
          <ac:chgData name="El Bakkouri, Manal" userId="8b130982-2e3f-4164-b881-fd3a2e4b2453" providerId="ADAL" clId="{4457FA57-250B-44AC-8655-05D46C5A3D8A}" dt="2023-06-12T13:36:48.646" v="15898"/>
          <ac:spMkLst>
            <pc:docMk/>
            <pc:sldMk cId="1796768274" sldId="230717679"/>
            <ac:spMk id="55" creationId="{CE487441-AC0C-42A2-A46E-49E96D3C59C5}"/>
          </ac:spMkLst>
        </pc:spChg>
        <pc:spChg chg="add mod">
          <ac:chgData name="El Bakkouri, Manal" userId="8b130982-2e3f-4164-b881-fd3a2e4b2453" providerId="ADAL" clId="{4457FA57-250B-44AC-8655-05D46C5A3D8A}" dt="2023-06-12T13:36:48.646" v="15898"/>
          <ac:spMkLst>
            <pc:docMk/>
            <pc:sldMk cId="1796768274" sldId="230717679"/>
            <ac:spMk id="56" creationId="{4F203BF3-9AA1-4F2C-851C-69E066E8895D}"/>
          </ac:spMkLst>
        </pc:spChg>
        <pc:spChg chg="add mod">
          <ac:chgData name="El Bakkouri, Manal" userId="8b130982-2e3f-4164-b881-fd3a2e4b2453" providerId="ADAL" clId="{4457FA57-250B-44AC-8655-05D46C5A3D8A}" dt="2023-06-12T13:36:48.646" v="15898"/>
          <ac:spMkLst>
            <pc:docMk/>
            <pc:sldMk cId="1796768274" sldId="230717679"/>
            <ac:spMk id="57" creationId="{51E91C6E-7771-4EFF-B1C9-8CD2542FF3C9}"/>
          </ac:spMkLst>
        </pc:spChg>
        <pc:spChg chg="add mod">
          <ac:chgData name="El Bakkouri, Manal" userId="8b130982-2e3f-4164-b881-fd3a2e4b2453" providerId="ADAL" clId="{4457FA57-250B-44AC-8655-05D46C5A3D8A}" dt="2023-06-12T13:36:48.646" v="15898"/>
          <ac:spMkLst>
            <pc:docMk/>
            <pc:sldMk cId="1796768274" sldId="230717679"/>
            <ac:spMk id="58" creationId="{6AE08BB2-7CF3-4D5A-95A8-B6FC9EADD5F6}"/>
          </ac:spMkLst>
        </pc:spChg>
        <pc:spChg chg="add mod">
          <ac:chgData name="El Bakkouri, Manal" userId="8b130982-2e3f-4164-b881-fd3a2e4b2453" providerId="ADAL" clId="{4457FA57-250B-44AC-8655-05D46C5A3D8A}" dt="2023-06-12T13:36:48.646" v="15898"/>
          <ac:spMkLst>
            <pc:docMk/>
            <pc:sldMk cId="1796768274" sldId="230717679"/>
            <ac:spMk id="59" creationId="{F80D7C2C-65F8-4ABD-B120-6FFDD3134312}"/>
          </ac:spMkLst>
        </pc:spChg>
        <pc:spChg chg="add mod">
          <ac:chgData name="El Bakkouri, Manal" userId="8b130982-2e3f-4164-b881-fd3a2e4b2453" providerId="ADAL" clId="{4457FA57-250B-44AC-8655-05D46C5A3D8A}" dt="2023-06-12T13:36:48.646" v="15898"/>
          <ac:spMkLst>
            <pc:docMk/>
            <pc:sldMk cId="1796768274" sldId="230717679"/>
            <ac:spMk id="60" creationId="{BE9DF208-E761-4115-AC93-85F57CCEF1A7}"/>
          </ac:spMkLst>
        </pc:spChg>
        <pc:spChg chg="add mod">
          <ac:chgData name="El Bakkouri, Manal" userId="8b130982-2e3f-4164-b881-fd3a2e4b2453" providerId="ADAL" clId="{4457FA57-250B-44AC-8655-05D46C5A3D8A}" dt="2023-06-12T13:36:48.646" v="15898"/>
          <ac:spMkLst>
            <pc:docMk/>
            <pc:sldMk cId="1796768274" sldId="230717679"/>
            <ac:spMk id="61" creationId="{B62751A5-E7A4-4818-B0F4-655A039424CD}"/>
          </ac:spMkLst>
        </pc:spChg>
      </pc:sldChg>
      <pc:sldChg chg="addSp delSp modSp mod">
        <pc:chgData name="El Bakkouri, Manal" userId="8b130982-2e3f-4164-b881-fd3a2e4b2453" providerId="ADAL" clId="{4457FA57-250B-44AC-8655-05D46C5A3D8A}" dt="2023-06-12T13:37:02.987" v="15900"/>
        <pc:sldMkLst>
          <pc:docMk/>
          <pc:sldMk cId="3918547156" sldId="230717680"/>
        </pc:sldMkLst>
        <pc:spChg chg="del">
          <ac:chgData name="El Bakkouri, Manal" userId="8b130982-2e3f-4164-b881-fd3a2e4b2453" providerId="ADAL" clId="{4457FA57-250B-44AC-8655-05D46C5A3D8A}" dt="2023-06-12T13:37:02.485" v="15899" actId="478"/>
          <ac:spMkLst>
            <pc:docMk/>
            <pc:sldMk cId="3918547156" sldId="230717680"/>
            <ac:spMk id="17" creationId="{5DE8349A-DA28-4904-B6E3-7CC707607C41}"/>
          </ac:spMkLst>
        </pc:spChg>
        <pc:spChg chg="del">
          <ac:chgData name="El Bakkouri, Manal" userId="8b130982-2e3f-4164-b881-fd3a2e4b2453" providerId="ADAL" clId="{4457FA57-250B-44AC-8655-05D46C5A3D8A}" dt="2023-06-12T13:37:02.485" v="15899" actId="478"/>
          <ac:spMkLst>
            <pc:docMk/>
            <pc:sldMk cId="3918547156" sldId="230717680"/>
            <ac:spMk id="18" creationId="{B61F6727-9AC2-4F96-8507-9ED50E03DC1C}"/>
          </ac:spMkLst>
        </pc:spChg>
        <pc:spChg chg="del">
          <ac:chgData name="El Bakkouri, Manal" userId="8b130982-2e3f-4164-b881-fd3a2e4b2453" providerId="ADAL" clId="{4457FA57-250B-44AC-8655-05D46C5A3D8A}" dt="2023-06-12T13:37:02.485" v="15899" actId="478"/>
          <ac:spMkLst>
            <pc:docMk/>
            <pc:sldMk cId="3918547156" sldId="230717680"/>
            <ac:spMk id="19" creationId="{C1B13544-DAFE-440A-A255-339C2949B5C5}"/>
          </ac:spMkLst>
        </pc:spChg>
        <pc:spChg chg="del">
          <ac:chgData name="El Bakkouri, Manal" userId="8b130982-2e3f-4164-b881-fd3a2e4b2453" providerId="ADAL" clId="{4457FA57-250B-44AC-8655-05D46C5A3D8A}" dt="2023-06-12T13:37:02.485" v="15899" actId="478"/>
          <ac:spMkLst>
            <pc:docMk/>
            <pc:sldMk cId="3918547156" sldId="230717680"/>
            <ac:spMk id="20" creationId="{D0ED360C-E4E2-4306-BD64-0306EA18BF05}"/>
          </ac:spMkLst>
        </pc:spChg>
        <pc:spChg chg="del">
          <ac:chgData name="El Bakkouri, Manal" userId="8b130982-2e3f-4164-b881-fd3a2e4b2453" providerId="ADAL" clId="{4457FA57-250B-44AC-8655-05D46C5A3D8A}" dt="2023-06-12T13:37:02.485" v="15899" actId="478"/>
          <ac:spMkLst>
            <pc:docMk/>
            <pc:sldMk cId="3918547156" sldId="230717680"/>
            <ac:spMk id="21" creationId="{432A98CC-DC8B-4D5C-A382-BFB64F138686}"/>
          </ac:spMkLst>
        </pc:spChg>
        <pc:spChg chg="del">
          <ac:chgData name="El Bakkouri, Manal" userId="8b130982-2e3f-4164-b881-fd3a2e4b2453" providerId="ADAL" clId="{4457FA57-250B-44AC-8655-05D46C5A3D8A}" dt="2023-06-12T13:37:02.485" v="15899" actId="478"/>
          <ac:spMkLst>
            <pc:docMk/>
            <pc:sldMk cId="3918547156" sldId="230717680"/>
            <ac:spMk id="22" creationId="{CA615672-F678-45A9-ADEF-1E8E792352AB}"/>
          </ac:spMkLst>
        </pc:spChg>
        <pc:spChg chg="del">
          <ac:chgData name="El Bakkouri, Manal" userId="8b130982-2e3f-4164-b881-fd3a2e4b2453" providerId="ADAL" clId="{4457FA57-250B-44AC-8655-05D46C5A3D8A}" dt="2023-06-12T13:37:02.485" v="15899" actId="478"/>
          <ac:spMkLst>
            <pc:docMk/>
            <pc:sldMk cId="3918547156" sldId="230717680"/>
            <ac:spMk id="48" creationId="{11FE7D05-A805-4AB2-A3D6-314C6A7069EA}"/>
          </ac:spMkLst>
        </pc:spChg>
        <pc:spChg chg="del">
          <ac:chgData name="El Bakkouri, Manal" userId="8b130982-2e3f-4164-b881-fd3a2e4b2453" providerId="ADAL" clId="{4457FA57-250B-44AC-8655-05D46C5A3D8A}" dt="2023-06-12T13:37:02.485" v="15899" actId="478"/>
          <ac:spMkLst>
            <pc:docMk/>
            <pc:sldMk cId="3918547156" sldId="230717680"/>
            <ac:spMk id="49" creationId="{0EB0E84C-1062-4350-A5EC-0A818AACB02D}"/>
          </ac:spMkLst>
        </pc:spChg>
        <pc:spChg chg="del">
          <ac:chgData name="El Bakkouri, Manal" userId="8b130982-2e3f-4164-b881-fd3a2e4b2453" providerId="ADAL" clId="{4457FA57-250B-44AC-8655-05D46C5A3D8A}" dt="2023-06-12T13:37:02.485" v="15899" actId="478"/>
          <ac:spMkLst>
            <pc:docMk/>
            <pc:sldMk cId="3918547156" sldId="230717680"/>
            <ac:spMk id="50" creationId="{0BECF927-15A1-4823-BA84-54441FFCF5BD}"/>
          </ac:spMkLst>
        </pc:spChg>
        <pc:spChg chg="del">
          <ac:chgData name="El Bakkouri, Manal" userId="8b130982-2e3f-4164-b881-fd3a2e4b2453" providerId="ADAL" clId="{4457FA57-250B-44AC-8655-05D46C5A3D8A}" dt="2023-06-12T13:37:02.485" v="15899" actId="478"/>
          <ac:spMkLst>
            <pc:docMk/>
            <pc:sldMk cId="3918547156" sldId="230717680"/>
            <ac:spMk id="51" creationId="{C03789AB-E291-4A28-8C5E-7BF1AD0B219B}"/>
          </ac:spMkLst>
        </pc:spChg>
        <pc:spChg chg="add mod">
          <ac:chgData name="El Bakkouri, Manal" userId="8b130982-2e3f-4164-b881-fd3a2e4b2453" providerId="ADAL" clId="{4457FA57-250B-44AC-8655-05D46C5A3D8A}" dt="2023-06-12T13:37:02.987" v="15900"/>
          <ac:spMkLst>
            <pc:docMk/>
            <pc:sldMk cId="3918547156" sldId="230717680"/>
            <ac:spMk id="52" creationId="{A3BD6267-7A8A-4CDE-A5DB-989650EA1678}"/>
          </ac:spMkLst>
        </pc:spChg>
        <pc:spChg chg="add mod">
          <ac:chgData name="El Bakkouri, Manal" userId="8b130982-2e3f-4164-b881-fd3a2e4b2453" providerId="ADAL" clId="{4457FA57-250B-44AC-8655-05D46C5A3D8A}" dt="2023-06-12T13:37:02.987" v="15900"/>
          <ac:spMkLst>
            <pc:docMk/>
            <pc:sldMk cId="3918547156" sldId="230717680"/>
            <ac:spMk id="53" creationId="{3475334E-EE30-450B-9CEB-1FDED973AC4A}"/>
          </ac:spMkLst>
        </pc:spChg>
        <pc:spChg chg="add mod">
          <ac:chgData name="El Bakkouri, Manal" userId="8b130982-2e3f-4164-b881-fd3a2e4b2453" providerId="ADAL" clId="{4457FA57-250B-44AC-8655-05D46C5A3D8A}" dt="2023-06-12T13:37:02.987" v="15900"/>
          <ac:spMkLst>
            <pc:docMk/>
            <pc:sldMk cId="3918547156" sldId="230717680"/>
            <ac:spMk id="54" creationId="{9306FF73-1D9A-4B91-AE9F-26D2B3DDEB8A}"/>
          </ac:spMkLst>
        </pc:spChg>
        <pc:spChg chg="add mod">
          <ac:chgData name="El Bakkouri, Manal" userId="8b130982-2e3f-4164-b881-fd3a2e4b2453" providerId="ADAL" clId="{4457FA57-250B-44AC-8655-05D46C5A3D8A}" dt="2023-06-12T13:37:02.987" v="15900"/>
          <ac:spMkLst>
            <pc:docMk/>
            <pc:sldMk cId="3918547156" sldId="230717680"/>
            <ac:spMk id="55" creationId="{A3A45B90-4B00-4F9F-97D3-7B095172699B}"/>
          </ac:spMkLst>
        </pc:spChg>
        <pc:spChg chg="add mod">
          <ac:chgData name="El Bakkouri, Manal" userId="8b130982-2e3f-4164-b881-fd3a2e4b2453" providerId="ADAL" clId="{4457FA57-250B-44AC-8655-05D46C5A3D8A}" dt="2023-06-12T13:37:02.987" v="15900"/>
          <ac:spMkLst>
            <pc:docMk/>
            <pc:sldMk cId="3918547156" sldId="230717680"/>
            <ac:spMk id="56" creationId="{1810CD9F-BFB7-4E3E-9A09-8104E1EA8D4B}"/>
          </ac:spMkLst>
        </pc:spChg>
        <pc:spChg chg="add mod">
          <ac:chgData name="El Bakkouri, Manal" userId="8b130982-2e3f-4164-b881-fd3a2e4b2453" providerId="ADAL" clId="{4457FA57-250B-44AC-8655-05D46C5A3D8A}" dt="2023-06-12T13:37:02.987" v="15900"/>
          <ac:spMkLst>
            <pc:docMk/>
            <pc:sldMk cId="3918547156" sldId="230717680"/>
            <ac:spMk id="57" creationId="{18931D78-5D04-4C1E-AA58-1A9706B3FFDC}"/>
          </ac:spMkLst>
        </pc:spChg>
        <pc:spChg chg="add mod">
          <ac:chgData name="El Bakkouri, Manal" userId="8b130982-2e3f-4164-b881-fd3a2e4b2453" providerId="ADAL" clId="{4457FA57-250B-44AC-8655-05D46C5A3D8A}" dt="2023-06-12T13:37:02.987" v="15900"/>
          <ac:spMkLst>
            <pc:docMk/>
            <pc:sldMk cId="3918547156" sldId="230717680"/>
            <ac:spMk id="58" creationId="{2A4133EF-74CD-4902-A40B-EF82C432663B}"/>
          </ac:spMkLst>
        </pc:spChg>
        <pc:spChg chg="add mod">
          <ac:chgData name="El Bakkouri, Manal" userId="8b130982-2e3f-4164-b881-fd3a2e4b2453" providerId="ADAL" clId="{4457FA57-250B-44AC-8655-05D46C5A3D8A}" dt="2023-06-12T13:37:02.987" v="15900"/>
          <ac:spMkLst>
            <pc:docMk/>
            <pc:sldMk cId="3918547156" sldId="230717680"/>
            <ac:spMk id="59" creationId="{A446CB40-BB95-495A-A64F-17F610E4F2B4}"/>
          </ac:spMkLst>
        </pc:spChg>
        <pc:spChg chg="add mod">
          <ac:chgData name="El Bakkouri, Manal" userId="8b130982-2e3f-4164-b881-fd3a2e4b2453" providerId="ADAL" clId="{4457FA57-250B-44AC-8655-05D46C5A3D8A}" dt="2023-06-12T13:37:02.987" v="15900"/>
          <ac:spMkLst>
            <pc:docMk/>
            <pc:sldMk cId="3918547156" sldId="230717680"/>
            <ac:spMk id="60" creationId="{00BEDCB4-FC23-43EE-9857-DB1564AA3E33}"/>
          </ac:spMkLst>
        </pc:spChg>
        <pc:spChg chg="add mod">
          <ac:chgData name="El Bakkouri, Manal" userId="8b130982-2e3f-4164-b881-fd3a2e4b2453" providerId="ADAL" clId="{4457FA57-250B-44AC-8655-05D46C5A3D8A}" dt="2023-06-12T13:37:02.987" v="15900"/>
          <ac:spMkLst>
            <pc:docMk/>
            <pc:sldMk cId="3918547156" sldId="230717680"/>
            <ac:spMk id="61" creationId="{FEDE317D-FB58-420E-BDF0-CEE682098AA2}"/>
          </ac:spMkLst>
        </pc:spChg>
      </pc:sldChg>
      <pc:sldChg chg="addSp delSp modSp mod">
        <pc:chgData name="El Bakkouri, Manal" userId="8b130982-2e3f-4164-b881-fd3a2e4b2453" providerId="ADAL" clId="{4457FA57-250B-44AC-8655-05D46C5A3D8A}" dt="2023-06-12T13:37:08.828" v="15902"/>
        <pc:sldMkLst>
          <pc:docMk/>
          <pc:sldMk cId="670040689" sldId="230717681"/>
        </pc:sldMkLst>
        <pc:spChg chg="del">
          <ac:chgData name="El Bakkouri, Manal" userId="8b130982-2e3f-4164-b881-fd3a2e4b2453" providerId="ADAL" clId="{4457FA57-250B-44AC-8655-05D46C5A3D8A}" dt="2023-06-12T13:37:08.324" v="15901" actId="478"/>
          <ac:spMkLst>
            <pc:docMk/>
            <pc:sldMk cId="670040689" sldId="230717681"/>
            <ac:spMk id="17" creationId="{5DE8349A-DA28-4904-B6E3-7CC707607C41}"/>
          </ac:spMkLst>
        </pc:spChg>
        <pc:spChg chg="del">
          <ac:chgData name="El Bakkouri, Manal" userId="8b130982-2e3f-4164-b881-fd3a2e4b2453" providerId="ADAL" clId="{4457FA57-250B-44AC-8655-05D46C5A3D8A}" dt="2023-06-12T13:37:08.324" v="15901" actId="478"/>
          <ac:spMkLst>
            <pc:docMk/>
            <pc:sldMk cId="670040689" sldId="230717681"/>
            <ac:spMk id="18" creationId="{B61F6727-9AC2-4F96-8507-9ED50E03DC1C}"/>
          </ac:spMkLst>
        </pc:spChg>
        <pc:spChg chg="del">
          <ac:chgData name="El Bakkouri, Manal" userId="8b130982-2e3f-4164-b881-fd3a2e4b2453" providerId="ADAL" clId="{4457FA57-250B-44AC-8655-05D46C5A3D8A}" dt="2023-06-12T13:37:08.324" v="15901" actId="478"/>
          <ac:spMkLst>
            <pc:docMk/>
            <pc:sldMk cId="670040689" sldId="230717681"/>
            <ac:spMk id="19" creationId="{C1B13544-DAFE-440A-A255-339C2949B5C5}"/>
          </ac:spMkLst>
        </pc:spChg>
        <pc:spChg chg="del">
          <ac:chgData name="El Bakkouri, Manal" userId="8b130982-2e3f-4164-b881-fd3a2e4b2453" providerId="ADAL" clId="{4457FA57-250B-44AC-8655-05D46C5A3D8A}" dt="2023-06-12T13:37:08.324" v="15901" actId="478"/>
          <ac:spMkLst>
            <pc:docMk/>
            <pc:sldMk cId="670040689" sldId="230717681"/>
            <ac:spMk id="20" creationId="{D0ED360C-E4E2-4306-BD64-0306EA18BF05}"/>
          </ac:spMkLst>
        </pc:spChg>
        <pc:spChg chg="del">
          <ac:chgData name="El Bakkouri, Manal" userId="8b130982-2e3f-4164-b881-fd3a2e4b2453" providerId="ADAL" clId="{4457FA57-250B-44AC-8655-05D46C5A3D8A}" dt="2023-06-12T13:37:08.324" v="15901" actId="478"/>
          <ac:spMkLst>
            <pc:docMk/>
            <pc:sldMk cId="670040689" sldId="230717681"/>
            <ac:spMk id="21" creationId="{432A98CC-DC8B-4D5C-A382-BFB64F138686}"/>
          </ac:spMkLst>
        </pc:spChg>
        <pc:spChg chg="del">
          <ac:chgData name="El Bakkouri, Manal" userId="8b130982-2e3f-4164-b881-fd3a2e4b2453" providerId="ADAL" clId="{4457FA57-250B-44AC-8655-05D46C5A3D8A}" dt="2023-06-12T13:37:08.324" v="15901" actId="478"/>
          <ac:spMkLst>
            <pc:docMk/>
            <pc:sldMk cId="670040689" sldId="230717681"/>
            <ac:spMk id="22" creationId="{CA615672-F678-45A9-ADEF-1E8E792352AB}"/>
          </ac:spMkLst>
        </pc:spChg>
        <pc:spChg chg="del">
          <ac:chgData name="El Bakkouri, Manal" userId="8b130982-2e3f-4164-b881-fd3a2e4b2453" providerId="ADAL" clId="{4457FA57-250B-44AC-8655-05D46C5A3D8A}" dt="2023-06-12T13:37:08.324" v="15901" actId="478"/>
          <ac:spMkLst>
            <pc:docMk/>
            <pc:sldMk cId="670040689" sldId="230717681"/>
            <ac:spMk id="49" creationId="{528651FE-51C9-4EC5-A7F5-55595D857B96}"/>
          </ac:spMkLst>
        </pc:spChg>
        <pc:spChg chg="del">
          <ac:chgData name="El Bakkouri, Manal" userId="8b130982-2e3f-4164-b881-fd3a2e4b2453" providerId="ADAL" clId="{4457FA57-250B-44AC-8655-05D46C5A3D8A}" dt="2023-06-12T13:37:08.324" v="15901" actId="478"/>
          <ac:spMkLst>
            <pc:docMk/>
            <pc:sldMk cId="670040689" sldId="230717681"/>
            <ac:spMk id="50" creationId="{596548D3-B6C1-405D-85E9-BAEDEF403889}"/>
          </ac:spMkLst>
        </pc:spChg>
        <pc:spChg chg="del">
          <ac:chgData name="El Bakkouri, Manal" userId="8b130982-2e3f-4164-b881-fd3a2e4b2453" providerId="ADAL" clId="{4457FA57-250B-44AC-8655-05D46C5A3D8A}" dt="2023-06-12T13:37:08.324" v="15901" actId="478"/>
          <ac:spMkLst>
            <pc:docMk/>
            <pc:sldMk cId="670040689" sldId="230717681"/>
            <ac:spMk id="51" creationId="{EA38E74E-C136-4638-854B-2C9F59A5D8FD}"/>
          </ac:spMkLst>
        </pc:spChg>
        <pc:spChg chg="del">
          <ac:chgData name="El Bakkouri, Manal" userId="8b130982-2e3f-4164-b881-fd3a2e4b2453" providerId="ADAL" clId="{4457FA57-250B-44AC-8655-05D46C5A3D8A}" dt="2023-06-12T13:37:08.324" v="15901" actId="478"/>
          <ac:spMkLst>
            <pc:docMk/>
            <pc:sldMk cId="670040689" sldId="230717681"/>
            <ac:spMk id="52" creationId="{CD2F7EDF-E68E-4CC9-9A61-B30F5BC374C9}"/>
          </ac:spMkLst>
        </pc:spChg>
        <pc:spChg chg="add mod">
          <ac:chgData name="El Bakkouri, Manal" userId="8b130982-2e3f-4164-b881-fd3a2e4b2453" providerId="ADAL" clId="{4457FA57-250B-44AC-8655-05D46C5A3D8A}" dt="2023-06-12T13:37:08.828" v="15902"/>
          <ac:spMkLst>
            <pc:docMk/>
            <pc:sldMk cId="670040689" sldId="230717681"/>
            <ac:spMk id="53" creationId="{09A3A13D-D53B-4931-87C8-56F250EB10F0}"/>
          </ac:spMkLst>
        </pc:spChg>
        <pc:spChg chg="add mod">
          <ac:chgData name="El Bakkouri, Manal" userId="8b130982-2e3f-4164-b881-fd3a2e4b2453" providerId="ADAL" clId="{4457FA57-250B-44AC-8655-05D46C5A3D8A}" dt="2023-06-12T13:37:08.828" v="15902"/>
          <ac:spMkLst>
            <pc:docMk/>
            <pc:sldMk cId="670040689" sldId="230717681"/>
            <ac:spMk id="54" creationId="{A803C9AE-81B8-4311-87EA-514AA3CC5CAE}"/>
          </ac:spMkLst>
        </pc:spChg>
        <pc:spChg chg="add mod">
          <ac:chgData name="El Bakkouri, Manal" userId="8b130982-2e3f-4164-b881-fd3a2e4b2453" providerId="ADAL" clId="{4457FA57-250B-44AC-8655-05D46C5A3D8A}" dt="2023-06-12T13:37:08.828" v="15902"/>
          <ac:spMkLst>
            <pc:docMk/>
            <pc:sldMk cId="670040689" sldId="230717681"/>
            <ac:spMk id="55" creationId="{B7CDCEBD-E972-4734-86AA-5421FB0602B5}"/>
          </ac:spMkLst>
        </pc:spChg>
        <pc:spChg chg="add mod">
          <ac:chgData name="El Bakkouri, Manal" userId="8b130982-2e3f-4164-b881-fd3a2e4b2453" providerId="ADAL" clId="{4457FA57-250B-44AC-8655-05D46C5A3D8A}" dt="2023-06-12T13:37:08.828" v="15902"/>
          <ac:spMkLst>
            <pc:docMk/>
            <pc:sldMk cId="670040689" sldId="230717681"/>
            <ac:spMk id="56" creationId="{0260DEC1-8283-449F-A9C6-2A0C1FBCEDEA}"/>
          </ac:spMkLst>
        </pc:spChg>
        <pc:spChg chg="add mod">
          <ac:chgData name="El Bakkouri, Manal" userId="8b130982-2e3f-4164-b881-fd3a2e4b2453" providerId="ADAL" clId="{4457FA57-250B-44AC-8655-05D46C5A3D8A}" dt="2023-06-12T13:37:08.828" v="15902"/>
          <ac:spMkLst>
            <pc:docMk/>
            <pc:sldMk cId="670040689" sldId="230717681"/>
            <ac:spMk id="57" creationId="{E382A613-AB06-4FED-A32E-5749AB6555C7}"/>
          </ac:spMkLst>
        </pc:spChg>
        <pc:spChg chg="add mod">
          <ac:chgData name="El Bakkouri, Manal" userId="8b130982-2e3f-4164-b881-fd3a2e4b2453" providerId="ADAL" clId="{4457FA57-250B-44AC-8655-05D46C5A3D8A}" dt="2023-06-12T13:37:08.828" v="15902"/>
          <ac:spMkLst>
            <pc:docMk/>
            <pc:sldMk cId="670040689" sldId="230717681"/>
            <ac:spMk id="58" creationId="{1B4AFC27-9052-49CB-B8D1-5C50BBCD4702}"/>
          </ac:spMkLst>
        </pc:spChg>
        <pc:spChg chg="add mod">
          <ac:chgData name="El Bakkouri, Manal" userId="8b130982-2e3f-4164-b881-fd3a2e4b2453" providerId="ADAL" clId="{4457FA57-250B-44AC-8655-05D46C5A3D8A}" dt="2023-06-12T13:37:08.828" v="15902"/>
          <ac:spMkLst>
            <pc:docMk/>
            <pc:sldMk cId="670040689" sldId="230717681"/>
            <ac:spMk id="59" creationId="{193DE5DF-ADCD-4354-9BAC-783551226999}"/>
          </ac:spMkLst>
        </pc:spChg>
        <pc:spChg chg="add mod">
          <ac:chgData name="El Bakkouri, Manal" userId="8b130982-2e3f-4164-b881-fd3a2e4b2453" providerId="ADAL" clId="{4457FA57-250B-44AC-8655-05D46C5A3D8A}" dt="2023-06-12T13:37:08.828" v="15902"/>
          <ac:spMkLst>
            <pc:docMk/>
            <pc:sldMk cId="670040689" sldId="230717681"/>
            <ac:spMk id="60" creationId="{13997681-184B-47E6-A22F-D9FDD778B2B9}"/>
          </ac:spMkLst>
        </pc:spChg>
        <pc:spChg chg="add mod">
          <ac:chgData name="El Bakkouri, Manal" userId="8b130982-2e3f-4164-b881-fd3a2e4b2453" providerId="ADAL" clId="{4457FA57-250B-44AC-8655-05D46C5A3D8A}" dt="2023-06-12T13:37:08.828" v="15902"/>
          <ac:spMkLst>
            <pc:docMk/>
            <pc:sldMk cId="670040689" sldId="230717681"/>
            <ac:spMk id="61" creationId="{A50F7287-271D-4272-9D95-56CA91F70529}"/>
          </ac:spMkLst>
        </pc:spChg>
        <pc:spChg chg="add mod">
          <ac:chgData name="El Bakkouri, Manal" userId="8b130982-2e3f-4164-b881-fd3a2e4b2453" providerId="ADAL" clId="{4457FA57-250B-44AC-8655-05D46C5A3D8A}" dt="2023-06-12T13:37:08.828" v="15902"/>
          <ac:spMkLst>
            <pc:docMk/>
            <pc:sldMk cId="670040689" sldId="230717681"/>
            <ac:spMk id="62" creationId="{EFBB0CF7-C3EB-4A7D-A133-6025B8BCAE96}"/>
          </ac:spMkLst>
        </pc:spChg>
      </pc:sldChg>
      <pc:sldChg chg="addSp delSp modSp mod">
        <pc:chgData name="El Bakkouri, Manal" userId="8b130982-2e3f-4164-b881-fd3a2e4b2453" providerId="ADAL" clId="{4457FA57-250B-44AC-8655-05D46C5A3D8A}" dt="2023-06-12T13:38:41.473" v="15922"/>
        <pc:sldMkLst>
          <pc:docMk/>
          <pc:sldMk cId="234137734" sldId="230717682"/>
        </pc:sldMkLst>
        <pc:spChg chg="del">
          <ac:chgData name="El Bakkouri, Manal" userId="8b130982-2e3f-4164-b881-fd3a2e4b2453" providerId="ADAL" clId="{4457FA57-250B-44AC-8655-05D46C5A3D8A}" dt="2023-06-12T13:38:40.950" v="15921" actId="478"/>
          <ac:spMkLst>
            <pc:docMk/>
            <pc:sldMk cId="234137734" sldId="230717682"/>
            <ac:spMk id="17" creationId="{5DE8349A-DA28-4904-B6E3-7CC707607C41}"/>
          </ac:spMkLst>
        </pc:spChg>
        <pc:spChg chg="del">
          <ac:chgData name="El Bakkouri, Manal" userId="8b130982-2e3f-4164-b881-fd3a2e4b2453" providerId="ADAL" clId="{4457FA57-250B-44AC-8655-05D46C5A3D8A}" dt="2023-06-12T13:38:40.950" v="15921" actId="478"/>
          <ac:spMkLst>
            <pc:docMk/>
            <pc:sldMk cId="234137734" sldId="230717682"/>
            <ac:spMk id="18" creationId="{B61F6727-9AC2-4F96-8507-9ED50E03DC1C}"/>
          </ac:spMkLst>
        </pc:spChg>
        <pc:spChg chg="del">
          <ac:chgData name="El Bakkouri, Manal" userId="8b130982-2e3f-4164-b881-fd3a2e4b2453" providerId="ADAL" clId="{4457FA57-250B-44AC-8655-05D46C5A3D8A}" dt="2023-06-12T13:38:40.950" v="15921" actId="478"/>
          <ac:spMkLst>
            <pc:docMk/>
            <pc:sldMk cId="234137734" sldId="230717682"/>
            <ac:spMk id="19" creationId="{C1B13544-DAFE-440A-A255-339C2949B5C5}"/>
          </ac:spMkLst>
        </pc:spChg>
        <pc:spChg chg="del">
          <ac:chgData name="El Bakkouri, Manal" userId="8b130982-2e3f-4164-b881-fd3a2e4b2453" providerId="ADAL" clId="{4457FA57-250B-44AC-8655-05D46C5A3D8A}" dt="2023-06-12T13:38:40.950" v="15921" actId="478"/>
          <ac:spMkLst>
            <pc:docMk/>
            <pc:sldMk cId="234137734" sldId="230717682"/>
            <ac:spMk id="20" creationId="{D0ED360C-E4E2-4306-BD64-0306EA18BF05}"/>
          </ac:spMkLst>
        </pc:spChg>
        <pc:spChg chg="del">
          <ac:chgData name="El Bakkouri, Manal" userId="8b130982-2e3f-4164-b881-fd3a2e4b2453" providerId="ADAL" clId="{4457FA57-250B-44AC-8655-05D46C5A3D8A}" dt="2023-06-12T13:38:40.950" v="15921" actId="478"/>
          <ac:spMkLst>
            <pc:docMk/>
            <pc:sldMk cId="234137734" sldId="230717682"/>
            <ac:spMk id="21" creationId="{432A98CC-DC8B-4D5C-A382-BFB64F138686}"/>
          </ac:spMkLst>
        </pc:spChg>
        <pc:spChg chg="del">
          <ac:chgData name="El Bakkouri, Manal" userId="8b130982-2e3f-4164-b881-fd3a2e4b2453" providerId="ADAL" clId="{4457FA57-250B-44AC-8655-05D46C5A3D8A}" dt="2023-06-12T13:38:40.950" v="15921" actId="478"/>
          <ac:spMkLst>
            <pc:docMk/>
            <pc:sldMk cId="234137734" sldId="230717682"/>
            <ac:spMk id="22" creationId="{CA615672-F678-45A9-ADEF-1E8E792352AB}"/>
          </ac:spMkLst>
        </pc:spChg>
        <pc:spChg chg="del">
          <ac:chgData name="El Bakkouri, Manal" userId="8b130982-2e3f-4164-b881-fd3a2e4b2453" providerId="ADAL" clId="{4457FA57-250B-44AC-8655-05D46C5A3D8A}" dt="2023-06-12T13:38:40.950" v="15921" actId="478"/>
          <ac:spMkLst>
            <pc:docMk/>
            <pc:sldMk cId="234137734" sldId="230717682"/>
            <ac:spMk id="48" creationId="{6BC40796-3867-428C-AF22-AECCE6702C6B}"/>
          </ac:spMkLst>
        </pc:spChg>
        <pc:spChg chg="del">
          <ac:chgData name="El Bakkouri, Manal" userId="8b130982-2e3f-4164-b881-fd3a2e4b2453" providerId="ADAL" clId="{4457FA57-250B-44AC-8655-05D46C5A3D8A}" dt="2023-06-12T13:38:40.950" v="15921" actId="478"/>
          <ac:spMkLst>
            <pc:docMk/>
            <pc:sldMk cId="234137734" sldId="230717682"/>
            <ac:spMk id="49" creationId="{DAC7B1EA-9D99-49BA-A476-1D223A083522}"/>
          </ac:spMkLst>
        </pc:spChg>
        <pc:spChg chg="del">
          <ac:chgData name="El Bakkouri, Manal" userId="8b130982-2e3f-4164-b881-fd3a2e4b2453" providerId="ADAL" clId="{4457FA57-250B-44AC-8655-05D46C5A3D8A}" dt="2023-06-12T13:38:40.950" v="15921" actId="478"/>
          <ac:spMkLst>
            <pc:docMk/>
            <pc:sldMk cId="234137734" sldId="230717682"/>
            <ac:spMk id="50" creationId="{80849C88-E6E4-4408-83BA-08FBB03B3010}"/>
          </ac:spMkLst>
        </pc:spChg>
        <pc:spChg chg="del">
          <ac:chgData name="El Bakkouri, Manal" userId="8b130982-2e3f-4164-b881-fd3a2e4b2453" providerId="ADAL" clId="{4457FA57-250B-44AC-8655-05D46C5A3D8A}" dt="2023-06-12T13:38:40.950" v="15921" actId="478"/>
          <ac:spMkLst>
            <pc:docMk/>
            <pc:sldMk cId="234137734" sldId="230717682"/>
            <ac:spMk id="51" creationId="{2129F8AA-8331-490E-915C-35A83D2798DD}"/>
          </ac:spMkLst>
        </pc:spChg>
        <pc:spChg chg="add mod">
          <ac:chgData name="El Bakkouri, Manal" userId="8b130982-2e3f-4164-b881-fd3a2e4b2453" providerId="ADAL" clId="{4457FA57-250B-44AC-8655-05D46C5A3D8A}" dt="2023-06-12T13:38:41.473" v="15922"/>
          <ac:spMkLst>
            <pc:docMk/>
            <pc:sldMk cId="234137734" sldId="230717682"/>
            <ac:spMk id="52" creationId="{3356E27E-B485-46FB-AFBE-C31BC893342B}"/>
          </ac:spMkLst>
        </pc:spChg>
        <pc:spChg chg="add mod">
          <ac:chgData name="El Bakkouri, Manal" userId="8b130982-2e3f-4164-b881-fd3a2e4b2453" providerId="ADAL" clId="{4457FA57-250B-44AC-8655-05D46C5A3D8A}" dt="2023-06-12T13:38:41.473" v="15922"/>
          <ac:spMkLst>
            <pc:docMk/>
            <pc:sldMk cId="234137734" sldId="230717682"/>
            <ac:spMk id="53" creationId="{F0A1EE53-5944-4888-AFEA-682B2786D397}"/>
          </ac:spMkLst>
        </pc:spChg>
        <pc:spChg chg="add mod">
          <ac:chgData name="El Bakkouri, Manal" userId="8b130982-2e3f-4164-b881-fd3a2e4b2453" providerId="ADAL" clId="{4457FA57-250B-44AC-8655-05D46C5A3D8A}" dt="2023-06-12T13:38:41.473" v="15922"/>
          <ac:spMkLst>
            <pc:docMk/>
            <pc:sldMk cId="234137734" sldId="230717682"/>
            <ac:spMk id="54" creationId="{7CB20822-8F93-49BD-BBCF-3F8AC2BD208B}"/>
          </ac:spMkLst>
        </pc:spChg>
        <pc:spChg chg="add mod">
          <ac:chgData name="El Bakkouri, Manal" userId="8b130982-2e3f-4164-b881-fd3a2e4b2453" providerId="ADAL" clId="{4457FA57-250B-44AC-8655-05D46C5A3D8A}" dt="2023-06-12T13:38:41.473" v="15922"/>
          <ac:spMkLst>
            <pc:docMk/>
            <pc:sldMk cId="234137734" sldId="230717682"/>
            <ac:spMk id="55" creationId="{0E26E7DE-741C-40C0-B29B-43C009FB77C2}"/>
          </ac:spMkLst>
        </pc:spChg>
        <pc:spChg chg="add mod">
          <ac:chgData name="El Bakkouri, Manal" userId="8b130982-2e3f-4164-b881-fd3a2e4b2453" providerId="ADAL" clId="{4457FA57-250B-44AC-8655-05D46C5A3D8A}" dt="2023-06-12T13:38:41.473" v="15922"/>
          <ac:spMkLst>
            <pc:docMk/>
            <pc:sldMk cId="234137734" sldId="230717682"/>
            <ac:spMk id="56" creationId="{E34B3F73-CDB8-4CDA-A1A1-BE578AF90868}"/>
          </ac:spMkLst>
        </pc:spChg>
        <pc:spChg chg="add mod">
          <ac:chgData name="El Bakkouri, Manal" userId="8b130982-2e3f-4164-b881-fd3a2e4b2453" providerId="ADAL" clId="{4457FA57-250B-44AC-8655-05D46C5A3D8A}" dt="2023-06-12T13:38:41.473" v="15922"/>
          <ac:spMkLst>
            <pc:docMk/>
            <pc:sldMk cId="234137734" sldId="230717682"/>
            <ac:spMk id="57" creationId="{30FA0EE3-7362-4318-968D-31DC7B4B6985}"/>
          </ac:spMkLst>
        </pc:spChg>
        <pc:spChg chg="add mod">
          <ac:chgData name="El Bakkouri, Manal" userId="8b130982-2e3f-4164-b881-fd3a2e4b2453" providerId="ADAL" clId="{4457FA57-250B-44AC-8655-05D46C5A3D8A}" dt="2023-06-12T13:38:41.473" v="15922"/>
          <ac:spMkLst>
            <pc:docMk/>
            <pc:sldMk cId="234137734" sldId="230717682"/>
            <ac:spMk id="58" creationId="{3AB42742-FE18-4F77-A823-F162131E0765}"/>
          </ac:spMkLst>
        </pc:spChg>
        <pc:spChg chg="add mod">
          <ac:chgData name="El Bakkouri, Manal" userId="8b130982-2e3f-4164-b881-fd3a2e4b2453" providerId="ADAL" clId="{4457FA57-250B-44AC-8655-05D46C5A3D8A}" dt="2023-06-12T13:38:41.473" v="15922"/>
          <ac:spMkLst>
            <pc:docMk/>
            <pc:sldMk cId="234137734" sldId="230717682"/>
            <ac:spMk id="59" creationId="{A208FF70-07BC-4FA4-B02C-2090588DF6A0}"/>
          </ac:spMkLst>
        </pc:spChg>
        <pc:spChg chg="add mod">
          <ac:chgData name="El Bakkouri, Manal" userId="8b130982-2e3f-4164-b881-fd3a2e4b2453" providerId="ADAL" clId="{4457FA57-250B-44AC-8655-05D46C5A3D8A}" dt="2023-06-12T13:38:41.473" v="15922"/>
          <ac:spMkLst>
            <pc:docMk/>
            <pc:sldMk cId="234137734" sldId="230717682"/>
            <ac:spMk id="60" creationId="{087068F9-CE0F-4037-A9C5-53EF9C2B318E}"/>
          </ac:spMkLst>
        </pc:spChg>
        <pc:spChg chg="add mod">
          <ac:chgData name="El Bakkouri, Manal" userId="8b130982-2e3f-4164-b881-fd3a2e4b2453" providerId="ADAL" clId="{4457FA57-250B-44AC-8655-05D46C5A3D8A}" dt="2023-06-12T13:38:41.473" v="15922"/>
          <ac:spMkLst>
            <pc:docMk/>
            <pc:sldMk cId="234137734" sldId="230717682"/>
            <ac:spMk id="61" creationId="{61F4E018-6E29-4024-B104-5BF8FA9DE700}"/>
          </ac:spMkLst>
        </pc:spChg>
      </pc:sldChg>
      <pc:sldChg chg="addSp delSp modSp mod">
        <pc:chgData name="El Bakkouri, Manal" userId="8b130982-2e3f-4164-b881-fd3a2e4b2453" providerId="ADAL" clId="{4457FA57-250B-44AC-8655-05D46C5A3D8A}" dt="2023-06-12T13:37:15.089" v="15904"/>
        <pc:sldMkLst>
          <pc:docMk/>
          <pc:sldMk cId="3463172032" sldId="230717683"/>
        </pc:sldMkLst>
        <pc:spChg chg="del">
          <ac:chgData name="El Bakkouri, Manal" userId="8b130982-2e3f-4164-b881-fd3a2e4b2453" providerId="ADAL" clId="{4457FA57-250B-44AC-8655-05D46C5A3D8A}" dt="2023-06-12T13:37:14.607" v="15903" actId="478"/>
          <ac:spMkLst>
            <pc:docMk/>
            <pc:sldMk cId="3463172032" sldId="230717683"/>
            <ac:spMk id="10" creationId="{3D5DEBAD-EE21-4147-8022-15F2302CAFF4}"/>
          </ac:spMkLst>
        </pc:spChg>
        <pc:spChg chg="del">
          <ac:chgData name="El Bakkouri, Manal" userId="8b130982-2e3f-4164-b881-fd3a2e4b2453" providerId="ADAL" clId="{4457FA57-250B-44AC-8655-05D46C5A3D8A}" dt="2023-06-12T13:37:14.607" v="15903" actId="478"/>
          <ac:spMkLst>
            <pc:docMk/>
            <pc:sldMk cId="3463172032" sldId="230717683"/>
            <ac:spMk id="11" creationId="{922A0F04-4F24-4EBA-AACB-25E139983E75}"/>
          </ac:spMkLst>
        </pc:spChg>
        <pc:spChg chg="del">
          <ac:chgData name="El Bakkouri, Manal" userId="8b130982-2e3f-4164-b881-fd3a2e4b2453" providerId="ADAL" clId="{4457FA57-250B-44AC-8655-05D46C5A3D8A}" dt="2023-06-12T13:37:14.607" v="15903" actId="478"/>
          <ac:spMkLst>
            <pc:docMk/>
            <pc:sldMk cId="3463172032" sldId="230717683"/>
            <ac:spMk id="12" creationId="{BD265163-4FB0-4BF7-9B08-27E4EF456E4B}"/>
          </ac:spMkLst>
        </pc:spChg>
        <pc:spChg chg="del">
          <ac:chgData name="El Bakkouri, Manal" userId="8b130982-2e3f-4164-b881-fd3a2e4b2453" providerId="ADAL" clId="{4457FA57-250B-44AC-8655-05D46C5A3D8A}" dt="2023-06-12T13:37:14.607" v="15903" actId="478"/>
          <ac:spMkLst>
            <pc:docMk/>
            <pc:sldMk cId="3463172032" sldId="230717683"/>
            <ac:spMk id="13" creationId="{CCD1FC7D-D577-4AAE-84A3-4617CE362D80}"/>
          </ac:spMkLst>
        </pc:spChg>
        <pc:spChg chg="del">
          <ac:chgData name="El Bakkouri, Manal" userId="8b130982-2e3f-4164-b881-fd3a2e4b2453" providerId="ADAL" clId="{4457FA57-250B-44AC-8655-05D46C5A3D8A}" dt="2023-06-12T13:37:14.607" v="15903" actId="478"/>
          <ac:spMkLst>
            <pc:docMk/>
            <pc:sldMk cId="3463172032" sldId="230717683"/>
            <ac:spMk id="14" creationId="{80F3530F-1577-4FCE-A946-753F98785B3D}"/>
          </ac:spMkLst>
        </pc:spChg>
        <pc:spChg chg="del">
          <ac:chgData name="El Bakkouri, Manal" userId="8b130982-2e3f-4164-b881-fd3a2e4b2453" providerId="ADAL" clId="{4457FA57-250B-44AC-8655-05D46C5A3D8A}" dt="2023-06-12T13:37:14.607" v="15903" actId="478"/>
          <ac:spMkLst>
            <pc:docMk/>
            <pc:sldMk cId="3463172032" sldId="230717683"/>
            <ac:spMk id="15" creationId="{7DEEA3FD-B6E0-4032-A5D4-A43A5B313F05}"/>
          </ac:spMkLst>
        </pc:spChg>
        <pc:spChg chg="del">
          <ac:chgData name="El Bakkouri, Manal" userId="8b130982-2e3f-4164-b881-fd3a2e4b2453" providerId="ADAL" clId="{4457FA57-250B-44AC-8655-05D46C5A3D8A}" dt="2023-06-12T13:37:14.607" v="15903" actId="478"/>
          <ac:spMkLst>
            <pc:docMk/>
            <pc:sldMk cId="3463172032" sldId="230717683"/>
            <ac:spMk id="21" creationId="{BACFF1A5-7E01-45F1-8FDB-5DE2B3818B91}"/>
          </ac:spMkLst>
        </pc:spChg>
        <pc:spChg chg="del">
          <ac:chgData name="El Bakkouri, Manal" userId="8b130982-2e3f-4164-b881-fd3a2e4b2453" providerId="ADAL" clId="{4457FA57-250B-44AC-8655-05D46C5A3D8A}" dt="2023-06-12T13:37:14.607" v="15903" actId="478"/>
          <ac:spMkLst>
            <pc:docMk/>
            <pc:sldMk cId="3463172032" sldId="230717683"/>
            <ac:spMk id="22" creationId="{91DA84A4-B208-47FA-B1D3-93FBD8D24946}"/>
          </ac:spMkLst>
        </pc:spChg>
        <pc:spChg chg="del">
          <ac:chgData name="El Bakkouri, Manal" userId="8b130982-2e3f-4164-b881-fd3a2e4b2453" providerId="ADAL" clId="{4457FA57-250B-44AC-8655-05D46C5A3D8A}" dt="2023-06-12T13:37:14.607" v="15903" actId="478"/>
          <ac:spMkLst>
            <pc:docMk/>
            <pc:sldMk cId="3463172032" sldId="230717683"/>
            <ac:spMk id="23" creationId="{BFAEE232-5E85-41D0-8CEA-8B3B0668E9CC}"/>
          </ac:spMkLst>
        </pc:spChg>
        <pc:spChg chg="del">
          <ac:chgData name="El Bakkouri, Manal" userId="8b130982-2e3f-4164-b881-fd3a2e4b2453" providerId="ADAL" clId="{4457FA57-250B-44AC-8655-05D46C5A3D8A}" dt="2023-06-12T13:37:14.607" v="15903" actId="478"/>
          <ac:spMkLst>
            <pc:docMk/>
            <pc:sldMk cId="3463172032" sldId="230717683"/>
            <ac:spMk id="25" creationId="{8A704462-BE6C-45C2-8E3D-9DE092D6FB25}"/>
          </ac:spMkLst>
        </pc:spChg>
        <pc:spChg chg="add mod">
          <ac:chgData name="El Bakkouri, Manal" userId="8b130982-2e3f-4164-b881-fd3a2e4b2453" providerId="ADAL" clId="{4457FA57-250B-44AC-8655-05D46C5A3D8A}" dt="2023-06-12T13:37:15.089" v="15904"/>
          <ac:spMkLst>
            <pc:docMk/>
            <pc:sldMk cId="3463172032" sldId="230717683"/>
            <ac:spMk id="27" creationId="{4CEA07A5-BC83-4F37-A01A-DA20AE80DD45}"/>
          </ac:spMkLst>
        </pc:spChg>
        <pc:spChg chg="add mod">
          <ac:chgData name="El Bakkouri, Manal" userId="8b130982-2e3f-4164-b881-fd3a2e4b2453" providerId="ADAL" clId="{4457FA57-250B-44AC-8655-05D46C5A3D8A}" dt="2023-06-12T13:37:15.089" v="15904"/>
          <ac:spMkLst>
            <pc:docMk/>
            <pc:sldMk cId="3463172032" sldId="230717683"/>
            <ac:spMk id="28" creationId="{23510BB0-B71C-4E73-A683-CB0EBB81D47C}"/>
          </ac:spMkLst>
        </pc:spChg>
        <pc:spChg chg="add mod">
          <ac:chgData name="El Bakkouri, Manal" userId="8b130982-2e3f-4164-b881-fd3a2e4b2453" providerId="ADAL" clId="{4457FA57-250B-44AC-8655-05D46C5A3D8A}" dt="2023-06-12T13:37:15.089" v="15904"/>
          <ac:spMkLst>
            <pc:docMk/>
            <pc:sldMk cId="3463172032" sldId="230717683"/>
            <ac:spMk id="29" creationId="{53C41FE2-0308-4225-9072-748AE2680983}"/>
          </ac:spMkLst>
        </pc:spChg>
        <pc:spChg chg="add mod">
          <ac:chgData name="El Bakkouri, Manal" userId="8b130982-2e3f-4164-b881-fd3a2e4b2453" providerId="ADAL" clId="{4457FA57-250B-44AC-8655-05D46C5A3D8A}" dt="2023-06-12T13:37:15.089" v="15904"/>
          <ac:spMkLst>
            <pc:docMk/>
            <pc:sldMk cId="3463172032" sldId="230717683"/>
            <ac:spMk id="30" creationId="{9BF60037-AE5B-45AC-8CB1-6214C63403FB}"/>
          </ac:spMkLst>
        </pc:spChg>
        <pc:spChg chg="add mod">
          <ac:chgData name="El Bakkouri, Manal" userId="8b130982-2e3f-4164-b881-fd3a2e4b2453" providerId="ADAL" clId="{4457FA57-250B-44AC-8655-05D46C5A3D8A}" dt="2023-06-12T13:37:15.089" v="15904"/>
          <ac:spMkLst>
            <pc:docMk/>
            <pc:sldMk cId="3463172032" sldId="230717683"/>
            <ac:spMk id="31" creationId="{2390677D-A841-4ED2-B713-8E8EC524958E}"/>
          </ac:spMkLst>
        </pc:spChg>
        <pc:spChg chg="add mod">
          <ac:chgData name="El Bakkouri, Manal" userId="8b130982-2e3f-4164-b881-fd3a2e4b2453" providerId="ADAL" clId="{4457FA57-250B-44AC-8655-05D46C5A3D8A}" dt="2023-06-12T13:37:15.089" v="15904"/>
          <ac:spMkLst>
            <pc:docMk/>
            <pc:sldMk cId="3463172032" sldId="230717683"/>
            <ac:spMk id="32" creationId="{6037A436-F408-4AF3-AF9D-A766061392A2}"/>
          </ac:spMkLst>
        </pc:spChg>
        <pc:spChg chg="add mod">
          <ac:chgData name="El Bakkouri, Manal" userId="8b130982-2e3f-4164-b881-fd3a2e4b2453" providerId="ADAL" clId="{4457FA57-250B-44AC-8655-05D46C5A3D8A}" dt="2023-06-12T13:37:15.089" v="15904"/>
          <ac:spMkLst>
            <pc:docMk/>
            <pc:sldMk cId="3463172032" sldId="230717683"/>
            <ac:spMk id="33" creationId="{EAAFD7F5-0DC9-4379-B3B1-A6E2B22E5CAF}"/>
          </ac:spMkLst>
        </pc:spChg>
        <pc:spChg chg="add mod">
          <ac:chgData name="El Bakkouri, Manal" userId="8b130982-2e3f-4164-b881-fd3a2e4b2453" providerId="ADAL" clId="{4457FA57-250B-44AC-8655-05D46C5A3D8A}" dt="2023-06-12T13:37:15.089" v="15904"/>
          <ac:spMkLst>
            <pc:docMk/>
            <pc:sldMk cId="3463172032" sldId="230717683"/>
            <ac:spMk id="34" creationId="{C72EAB63-726B-4B65-BB80-D3861DDDA5A6}"/>
          </ac:spMkLst>
        </pc:spChg>
        <pc:spChg chg="add mod">
          <ac:chgData name="El Bakkouri, Manal" userId="8b130982-2e3f-4164-b881-fd3a2e4b2453" providerId="ADAL" clId="{4457FA57-250B-44AC-8655-05D46C5A3D8A}" dt="2023-06-12T13:37:15.089" v="15904"/>
          <ac:spMkLst>
            <pc:docMk/>
            <pc:sldMk cId="3463172032" sldId="230717683"/>
            <ac:spMk id="35" creationId="{E3601470-507F-4F30-8818-43282216A248}"/>
          </ac:spMkLst>
        </pc:spChg>
        <pc:spChg chg="add mod">
          <ac:chgData name="El Bakkouri, Manal" userId="8b130982-2e3f-4164-b881-fd3a2e4b2453" providerId="ADAL" clId="{4457FA57-250B-44AC-8655-05D46C5A3D8A}" dt="2023-06-12T13:37:15.089" v="15904"/>
          <ac:spMkLst>
            <pc:docMk/>
            <pc:sldMk cId="3463172032" sldId="230717683"/>
            <ac:spMk id="36" creationId="{142A0729-D267-40A4-ABE6-E6E6FB614020}"/>
          </ac:spMkLst>
        </pc:spChg>
      </pc:sldChg>
      <pc:sldChg chg="addSp delSp modSp mod">
        <pc:chgData name="El Bakkouri, Manal" userId="8b130982-2e3f-4164-b881-fd3a2e4b2453" providerId="ADAL" clId="{4457FA57-250B-44AC-8655-05D46C5A3D8A}" dt="2023-06-12T13:38:07.765" v="15914"/>
        <pc:sldMkLst>
          <pc:docMk/>
          <pc:sldMk cId="1201520795" sldId="230717684"/>
        </pc:sldMkLst>
        <pc:spChg chg="del">
          <ac:chgData name="El Bakkouri, Manal" userId="8b130982-2e3f-4164-b881-fd3a2e4b2453" providerId="ADAL" clId="{4457FA57-250B-44AC-8655-05D46C5A3D8A}" dt="2023-06-12T13:38:07.295" v="15913" actId="478"/>
          <ac:spMkLst>
            <pc:docMk/>
            <pc:sldMk cId="1201520795" sldId="230717684"/>
            <ac:spMk id="10" creationId="{3D5DEBAD-EE21-4147-8022-15F2302CAFF4}"/>
          </ac:spMkLst>
        </pc:spChg>
        <pc:spChg chg="del">
          <ac:chgData name="El Bakkouri, Manal" userId="8b130982-2e3f-4164-b881-fd3a2e4b2453" providerId="ADAL" clId="{4457FA57-250B-44AC-8655-05D46C5A3D8A}" dt="2023-06-12T13:38:07.295" v="15913" actId="478"/>
          <ac:spMkLst>
            <pc:docMk/>
            <pc:sldMk cId="1201520795" sldId="230717684"/>
            <ac:spMk id="11" creationId="{922A0F04-4F24-4EBA-AACB-25E139983E75}"/>
          </ac:spMkLst>
        </pc:spChg>
        <pc:spChg chg="del">
          <ac:chgData name="El Bakkouri, Manal" userId="8b130982-2e3f-4164-b881-fd3a2e4b2453" providerId="ADAL" clId="{4457FA57-250B-44AC-8655-05D46C5A3D8A}" dt="2023-06-12T13:38:07.295" v="15913" actId="478"/>
          <ac:spMkLst>
            <pc:docMk/>
            <pc:sldMk cId="1201520795" sldId="230717684"/>
            <ac:spMk id="12" creationId="{BD265163-4FB0-4BF7-9B08-27E4EF456E4B}"/>
          </ac:spMkLst>
        </pc:spChg>
        <pc:spChg chg="del">
          <ac:chgData name="El Bakkouri, Manal" userId="8b130982-2e3f-4164-b881-fd3a2e4b2453" providerId="ADAL" clId="{4457FA57-250B-44AC-8655-05D46C5A3D8A}" dt="2023-06-12T13:38:07.295" v="15913" actId="478"/>
          <ac:spMkLst>
            <pc:docMk/>
            <pc:sldMk cId="1201520795" sldId="230717684"/>
            <ac:spMk id="13" creationId="{CCD1FC7D-D577-4AAE-84A3-4617CE362D80}"/>
          </ac:spMkLst>
        </pc:spChg>
        <pc:spChg chg="del">
          <ac:chgData name="El Bakkouri, Manal" userId="8b130982-2e3f-4164-b881-fd3a2e4b2453" providerId="ADAL" clId="{4457FA57-250B-44AC-8655-05D46C5A3D8A}" dt="2023-06-12T13:38:07.295" v="15913" actId="478"/>
          <ac:spMkLst>
            <pc:docMk/>
            <pc:sldMk cId="1201520795" sldId="230717684"/>
            <ac:spMk id="14" creationId="{80F3530F-1577-4FCE-A946-753F98785B3D}"/>
          </ac:spMkLst>
        </pc:spChg>
        <pc:spChg chg="del">
          <ac:chgData name="El Bakkouri, Manal" userId="8b130982-2e3f-4164-b881-fd3a2e4b2453" providerId="ADAL" clId="{4457FA57-250B-44AC-8655-05D46C5A3D8A}" dt="2023-06-12T13:38:07.295" v="15913" actId="478"/>
          <ac:spMkLst>
            <pc:docMk/>
            <pc:sldMk cId="1201520795" sldId="230717684"/>
            <ac:spMk id="15" creationId="{7DEEA3FD-B6E0-4032-A5D4-A43A5B313F05}"/>
          </ac:spMkLst>
        </pc:spChg>
        <pc:spChg chg="del">
          <ac:chgData name="El Bakkouri, Manal" userId="8b130982-2e3f-4164-b881-fd3a2e4b2453" providerId="ADAL" clId="{4457FA57-250B-44AC-8655-05D46C5A3D8A}" dt="2023-06-12T13:38:07.295" v="15913" actId="478"/>
          <ac:spMkLst>
            <pc:docMk/>
            <pc:sldMk cId="1201520795" sldId="230717684"/>
            <ac:spMk id="22" creationId="{8F95783D-78B0-4F8E-AECF-14E7DA75B9E7}"/>
          </ac:spMkLst>
        </pc:spChg>
        <pc:spChg chg="del">
          <ac:chgData name="El Bakkouri, Manal" userId="8b130982-2e3f-4164-b881-fd3a2e4b2453" providerId="ADAL" clId="{4457FA57-250B-44AC-8655-05D46C5A3D8A}" dt="2023-06-12T13:38:07.295" v="15913" actId="478"/>
          <ac:spMkLst>
            <pc:docMk/>
            <pc:sldMk cId="1201520795" sldId="230717684"/>
            <ac:spMk id="23" creationId="{901FA82B-87B9-41FE-A812-82FCF0F41C27}"/>
          </ac:spMkLst>
        </pc:spChg>
        <pc:spChg chg="del">
          <ac:chgData name="El Bakkouri, Manal" userId="8b130982-2e3f-4164-b881-fd3a2e4b2453" providerId="ADAL" clId="{4457FA57-250B-44AC-8655-05D46C5A3D8A}" dt="2023-06-12T13:38:07.295" v="15913" actId="478"/>
          <ac:spMkLst>
            <pc:docMk/>
            <pc:sldMk cId="1201520795" sldId="230717684"/>
            <ac:spMk id="24" creationId="{CFF5DBA4-966C-443F-A5A1-1A457BE5DCD6}"/>
          </ac:spMkLst>
        </pc:spChg>
        <pc:spChg chg="del">
          <ac:chgData name="El Bakkouri, Manal" userId="8b130982-2e3f-4164-b881-fd3a2e4b2453" providerId="ADAL" clId="{4457FA57-250B-44AC-8655-05D46C5A3D8A}" dt="2023-06-12T13:38:07.295" v="15913" actId="478"/>
          <ac:spMkLst>
            <pc:docMk/>
            <pc:sldMk cId="1201520795" sldId="230717684"/>
            <ac:spMk id="25" creationId="{237024A9-5C24-494E-ADB4-F8CC2BF6E80A}"/>
          </ac:spMkLst>
        </pc:spChg>
        <pc:spChg chg="add mod">
          <ac:chgData name="El Bakkouri, Manal" userId="8b130982-2e3f-4164-b881-fd3a2e4b2453" providerId="ADAL" clId="{4457FA57-250B-44AC-8655-05D46C5A3D8A}" dt="2023-06-12T13:38:07.765" v="15914"/>
          <ac:spMkLst>
            <pc:docMk/>
            <pc:sldMk cId="1201520795" sldId="230717684"/>
            <ac:spMk id="26" creationId="{35BE40F2-9E1C-4A4F-A45D-356B50A3DE70}"/>
          </ac:spMkLst>
        </pc:spChg>
        <pc:spChg chg="add mod">
          <ac:chgData name="El Bakkouri, Manal" userId="8b130982-2e3f-4164-b881-fd3a2e4b2453" providerId="ADAL" clId="{4457FA57-250B-44AC-8655-05D46C5A3D8A}" dt="2023-06-12T13:38:07.765" v="15914"/>
          <ac:spMkLst>
            <pc:docMk/>
            <pc:sldMk cId="1201520795" sldId="230717684"/>
            <ac:spMk id="27" creationId="{EC6D2449-E82C-4C65-8BF2-5340E3563D07}"/>
          </ac:spMkLst>
        </pc:spChg>
        <pc:spChg chg="add mod">
          <ac:chgData name="El Bakkouri, Manal" userId="8b130982-2e3f-4164-b881-fd3a2e4b2453" providerId="ADAL" clId="{4457FA57-250B-44AC-8655-05D46C5A3D8A}" dt="2023-06-12T13:38:07.765" v="15914"/>
          <ac:spMkLst>
            <pc:docMk/>
            <pc:sldMk cId="1201520795" sldId="230717684"/>
            <ac:spMk id="28" creationId="{ABE39FF6-ABF9-4F0F-813B-717BFB62CA2A}"/>
          </ac:spMkLst>
        </pc:spChg>
        <pc:spChg chg="add mod">
          <ac:chgData name="El Bakkouri, Manal" userId="8b130982-2e3f-4164-b881-fd3a2e4b2453" providerId="ADAL" clId="{4457FA57-250B-44AC-8655-05D46C5A3D8A}" dt="2023-06-12T13:38:07.765" v="15914"/>
          <ac:spMkLst>
            <pc:docMk/>
            <pc:sldMk cId="1201520795" sldId="230717684"/>
            <ac:spMk id="29" creationId="{A5000576-9CD7-4FBC-9450-F9F73BEAA055}"/>
          </ac:spMkLst>
        </pc:spChg>
        <pc:spChg chg="add mod">
          <ac:chgData name="El Bakkouri, Manal" userId="8b130982-2e3f-4164-b881-fd3a2e4b2453" providerId="ADAL" clId="{4457FA57-250B-44AC-8655-05D46C5A3D8A}" dt="2023-06-12T13:38:07.765" v="15914"/>
          <ac:spMkLst>
            <pc:docMk/>
            <pc:sldMk cId="1201520795" sldId="230717684"/>
            <ac:spMk id="31" creationId="{80CF877D-0714-46DD-9C37-1980526A4165}"/>
          </ac:spMkLst>
        </pc:spChg>
        <pc:spChg chg="add mod">
          <ac:chgData name="El Bakkouri, Manal" userId="8b130982-2e3f-4164-b881-fd3a2e4b2453" providerId="ADAL" clId="{4457FA57-250B-44AC-8655-05D46C5A3D8A}" dt="2023-06-12T13:38:07.765" v="15914"/>
          <ac:spMkLst>
            <pc:docMk/>
            <pc:sldMk cId="1201520795" sldId="230717684"/>
            <ac:spMk id="32" creationId="{216243C1-344D-43ED-AD00-B99479CFA6AE}"/>
          </ac:spMkLst>
        </pc:spChg>
        <pc:spChg chg="add mod">
          <ac:chgData name="El Bakkouri, Manal" userId="8b130982-2e3f-4164-b881-fd3a2e4b2453" providerId="ADAL" clId="{4457FA57-250B-44AC-8655-05D46C5A3D8A}" dt="2023-06-12T13:38:07.765" v="15914"/>
          <ac:spMkLst>
            <pc:docMk/>
            <pc:sldMk cId="1201520795" sldId="230717684"/>
            <ac:spMk id="34" creationId="{9CEDC8C2-686E-479C-9C02-F8805A0245D9}"/>
          </ac:spMkLst>
        </pc:spChg>
        <pc:spChg chg="add mod">
          <ac:chgData name="El Bakkouri, Manal" userId="8b130982-2e3f-4164-b881-fd3a2e4b2453" providerId="ADAL" clId="{4457FA57-250B-44AC-8655-05D46C5A3D8A}" dt="2023-06-12T13:38:07.765" v="15914"/>
          <ac:spMkLst>
            <pc:docMk/>
            <pc:sldMk cId="1201520795" sldId="230717684"/>
            <ac:spMk id="36" creationId="{182E13C1-1EC8-49DB-9A6F-16B1A3995F9D}"/>
          </ac:spMkLst>
        </pc:spChg>
        <pc:spChg chg="add mod">
          <ac:chgData name="El Bakkouri, Manal" userId="8b130982-2e3f-4164-b881-fd3a2e4b2453" providerId="ADAL" clId="{4457FA57-250B-44AC-8655-05D46C5A3D8A}" dt="2023-06-12T13:38:07.765" v="15914"/>
          <ac:spMkLst>
            <pc:docMk/>
            <pc:sldMk cId="1201520795" sldId="230717684"/>
            <ac:spMk id="39" creationId="{03B91CCD-6EE5-47A5-A2EB-3C69B0DA7D73}"/>
          </ac:spMkLst>
        </pc:spChg>
        <pc:spChg chg="add mod">
          <ac:chgData name="El Bakkouri, Manal" userId="8b130982-2e3f-4164-b881-fd3a2e4b2453" providerId="ADAL" clId="{4457FA57-250B-44AC-8655-05D46C5A3D8A}" dt="2023-06-12T13:38:07.765" v="15914"/>
          <ac:spMkLst>
            <pc:docMk/>
            <pc:sldMk cId="1201520795" sldId="230717684"/>
            <ac:spMk id="40" creationId="{2C374395-BAF3-47C5-8FA4-D31228CA6AB3}"/>
          </ac:spMkLst>
        </pc:spChg>
      </pc:sldChg>
      <pc:sldChg chg="addSp delSp modSp mod">
        <pc:chgData name="El Bakkouri, Manal" userId="8b130982-2e3f-4164-b881-fd3a2e4b2453" providerId="ADAL" clId="{4457FA57-250B-44AC-8655-05D46C5A3D8A}" dt="2023-06-12T13:38:16.365" v="15916"/>
        <pc:sldMkLst>
          <pc:docMk/>
          <pc:sldMk cId="1530661064" sldId="230717685"/>
        </pc:sldMkLst>
        <pc:spChg chg="del">
          <ac:chgData name="El Bakkouri, Manal" userId="8b130982-2e3f-4164-b881-fd3a2e4b2453" providerId="ADAL" clId="{4457FA57-250B-44AC-8655-05D46C5A3D8A}" dt="2023-06-12T13:38:15.898" v="15915" actId="478"/>
          <ac:spMkLst>
            <pc:docMk/>
            <pc:sldMk cId="1530661064" sldId="230717685"/>
            <ac:spMk id="10" creationId="{3D5DEBAD-EE21-4147-8022-15F2302CAFF4}"/>
          </ac:spMkLst>
        </pc:spChg>
        <pc:spChg chg="del">
          <ac:chgData name="El Bakkouri, Manal" userId="8b130982-2e3f-4164-b881-fd3a2e4b2453" providerId="ADAL" clId="{4457FA57-250B-44AC-8655-05D46C5A3D8A}" dt="2023-06-12T13:38:15.898" v="15915" actId="478"/>
          <ac:spMkLst>
            <pc:docMk/>
            <pc:sldMk cId="1530661064" sldId="230717685"/>
            <ac:spMk id="11" creationId="{922A0F04-4F24-4EBA-AACB-25E139983E75}"/>
          </ac:spMkLst>
        </pc:spChg>
        <pc:spChg chg="del">
          <ac:chgData name="El Bakkouri, Manal" userId="8b130982-2e3f-4164-b881-fd3a2e4b2453" providerId="ADAL" clId="{4457FA57-250B-44AC-8655-05D46C5A3D8A}" dt="2023-06-12T13:38:15.898" v="15915" actId="478"/>
          <ac:spMkLst>
            <pc:docMk/>
            <pc:sldMk cId="1530661064" sldId="230717685"/>
            <ac:spMk id="12" creationId="{BD265163-4FB0-4BF7-9B08-27E4EF456E4B}"/>
          </ac:spMkLst>
        </pc:spChg>
        <pc:spChg chg="del">
          <ac:chgData name="El Bakkouri, Manal" userId="8b130982-2e3f-4164-b881-fd3a2e4b2453" providerId="ADAL" clId="{4457FA57-250B-44AC-8655-05D46C5A3D8A}" dt="2023-06-12T13:38:15.898" v="15915" actId="478"/>
          <ac:spMkLst>
            <pc:docMk/>
            <pc:sldMk cId="1530661064" sldId="230717685"/>
            <ac:spMk id="13" creationId="{CCD1FC7D-D577-4AAE-84A3-4617CE362D80}"/>
          </ac:spMkLst>
        </pc:spChg>
        <pc:spChg chg="del">
          <ac:chgData name="El Bakkouri, Manal" userId="8b130982-2e3f-4164-b881-fd3a2e4b2453" providerId="ADAL" clId="{4457FA57-250B-44AC-8655-05D46C5A3D8A}" dt="2023-06-12T13:38:15.898" v="15915" actId="478"/>
          <ac:spMkLst>
            <pc:docMk/>
            <pc:sldMk cId="1530661064" sldId="230717685"/>
            <ac:spMk id="14" creationId="{80F3530F-1577-4FCE-A946-753F98785B3D}"/>
          </ac:spMkLst>
        </pc:spChg>
        <pc:spChg chg="del">
          <ac:chgData name="El Bakkouri, Manal" userId="8b130982-2e3f-4164-b881-fd3a2e4b2453" providerId="ADAL" clId="{4457FA57-250B-44AC-8655-05D46C5A3D8A}" dt="2023-06-12T13:38:15.898" v="15915" actId="478"/>
          <ac:spMkLst>
            <pc:docMk/>
            <pc:sldMk cId="1530661064" sldId="230717685"/>
            <ac:spMk id="15" creationId="{7DEEA3FD-B6E0-4032-A5D4-A43A5B313F05}"/>
          </ac:spMkLst>
        </pc:spChg>
        <pc:spChg chg="del">
          <ac:chgData name="El Bakkouri, Manal" userId="8b130982-2e3f-4164-b881-fd3a2e4b2453" providerId="ADAL" clId="{4457FA57-250B-44AC-8655-05D46C5A3D8A}" dt="2023-06-12T13:38:15.898" v="15915" actId="478"/>
          <ac:spMkLst>
            <pc:docMk/>
            <pc:sldMk cId="1530661064" sldId="230717685"/>
            <ac:spMk id="22" creationId="{78CD7115-9BF8-461E-90F1-9547A5610B0F}"/>
          </ac:spMkLst>
        </pc:spChg>
        <pc:spChg chg="del">
          <ac:chgData name="El Bakkouri, Manal" userId="8b130982-2e3f-4164-b881-fd3a2e4b2453" providerId="ADAL" clId="{4457FA57-250B-44AC-8655-05D46C5A3D8A}" dt="2023-06-12T13:38:15.898" v="15915" actId="478"/>
          <ac:spMkLst>
            <pc:docMk/>
            <pc:sldMk cId="1530661064" sldId="230717685"/>
            <ac:spMk id="23" creationId="{166750A8-B0F4-46D6-9C56-0E06A1AADB3D}"/>
          </ac:spMkLst>
        </pc:spChg>
        <pc:spChg chg="del">
          <ac:chgData name="El Bakkouri, Manal" userId="8b130982-2e3f-4164-b881-fd3a2e4b2453" providerId="ADAL" clId="{4457FA57-250B-44AC-8655-05D46C5A3D8A}" dt="2023-06-12T13:38:15.898" v="15915" actId="478"/>
          <ac:spMkLst>
            <pc:docMk/>
            <pc:sldMk cId="1530661064" sldId="230717685"/>
            <ac:spMk id="24" creationId="{60FF714E-D96C-4673-9802-C78BFF7DE083}"/>
          </ac:spMkLst>
        </pc:spChg>
        <pc:spChg chg="del">
          <ac:chgData name="El Bakkouri, Manal" userId="8b130982-2e3f-4164-b881-fd3a2e4b2453" providerId="ADAL" clId="{4457FA57-250B-44AC-8655-05D46C5A3D8A}" dt="2023-06-12T13:38:15.898" v="15915" actId="478"/>
          <ac:spMkLst>
            <pc:docMk/>
            <pc:sldMk cId="1530661064" sldId="230717685"/>
            <ac:spMk id="25" creationId="{4E4705C7-CBEE-4E15-905C-94F3A8E7D780}"/>
          </ac:spMkLst>
        </pc:spChg>
        <pc:spChg chg="add mod">
          <ac:chgData name="El Bakkouri, Manal" userId="8b130982-2e3f-4164-b881-fd3a2e4b2453" providerId="ADAL" clId="{4457FA57-250B-44AC-8655-05D46C5A3D8A}" dt="2023-06-12T13:38:16.365" v="15916"/>
          <ac:spMkLst>
            <pc:docMk/>
            <pc:sldMk cId="1530661064" sldId="230717685"/>
            <ac:spMk id="26" creationId="{03A941FD-2AB8-4653-B2FD-9F4430ED9D1C}"/>
          </ac:spMkLst>
        </pc:spChg>
        <pc:spChg chg="add mod">
          <ac:chgData name="El Bakkouri, Manal" userId="8b130982-2e3f-4164-b881-fd3a2e4b2453" providerId="ADAL" clId="{4457FA57-250B-44AC-8655-05D46C5A3D8A}" dt="2023-06-12T13:38:16.365" v="15916"/>
          <ac:spMkLst>
            <pc:docMk/>
            <pc:sldMk cId="1530661064" sldId="230717685"/>
            <ac:spMk id="27" creationId="{8D7B98A0-99E1-4E37-B09B-A9BABD6C1153}"/>
          </ac:spMkLst>
        </pc:spChg>
        <pc:spChg chg="add mod">
          <ac:chgData name="El Bakkouri, Manal" userId="8b130982-2e3f-4164-b881-fd3a2e4b2453" providerId="ADAL" clId="{4457FA57-250B-44AC-8655-05D46C5A3D8A}" dt="2023-06-12T13:38:16.365" v="15916"/>
          <ac:spMkLst>
            <pc:docMk/>
            <pc:sldMk cId="1530661064" sldId="230717685"/>
            <ac:spMk id="28" creationId="{51EBA1FE-7141-4757-811D-302F6917847F}"/>
          </ac:spMkLst>
        </pc:spChg>
        <pc:spChg chg="add mod">
          <ac:chgData name="El Bakkouri, Manal" userId="8b130982-2e3f-4164-b881-fd3a2e4b2453" providerId="ADAL" clId="{4457FA57-250B-44AC-8655-05D46C5A3D8A}" dt="2023-06-12T13:38:16.365" v="15916"/>
          <ac:spMkLst>
            <pc:docMk/>
            <pc:sldMk cId="1530661064" sldId="230717685"/>
            <ac:spMk id="31" creationId="{B31906DB-B8FD-4410-9CE4-99265D2A51C2}"/>
          </ac:spMkLst>
        </pc:spChg>
        <pc:spChg chg="add mod">
          <ac:chgData name="El Bakkouri, Manal" userId="8b130982-2e3f-4164-b881-fd3a2e4b2453" providerId="ADAL" clId="{4457FA57-250B-44AC-8655-05D46C5A3D8A}" dt="2023-06-12T13:38:16.365" v="15916"/>
          <ac:spMkLst>
            <pc:docMk/>
            <pc:sldMk cId="1530661064" sldId="230717685"/>
            <ac:spMk id="33" creationId="{817E004F-C58E-494E-8BDB-CB52ED48E2C8}"/>
          </ac:spMkLst>
        </pc:spChg>
        <pc:spChg chg="add mod">
          <ac:chgData name="El Bakkouri, Manal" userId="8b130982-2e3f-4164-b881-fd3a2e4b2453" providerId="ADAL" clId="{4457FA57-250B-44AC-8655-05D46C5A3D8A}" dt="2023-06-12T13:38:16.365" v="15916"/>
          <ac:spMkLst>
            <pc:docMk/>
            <pc:sldMk cId="1530661064" sldId="230717685"/>
            <ac:spMk id="36" creationId="{F159D929-A97D-4661-96F9-6E046928AE05}"/>
          </ac:spMkLst>
        </pc:spChg>
        <pc:spChg chg="add mod">
          <ac:chgData name="El Bakkouri, Manal" userId="8b130982-2e3f-4164-b881-fd3a2e4b2453" providerId="ADAL" clId="{4457FA57-250B-44AC-8655-05D46C5A3D8A}" dt="2023-06-12T13:38:16.365" v="15916"/>
          <ac:spMkLst>
            <pc:docMk/>
            <pc:sldMk cId="1530661064" sldId="230717685"/>
            <ac:spMk id="37" creationId="{71460050-9460-4A35-B1F9-FCB7609B7336}"/>
          </ac:spMkLst>
        </pc:spChg>
        <pc:spChg chg="add mod">
          <ac:chgData name="El Bakkouri, Manal" userId="8b130982-2e3f-4164-b881-fd3a2e4b2453" providerId="ADAL" clId="{4457FA57-250B-44AC-8655-05D46C5A3D8A}" dt="2023-06-12T13:38:16.365" v="15916"/>
          <ac:spMkLst>
            <pc:docMk/>
            <pc:sldMk cId="1530661064" sldId="230717685"/>
            <ac:spMk id="38" creationId="{645E3F4C-16BF-4DC5-B3E1-91351B84F95F}"/>
          </ac:spMkLst>
        </pc:spChg>
        <pc:spChg chg="add mod">
          <ac:chgData name="El Bakkouri, Manal" userId="8b130982-2e3f-4164-b881-fd3a2e4b2453" providerId="ADAL" clId="{4457FA57-250B-44AC-8655-05D46C5A3D8A}" dt="2023-06-12T13:38:16.365" v="15916"/>
          <ac:spMkLst>
            <pc:docMk/>
            <pc:sldMk cId="1530661064" sldId="230717685"/>
            <ac:spMk id="39" creationId="{D93C48BE-B09C-4A77-B3C6-23744EC868CD}"/>
          </ac:spMkLst>
        </pc:spChg>
        <pc:spChg chg="add mod">
          <ac:chgData name="El Bakkouri, Manal" userId="8b130982-2e3f-4164-b881-fd3a2e4b2453" providerId="ADAL" clId="{4457FA57-250B-44AC-8655-05D46C5A3D8A}" dt="2023-06-12T13:38:16.365" v="15916"/>
          <ac:spMkLst>
            <pc:docMk/>
            <pc:sldMk cId="1530661064" sldId="230717685"/>
            <ac:spMk id="40" creationId="{0A46540C-109C-454B-BE29-D8353576CA99}"/>
          </ac:spMkLst>
        </pc:spChg>
      </pc:sldChg>
      <pc:sldChg chg="addSp delSp modSp mod">
        <pc:chgData name="El Bakkouri, Manal" userId="8b130982-2e3f-4164-b881-fd3a2e4b2453" providerId="ADAL" clId="{4457FA57-250B-44AC-8655-05D46C5A3D8A}" dt="2023-06-12T13:38:24.314" v="15918"/>
        <pc:sldMkLst>
          <pc:docMk/>
          <pc:sldMk cId="1840247035" sldId="230717686"/>
        </pc:sldMkLst>
        <pc:spChg chg="del">
          <ac:chgData name="El Bakkouri, Manal" userId="8b130982-2e3f-4164-b881-fd3a2e4b2453" providerId="ADAL" clId="{4457FA57-250B-44AC-8655-05D46C5A3D8A}" dt="2023-06-12T13:38:23.859" v="15917" actId="478"/>
          <ac:spMkLst>
            <pc:docMk/>
            <pc:sldMk cId="1840247035" sldId="230717686"/>
            <ac:spMk id="10" creationId="{3D5DEBAD-EE21-4147-8022-15F2302CAFF4}"/>
          </ac:spMkLst>
        </pc:spChg>
        <pc:spChg chg="del">
          <ac:chgData name="El Bakkouri, Manal" userId="8b130982-2e3f-4164-b881-fd3a2e4b2453" providerId="ADAL" clId="{4457FA57-250B-44AC-8655-05D46C5A3D8A}" dt="2023-06-12T13:38:23.859" v="15917" actId="478"/>
          <ac:spMkLst>
            <pc:docMk/>
            <pc:sldMk cId="1840247035" sldId="230717686"/>
            <ac:spMk id="11" creationId="{922A0F04-4F24-4EBA-AACB-25E139983E75}"/>
          </ac:spMkLst>
        </pc:spChg>
        <pc:spChg chg="del">
          <ac:chgData name="El Bakkouri, Manal" userId="8b130982-2e3f-4164-b881-fd3a2e4b2453" providerId="ADAL" clId="{4457FA57-250B-44AC-8655-05D46C5A3D8A}" dt="2023-06-12T13:38:23.859" v="15917" actId="478"/>
          <ac:spMkLst>
            <pc:docMk/>
            <pc:sldMk cId="1840247035" sldId="230717686"/>
            <ac:spMk id="12" creationId="{BD265163-4FB0-4BF7-9B08-27E4EF456E4B}"/>
          </ac:spMkLst>
        </pc:spChg>
        <pc:spChg chg="del">
          <ac:chgData name="El Bakkouri, Manal" userId="8b130982-2e3f-4164-b881-fd3a2e4b2453" providerId="ADAL" clId="{4457FA57-250B-44AC-8655-05D46C5A3D8A}" dt="2023-06-12T13:38:23.859" v="15917" actId="478"/>
          <ac:spMkLst>
            <pc:docMk/>
            <pc:sldMk cId="1840247035" sldId="230717686"/>
            <ac:spMk id="13" creationId="{CCD1FC7D-D577-4AAE-84A3-4617CE362D80}"/>
          </ac:spMkLst>
        </pc:spChg>
        <pc:spChg chg="del">
          <ac:chgData name="El Bakkouri, Manal" userId="8b130982-2e3f-4164-b881-fd3a2e4b2453" providerId="ADAL" clId="{4457FA57-250B-44AC-8655-05D46C5A3D8A}" dt="2023-06-12T13:38:23.859" v="15917" actId="478"/>
          <ac:spMkLst>
            <pc:docMk/>
            <pc:sldMk cId="1840247035" sldId="230717686"/>
            <ac:spMk id="14" creationId="{80F3530F-1577-4FCE-A946-753F98785B3D}"/>
          </ac:spMkLst>
        </pc:spChg>
        <pc:spChg chg="del">
          <ac:chgData name="El Bakkouri, Manal" userId="8b130982-2e3f-4164-b881-fd3a2e4b2453" providerId="ADAL" clId="{4457FA57-250B-44AC-8655-05D46C5A3D8A}" dt="2023-06-12T13:38:23.859" v="15917" actId="478"/>
          <ac:spMkLst>
            <pc:docMk/>
            <pc:sldMk cId="1840247035" sldId="230717686"/>
            <ac:spMk id="15" creationId="{7DEEA3FD-B6E0-4032-A5D4-A43A5B313F05}"/>
          </ac:spMkLst>
        </pc:spChg>
        <pc:spChg chg="del">
          <ac:chgData name="El Bakkouri, Manal" userId="8b130982-2e3f-4164-b881-fd3a2e4b2453" providerId="ADAL" clId="{4457FA57-250B-44AC-8655-05D46C5A3D8A}" dt="2023-06-12T13:38:23.859" v="15917" actId="478"/>
          <ac:spMkLst>
            <pc:docMk/>
            <pc:sldMk cId="1840247035" sldId="230717686"/>
            <ac:spMk id="24" creationId="{B9D833D3-17BB-432E-9A8D-DC666FA4F598}"/>
          </ac:spMkLst>
        </pc:spChg>
        <pc:spChg chg="del">
          <ac:chgData name="El Bakkouri, Manal" userId="8b130982-2e3f-4164-b881-fd3a2e4b2453" providerId="ADAL" clId="{4457FA57-250B-44AC-8655-05D46C5A3D8A}" dt="2023-06-12T13:38:23.859" v="15917" actId="478"/>
          <ac:spMkLst>
            <pc:docMk/>
            <pc:sldMk cId="1840247035" sldId="230717686"/>
            <ac:spMk id="26" creationId="{FDF67A36-024B-49E5-A6FC-C9F6668B3D3F}"/>
          </ac:spMkLst>
        </pc:spChg>
        <pc:spChg chg="del">
          <ac:chgData name="El Bakkouri, Manal" userId="8b130982-2e3f-4164-b881-fd3a2e4b2453" providerId="ADAL" clId="{4457FA57-250B-44AC-8655-05D46C5A3D8A}" dt="2023-06-12T13:38:23.859" v="15917" actId="478"/>
          <ac:spMkLst>
            <pc:docMk/>
            <pc:sldMk cId="1840247035" sldId="230717686"/>
            <ac:spMk id="29" creationId="{73343DE4-B415-4DDC-A9DE-C7AE208AE043}"/>
          </ac:spMkLst>
        </pc:spChg>
        <pc:spChg chg="del">
          <ac:chgData name="El Bakkouri, Manal" userId="8b130982-2e3f-4164-b881-fd3a2e4b2453" providerId="ADAL" clId="{4457FA57-250B-44AC-8655-05D46C5A3D8A}" dt="2023-06-12T13:38:23.859" v="15917" actId="478"/>
          <ac:spMkLst>
            <pc:docMk/>
            <pc:sldMk cId="1840247035" sldId="230717686"/>
            <ac:spMk id="30" creationId="{D7052CE0-8132-4CAB-A684-8758AA9A88CE}"/>
          </ac:spMkLst>
        </pc:spChg>
        <pc:spChg chg="add mod">
          <ac:chgData name="El Bakkouri, Manal" userId="8b130982-2e3f-4164-b881-fd3a2e4b2453" providerId="ADAL" clId="{4457FA57-250B-44AC-8655-05D46C5A3D8A}" dt="2023-06-12T13:38:24.314" v="15918"/>
          <ac:spMkLst>
            <pc:docMk/>
            <pc:sldMk cId="1840247035" sldId="230717686"/>
            <ac:spMk id="31" creationId="{D9FB5FCD-C4D2-48E4-AACD-9AB7ECE29D3A}"/>
          </ac:spMkLst>
        </pc:spChg>
        <pc:spChg chg="add mod">
          <ac:chgData name="El Bakkouri, Manal" userId="8b130982-2e3f-4164-b881-fd3a2e4b2453" providerId="ADAL" clId="{4457FA57-250B-44AC-8655-05D46C5A3D8A}" dt="2023-06-12T13:38:24.314" v="15918"/>
          <ac:spMkLst>
            <pc:docMk/>
            <pc:sldMk cId="1840247035" sldId="230717686"/>
            <ac:spMk id="32" creationId="{13DC5020-506F-4434-808D-E21E32FE4270}"/>
          </ac:spMkLst>
        </pc:spChg>
        <pc:spChg chg="add mod">
          <ac:chgData name="El Bakkouri, Manal" userId="8b130982-2e3f-4164-b881-fd3a2e4b2453" providerId="ADAL" clId="{4457FA57-250B-44AC-8655-05D46C5A3D8A}" dt="2023-06-12T13:38:24.314" v="15918"/>
          <ac:spMkLst>
            <pc:docMk/>
            <pc:sldMk cId="1840247035" sldId="230717686"/>
            <ac:spMk id="33" creationId="{25BE2CE6-9108-4951-AB47-0A54A7A16C14}"/>
          </ac:spMkLst>
        </pc:spChg>
        <pc:spChg chg="add mod">
          <ac:chgData name="El Bakkouri, Manal" userId="8b130982-2e3f-4164-b881-fd3a2e4b2453" providerId="ADAL" clId="{4457FA57-250B-44AC-8655-05D46C5A3D8A}" dt="2023-06-12T13:38:24.314" v="15918"/>
          <ac:spMkLst>
            <pc:docMk/>
            <pc:sldMk cId="1840247035" sldId="230717686"/>
            <ac:spMk id="34" creationId="{B4A5D952-951A-4E20-AC7F-61C61A55E403}"/>
          </ac:spMkLst>
        </pc:spChg>
        <pc:spChg chg="add mod">
          <ac:chgData name="El Bakkouri, Manal" userId="8b130982-2e3f-4164-b881-fd3a2e4b2453" providerId="ADAL" clId="{4457FA57-250B-44AC-8655-05D46C5A3D8A}" dt="2023-06-12T13:38:24.314" v="15918"/>
          <ac:spMkLst>
            <pc:docMk/>
            <pc:sldMk cId="1840247035" sldId="230717686"/>
            <ac:spMk id="35" creationId="{A0F45C0E-7E8C-4672-A2CC-DBB3B287F6F3}"/>
          </ac:spMkLst>
        </pc:spChg>
        <pc:spChg chg="add mod">
          <ac:chgData name="El Bakkouri, Manal" userId="8b130982-2e3f-4164-b881-fd3a2e4b2453" providerId="ADAL" clId="{4457FA57-250B-44AC-8655-05D46C5A3D8A}" dt="2023-06-12T13:38:24.314" v="15918"/>
          <ac:spMkLst>
            <pc:docMk/>
            <pc:sldMk cId="1840247035" sldId="230717686"/>
            <ac:spMk id="36" creationId="{B72A0996-A871-4F79-9CC9-AA67143BDD87}"/>
          </ac:spMkLst>
        </pc:spChg>
        <pc:spChg chg="add mod">
          <ac:chgData name="El Bakkouri, Manal" userId="8b130982-2e3f-4164-b881-fd3a2e4b2453" providerId="ADAL" clId="{4457FA57-250B-44AC-8655-05D46C5A3D8A}" dt="2023-06-12T13:38:24.314" v="15918"/>
          <ac:spMkLst>
            <pc:docMk/>
            <pc:sldMk cId="1840247035" sldId="230717686"/>
            <ac:spMk id="37" creationId="{9B9B5A1D-11EE-4AAF-B6A0-5DE055245FD6}"/>
          </ac:spMkLst>
        </pc:spChg>
        <pc:spChg chg="add mod">
          <ac:chgData name="El Bakkouri, Manal" userId="8b130982-2e3f-4164-b881-fd3a2e4b2453" providerId="ADAL" clId="{4457FA57-250B-44AC-8655-05D46C5A3D8A}" dt="2023-06-12T13:38:24.314" v="15918"/>
          <ac:spMkLst>
            <pc:docMk/>
            <pc:sldMk cId="1840247035" sldId="230717686"/>
            <ac:spMk id="38" creationId="{9AAC5270-AE9C-45FC-A761-16F7C98930EF}"/>
          </ac:spMkLst>
        </pc:spChg>
        <pc:spChg chg="add mod">
          <ac:chgData name="El Bakkouri, Manal" userId="8b130982-2e3f-4164-b881-fd3a2e4b2453" providerId="ADAL" clId="{4457FA57-250B-44AC-8655-05D46C5A3D8A}" dt="2023-06-12T13:38:24.314" v="15918"/>
          <ac:spMkLst>
            <pc:docMk/>
            <pc:sldMk cId="1840247035" sldId="230717686"/>
            <ac:spMk id="39" creationId="{1D118760-52C3-40C5-B31B-AB6D85B3AB6F}"/>
          </ac:spMkLst>
        </pc:spChg>
        <pc:spChg chg="add mod">
          <ac:chgData name="El Bakkouri, Manal" userId="8b130982-2e3f-4164-b881-fd3a2e4b2453" providerId="ADAL" clId="{4457FA57-250B-44AC-8655-05D46C5A3D8A}" dt="2023-06-12T13:38:24.314" v="15918"/>
          <ac:spMkLst>
            <pc:docMk/>
            <pc:sldMk cId="1840247035" sldId="230717686"/>
            <ac:spMk id="40" creationId="{D263C0CB-CD1A-4A65-823D-A04424E3727D}"/>
          </ac:spMkLst>
        </pc:spChg>
      </pc:sldChg>
      <pc:sldChg chg="addSp delSp modSp mod">
        <pc:chgData name="El Bakkouri, Manal" userId="8b130982-2e3f-4164-b881-fd3a2e4b2453" providerId="ADAL" clId="{4457FA57-250B-44AC-8655-05D46C5A3D8A}" dt="2023-06-12T13:38:36.045" v="15920"/>
        <pc:sldMkLst>
          <pc:docMk/>
          <pc:sldMk cId="532341883" sldId="230717687"/>
        </pc:sldMkLst>
        <pc:spChg chg="del">
          <ac:chgData name="El Bakkouri, Manal" userId="8b130982-2e3f-4164-b881-fd3a2e4b2453" providerId="ADAL" clId="{4457FA57-250B-44AC-8655-05D46C5A3D8A}" dt="2023-06-12T13:38:35.379" v="15919" actId="478"/>
          <ac:spMkLst>
            <pc:docMk/>
            <pc:sldMk cId="532341883" sldId="230717687"/>
            <ac:spMk id="10" creationId="{3D5DEBAD-EE21-4147-8022-15F2302CAFF4}"/>
          </ac:spMkLst>
        </pc:spChg>
        <pc:spChg chg="del">
          <ac:chgData name="El Bakkouri, Manal" userId="8b130982-2e3f-4164-b881-fd3a2e4b2453" providerId="ADAL" clId="{4457FA57-250B-44AC-8655-05D46C5A3D8A}" dt="2023-06-12T13:38:35.379" v="15919" actId="478"/>
          <ac:spMkLst>
            <pc:docMk/>
            <pc:sldMk cId="532341883" sldId="230717687"/>
            <ac:spMk id="11" creationId="{922A0F04-4F24-4EBA-AACB-25E139983E75}"/>
          </ac:spMkLst>
        </pc:spChg>
        <pc:spChg chg="del">
          <ac:chgData name="El Bakkouri, Manal" userId="8b130982-2e3f-4164-b881-fd3a2e4b2453" providerId="ADAL" clId="{4457FA57-250B-44AC-8655-05D46C5A3D8A}" dt="2023-06-12T13:38:35.379" v="15919" actId="478"/>
          <ac:spMkLst>
            <pc:docMk/>
            <pc:sldMk cId="532341883" sldId="230717687"/>
            <ac:spMk id="12" creationId="{BD265163-4FB0-4BF7-9B08-27E4EF456E4B}"/>
          </ac:spMkLst>
        </pc:spChg>
        <pc:spChg chg="del">
          <ac:chgData name="El Bakkouri, Manal" userId="8b130982-2e3f-4164-b881-fd3a2e4b2453" providerId="ADAL" clId="{4457FA57-250B-44AC-8655-05D46C5A3D8A}" dt="2023-06-12T13:38:35.379" v="15919" actId="478"/>
          <ac:spMkLst>
            <pc:docMk/>
            <pc:sldMk cId="532341883" sldId="230717687"/>
            <ac:spMk id="13" creationId="{CCD1FC7D-D577-4AAE-84A3-4617CE362D80}"/>
          </ac:spMkLst>
        </pc:spChg>
        <pc:spChg chg="del">
          <ac:chgData name="El Bakkouri, Manal" userId="8b130982-2e3f-4164-b881-fd3a2e4b2453" providerId="ADAL" clId="{4457FA57-250B-44AC-8655-05D46C5A3D8A}" dt="2023-06-12T13:38:35.379" v="15919" actId="478"/>
          <ac:spMkLst>
            <pc:docMk/>
            <pc:sldMk cId="532341883" sldId="230717687"/>
            <ac:spMk id="14" creationId="{80F3530F-1577-4FCE-A946-753F98785B3D}"/>
          </ac:spMkLst>
        </pc:spChg>
        <pc:spChg chg="del">
          <ac:chgData name="El Bakkouri, Manal" userId="8b130982-2e3f-4164-b881-fd3a2e4b2453" providerId="ADAL" clId="{4457FA57-250B-44AC-8655-05D46C5A3D8A}" dt="2023-06-12T13:38:35.379" v="15919" actId="478"/>
          <ac:spMkLst>
            <pc:docMk/>
            <pc:sldMk cId="532341883" sldId="230717687"/>
            <ac:spMk id="15" creationId="{7DEEA3FD-B6E0-4032-A5D4-A43A5B313F05}"/>
          </ac:spMkLst>
        </pc:spChg>
        <pc:spChg chg="del">
          <ac:chgData name="El Bakkouri, Manal" userId="8b130982-2e3f-4164-b881-fd3a2e4b2453" providerId="ADAL" clId="{4457FA57-250B-44AC-8655-05D46C5A3D8A}" dt="2023-06-12T13:38:35.379" v="15919" actId="478"/>
          <ac:spMkLst>
            <pc:docMk/>
            <pc:sldMk cId="532341883" sldId="230717687"/>
            <ac:spMk id="21" creationId="{B8C2CF1B-C504-4D74-B16C-41C937BA3F34}"/>
          </ac:spMkLst>
        </pc:spChg>
        <pc:spChg chg="del">
          <ac:chgData name="El Bakkouri, Manal" userId="8b130982-2e3f-4164-b881-fd3a2e4b2453" providerId="ADAL" clId="{4457FA57-250B-44AC-8655-05D46C5A3D8A}" dt="2023-06-12T13:38:35.379" v="15919" actId="478"/>
          <ac:spMkLst>
            <pc:docMk/>
            <pc:sldMk cId="532341883" sldId="230717687"/>
            <ac:spMk id="22" creationId="{13600B15-B298-48E7-8B5A-BB7D3FF563E3}"/>
          </ac:spMkLst>
        </pc:spChg>
        <pc:spChg chg="del">
          <ac:chgData name="El Bakkouri, Manal" userId="8b130982-2e3f-4164-b881-fd3a2e4b2453" providerId="ADAL" clId="{4457FA57-250B-44AC-8655-05D46C5A3D8A}" dt="2023-06-12T13:38:35.379" v="15919" actId="478"/>
          <ac:spMkLst>
            <pc:docMk/>
            <pc:sldMk cId="532341883" sldId="230717687"/>
            <ac:spMk id="25" creationId="{EAACDD2A-E3E7-4153-A449-00372E514C60}"/>
          </ac:spMkLst>
        </pc:spChg>
        <pc:spChg chg="del">
          <ac:chgData name="El Bakkouri, Manal" userId="8b130982-2e3f-4164-b881-fd3a2e4b2453" providerId="ADAL" clId="{4457FA57-250B-44AC-8655-05D46C5A3D8A}" dt="2023-06-12T13:38:35.379" v="15919" actId="478"/>
          <ac:spMkLst>
            <pc:docMk/>
            <pc:sldMk cId="532341883" sldId="230717687"/>
            <ac:spMk id="27" creationId="{31B7D064-7DC4-4C6A-B24A-47AF69F6A427}"/>
          </ac:spMkLst>
        </pc:spChg>
        <pc:spChg chg="add mod">
          <ac:chgData name="El Bakkouri, Manal" userId="8b130982-2e3f-4164-b881-fd3a2e4b2453" providerId="ADAL" clId="{4457FA57-250B-44AC-8655-05D46C5A3D8A}" dt="2023-06-12T13:38:36.045" v="15920"/>
          <ac:spMkLst>
            <pc:docMk/>
            <pc:sldMk cId="532341883" sldId="230717687"/>
            <ac:spMk id="28" creationId="{DB5A4C59-CB74-4154-8587-A7498C15D665}"/>
          </ac:spMkLst>
        </pc:spChg>
        <pc:spChg chg="add mod">
          <ac:chgData name="El Bakkouri, Manal" userId="8b130982-2e3f-4164-b881-fd3a2e4b2453" providerId="ADAL" clId="{4457FA57-250B-44AC-8655-05D46C5A3D8A}" dt="2023-06-12T13:38:36.045" v="15920"/>
          <ac:spMkLst>
            <pc:docMk/>
            <pc:sldMk cId="532341883" sldId="230717687"/>
            <ac:spMk id="29" creationId="{665A76C5-5351-4D4E-A5B6-4F0E4C37A90F}"/>
          </ac:spMkLst>
        </pc:spChg>
        <pc:spChg chg="add mod">
          <ac:chgData name="El Bakkouri, Manal" userId="8b130982-2e3f-4164-b881-fd3a2e4b2453" providerId="ADAL" clId="{4457FA57-250B-44AC-8655-05D46C5A3D8A}" dt="2023-06-12T13:38:36.045" v="15920"/>
          <ac:spMkLst>
            <pc:docMk/>
            <pc:sldMk cId="532341883" sldId="230717687"/>
            <ac:spMk id="30" creationId="{A05EC5DB-3661-4369-9790-427947EB4CD0}"/>
          </ac:spMkLst>
        </pc:spChg>
        <pc:spChg chg="add mod">
          <ac:chgData name="El Bakkouri, Manal" userId="8b130982-2e3f-4164-b881-fd3a2e4b2453" providerId="ADAL" clId="{4457FA57-250B-44AC-8655-05D46C5A3D8A}" dt="2023-06-12T13:38:36.045" v="15920"/>
          <ac:spMkLst>
            <pc:docMk/>
            <pc:sldMk cId="532341883" sldId="230717687"/>
            <ac:spMk id="31" creationId="{6C18AA56-5AB4-4544-A2DF-78968B6A2122}"/>
          </ac:spMkLst>
        </pc:spChg>
        <pc:spChg chg="add mod">
          <ac:chgData name="El Bakkouri, Manal" userId="8b130982-2e3f-4164-b881-fd3a2e4b2453" providerId="ADAL" clId="{4457FA57-250B-44AC-8655-05D46C5A3D8A}" dt="2023-06-12T13:38:36.045" v="15920"/>
          <ac:spMkLst>
            <pc:docMk/>
            <pc:sldMk cId="532341883" sldId="230717687"/>
            <ac:spMk id="32" creationId="{51893279-E77E-4D9D-95E4-C0D9C80A6C58}"/>
          </ac:spMkLst>
        </pc:spChg>
        <pc:spChg chg="add mod">
          <ac:chgData name="El Bakkouri, Manal" userId="8b130982-2e3f-4164-b881-fd3a2e4b2453" providerId="ADAL" clId="{4457FA57-250B-44AC-8655-05D46C5A3D8A}" dt="2023-06-12T13:38:36.045" v="15920"/>
          <ac:spMkLst>
            <pc:docMk/>
            <pc:sldMk cId="532341883" sldId="230717687"/>
            <ac:spMk id="33" creationId="{00EEBECC-5ECB-4D9E-A578-725BDC77B478}"/>
          </ac:spMkLst>
        </pc:spChg>
        <pc:spChg chg="add mod">
          <ac:chgData name="El Bakkouri, Manal" userId="8b130982-2e3f-4164-b881-fd3a2e4b2453" providerId="ADAL" clId="{4457FA57-250B-44AC-8655-05D46C5A3D8A}" dt="2023-06-12T13:38:36.045" v="15920"/>
          <ac:spMkLst>
            <pc:docMk/>
            <pc:sldMk cId="532341883" sldId="230717687"/>
            <ac:spMk id="34" creationId="{584633C4-1CAD-4C0A-87BA-EB8D92D6471A}"/>
          </ac:spMkLst>
        </pc:spChg>
        <pc:spChg chg="add mod">
          <ac:chgData name="El Bakkouri, Manal" userId="8b130982-2e3f-4164-b881-fd3a2e4b2453" providerId="ADAL" clId="{4457FA57-250B-44AC-8655-05D46C5A3D8A}" dt="2023-06-12T13:38:36.045" v="15920"/>
          <ac:spMkLst>
            <pc:docMk/>
            <pc:sldMk cId="532341883" sldId="230717687"/>
            <ac:spMk id="35" creationId="{F756FFAD-97E4-46BD-850E-EF9660DB081F}"/>
          </ac:spMkLst>
        </pc:spChg>
        <pc:spChg chg="add mod">
          <ac:chgData name="El Bakkouri, Manal" userId="8b130982-2e3f-4164-b881-fd3a2e4b2453" providerId="ADAL" clId="{4457FA57-250B-44AC-8655-05D46C5A3D8A}" dt="2023-06-12T13:38:36.045" v="15920"/>
          <ac:spMkLst>
            <pc:docMk/>
            <pc:sldMk cId="532341883" sldId="230717687"/>
            <ac:spMk id="36" creationId="{E139CD97-7D82-46B5-8E54-41A96C8537B0}"/>
          </ac:spMkLst>
        </pc:spChg>
        <pc:spChg chg="add mod">
          <ac:chgData name="El Bakkouri, Manal" userId="8b130982-2e3f-4164-b881-fd3a2e4b2453" providerId="ADAL" clId="{4457FA57-250B-44AC-8655-05D46C5A3D8A}" dt="2023-06-12T13:38:36.045" v="15920"/>
          <ac:spMkLst>
            <pc:docMk/>
            <pc:sldMk cId="532341883" sldId="230717687"/>
            <ac:spMk id="37" creationId="{EDE5BABA-B3A5-411A-9B7B-547ACCD575A0}"/>
          </ac:spMkLst>
        </pc:spChg>
      </pc:sldChg>
      <pc:sldChg chg="addSp delSp modSp mod">
        <pc:chgData name="El Bakkouri, Manal" userId="8b130982-2e3f-4164-b881-fd3a2e4b2453" providerId="ADAL" clId="{4457FA57-250B-44AC-8655-05D46C5A3D8A}" dt="2023-06-12T13:37:46.701" v="15909" actId="166"/>
        <pc:sldMkLst>
          <pc:docMk/>
          <pc:sldMk cId="1300488745" sldId="230717688"/>
        </pc:sldMkLst>
        <pc:spChg chg="del">
          <ac:chgData name="El Bakkouri, Manal" userId="8b130982-2e3f-4164-b881-fd3a2e4b2453" providerId="ADAL" clId="{4457FA57-250B-44AC-8655-05D46C5A3D8A}" dt="2023-06-12T13:37:38.466" v="15907" actId="478"/>
          <ac:spMkLst>
            <pc:docMk/>
            <pc:sldMk cId="1300488745" sldId="230717688"/>
            <ac:spMk id="10" creationId="{3D5DEBAD-EE21-4147-8022-15F2302CAFF4}"/>
          </ac:spMkLst>
        </pc:spChg>
        <pc:spChg chg="del">
          <ac:chgData name="El Bakkouri, Manal" userId="8b130982-2e3f-4164-b881-fd3a2e4b2453" providerId="ADAL" clId="{4457FA57-250B-44AC-8655-05D46C5A3D8A}" dt="2023-06-12T13:37:38.466" v="15907" actId="478"/>
          <ac:spMkLst>
            <pc:docMk/>
            <pc:sldMk cId="1300488745" sldId="230717688"/>
            <ac:spMk id="11" creationId="{922A0F04-4F24-4EBA-AACB-25E139983E75}"/>
          </ac:spMkLst>
        </pc:spChg>
        <pc:spChg chg="del">
          <ac:chgData name="El Bakkouri, Manal" userId="8b130982-2e3f-4164-b881-fd3a2e4b2453" providerId="ADAL" clId="{4457FA57-250B-44AC-8655-05D46C5A3D8A}" dt="2023-06-12T13:37:38.466" v="15907" actId="478"/>
          <ac:spMkLst>
            <pc:docMk/>
            <pc:sldMk cId="1300488745" sldId="230717688"/>
            <ac:spMk id="12" creationId="{BD265163-4FB0-4BF7-9B08-27E4EF456E4B}"/>
          </ac:spMkLst>
        </pc:spChg>
        <pc:spChg chg="del">
          <ac:chgData name="El Bakkouri, Manal" userId="8b130982-2e3f-4164-b881-fd3a2e4b2453" providerId="ADAL" clId="{4457FA57-250B-44AC-8655-05D46C5A3D8A}" dt="2023-06-12T13:37:38.466" v="15907" actId="478"/>
          <ac:spMkLst>
            <pc:docMk/>
            <pc:sldMk cId="1300488745" sldId="230717688"/>
            <ac:spMk id="13" creationId="{CCD1FC7D-D577-4AAE-84A3-4617CE362D80}"/>
          </ac:spMkLst>
        </pc:spChg>
        <pc:spChg chg="del">
          <ac:chgData name="El Bakkouri, Manal" userId="8b130982-2e3f-4164-b881-fd3a2e4b2453" providerId="ADAL" clId="{4457FA57-250B-44AC-8655-05D46C5A3D8A}" dt="2023-06-12T13:37:38.466" v="15907" actId="478"/>
          <ac:spMkLst>
            <pc:docMk/>
            <pc:sldMk cId="1300488745" sldId="230717688"/>
            <ac:spMk id="14" creationId="{80F3530F-1577-4FCE-A946-753F98785B3D}"/>
          </ac:spMkLst>
        </pc:spChg>
        <pc:spChg chg="del">
          <ac:chgData name="El Bakkouri, Manal" userId="8b130982-2e3f-4164-b881-fd3a2e4b2453" providerId="ADAL" clId="{4457FA57-250B-44AC-8655-05D46C5A3D8A}" dt="2023-06-12T13:37:38.466" v="15907" actId="478"/>
          <ac:spMkLst>
            <pc:docMk/>
            <pc:sldMk cId="1300488745" sldId="230717688"/>
            <ac:spMk id="15" creationId="{7DEEA3FD-B6E0-4032-A5D4-A43A5B313F05}"/>
          </ac:spMkLst>
        </pc:spChg>
        <pc:spChg chg="del">
          <ac:chgData name="El Bakkouri, Manal" userId="8b130982-2e3f-4164-b881-fd3a2e4b2453" providerId="ADAL" clId="{4457FA57-250B-44AC-8655-05D46C5A3D8A}" dt="2023-06-12T13:37:38.466" v="15907" actId="478"/>
          <ac:spMkLst>
            <pc:docMk/>
            <pc:sldMk cId="1300488745" sldId="230717688"/>
            <ac:spMk id="22" creationId="{28D79CD3-198F-497E-B09A-FE9D40EC7BFC}"/>
          </ac:spMkLst>
        </pc:spChg>
        <pc:spChg chg="del">
          <ac:chgData name="El Bakkouri, Manal" userId="8b130982-2e3f-4164-b881-fd3a2e4b2453" providerId="ADAL" clId="{4457FA57-250B-44AC-8655-05D46C5A3D8A}" dt="2023-06-12T13:37:38.466" v="15907" actId="478"/>
          <ac:spMkLst>
            <pc:docMk/>
            <pc:sldMk cId="1300488745" sldId="230717688"/>
            <ac:spMk id="23" creationId="{904D8793-618C-4841-B991-B58B19D0E923}"/>
          </ac:spMkLst>
        </pc:spChg>
        <pc:spChg chg="del">
          <ac:chgData name="El Bakkouri, Manal" userId="8b130982-2e3f-4164-b881-fd3a2e4b2453" providerId="ADAL" clId="{4457FA57-250B-44AC-8655-05D46C5A3D8A}" dt="2023-06-12T13:37:38.466" v="15907" actId="478"/>
          <ac:spMkLst>
            <pc:docMk/>
            <pc:sldMk cId="1300488745" sldId="230717688"/>
            <ac:spMk id="26" creationId="{D2B8F511-59B7-478C-B013-2666EAF151A0}"/>
          </ac:spMkLst>
        </pc:spChg>
        <pc:spChg chg="del">
          <ac:chgData name="El Bakkouri, Manal" userId="8b130982-2e3f-4164-b881-fd3a2e4b2453" providerId="ADAL" clId="{4457FA57-250B-44AC-8655-05D46C5A3D8A}" dt="2023-06-12T13:37:38.466" v="15907" actId="478"/>
          <ac:spMkLst>
            <pc:docMk/>
            <pc:sldMk cId="1300488745" sldId="230717688"/>
            <ac:spMk id="28" creationId="{061F011F-B9EC-445E-9535-85C93055F019}"/>
          </ac:spMkLst>
        </pc:spChg>
        <pc:spChg chg="add mod">
          <ac:chgData name="El Bakkouri, Manal" userId="8b130982-2e3f-4164-b881-fd3a2e4b2453" providerId="ADAL" clId="{4457FA57-250B-44AC-8655-05D46C5A3D8A}" dt="2023-06-12T13:37:39.259" v="15908"/>
          <ac:spMkLst>
            <pc:docMk/>
            <pc:sldMk cId="1300488745" sldId="230717688"/>
            <ac:spMk id="29" creationId="{05D2512A-CFD4-4B27-9C18-BB027178CC84}"/>
          </ac:spMkLst>
        </pc:spChg>
        <pc:spChg chg="add mod">
          <ac:chgData name="El Bakkouri, Manal" userId="8b130982-2e3f-4164-b881-fd3a2e4b2453" providerId="ADAL" clId="{4457FA57-250B-44AC-8655-05D46C5A3D8A}" dt="2023-06-12T13:37:39.259" v="15908"/>
          <ac:spMkLst>
            <pc:docMk/>
            <pc:sldMk cId="1300488745" sldId="230717688"/>
            <ac:spMk id="30" creationId="{BD7EFAE0-51BF-4B3B-B70B-28E65F7BDE18}"/>
          </ac:spMkLst>
        </pc:spChg>
        <pc:spChg chg="add mod">
          <ac:chgData name="El Bakkouri, Manal" userId="8b130982-2e3f-4164-b881-fd3a2e4b2453" providerId="ADAL" clId="{4457FA57-250B-44AC-8655-05D46C5A3D8A}" dt="2023-06-12T13:37:39.259" v="15908"/>
          <ac:spMkLst>
            <pc:docMk/>
            <pc:sldMk cId="1300488745" sldId="230717688"/>
            <ac:spMk id="31" creationId="{19F86B6D-374C-4E8B-9AD7-15E046EBFDEA}"/>
          </ac:spMkLst>
        </pc:spChg>
        <pc:spChg chg="add mod">
          <ac:chgData name="El Bakkouri, Manal" userId="8b130982-2e3f-4164-b881-fd3a2e4b2453" providerId="ADAL" clId="{4457FA57-250B-44AC-8655-05D46C5A3D8A}" dt="2023-06-12T13:37:39.259" v="15908"/>
          <ac:spMkLst>
            <pc:docMk/>
            <pc:sldMk cId="1300488745" sldId="230717688"/>
            <ac:spMk id="32" creationId="{A9F81312-B324-42AE-A92E-E18C1B37CE28}"/>
          </ac:spMkLst>
        </pc:spChg>
        <pc:spChg chg="add mod">
          <ac:chgData name="El Bakkouri, Manal" userId="8b130982-2e3f-4164-b881-fd3a2e4b2453" providerId="ADAL" clId="{4457FA57-250B-44AC-8655-05D46C5A3D8A}" dt="2023-06-12T13:37:39.259" v="15908"/>
          <ac:spMkLst>
            <pc:docMk/>
            <pc:sldMk cId="1300488745" sldId="230717688"/>
            <ac:spMk id="35" creationId="{37C4E6E7-34EA-44A2-8260-4D6B56F4E057}"/>
          </ac:spMkLst>
        </pc:spChg>
        <pc:spChg chg="add mod">
          <ac:chgData name="El Bakkouri, Manal" userId="8b130982-2e3f-4164-b881-fd3a2e4b2453" providerId="ADAL" clId="{4457FA57-250B-44AC-8655-05D46C5A3D8A}" dt="2023-06-12T13:37:39.259" v="15908"/>
          <ac:spMkLst>
            <pc:docMk/>
            <pc:sldMk cId="1300488745" sldId="230717688"/>
            <ac:spMk id="36" creationId="{D77F5C5C-D154-4F40-81E4-39448D532162}"/>
          </ac:spMkLst>
        </pc:spChg>
        <pc:spChg chg="add mod">
          <ac:chgData name="El Bakkouri, Manal" userId="8b130982-2e3f-4164-b881-fd3a2e4b2453" providerId="ADAL" clId="{4457FA57-250B-44AC-8655-05D46C5A3D8A}" dt="2023-06-12T13:37:39.259" v="15908"/>
          <ac:spMkLst>
            <pc:docMk/>
            <pc:sldMk cId="1300488745" sldId="230717688"/>
            <ac:spMk id="37" creationId="{DE03822C-506C-4E6C-9EDE-A771D2E67E25}"/>
          </ac:spMkLst>
        </pc:spChg>
        <pc:spChg chg="add mod">
          <ac:chgData name="El Bakkouri, Manal" userId="8b130982-2e3f-4164-b881-fd3a2e4b2453" providerId="ADAL" clId="{4457FA57-250B-44AC-8655-05D46C5A3D8A}" dt="2023-06-12T13:37:39.259" v="15908"/>
          <ac:spMkLst>
            <pc:docMk/>
            <pc:sldMk cId="1300488745" sldId="230717688"/>
            <ac:spMk id="38" creationId="{D594A287-07DF-49E6-AF22-1A8862975B19}"/>
          </ac:spMkLst>
        </pc:spChg>
        <pc:spChg chg="add mod">
          <ac:chgData name="El Bakkouri, Manal" userId="8b130982-2e3f-4164-b881-fd3a2e4b2453" providerId="ADAL" clId="{4457FA57-250B-44AC-8655-05D46C5A3D8A}" dt="2023-06-12T13:37:39.259" v="15908"/>
          <ac:spMkLst>
            <pc:docMk/>
            <pc:sldMk cId="1300488745" sldId="230717688"/>
            <ac:spMk id="39" creationId="{783775FE-AA81-444B-A3C6-1475D0BF5C4D}"/>
          </ac:spMkLst>
        </pc:spChg>
        <pc:spChg chg="add mod">
          <ac:chgData name="El Bakkouri, Manal" userId="8b130982-2e3f-4164-b881-fd3a2e4b2453" providerId="ADAL" clId="{4457FA57-250B-44AC-8655-05D46C5A3D8A}" dt="2023-06-12T13:37:39.259" v="15908"/>
          <ac:spMkLst>
            <pc:docMk/>
            <pc:sldMk cId="1300488745" sldId="230717688"/>
            <ac:spMk id="40" creationId="{BB01BE70-59AD-4816-A905-93A7447EF4F2}"/>
          </ac:spMkLst>
        </pc:spChg>
        <pc:picChg chg="ord">
          <ac:chgData name="El Bakkouri, Manal" userId="8b130982-2e3f-4164-b881-fd3a2e4b2453" providerId="ADAL" clId="{4457FA57-250B-44AC-8655-05D46C5A3D8A}" dt="2023-06-12T13:37:46.701" v="15909" actId="166"/>
          <ac:picMkLst>
            <pc:docMk/>
            <pc:sldMk cId="1300488745" sldId="230717688"/>
            <ac:picMk id="33" creationId="{F5CF68CC-A17A-4449-BE78-6521E2B0EB6B}"/>
          </ac:picMkLst>
        </pc:picChg>
      </pc:sldChg>
      <pc:sldChg chg="addSp delSp modSp mod">
        <pc:chgData name="El Bakkouri, Manal" userId="8b130982-2e3f-4164-b881-fd3a2e4b2453" providerId="ADAL" clId="{4457FA57-250B-44AC-8655-05D46C5A3D8A}" dt="2023-06-12T13:37:59.430" v="15912" actId="166"/>
        <pc:sldMkLst>
          <pc:docMk/>
          <pc:sldMk cId="2315312326" sldId="230717689"/>
        </pc:sldMkLst>
        <pc:spChg chg="del">
          <ac:chgData name="El Bakkouri, Manal" userId="8b130982-2e3f-4164-b881-fd3a2e4b2453" providerId="ADAL" clId="{4457FA57-250B-44AC-8655-05D46C5A3D8A}" dt="2023-06-12T13:37:54.718" v="15910" actId="478"/>
          <ac:spMkLst>
            <pc:docMk/>
            <pc:sldMk cId="2315312326" sldId="230717689"/>
            <ac:spMk id="10" creationId="{3D5DEBAD-EE21-4147-8022-15F2302CAFF4}"/>
          </ac:spMkLst>
        </pc:spChg>
        <pc:spChg chg="del">
          <ac:chgData name="El Bakkouri, Manal" userId="8b130982-2e3f-4164-b881-fd3a2e4b2453" providerId="ADAL" clId="{4457FA57-250B-44AC-8655-05D46C5A3D8A}" dt="2023-06-12T13:37:54.718" v="15910" actId="478"/>
          <ac:spMkLst>
            <pc:docMk/>
            <pc:sldMk cId="2315312326" sldId="230717689"/>
            <ac:spMk id="11" creationId="{922A0F04-4F24-4EBA-AACB-25E139983E75}"/>
          </ac:spMkLst>
        </pc:spChg>
        <pc:spChg chg="del">
          <ac:chgData name="El Bakkouri, Manal" userId="8b130982-2e3f-4164-b881-fd3a2e4b2453" providerId="ADAL" clId="{4457FA57-250B-44AC-8655-05D46C5A3D8A}" dt="2023-06-12T13:37:54.718" v="15910" actId="478"/>
          <ac:spMkLst>
            <pc:docMk/>
            <pc:sldMk cId="2315312326" sldId="230717689"/>
            <ac:spMk id="12" creationId="{BD265163-4FB0-4BF7-9B08-27E4EF456E4B}"/>
          </ac:spMkLst>
        </pc:spChg>
        <pc:spChg chg="del">
          <ac:chgData name="El Bakkouri, Manal" userId="8b130982-2e3f-4164-b881-fd3a2e4b2453" providerId="ADAL" clId="{4457FA57-250B-44AC-8655-05D46C5A3D8A}" dt="2023-06-12T13:37:54.718" v="15910" actId="478"/>
          <ac:spMkLst>
            <pc:docMk/>
            <pc:sldMk cId="2315312326" sldId="230717689"/>
            <ac:spMk id="13" creationId="{CCD1FC7D-D577-4AAE-84A3-4617CE362D80}"/>
          </ac:spMkLst>
        </pc:spChg>
        <pc:spChg chg="del">
          <ac:chgData name="El Bakkouri, Manal" userId="8b130982-2e3f-4164-b881-fd3a2e4b2453" providerId="ADAL" clId="{4457FA57-250B-44AC-8655-05D46C5A3D8A}" dt="2023-06-12T13:37:54.718" v="15910" actId="478"/>
          <ac:spMkLst>
            <pc:docMk/>
            <pc:sldMk cId="2315312326" sldId="230717689"/>
            <ac:spMk id="14" creationId="{80F3530F-1577-4FCE-A946-753F98785B3D}"/>
          </ac:spMkLst>
        </pc:spChg>
        <pc:spChg chg="del">
          <ac:chgData name="El Bakkouri, Manal" userId="8b130982-2e3f-4164-b881-fd3a2e4b2453" providerId="ADAL" clId="{4457FA57-250B-44AC-8655-05D46C5A3D8A}" dt="2023-06-12T13:37:54.718" v="15910" actId="478"/>
          <ac:spMkLst>
            <pc:docMk/>
            <pc:sldMk cId="2315312326" sldId="230717689"/>
            <ac:spMk id="15" creationId="{7DEEA3FD-B6E0-4032-A5D4-A43A5B313F05}"/>
          </ac:spMkLst>
        </pc:spChg>
        <pc:spChg chg="del">
          <ac:chgData name="El Bakkouri, Manal" userId="8b130982-2e3f-4164-b881-fd3a2e4b2453" providerId="ADAL" clId="{4457FA57-250B-44AC-8655-05D46C5A3D8A}" dt="2023-06-12T13:37:54.718" v="15910" actId="478"/>
          <ac:spMkLst>
            <pc:docMk/>
            <pc:sldMk cId="2315312326" sldId="230717689"/>
            <ac:spMk id="24" creationId="{DF9713E7-F5F7-42D6-9540-99BF76B5618E}"/>
          </ac:spMkLst>
        </pc:spChg>
        <pc:spChg chg="del">
          <ac:chgData name="El Bakkouri, Manal" userId="8b130982-2e3f-4164-b881-fd3a2e4b2453" providerId="ADAL" clId="{4457FA57-250B-44AC-8655-05D46C5A3D8A}" dt="2023-06-12T13:37:54.718" v="15910" actId="478"/>
          <ac:spMkLst>
            <pc:docMk/>
            <pc:sldMk cId="2315312326" sldId="230717689"/>
            <ac:spMk id="26" creationId="{9BD5CC36-90B3-4553-98EF-3E6C28BFC9A8}"/>
          </ac:spMkLst>
        </pc:spChg>
        <pc:spChg chg="del">
          <ac:chgData name="El Bakkouri, Manal" userId="8b130982-2e3f-4164-b881-fd3a2e4b2453" providerId="ADAL" clId="{4457FA57-250B-44AC-8655-05D46C5A3D8A}" dt="2023-06-12T13:37:54.718" v="15910" actId="478"/>
          <ac:spMkLst>
            <pc:docMk/>
            <pc:sldMk cId="2315312326" sldId="230717689"/>
            <ac:spMk id="30" creationId="{39689899-1830-47CD-B116-DC576826DFF7}"/>
          </ac:spMkLst>
        </pc:spChg>
        <pc:spChg chg="del">
          <ac:chgData name="El Bakkouri, Manal" userId="8b130982-2e3f-4164-b881-fd3a2e4b2453" providerId="ADAL" clId="{4457FA57-250B-44AC-8655-05D46C5A3D8A}" dt="2023-06-12T13:37:54.718" v="15910" actId="478"/>
          <ac:spMkLst>
            <pc:docMk/>
            <pc:sldMk cId="2315312326" sldId="230717689"/>
            <ac:spMk id="31" creationId="{70AA9AF0-B5AA-4359-9805-0614FFB4136B}"/>
          </ac:spMkLst>
        </pc:spChg>
        <pc:spChg chg="add mod">
          <ac:chgData name="El Bakkouri, Manal" userId="8b130982-2e3f-4164-b881-fd3a2e4b2453" providerId="ADAL" clId="{4457FA57-250B-44AC-8655-05D46C5A3D8A}" dt="2023-06-12T13:37:55.184" v="15911"/>
          <ac:spMkLst>
            <pc:docMk/>
            <pc:sldMk cId="2315312326" sldId="230717689"/>
            <ac:spMk id="32" creationId="{43452623-BDC4-4C86-AC00-F8E0BD1B3055}"/>
          </ac:spMkLst>
        </pc:spChg>
        <pc:spChg chg="add mod">
          <ac:chgData name="El Bakkouri, Manal" userId="8b130982-2e3f-4164-b881-fd3a2e4b2453" providerId="ADAL" clId="{4457FA57-250B-44AC-8655-05D46C5A3D8A}" dt="2023-06-12T13:37:55.184" v="15911"/>
          <ac:spMkLst>
            <pc:docMk/>
            <pc:sldMk cId="2315312326" sldId="230717689"/>
            <ac:spMk id="33" creationId="{FEF69FCE-A04D-4EAF-885F-762BF07F7EBD}"/>
          </ac:spMkLst>
        </pc:spChg>
        <pc:spChg chg="add mod">
          <ac:chgData name="El Bakkouri, Manal" userId="8b130982-2e3f-4164-b881-fd3a2e4b2453" providerId="ADAL" clId="{4457FA57-250B-44AC-8655-05D46C5A3D8A}" dt="2023-06-12T13:37:55.184" v="15911"/>
          <ac:spMkLst>
            <pc:docMk/>
            <pc:sldMk cId="2315312326" sldId="230717689"/>
            <ac:spMk id="34" creationId="{226B45BA-366C-4249-9450-6840D76286FC}"/>
          </ac:spMkLst>
        </pc:spChg>
        <pc:spChg chg="add mod">
          <ac:chgData name="El Bakkouri, Manal" userId="8b130982-2e3f-4164-b881-fd3a2e4b2453" providerId="ADAL" clId="{4457FA57-250B-44AC-8655-05D46C5A3D8A}" dt="2023-06-12T13:37:55.184" v="15911"/>
          <ac:spMkLst>
            <pc:docMk/>
            <pc:sldMk cId="2315312326" sldId="230717689"/>
            <ac:spMk id="35" creationId="{D060D498-8C0E-45CB-A6EA-34854B70D478}"/>
          </ac:spMkLst>
        </pc:spChg>
        <pc:spChg chg="add mod">
          <ac:chgData name="El Bakkouri, Manal" userId="8b130982-2e3f-4164-b881-fd3a2e4b2453" providerId="ADAL" clId="{4457FA57-250B-44AC-8655-05D46C5A3D8A}" dt="2023-06-12T13:37:55.184" v="15911"/>
          <ac:spMkLst>
            <pc:docMk/>
            <pc:sldMk cId="2315312326" sldId="230717689"/>
            <ac:spMk id="36" creationId="{C29C337A-7EF1-477D-9C5E-3F556D2E9075}"/>
          </ac:spMkLst>
        </pc:spChg>
        <pc:spChg chg="add mod">
          <ac:chgData name="El Bakkouri, Manal" userId="8b130982-2e3f-4164-b881-fd3a2e4b2453" providerId="ADAL" clId="{4457FA57-250B-44AC-8655-05D46C5A3D8A}" dt="2023-06-12T13:37:55.184" v="15911"/>
          <ac:spMkLst>
            <pc:docMk/>
            <pc:sldMk cId="2315312326" sldId="230717689"/>
            <ac:spMk id="37" creationId="{17B0649C-3363-4E87-9141-FA57957F1A11}"/>
          </ac:spMkLst>
        </pc:spChg>
        <pc:spChg chg="add mod">
          <ac:chgData name="El Bakkouri, Manal" userId="8b130982-2e3f-4164-b881-fd3a2e4b2453" providerId="ADAL" clId="{4457FA57-250B-44AC-8655-05D46C5A3D8A}" dt="2023-06-12T13:37:55.184" v="15911"/>
          <ac:spMkLst>
            <pc:docMk/>
            <pc:sldMk cId="2315312326" sldId="230717689"/>
            <ac:spMk id="38" creationId="{D3F340C5-FFA1-418F-AA6D-34F93C23C4C4}"/>
          </ac:spMkLst>
        </pc:spChg>
        <pc:spChg chg="add mod">
          <ac:chgData name="El Bakkouri, Manal" userId="8b130982-2e3f-4164-b881-fd3a2e4b2453" providerId="ADAL" clId="{4457FA57-250B-44AC-8655-05D46C5A3D8A}" dt="2023-06-12T13:37:55.184" v="15911"/>
          <ac:spMkLst>
            <pc:docMk/>
            <pc:sldMk cId="2315312326" sldId="230717689"/>
            <ac:spMk id="39" creationId="{9783BAEE-4F66-42F4-9EA3-37EC689F6C59}"/>
          </ac:spMkLst>
        </pc:spChg>
        <pc:spChg chg="add mod">
          <ac:chgData name="El Bakkouri, Manal" userId="8b130982-2e3f-4164-b881-fd3a2e4b2453" providerId="ADAL" clId="{4457FA57-250B-44AC-8655-05D46C5A3D8A}" dt="2023-06-12T13:37:55.184" v="15911"/>
          <ac:spMkLst>
            <pc:docMk/>
            <pc:sldMk cId="2315312326" sldId="230717689"/>
            <ac:spMk id="40" creationId="{93429808-B9E9-4B32-8D3C-4858E857A64F}"/>
          </ac:spMkLst>
        </pc:spChg>
        <pc:spChg chg="add mod">
          <ac:chgData name="El Bakkouri, Manal" userId="8b130982-2e3f-4164-b881-fd3a2e4b2453" providerId="ADAL" clId="{4457FA57-250B-44AC-8655-05D46C5A3D8A}" dt="2023-06-12T13:37:55.184" v="15911"/>
          <ac:spMkLst>
            <pc:docMk/>
            <pc:sldMk cId="2315312326" sldId="230717689"/>
            <ac:spMk id="41" creationId="{A7971433-1AF7-415E-8CFE-D17F7135FD23}"/>
          </ac:spMkLst>
        </pc:spChg>
        <pc:picChg chg="ord">
          <ac:chgData name="El Bakkouri, Manal" userId="8b130982-2e3f-4164-b881-fd3a2e4b2453" providerId="ADAL" clId="{4457FA57-250B-44AC-8655-05D46C5A3D8A}" dt="2023-06-12T13:37:59.430" v="15912" actId="166"/>
          <ac:picMkLst>
            <pc:docMk/>
            <pc:sldMk cId="2315312326" sldId="230717689"/>
            <ac:picMk id="27" creationId="{F0FA8C04-5C58-4C1D-9282-6229E7238B48}"/>
          </ac:picMkLst>
        </pc:picChg>
      </pc:sldChg>
      <pc:sldChg chg="addSp delSp modSp mod">
        <pc:chgData name="El Bakkouri, Manal" userId="8b130982-2e3f-4164-b881-fd3a2e4b2453" providerId="ADAL" clId="{4457FA57-250B-44AC-8655-05D46C5A3D8A}" dt="2023-06-12T13:38:48.539" v="15924"/>
        <pc:sldMkLst>
          <pc:docMk/>
          <pc:sldMk cId="1342995248" sldId="230717690"/>
        </pc:sldMkLst>
        <pc:spChg chg="del">
          <ac:chgData name="El Bakkouri, Manal" userId="8b130982-2e3f-4164-b881-fd3a2e4b2453" providerId="ADAL" clId="{4457FA57-250B-44AC-8655-05D46C5A3D8A}" dt="2023-06-12T13:38:48.077" v="15923" actId="478"/>
          <ac:spMkLst>
            <pc:docMk/>
            <pc:sldMk cId="1342995248" sldId="230717690"/>
            <ac:spMk id="8" creationId="{A28F01A3-4922-4A31-B1C3-579E26A7E094}"/>
          </ac:spMkLst>
        </pc:spChg>
        <pc:spChg chg="del">
          <ac:chgData name="El Bakkouri, Manal" userId="8b130982-2e3f-4164-b881-fd3a2e4b2453" providerId="ADAL" clId="{4457FA57-250B-44AC-8655-05D46C5A3D8A}" dt="2023-06-12T13:38:48.077" v="15923" actId="478"/>
          <ac:spMkLst>
            <pc:docMk/>
            <pc:sldMk cId="1342995248" sldId="230717690"/>
            <ac:spMk id="9" creationId="{104A6B37-B4CF-4149-B6BD-3844BC2CEB80}"/>
          </ac:spMkLst>
        </pc:spChg>
        <pc:spChg chg="del">
          <ac:chgData name="El Bakkouri, Manal" userId="8b130982-2e3f-4164-b881-fd3a2e4b2453" providerId="ADAL" clId="{4457FA57-250B-44AC-8655-05D46C5A3D8A}" dt="2023-06-12T13:38:48.077" v="15923" actId="478"/>
          <ac:spMkLst>
            <pc:docMk/>
            <pc:sldMk cId="1342995248" sldId="230717690"/>
            <ac:spMk id="10" creationId="{14D6940C-F9DE-44CE-8E6E-BF3B199AB133}"/>
          </ac:spMkLst>
        </pc:spChg>
        <pc:spChg chg="del">
          <ac:chgData name="El Bakkouri, Manal" userId="8b130982-2e3f-4164-b881-fd3a2e4b2453" providerId="ADAL" clId="{4457FA57-250B-44AC-8655-05D46C5A3D8A}" dt="2023-06-12T13:38:48.077" v="15923" actId="478"/>
          <ac:spMkLst>
            <pc:docMk/>
            <pc:sldMk cId="1342995248" sldId="230717690"/>
            <ac:spMk id="11" creationId="{D55C0A20-CDA7-4A3D-BB08-D9CCBE2C01E6}"/>
          </ac:spMkLst>
        </pc:spChg>
        <pc:spChg chg="del">
          <ac:chgData name="El Bakkouri, Manal" userId="8b130982-2e3f-4164-b881-fd3a2e4b2453" providerId="ADAL" clId="{4457FA57-250B-44AC-8655-05D46C5A3D8A}" dt="2023-06-12T13:38:48.077" v="15923" actId="478"/>
          <ac:spMkLst>
            <pc:docMk/>
            <pc:sldMk cId="1342995248" sldId="230717690"/>
            <ac:spMk id="12" creationId="{600C4987-85DE-4E40-A200-6CEF5272A55A}"/>
          </ac:spMkLst>
        </pc:spChg>
        <pc:spChg chg="del">
          <ac:chgData name="El Bakkouri, Manal" userId="8b130982-2e3f-4164-b881-fd3a2e4b2453" providerId="ADAL" clId="{4457FA57-250B-44AC-8655-05D46C5A3D8A}" dt="2023-06-12T13:38:48.077" v="15923" actId="478"/>
          <ac:spMkLst>
            <pc:docMk/>
            <pc:sldMk cId="1342995248" sldId="230717690"/>
            <ac:spMk id="13" creationId="{DE80F741-E790-48A1-AEFF-C86A87FDD066}"/>
          </ac:spMkLst>
        </pc:spChg>
        <pc:spChg chg="del">
          <ac:chgData name="El Bakkouri, Manal" userId="8b130982-2e3f-4164-b881-fd3a2e4b2453" providerId="ADAL" clId="{4457FA57-250B-44AC-8655-05D46C5A3D8A}" dt="2023-06-12T13:38:48.077" v="15923" actId="478"/>
          <ac:spMkLst>
            <pc:docMk/>
            <pc:sldMk cId="1342995248" sldId="230717690"/>
            <ac:spMk id="60" creationId="{3E3643D8-353D-433B-B14C-A7A644548E17}"/>
          </ac:spMkLst>
        </pc:spChg>
        <pc:spChg chg="del">
          <ac:chgData name="El Bakkouri, Manal" userId="8b130982-2e3f-4164-b881-fd3a2e4b2453" providerId="ADAL" clId="{4457FA57-250B-44AC-8655-05D46C5A3D8A}" dt="2023-06-12T13:38:48.077" v="15923" actId="478"/>
          <ac:spMkLst>
            <pc:docMk/>
            <pc:sldMk cId="1342995248" sldId="230717690"/>
            <ac:spMk id="62" creationId="{A7CA7350-6288-4B39-A016-ED7B75B197DC}"/>
          </ac:spMkLst>
        </pc:spChg>
        <pc:spChg chg="del">
          <ac:chgData name="El Bakkouri, Manal" userId="8b130982-2e3f-4164-b881-fd3a2e4b2453" providerId="ADAL" clId="{4457FA57-250B-44AC-8655-05D46C5A3D8A}" dt="2023-06-12T13:38:48.077" v="15923" actId="478"/>
          <ac:spMkLst>
            <pc:docMk/>
            <pc:sldMk cId="1342995248" sldId="230717690"/>
            <ac:spMk id="64" creationId="{CEFEB5F3-B23E-4823-B4B8-E201E104EAB3}"/>
          </ac:spMkLst>
        </pc:spChg>
        <pc:spChg chg="del">
          <ac:chgData name="El Bakkouri, Manal" userId="8b130982-2e3f-4164-b881-fd3a2e4b2453" providerId="ADAL" clId="{4457FA57-250B-44AC-8655-05D46C5A3D8A}" dt="2023-06-12T13:38:48.077" v="15923" actId="478"/>
          <ac:spMkLst>
            <pc:docMk/>
            <pc:sldMk cId="1342995248" sldId="230717690"/>
            <ac:spMk id="66" creationId="{F825F49E-32B9-4268-9E28-B37902FA8244}"/>
          </ac:spMkLst>
        </pc:spChg>
        <pc:spChg chg="add mod">
          <ac:chgData name="El Bakkouri, Manal" userId="8b130982-2e3f-4164-b881-fd3a2e4b2453" providerId="ADAL" clId="{4457FA57-250B-44AC-8655-05D46C5A3D8A}" dt="2023-06-12T13:38:48.539" v="15924"/>
          <ac:spMkLst>
            <pc:docMk/>
            <pc:sldMk cId="1342995248" sldId="230717690"/>
            <ac:spMk id="68" creationId="{7325F47D-3610-4F0E-8156-3BCC87C40E8B}"/>
          </ac:spMkLst>
        </pc:spChg>
        <pc:spChg chg="add mod">
          <ac:chgData name="El Bakkouri, Manal" userId="8b130982-2e3f-4164-b881-fd3a2e4b2453" providerId="ADAL" clId="{4457FA57-250B-44AC-8655-05D46C5A3D8A}" dt="2023-06-12T13:38:48.539" v="15924"/>
          <ac:spMkLst>
            <pc:docMk/>
            <pc:sldMk cId="1342995248" sldId="230717690"/>
            <ac:spMk id="74" creationId="{E1376C29-5DFD-4B65-9E20-4198A5CE094C}"/>
          </ac:spMkLst>
        </pc:spChg>
        <pc:spChg chg="add mod">
          <ac:chgData name="El Bakkouri, Manal" userId="8b130982-2e3f-4164-b881-fd3a2e4b2453" providerId="ADAL" clId="{4457FA57-250B-44AC-8655-05D46C5A3D8A}" dt="2023-06-12T13:38:48.539" v="15924"/>
          <ac:spMkLst>
            <pc:docMk/>
            <pc:sldMk cId="1342995248" sldId="230717690"/>
            <ac:spMk id="75" creationId="{C546BE95-57DF-4402-B8C6-E466F9081B92}"/>
          </ac:spMkLst>
        </pc:spChg>
        <pc:spChg chg="add mod">
          <ac:chgData name="El Bakkouri, Manal" userId="8b130982-2e3f-4164-b881-fd3a2e4b2453" providerId="ADAL" clId="{4457FA57-250B-44AC-8655-05D46C5A3D8A}" dt="2023-06-12T13:38:48.539" v="15924"/>
          <ac:spMkLst>
            <pc:docMk/>
            <pc:sldMk cId="1342995248" sldId="230717690"/>
            <ac:spMk id="76" creationId="{D407462C-6E31-46CB-B9BF-0BA0641DBF88}"/>
          </ac:spMkLst>
        </pc:spChg>
        <pc:spChg chg="add mod">
          <ac:chgData name="El Bakkouri, Manal" userId="8b130982-2e3f-4164-b881-fd3a2e4b2453" providerId="ADAL" clId="{4457FA57-250B-44AC-8655-05D46C5A3D8A}" dt="2023-06-12T13:38:48.539" v="15924"/>
          <ac:spMkLst>
            <pc:docMk/>
            <pc:sldMk cId="1342995248" sldId="230717690"/>
            <ac:spMk id="77" creationId="{B694173A-4F99-452A-B845-F944610E56B7}"/>
          </ac:spMkLst>
        </pc:spChg>
        <pc:spChg chg="add mod">
          <ac:chgData name="El Bakkouri, Manal" userId="8b130982-2e3f-4164-b881-fd3a2e4b2453" providerId="ADAL" clId="{4457FA57-250B-44AC-8655-05D46C5A3D8A}" dt="2023-06-12T13:38:48.539" v="15924"/>
          <ac:spMkLst>
            <pc:docMk/>
            <pc:sldMk cId="1342995248" sldId="230717690"/>
            <ac:spMk id="78" creationId="{4ACDEC07-602A-45FE-A4B9-C336D8802C05}"/>
          </ac:spMkLst>
        </pc:spChg>
        <pc:spChg chg="add mod">
          <ac:chgData name="El Bakkouri, Manal" userId="8b130982-2e3f-4164-b881-fd3a2e4b2453" providerId="ADAL" clId="{4457FA57-250B-44AC-8655-05D46C5A3D8A}" dt="2023-06-12T13:38:48.539" v="15924"/>
          <ac:spMkLst>
            <pc:docMk/>
            <pc:sldMk cId="1342995248" sldId="230717690"/>
            <ac:spMk id="79" creationId="{122990BC-A729-4AE4-9F1D-0CB64369FAC8}"/>
          </ac:spMkLst>
        </pc:spChg>
        <pc:spChg chg="add mod">
          <ac:chgData name="El Bakkouri, Manal" userId="8b130982-2e3f-4164-b881-fd3a2e4b2453" providerId="ADAL" clId="{4457FA57-250B-44AC-8655-05D46C5A3D8A}" dt="2023-06-12T13:38:48.539" v="15924"/>
          <ac:spMkLst>
            <pc:docMk/>
            <pc:sldMk cId="1342995248" sldId="230717690"/>
            <ac:spMk id="83" creationId="{D9A418F4-6B0E-469A-BEC0-371F49C3E87D}"/>
          </ac:spMkLst>
        </pc:spChg>
        <pc:spChg chg="add mod">
          <ac:chgData name="El Bakkouri, Manal" userId="8b130982-2e3f-4164-b881-fd3a2e4b2453" providerId="ADAL" clId="{4457FA57-250B-44AC-8655-05D46C5A3D8A}" dt="2023-06-12T13:38:48.539" v="15924"/>
          <ac:spMkLst>
            <pc:docMk/>
            <pc:sldMk cId="1342995248" sldId="230717690"/>
            <ac:spMk id="91" creationId="{98090258-80F4-486B-8363-B30D8B4510E9}"/>
          </ac:spMkLst>
        </pc:spChg>
        <pc:spChg chg="add mod">
          <ac:chgData name="El Bakkouri, Manal" userId="8b130982-2e3f-4164-b881-fd3a2e4b2453" providerId="ADAL" clId="{4457FA57-250B-44AC-8655-05D46C5A3D8A}" dt="2023-06-12T13:38:48.539" v="15924"/>
          <ac:spMkLst>
            <pc:docMk/>
            <pc:sldMk cId="1342995248" sldId="230717690"/>
            <ac:spMk id="92" creationId="{272CCDC3-645E-44E2-896C-46CFD377CBC5}"/>
          </ac:spMkLst>
        </pc:spChg>
      </pc:sldChg>
      <pc:sldChg chg="modSp mod">
        <pc:chgData name="El Bakkouri, Manal" userId="8b130982-2e3f-4164-b881-fd3a2e4b2453" providerId="ADAL" clId="{4457FA57-250B-44AC-8655-05D46C5A3D8A}" dt="2023-06-12T13:39:37.971" v="15927" actId="14100"/>
        <pc:sldMkLst>
          <pc:docMk/>
          <pc:sldMk cId="477373984" sldId="230717693"/>
        </pc:sldMkLst>
        <pc:spChg chg="mod">
          <ac:chgData name="El Bakkouri, Manal" userId="8b130982-2e3f-4164-b881-fd3a2e4b2453" providerId="ADAL" clId="{4457FA57-250B-44AC-8655-05D46C5A3D8A}" dt="2023-06-12T13:39:37.971" v="15927" actId="14100"/>
          <ac:spMkLst>
            <pc:docMk/>
            <pc:sldMk cId="477373984" sldId="230717693"/>
            <ac:spMk id="20" creationId="{B0196BE7-5875-4B65-84D3-332D6069E8EE}"/>
          </ac:spMkLst>
        </pc:spChg>
        <pc:spChg chg="mod">
          <ac:chgData name="El Bakkouri, Manal" userId="8b130982-2e3f-4164-b881-fd3a2e4b2453" providerId="ADAL" clId="{4457FA57-250B-44AC-8655-05D46C5A3D8A}" dt="2023-06-12T13:39:37.971" v="15927" actId="14100"/>
          <ac:spMkLst>
            <pc:docMk/>
            <pc:sldMk cId="477373984" sldId="230717693"/>
            <ac:spMk id="21" creationId="{BC4654CF-3E55-4582-862A-125C1CCD7752}"/>
          </ac:spMkLst>
        </pc:spChg>
        <pc:spChg chg="mod">
          <ac:chgData name="El Bakkouri, Manal" userId="8b130982-2e3f-4164-b881-fd3a2e4b2453" providerId="ADAL" clId="{4457FA57-250B-44AC-8655-05D46C5A3D8A}" dt="2023-06-12T13:39:37.971" v="15927" actId="14100"/>
          <ac:spMkLst>
            <pc:docMk/>
            <pc:sldMk cId="477373984" sldId="230717693"/>
            <ac:spMk id="22" creationId="{A3F7E8F7-0373-4EE7-9579-90ECB0A99875}"/>
          </ac:spMkLst>
        </pc:spChg>
        <pc:spChg chg="mod">
          <ac:chgData name="El Bakkouri, Manal" userId="8b130982-2e3f-4164-b881-fd3a2e4b2453" providerId="ADAL" clId="{4457FA57-250B-44AC-8655-05D46C5A3D8A}" dt="2023-06-12T13:39:30.589" v="15925" actId="403"/>
          <ac:spMkLst>
            <pc:docMk/>
            <pc:sldMk cId="477373984" sldId="230717693"/>
            <ac:spMk id="28" creationId="{B3E6092B-0423-4E20-A26F-4205CAE0103C}"/>
          </ac:spMkLst>
        </pc:spChg>
        <pc:spChg chg="mod">
          <ac:chgData name="El Bakkouri, Manal" userId="8b130982-2e3f-4164-b881-fd3a2e4b2453" providerId="ADAL" clId="{4457FA57-250B-44AC-8655-05D46C5A3D8A}" dt="2023-06-12T13:39:30.589" v="15925" actId="403"/>
          <ac:spMkLst>
            <pc:docMk/>
            <pc:sldMk cId="477373984" sldId="230717693"/>
            <ac:spMk id="30" creationId="{FA8E31BE-6C1A-4791-83B5-37677927C851}"/>
          </ac:spMkLst>
        </pc:spChg>
        <pc:spChg chg="mod">
          <ac:chgData name="El Bakkouri, Manal" userId="8b130982-2e3f-4164-b881-fd3a2e4b2453" providerId="ADAL" clId="{4457FA57-250B-44AC-8655-05D46C5A3D8A}" dt="2023-06-12T13:39:30.589" v="15925" actId="403"/>
          <ac:spMkLst>
            <pc:docMk/>
            <pc:sldMk cId="477373984" sldId="230717693"/>
            <ac:spMk id="31" creationId="{445E0FF4-C35D-4C67-BAC7-8920F8E4DC0A}"/>
          </ac:spMkLst>
        </pc:spChg>
        <pc:spChg chg="mod">
          <ac:chgData name="El Bakkouri, Manal" userId="8b130982-2e3f-4164-b881-fd3a2e4b2453" providerId="ADAL" clId="{4457FA57-250B-44AC-8655-05D46C5A3D8A}" dt="2023-06-12T13:39:30.589" v="15925" actId="403"/>
          <ac:spMkLst>
            <pc:docMk/>
            <pc:sldMk cId="477373984" sldId="230717693"/>
            <ac:spMk id="32" creationId="{62557511-C9C4-4D88-B88C-2DEA513EEAF0}"/>
          </ac:spMkLst>
        </pc:spChg>
      </pc:sldChg>
      <pc:sldChg chg="modSp mod modNotesTx">
        <pc:chgData name="El Bakkouri, Manal" userId="8b130982-2e3f-4164-b881-fd3a2e4b2453" providerId="ADAL" clId="{4457FA57-250B-44AC-8655-05D46C5A3D8A}" dt="2023-06-12T23:31:38.863" v="15986" actId="113"/>
        <pc:sldMkLst>
          <pc:docMk/>
          <pc:sldMk cId="2764590468" sldId="230717695"/>
        </pc:sldMkLst>
        <pc:spChg chg="mod">
          <ac:chgData name="El Bakkouri, Manal" userId="8b130982-2e3f-4164-b881-fd3a2e4b2453" providerId="ADAL" clId="{4457FA57-250B-44AC-8655-05D46C5A3D8A}" dt="2023-06-12T13:39:49.039" v="15929" actId="403"/>
          <ac:spMkLst>
            <pc:docMk/>
            <pc:sldMk cId="2764590468" sldId="230717695"/>
            <ac:spMk id="6" creationId="{847A92B0-1BA6-406F-89CC-6FCC258A38C9}"/>
          </ac:spMkLst>
        </pc:spChg>
        <pc:spChg chg="mod">
          <ac:chgData name="El Bakkouri, Manal" userId="8b130982-2e3f-4164-b881-fd3a2e4b2453" providerId="ADAL" clId="{4457FA57-250B-44AC-8655-05D46C5A3D8A}" dt="2023-06-12T13:39:49.039" v="15929" actId="403"/>
          <ac:spMkLst>
            <pc:docMk/>
            <pc:sldMk cId="2764590468" sldId="230717695"/>
            <ac:spMk id="7" creationId="{A95EEB93-170D-4C9E-BA26-9D099421B3CE}"/>
          </ac:spMkLst>
        </pc:spChg>
        <pc:spChg chg="mod">
          <ac:chgData name="El Bakkouri, Manal" userId="8b130982-2e3f-4164-b881-fd3a2e4b2453" providerId="ADAL" clId="{4457FA57-250B-44AC-8655-05D46C5A3D8A}" dt="2023-06-12T13:39:49.039" v="15929" actId="403"/>
          <ac:spMkLst>
            <pc:docMk/>
            <pc:sldMk cId="2764590468" sldId="230717695"/>
            <ac:spMk id="8" creationId="{734BC65F-8BFB-4EB2-9364-5D654AE6BDE0}"/>
          </ac:spMkLst>
        </pc:spChg>
        <pc:spChg chg="mod">
          <ac:chgData name="El Bakkouri, Manal" userId="8b130982-2e3f-4164-b881-fd3a2e4b2453" providerId="ADAL" clId="{4457FA57-250B-44AC-8655-05D46C5A3D8A}" dt="2023-06-12T13:39:49.039" v="15929" actId="403"/>
          <ac:spMkLst>
            <pc:docMk/>
            <pc:sldMk cId="2764590468" sldId="230717695"/>
            <ac:spMk id="9" creationId="{702F4C0F-8852-4836-AE77-E6E9D5E6992A}"/>
          </ac:spMkLst>
        </pc:spChg>
        <pc:spChg chg="mod">
          <ac:chgData name="El Bakkouri, Manal" userId="8b130982-2e3f-4164-b881-fd3a2e4b2453" providerId="ADAL" clId="{4457FA57-250B-44AC-8655-05D46C5A3D8A}" dt="2023-06-12T13:39:49.039" v="15929" actId="403"/>
          <ac:spMkLst>
            <pc:docMk/>
            <pc:sldMk cId="2764590468" sldId="230717695"/>
            <ac:spMk id="10" creationId="{38934224-B71F-434C-A864-E99EC74725AD}"/>
          </ac:spMkLst>
        </pc:spChg>
        <pc:spChg chg="mod">
          <ac:chgData name="El Bakkouri, Manal" userId="8b130982-2e3f-4164-b881-fd3a2e4b2453" providerId="ADAL" clId="{4457FA57-250B-44AC-8655-05D46C5A3D8A}" dt="2023-06-12T13:39:49.039" v="15929" actId="403"/>
          <ac:spMkLst>
            <pc:docMk/>
            <pc:sldMk cId="2764590468" sldId="230717695"/>
            <ac:spMk id="11" creationId="{05559567-EADE-4F96-AFB6-612F49969B5A}"/>
          </ac:spMkLst>
        </pc:spChg>
        <pc:spChg chg="mod">
          <ac:chgData name="El Bakkouri, Manal" userId="8b130982-2e3f-4164-b881-fd3a2e4b2453" providerId="ADAL" clId="{4457FA57-250B-44AC-8655-05D46C5A3D8A}" dt="2023-06-12T13:39:49.039" v="15929" actId="403"/>
          <ac:spMkLst>
            <pc:docMk/>
            <pc:sldMk cId="2764590468" sldId="230717695"/>
            <ac:spMk id="12" creationId="{8D4CCD11-0DF2-4583-9427-DF84CDEACDF1}"/>
          </ac:spMkLst>
        </pc:spChg>
        <pc:spChg chg="mod">
          <ac:chgData name="El Bakkouri, Manal" userId="8b130982-2e3f-4164-b881-fd3a2e4b2453" providerId="ADAL" clId="{4457FA57-250B-44AC-8655-05D46C5A3D8A}" dt="2023-06-12T13:39:49.039" v="15929" actId="403"/>
          <ac:spMkLst>
            <pc:docMk/>
            <pc:sldMk cId="2764590468" sldId="230717695"/>
            <ac:spMk id="13" creationId="{91C48917-6D4B-4ED9-A591-EC9CA61939AF}"/>
          </ac:spMkLst>
        </pc:spChg>
        <pc:spChg chg="mod">
          <ac:chgData name="El Bakkouri, Manal" userId="8b130982-2e3f-4164-b881-fd3a2e4b2453" providerId="ADAL" clId="{4457FA57-250B-44AC-8655-05D46C5A3D8A}" dt="2023-06-12T13:39:49.039" v="15929" actId="403"/>
          <ac:spMkLst>
            <pc:docMk/>
            <pc:sldMk cId="2764590468" sldId="230717695"/>
            <ac:spMk id="14" creationId="{1935FB17-4D7C-4977-9CEA-50E4075324C7}"/>
          </ac:spMkLst>
        </pc:spChg>
        <pc:spChg chg="mod">
          <ac:chgData name="El Bakkouri, Manal" userId="8b130982-2e3f-4164-b881-fd3a2e4b2453" providerId="ADAL" clId="{4457FA57-250B-44AC-8655-05D46C5A3D8A}" dt="2023-06-12T13:39:49.039" v="15929" actId="403"/>
          <ac:spMkLst>
            <pc:docMk/>
            <pc:sldMk cId="2764590468" sldId="230717695"/>
            <ac:spMk id="15" creationId="{253599BA-DA44-4F68-A3E2-0424016142D9}"/>
          </ac:spMkLst>
        </pc:spChg>
        <pc:spChg chg="mod">
          <ac:chgData name="El Bakkouri, Manal" userId="8b130982-2e3f-4164-b881-fd3a2e4b2453" providerId="ADAL" clId="{4457FA57-250B-44AC-8655-05D46C5A3D8A}" dt="2023-06-12T13:39:49.039" v="15929" actId="403"/>
          <ac:spMkLst>
            <pc:docMk/>
            <pc:sldMk cId="2764590468" sldId="230717695"/>
            <ac:spMk id="16" creationId="{6660C3ED-F0B9-49FF-8B7C-93467C01634F}"/>
          </ac:spMkLst>
        </pc:spChg>
        <pc:spChg chg="mod">
          <ac:chgData name="El Bakkouri, Manal" userId="8b130982-2e3f-4164-b881-fd3a2e4b2453" providerId="ADAL" clId="{4457FA57-250B-44AC-8655-05D46C5A3D8A}" dt="2023-06-12T13:39:49.039" v="15929" actId="403"/>
          <ac:spMkLst>
            <pc:docMk/>
            <pc:sldMk cId="2764590468" sldId="230717695"/>
            <ac:spMk id="17" creationId="{EFC7C330-8152-454C-8D77-A36517F5F2DA}"/>
          </ac:spMkLst>
        </pc:spChg>
        <pc:spChg chg="mod">
          <ac:chgData name="El Bakkouri, Manal" userId="8b130982-2e3f-4164-b881-fd3a2e4b2453" providerId="ADAL" clId="{4457FA57-250B-44AC-8655-05D46C5A3D8A}" dt="2023-06-12T13:39:49.039" v="15929" actId="403"/>
          <ac:spMkLst>
            <pc:docMk/>
            <pc:sldMk cId="2764590468" sldId="230717695"/>
            <ac:spMk id="18" creationId="{49BD0CDE-2F8E-4BE1-ACE4-EBCF5DF159AA}"/>
          </ac:spMkLst>
        </pc:spChg>
        <pc:spChg chg="mod">
          <ac:chgData name="El Bakkouri, Manal" userId="8b130982-2e3f-4164-b881-fd3a2e4b2453" providerId="ADAL" clId="{4457FA57-250B-44AC-8655-05D46C5A3D8A}" dt="2023-06-12T13:39:49.039" v="15929" actId="403"/>
          <ac:spMkLst>
            <pc:docMk/>
            <pc:sldMk cId="2764590468" sldId="230717695"/>
            <ac:spMk id="20" creationId="{CE36917F-EEAD-4AB3-895E-E637BDF9757F}"/>
          </ac:spMkLst>
        </pc:spChg>
        <pc:spChg chg="mod">
          <ac:chgData name="El Bakkouri, Manal" userId="8b130982-2e3f-4164-b881-fd3a2e4b2453" providerId="ADAL" clId="{4457FA57-250B-44AC-8655-05D46C5A3D8A}" dt="2023-06-12T13:39:49.039" v="15929" actId="403"/>
          <ac:spMkLst>
            <pc:docMk/>
            <pc:sldMk cId="2764590468" sldId="230717695"/>
            <ac:spMk id="21" creationId="{C59DF20A-C5A2-4FD3-986D-13F3DAAF0435}"/>
          </ac:spMkLst>
        </pc:spChg>
        <pc:spChg chg="mod">
          <ac:chgData name="El Bakkouri, Manal" userId="8b130982-2e3f-4164-b881-fd3a2e4b2453" providerId="ADAL" clId="{4457FA57-250B-44AC-8655-05D46C5A3D8A}" dt="2023-06-12T13:39:49.039" v="15929" actId="403"/>
          <ac:spMkLst>
            <pc:docMk/>
            <pc:sldMk cId="2764590468" sldId="230717695"/>
            <ac:spMk id="28" creationId="{CBF25018-0997-4B99-A20A-06F8D8F7E299}"/>
          </ac:spMkLst>
        </pc:spChg>
        <pc:spChg chg="mod">
          <ac:chgData name="El Bakkouri, Manal" userId="8b130982-2e3f-4164-b881-fd3a2e4b2453" providerId="ADAL" clId="{4457FA57-250B-44AC-8655-05D46C5A3D8A}" dt="2023-06-12T13:39:49.039" v="15929" actId="403"/>
          <ac:spMkLst>
            <pc:docMk/>
            <pc:sldMk cId="2764590468" sldId="230717695"/>
            <ac:spMk id="32" creationId="{D6E0D87B-6449-4D24-967B-D2AE87C5F393}"/>
          </ac:spMkLst>
        </pc:spChg>
        <pc:spChg chg="mod">
          <ac:chgData name="El Bakkouri, Manal" userId="8b130982-2e3f-4164-b881-fd3a2e4b2453" providerId="ADAL" clId="{4457FA57-250B-44AC-8655-05D46C5A3D8A}" dt="2023-06-12T13:39:49.039" v="15929" actId="403"/>
          <ac:spMkLst>
            <pc:docMk/>
            <pc:sldMk cId="2764590468" sldId="230717695"/>
            <ac:spMk id="36" creationId="{DABCFAD3-C632-4694-BFB8-08A62AE859E8}"/>
          </ac:spMkLst>
        </pc:spChg>
        <pc:spChg chg="mod">
          <ac:chgData name="El Bakkouri, Manal" userId="8b130982-2e3f-4164-b881-fd3a2e4b2453" providerId="ADAL" clId="{4457FA57-250B-44AC-8655-05D46C5A3D8A}" dt="2023-06-12T13:39:45.425" v="15928" actId="403"/>
          <ac:spMkLst>
            <pc:docMk/>
            <pc:sldMk cId="2764590468" sldId="230717695"/>
            <ac:spMk id="46" creationId="{F12C50F1-386E-4B89-8F56-E6F374FE83D7}"/>
          </ac:spMkLst>
        </pc:spChg>
        <pc:spChg chg="mod">
          <ac:chgData name="El Bakkouri, Manal" userId="8b130982-2e3f-4164-b881-fd3a2e4b2453" providerId="ADAL" clId="{4457FA57-250B-44AC-8655-05D46C5A3D8A}" dt="2023-06-12T13:39:45.425" v="15928" actId="403"/>
          <ac:spMkLst>
            <pc:docMk/>
            <pc:sldMk cId="2764590468" sldId="230717695"/>
            <ac:spMk id="47" creationId="{A561F1DD-79E4-43C4-B8D8-1BF2C088A287}"/>
          </ac:spMkLst>
        </pc:spChg>
        <pc:spChg chg="mod">
          <ac:chgData name="El Bakkouri, Manal" userId="8b130982-2e3f-4164-b881-fd3a2e4b2453" providerId="ADAL" clId="{4457FA57-250B-44AC-8655-05D46C5A3D8A}" dt="2023-06-12T13:39:45.425" v="15928" actId="403"/>
          <ac:spMkLst>
            <pc:docMk/>
            <pc:sldMk cId="2764590468" sldId="230717695"/>
            <ac:spMk id="48" creationId="{10246E12-730F-4D35-9592-C9B8E1562F37}"/>
          </ac:spMkLst>
        </pc:spChg>
        <pc:spChg chg="mod">
          <ac:chgData name="El Bakkouri, Manal" userId="8b130982-2e3f-4164-b881-fd3a2e4b2453" providerId="ADAL" clId="{4457FA57-250B-44AC-8655-05D46C5A3D8A}" dt="2023-06-12T13:39:45.425" v="15928" actId="403"/>
          <ac:spMkLst>
            <pc:docMk/>
            <pc:sldMk cId="2764590468" sldId="230717695"/>
            <ac:spMk id="49" creationId="{9A86F34B-4D97-4CA5-9737-69AC737FD985}"/>
          </ac:spMkLst>
        </pc:spChg>
      </pc:sldChg>
      <pc:sldChg chg="modSp mod modNotesTx">
        <pc:chgData name="El Bakkouri, Manal" userId="8b130982-2e3f-4164-b881-fd3a2e4b2453" providerId="ADAL" clId="{4457FA57-250B-44AC-8655-05D46C5A3D8A}" dt="2023-06-12T13:33:09.272" v="15849" actId="14100"/>
        <pc:sldMkLst>
          <pc:docMk/>
          <pc:sldMk cId="382094094" sldId="230717697"/>
        </pc:sldMkLst>
        <pc:spChg chg="mod">
          <ac:chgData name="El Bakkouri, Manal" userId="8b130982-2e3f-4164-b881-fd3a2e4b2453" providerId="ADAL" clId="{4457FA57-250B-44AC-8655-05D46C5A3D8A}" dt="2023-06-12T13:33:04.446" v="15848" actId="403"/>
          <ac:spMkLst>
            <pc:docMk/>
            <pc:sldMk cId="382094094" sldId="230717697"/>
            <ac:spMk id="28" creationId="{0E447923-0DAF-443C-8CA5-15C6939296DF}"/>
          </ac:spMkLst>
        </pc:spChg>
        <pc:spChg chg="mod">
          <ac:chgData name="El Bakkouri, Manal" userId="8b130982-2e3f-4164-b881-fd3a2e4b2453" providerId="ADAL" clId="{4457FA57-250B-44AC-8655-05D46C5A3D8A}" dt="2023-06-12T13:33:04.446" v="15848" actId="403"/>
          <ac:spMkLst>
            <pc:docMk/>
            <pc:sldMk cId="382094094" sldId="230717697"/>
            <ac:spMk id="29" creationId="{810C7577-621C-42AF-A3D0-913EEFDFDE0F}"/>
          </ac:spMkLst>
        </pc:spChg>
        <pc:spChg chg="mod">
          <ac:chgData name="El Bakkouri, Manal" userId="8b130982-2e3f-4164-b881-fd3a2e4b2453" providerId="ADAL" clId="{4457FA57-250B-44AC-8655-05D46C5A3D8A}" dt="2023-06-12T13:33:04.446" v="15848" actId="403"/>
          <ac:spMkLst>
            <pc:docMk/>
            <pc:sldMk cId="382094094" sldId="230717697"/>
            <ac:spMk id="34" creationId="{F2AF327C-3057-4819-B6AC-8E668963DF6A}"/>
          </ac:spMkLst>
        </pc:spChg>
        <pc:spChg chg="mod">
          <ac:chgData name="El Bakkouri, Manal" userId="8b130982-2e3f-4164-b881-fd3a2e4b2453" providerId="ADAL" clId="{4457FA57-250B-44AC-8655-05D46C5A3D8A}" dt="2023-06-12T13:33:04.446" v="15848" actId="403"/>
          <ac:spMkLst>
            <pc:docMk/>
            <pc:sldMk cId="382094094" sldId="230717697"/>
            <ac:spMk id="35" creationId="{1D2F8AA0-1D44-4E48-8300-023DBF0FF789}"/>
          </ac:spMkLst>
        </pc:spChg>
        <pc:spChg chg="mod">
          <ac:chgData name="El Bakkouri, Manal" userId="8b130982-2e3f-4164-b881-fd3a2e4b2453" providerId="ADAL" clId="{4457FA57-250B-44AC-8655-05D46C5A3D8A}" dt="2023-06-12T13:33:04.446" v="15848" actId="403"/>
          <ac:spMkLst>
            <pc:docMk/>
            <pc:sldMk cId="382094094" sldId="230717697"/>
            <ac:spMk id="37" creationId="{D173D27B-F797-4AD7-9EE4-8C2A2A474CEB}"/>
          </ac:spMkLst>
        </pc:spChg>
        <pc:spChg chg="mod">
          <ac:chgData name="El Bakkouri, Manal" userId="8b130982-2e3f-4164-b881-fd3a2e4b2453" providerId="ADAL" clId="{4457FA57-250B-44AC-8655-05D46C5A3D8A}" dt="2023-06-12T13:33:04.446" v="15848" actId="403"/>
          <ac:spMkLst>
            <pc:docMk/>
            <pc:sldMk cId="382094094" sldId="230717697"/>
            <ac:spMk id="38" creationId="{075D034B-FFE3-4793-A8CD-7EC6F97008C0}"/>
          </ac:spMkLst>
        </pc:spChg>
        <pc:spChg chg="mod">
          <ac:chgData name="El Bakkouri, Manal" userId="8b130982-2e3f-4164-b881-fd3a2e4b2453" providerId="ADAL" clId="{4457FA57-250B-44AC-8655-05D46C5A3D8A}" dt="2023-06-12T13:33:04.446" v="15848" actId="403"/>
          <ac:spMkLst>
            <pc:docMk/>
            <pc:sldMk cId="382094094" sldId="230717697"/>
            <ac:spMk id="40" creationId="{9D39B2DD-53B4-4233-8ECF-1D6E88AD7D22}"/>
          </ac:spMkLst>
        </pc:spChg>
        <pc:spChg chg="mod">
          <ac:chgData name="El Bakkouri, Manal" userId="8b130982-2e3f-4164-b881-fd3a2e4b2453" providerId="ADAL" clId="{4457FA57-250B-44AC-8655-05D46C5A3D8A}" dt="2023-06-12T13:33:04.446" v="15848" actId="403"/>
          <ac:spMkLst>
            <pc:docMk/>
            <pc:sldMk cId="382094094" sldId="230717697"/>
            <ac:spMk id="41" creationId="{39BCE31F-9799-4020-B7A9-61C29FED9A00}"/>
          </ac:spMkLst>
        </pc:spChg>
        <pc:spChg chg="mod">
          <ac:chgData name="El Bakkouri, Manal" userId="8b130982-2e3f-4164-b881-fd3a2e4b2453" providerId="ADAL" clId="{4457FA57-250B-44AC-8655-05D46C5A3D8A}" dt="2023-06-12T13:33:04.446" v="15848" actId="403"/>
          <ac:spMkLst>
            <pc:docMk/>
            <pc:sldMk cId="382094094" sldId="230717697"/>
            <ac:spMk id="43" creationId="{17541500-C1A5-4A02-B213-B9E2BA5D9D0C}"/>
          </ac:spMkLst>
        </pc:spChg>
        <pc:spChg chg="mod">
          <ac:chgData name="El Bakkouri, Manal" userId="8b130982-2e3f-4164-b881-fd3a2e4b2453" providerId="ADAL" clId="{4457FA57-250B-44AC-8655-05D46C5A3D8A}" dt="2023-06-12T13:33:04.446" v="15848" actId="403"/>
          <ac:spMkLst>
            <pc:docMk/>
            <pc:sldMk cId="382094094" sldId="230717697"/>
            <ac:spMk id="44" creationId="{C41FE689-31B8-4A5D-9702-EAA8520BFBD3}"/>
          </ac:spMkLst>
        </pc:spChg>
        <pc:spChg chg="mod">
          <ac:chgData name="El Bakkouri, Manal" userId="8b130982-2e3f-4164-b881-fd3a2e4b2453" providerId="ADAL" clId="{4457FA57-250B-44AC-8655-05D46C5A3D8A}" dt="2023-06-12T13:32:55.504" v="15847" actId="403"/>
          <ac:spMkLst>
            <pc:docMk/>
            <pc:sldMk cId="382094094" sldId="230717697"/>
            <ac:spMk id="45" creationId="{76C10883-D2A3-45C7-A2D3-68CEA48E9C78}"/>
          </ac:spMkLst>
        </pc:spChg>
        <pc:spChg chg="mod">
          <ac:chgData name="El Bakkouri, Manal" userId="8b130982-2e3f-4164-b881-fd3a2e4b2453" providerId="ADAL" clId="{4457FA57-250B-44AC-8655-05D46C5A3D8A}" dt="2023-06-12T13:32:55.504" v="15847" actId="403"/>
          <ac:spMkLst>
            <pc:docMk/>
            <pc:sldMk cId="382094094" sldId="230717697"/>
            <ac:spMk id="46" creationId="{669B2295-3210-4A18-9585-4375DC65406E}"/>
          </ac:spMkLst>
        </pc:spChg>
        <pc:spChg chg="mod">
          <ac:chgData name="El Bakkouri, Manal" userId="8b130982-2e3f-4164-b881-fd3a2e4b2453" providerId="ADAL" clId="{4457FA57-250B-44AC-8655-05D46C5A3D8A}" dt="2023-06-12T13:32:55.504" v="15847" actId="403"/>
          <ac:spMkLst>
            <pc:docMk/>
            <pc:sldMk cId="382094094" sldId="230717697"/>
            <ac:spMk id="47" creationId="{CED8A6C6-240C-4B07-B70E-24EB42056522}"/>
          </ac:spMkLst>
        </pc:spChg>
        <pc:spChg chg="mod">
          <ac:chgData name="El Bakkouri, Manal" userId="8b130982-2e3f-4164-b881-fd3a2e4b2453" providerId="ADAL" clId="{4457FA57-250B-44AC-8655-05D46C5A3D8A}" dt="2023-06-12T13:32:55.504" v="15847" actId="403"/>
          <ac:spMkLst>
            <pc:docMk/>
            <pc:sldMk cId="382094094" sldId="230717697"/>
            <ac:spMk id="48" creationId="{7D897B77-2771-47F2-95B8-98C7D191FCCB}"/>
          </ac:spMkLst>
        </pc:spChg>
        <pc:grpChg chg="mod">
          <ac:chgData name="El Bakkouri, Manal" userId="8b130982-2e3f-4164-b881-fd3a2e4b2453" providerId="ADAL" clId="{4457FA57-250B-44AC-8655-05D46C5A3D8A}" dt="2023-06-12T13:33:09.272" v="15849" actId="14100"/>
          <ac:grpSpMkLst>
            <pc:docMk/>
            <pc:sldMk cId="382094094" sldId="230717697"/>
            <ac:grpSpMk id="27" creationId="{41854F46-0634-4184-80B8-951E34F9BFCC}"/>
          </ac:grpSpMkLst>
        </pc:grpChg>
        <pc:grpChg chg="mod">
          <ac:chgData name="El Bakkouri, Manal" userId="8b130982-2e3f-4164-b881-fd3a2e4b2453" providerId="ADAL" clId="{4457FA57-250B-44AC-8655-05D46C5A3D8A}" dt="2023-06-12T13:33:09.272" v="15849" actId="14100"/>
          <ac:grpSpMkLst>
            <pc:docMk/>
            <pc:sldMk cId="382094094" sldId="230717697"/>
            <ac:grpSpMk id="33" creationId="{02B16C39-B691-4070-9D46-B5111E49A3F7}"/>
          </ac:grpSpMkLst>
        </pc:grpChg>
        <pc:grpChg chg="mod">
          <ac:chgData name="El Bakkouri, Manal" userId="8b130982-2e3f-4164-b881-fd3a2e4b2453" providerId="ADAL" clId="{4457FA57-250B-44AC-8655-05D46C5A3D8A}" dt="2023-06-12T13:33:09.272" v="15849" actId="14100"/>
          <ac:grpSpMkLst>
            <pc:docMk/>
            <pc:sldMk cId="382094094" sldId="230717697"/>
            <ac:grpSpMk id="36" creationId="{FF83321C-BCC8-4D5B-A053-92F05B24DA37}"/>
          </ac:grpSpMkLst>
        </pc:grpChg>
        <pc:grpChg chg="mod">
          <ac:chgData name="El Bakkouri, Manal" userId="8b130982-2e3f-4164-b881-fd3a2e4b2453" providerId="ADAL" clId="{4457FA57-250B-44AC-8655-05D46C5A3D8A}" dt="2023-06-12T13:33:09.272" v="15849" actId="14100"/>
          <ac:grpSpMkLst>
            <pc:docMk/>
            <pc:sldMk cId="382094094" sldId="230717697"/>
            <ac:grpSpMk id="39" creationId="{EDE43C17-0458-453D-A12D-206428EC7619}"/>
          </ac:grpSpMkLst>
        </pc:grpChg>
        <pc:grpChg chg="mod">
          <ac:chgData name="El Bakkouri, Manal" userId="8b130982-2e3f-4164-b881-fd3a2e4b2453" providerId="ADAL" clId="{4457FA57-250B-44AC-8655-05D46C5A3D8A}" dt="2023-06-12T13:33:09.272" v="15849" actId="14100"/>
          <ac:grpSpMkLst>
            <pc:docMk/>
            <pc:sldMk cId="382094094" sldId="230717697"/>
            <ac:grpSpMk id="42" creationId="{AA225D5A-0444-49B4-9A0D-4E6E081D4B67}"/>
          </ac:grpSpMkLst>
        </pc:grpChg>
      </pc:sldChg>
      <pc:sldChg chg="modNotesTx">
        <pc:chgData name="El Bakkouri, Manal" userId="8b130982-2e3f-4164-b881-fd3a2e4b2453" providerId="ADAL" clId="{4457FA57-250B-44AC-8655-05D46C5A3D8A}" dt="2023-06-13T11:25:06.204" v="16038" actId="20577"/>
        <pc:sldMkLst>
          <pc:docMk/>
          <pc:sldMk cId="2857474207" sldId="230717698"/>
        </pc:sldMkLst>
      </pc:sldChg>
      <pc:sldChg chg="addSp delSp modSp mod">
        <pc:chgData name="El Bakkouri, Manal" userId="8b130982-2e3f-4164-b881-fd3a2e4b2453" providerId="ADAL" clId="{4457FA57-250B-44AC-8655-05D46C5A3D8A}" dt="2023-06-12T22:22:08.435" v="15978" actId="14100"/>
        <pc:sldMkLst>
          <pc:docMk/>
          <pc:sldMk cId="3393548977" sldId="230717701"/>
        </pc:sldMkLst>
        <pc:spChg chg="mod">
          <ac:chgData name="El Bakkouri, Manal" userId="8b130982-2e3f-4164-b881-fd3a2e4b2453" providerId="ADAL" clId="{4457FA57-250B-44AC-8655-05D46C5A3D8A}" dt="2023-06-12T13:34:02.422" v="15860"/>
          <ac:spMkLst>
            <pc:docMk/>
            <pc:sldMk cId="3393548977" sldId="230717701"/>
            <ac:spMk id="45" creationId="{5BF78318-5F6D-4D05-803F-4CE06050F986}"/>
          </ac:spMkLst>
        </pc:spChg>
        <pc:spChg chg="del">
          <ac:chgData name="El Bakkouri, Manal" userId="8b130982-2e3f-4164-b881-fd3a2e4b2453" providerId="ADAL" clId="{4457FA57-250B-44AC-8655-05D46C5A3D8A}" dt="2023-06-12T13:33:59.483" v="15859" actId="478"/>
          <ac:spMkLst>
            <pc:docMk/>
            <pc:sldMk cId="3393548977" sldId="230717701"/>
            <ac:spMk id="46" creationId="{C659F1A7-BC4F-48CF-BA35-FDA4AB46D4C3}"/>
          </ac:spMkLst>
        </pc:spChg>
        <pc:spChg chg="mod">
          <ac:chgData name="El Bakkouri, Manal" userId="8b130982-2e3f-4164-b881-fd3a2e4b2453" providerId="ADAL" clId="{4457FA57-250B-44AC-8655-05D46C5A3D8A}" dt="2023-06-12T13:34:02.422" v="15860"/>
          <ac:spMkLst>
            <pc:docMk/>
            <pc:sldMk cId="3393548977" sldId="230717701"/>
            <ac:spMk id="47" creationId="{E22667F6-28DD-4AF8-9AE8-A4934A686CFE}"/>
          </ac:spMkLst>
        </pc:spChg>
        <pc:spChg chg="del">
          <ac:chgData name="El Bakkouri, Manal" userId="8b130982-2e3f-4164-b881-fd3a2e4b2453" providerId="ADAL" clId="{4457FA57-250B-44AC-8655-05D46C5A3D8A}" dt="2023-06-12T13:33:59.483" v="15859" actId="478"/>
          <ac:spMkLst>
            <pc:docMk/>
            <pc:sldMk cId="3393548977" sldId="230717701"/>
            <ac:spMk id="48" creationId="{1101059D-4C6D-45BD-80DB-ABD1236707FA}"/>
          </ac:spMkLst>
        </pc:spChg>
        <pc:spChg chg="del">
          <ac:chgData name="El Bakkouri, Manal" userId="8b130982-2e3f-4164-b881-fd3a2e4b2453" providerId="ADAL" clId="{4457FA57-250B-44AC-8655-05D46C5A3D8A}" dt="2023-06-12T13:33:59.483" v="15859" actId="478"/>
          <ac:spMkLst>
            <pc:docMk/>
            <pc:sldMk cId="3393548977" sldId="230717701"/>
            <ac:spMk id="49" creationId="{D0ED0DBB-0093-4676-89B3-6DD471987A24}"/>
          </ac:spMkLst>
        </pc:spChg>
        <pc:spChg chg="del">
          <ac:chgData name="El Bakkouri, Manal" userId="8b130982-2e3f-4164-b881-fd3a2e4b2453" providerId="ADAL" clId="{4457FA57-250B-44AC-8655-05D46C5A3D8A}" dt="2023-06-12T13:33:59.483" v="15859" actId="478"/>
          <ac:spMkLst>
            <pc:docMk/>
            <pc:sldMk cId="3393548977" sldId="230717701"/>
            <ac:spMk id="50" creationId="{163A11D2-7FF8-4155-B5EE-A01212B3C20F}"/>
          </ac:spMkLst>
        </pc:spChg>
        <pc:spChg chg="mod">
          <ac:chgData name="El Bakkouri, Manal" userId="8b130982-2e3f-4164-b881-fd3a2e4b2453" providerId="ADAL" clId="{4457FA57-250B-44AC-8655-05D46C5A3D8A}" dt="2023-06-12T13:34:02.422" v="15860"/>
          <ac:spMkLst>
            <pc:docMk/>
            <pc:sldMk cId="3393548977" sldId="230717701"/>
            <ac:spMk id="52" creationId="{4F3BEFC8-2532-4016-83B4-B954ED2C235D}"/>
          </ac:spMkLst>
        </pc:spChg>
        <pc:spChg chg="mod">
          <ac:chgData name="El Bakkouri, Manal" userId="8b130982-2e3f-4164-b881-fd3a2e4b2453" providerId="ADAL" clId="{4457FA57-250B-44AC-8655-05D46C5A3D8A}" dt="2023-06-12T13:34:02.422" v="15860"/>
          <ac:spMkLst>
            <pc:docMk/>
            <pc:sldMk cId="3393548977" sldId="230717701"/>
            <ac:spMk id="53" creationId="{2FA1FA23-121F-451D-BDC0-FA5584771BF4}"/>
          </ac:spMkLst>
        </pc:spChg>
        <pc:spChg chg="mod">
          <ac:chgData name="El Bakkouri, Manal" userId="8b130982-2e3f-4164-b881-fd3a2e4b2453" providerId="ADAL" clId="{4457FA57-250B-44AC-8655-05D46C5A3D8A}" dt="2023-06-12T13:34:02.422" v="15860"/>
          <ac:spMkLst>
            <pc:docMk/>
            <pc:sldMk cId="3393548977" sldId="230717701"/>
            <ac:spMk id="55" creationId="{F458DA52-3EC8-4167-943E-CABE5828F019}"/>
          </ac:spMkLst>
        </pc:spChg>
        <pc:spChg chg="mod">
          <ac:chgData name="El Bakkouri, Manal" userId="8b130982-2e3f-4164-b881-fd3a2e4b2453" providerId="ADAL" clId="{4457FA57-250B-44AC-8655-05D46C5A3D8A}" dt="2023-06-12T13:34:02.422" v="15860"/>
          <ac:spMkLst>
            <pc:docMk/>
            <pc:sldMk cId="3393548977" sldId="230717701"/>
            <ac:spMk id="56" creationId="{83CF257D-9695-46D3-BBB5-DD1EB2EDD3B6}"/>
          </ac:spMkLst>
        </pc:spChg>
        <pc:spChg chg="mod">
          <ac:chgData name="El Bakkouri, Manal" userId="8b130982-2e3f-4164-b881-fd3a2e4b2453" providerId="ADAL" clId="{4457FA57-250B-44AC-8655-05D46C5A3D8A}" dt="2023-06-12T13:34:02.422" v="15860"/>
          <ac:spMkLst>
            <pc:docMk/>
            <pc:sldMk cId="3393548977" sldId="230717701"/>
            <ac:spMk id="58" creationId="{160C66BC-FF7F-4482-B2EE-B969B4D38979}"/>
          </ac:spMkLst>
        </pc:spChg>
        <pc:spChg chg="mod">
          <ac:chgData name="El Bakkouri, Manal" userId="8b130982-2e3f-4164-b881-fd3a2e4b2453" providerId="ADAL" clId="{4457FA57-250B-44AC-8655-05D46C5A3D8A}" dt="2023-06-12T13:34:02.422" v="15860"/>
          <ac:spMkLst>
            <pc:docMk/>
            <pc:sldMk cId="3393548977" sldId="230717701"/>
            <ac:spMk id="61" creationId="{079233E2-13B5-4EF2-954D-0E4875DC758E}"/>
          </ac:spMkLst>
        </pc:spChg>
        <pc:spChg chg="mod">
          <ac:chgData name="El Bakkouri, Manal" userId="8b130982-2e3f-4164-b881-fd3a2e4b2453" providerId="ADAL" clId="{4457FA57-250B-44AC-8655-05D46C5A3D8A}" dt="2023-06-12T13:34:02.422" v="15860"/>
          <ac:spMkLst>
            <pc:docMk/>
            <pc:sldMk cId="3393548977" sldId="230717701"/>
            <ac:spMk id="64" creationId="{84C33A2A-C45E-4887-982B-8FF9A9C1BA9E}"/>
          </ac:spMkLst>
        </pc:spChg>
        <pc:spChg chg="mod">
          <ac:chgData name="El Bakkouri, Manal" userId="8b130982-2e3f-4164-b881-fd3a2e4b2453" providerId="ADAL" clId="{4457FA57-250B-44AC-8655-05D46C5A3D8A}" dt="2023-06-12T13:34:02.422" v="15860"/>
          <ac:spMkLst>
            <pc:docMk/>
            <pc:sldMk cId="3393548977" sldId="230717701"/>
            <ac:spMk id="65" creationId="{9E27692F-3A3A-4421-B33B-8959B148FF47}"/>
          </ac:spMkLst>
        </pc:spChg>
        <pc:spChg chg="add del mod">
          <ac:chgData name="El Bakkouri, Manal" userId="8b130982-2e3f-4164-b881-fd3a2e4b2453" providerId="ADAL" clId="{4457FA57-250B-44AC-8655-05D46C5A3D8A}" dt="2023-06-12T13:34:35.330" v="15867" actId="478"/>
          <ac:spMkLst>
            <pc:docMk/>
            <pc:sldMk cId="3393548977" sldId="230717701"/>
            <ac:spMk id="66" creationId="{E4F3A6F8-4C79-4DE4-842A-1D03C2279F85}"/>
          </ac:spMkLst>
        </pc:spChg>
        <pc:spChg chg="add del mod">
          <ac:chgData name="El Bakkouri, Manal" userId="8b130982-2e3f-4164-b881-fd3a2e4b2453" providerId="ADAL" clId="{4457FA57-250B-44AC-8655-05D46C5A3D8A}" dt="2023-06-12T13:34:35.330" v="15867" actId="478"/>
          <ac:spMkLst>
            <pc:docMk/>
            <pc:sldMk cId="3393548977" sldId="230717701"/>
            <ac:spMk id="67" creationId="{F63820AA-3970-49C0-A579-F2F16ED19ACF}"/>
          </ac:spMkLst>
        </pc:spChg>
        <pc:spChg chg="add del mod">
          <ac:chgData name="El Bakkouri, Manal" userId="8b130982-2e3f-4164-b881-fd3a2e4b2453" providerId="ADAL" clId="{4457FA57-250B-44AC-8655-05D46C5A3D8A}" dt="2023-06-12T13:34:35.330" v="15867" actId="478"/>
          <ac:spMkLst>
            <pc:docMk/>
            <pc:sldMk cId="3393548977" sldId="230717701"/>
            <ac:spMk id="68" creationId="{78CA4331-5824-4154-A5AF-2BD406CDE15D}"/>
          </ac:spMkLst>
        </pc:spChg>
        <pc:spChg chg="add del mod">
          <ac:chgData name="El Bakkouri, Manal" userId="8b130982-2e3f-4164-b881-fd3a2e4b2453" providerId="ADAL" clId="{4457FA57-250B-44AC-8655-05D46C5A3D8A}" dt="2023-06-12T13:34:35.330" v="15867" actId="478"/>
          <ac:spMkLst>
            <pc:docMk/>
            <pc:sldMk cId="3393548977" sldId="230717701"/>
            <ac:spMk id="69" creationId="{F83157BD-87E0-46FE-9D9A-2FE6CE126759}"/>
          </ac:spMkLst>
        </pc:spChg>
        <pc:spChg chg="mod">
          <ac:chgData name="El Bakkouri, Manal" userId="8b130982-2e3f-4164-b881-fd3a2e4b2453" providerId="ADAL" clId="{4457FA57-250B-44AC-8655-05D46C5A3D8A}" dt="2023-06-12T13:34:35.826" v="15868"/>
          <ac:spMkLst>
            <pc:docMk/>
            <pc:sldMk cId="3393548977" sldId="230717701"/>
            <ac:spMk id="71" creationId="{58984BD5-AE6E-49D2-A04E-25326778AE27}"/>
          </ac:spMkLst>
        </pc:spChg>
        <pc:spChg chg="mod">
          <ac:chgData name="El Bakkouri, Manal" userId="8b130982-2e3f-4164-b881-fd3a2e4b2453" providerId="ADAL" clId="{4457FA57-250B-44AC-8655-05D46C5A3D8A}" dt="2023-06-12T13:34:35.826" v="15868"/>
          <ac:spMkLst>
            <pc:docMk/>
            <pc:sldMk cId="3393548977" sldId="230717701"/>
            <ac:spMk id="72" creationId="{203DD856-D5F5-4DBE-82AE-62C455D4C5BC}"/>
          </ac:spMkLst>
        </pc:spChg>
        <pc:spChg chg="mod">
          <ac:chgData name="El Bakkouri, Manal" userId="8b130982-2e3f-4164-b881-fd3a2e4b2453" providerId="ADAL" clId="{4457FA57-250B-44AC-8655-05D46C5A3D8A}" dt="2023-06-12T13:34:35.826" v="15868"/>
          <ac:spMkLst>
            <pc:docMk/>
            <pc:sldMk cId="3393548977" sldId="230717701"/>
            <ac:spMk id="74" creationId="{0A6C2F23-F8D6-40F1-AAEA-F327CB86AD08}"/>
          </ac:spMkLst>
        </pc:spChg>
        <pc:spChg chg="mod">
          <ac:chgData name="El Bakkouri, Manal" userId="8b130982-2e3f-4164-b881-fd3a2e4b2453" providerId="ADAL" clId="{4457FA57-250B-44AC-8655-05D46C5A3D8A}" dt="2023-06-12T13:34:35.826" v="15868"/>
          <ac:spMkLst>
            <pc:docMk/>
            <pc:sldMk cId="3393548977" sldId="230717701"/>
            <ac:spMk id="75" creationId="{27A3B066-658C-40F2-80F4-4283AD954659}"/>
          </ac:spMkLst>
        </pc:spChg>
        <pc:spChg chg="mod">
          <ac:chgData name="El Bakkouri, Manal" userId="8b130982-2e3f-4164-b881-fd3a2e4b2453" providerId="ADAL" clId="{4457FA57-250B-44AC-8655-05D46C5A3D8A}" dt="2023-06-12T13:34:35.826" v="15868"/>
          <ac:spMkLst>
            <pc:docMk/>
            <pc:sldMk cId="3393548977" sldId="230717701"/>
            <ac:spMk id="77" creationId="{F9A3FE7F-0570-4539-A4A1-D8767B32171E}"/>
          </ac:spMkLst>
        </pc:spChg>
        <pc:spChg chg="mod">
          <ac:chgData name="El Bakkouri, Manal" userId="8b130982-2e3f-4164-b881-fd3a2e4b2453" providerId="ADAL" clId="{4457FA57-250B-44AC-8655-05D46C5A3D8A}" dt="2023-06-12T13:34:35.826" v="15868"/>
          <ac:spMkLst>
            <pc:docMk/>
            <pc:sldMk cId="3393548977" sldId="230717701"/>
            <ac:spMk id="78" creationId="{0CF7BBBB-3E0F-460C-9A80-BD4ADE93900E}"/>
          </ac:spMkLst>
        </pc:spChg>
        <pc:spChg chg="mod">
          <ac:chgData name="El Bakkouri, Manal" userId="8b130982-2e3f-4164-b881-fd3a2e4b2453" providerId="ADAL" clId="{4457FA57-250B-44AC-8655-05D46C5A3D8A}" dt="2023-06-12T13:34:35.826" v="15868"/>
          <ac:spMkLst>
            <pc:docMk/>
            <pc:sldMk cId="3393548977" sldId="230717701"/>
            <ac:spMk id="80" creationId="{15A0FEF9-9850-4295-85B6-1998F938D0AE}"/>
          </ac:spMkLst>
        </pc:spChg>
        <pc:spChg chg="mod">
          <ac:chgData name="El Bakkouri, Manal" userId="8b130982-2e3f-4164-b881-fd3a2e4b2453" providerId="ADAL" clId="{4457FA57-250B-44AC-8655-05D46C5A3D8A}" dt="2023-06-12T13:34:35.826" v="15868"/>
          <ac:spMkLst>
            <pc:docMk/>
            <pc:sldMk cId="3393548977" sldId="230717701"/>
            <ac:spMk id="81" creationId="{F987E5A2-7DD5-412E-9961-E6E6B99DF283}"/>
          </ac:spMkLst>
        </pc:spChg>
        <pc:spChg chg="mod">
          <ac:chgData name="El Bakkouri, Manal" userId="8b130982-2e3f-4164-b881-fd3a2e4b2453" providerId="ADAL" clId="{4457FA57-250B-44AC-8655-05D46C5A3D8A}" dt="2023-06-12T13:34:35.826" v="15868"/>
          <ac:spMkLst>
            <pc:docMk/>
            <pc:sldMk cId="3393548977" sldId="230717701"/>
            <ac:spMk id="83" creationId="{21E611E5-0390-48B8-AF4C-2DEB301E6364}"/>
          </ac:spMkLst>
        </pc:spChg>
        <pc:spChg chg="mod">
          <ac:chgData name="El Bakkouri, Manal" userId="8b130982-2e3f-4164-b881-fd3a2e4b2453" providerId="ADAL" clId="{4457FA57-250B-44AC-8655-05D46C5A3D8A}" dt="2023-06-12T13:34:35.826" v="15868"/>
          <ac:spMkLst>
            <pc:docMk/>
            <pc:sldMk cId="3393548977" sldId="230717701"/>
            <ac:spMk id="84" creationId="{014CFFAC-E623-4BE6-A290-1BF25B533E7E}"/>
          </ac:spMkLst>
        </pc:spChg>
        <pc:spChg chg="add mod">
          <ac:chgData name="El Bakkouri, Manal" userId="8b130982-2e3f-4164-b881-fd3a2e4b2453" providerId="ADAL" clId="{4457FA57-250B-44AC-8655-05D46C5A3D8A}" dt="2023-06-12T13:34:35.826" v="15868"/>
          <ac:spMkLst>
            <pc:docMk/>
            <pc:sldMk cId="3393548977" sldId="230717701"/>
            <ac:spMk id="85" creationId="{6D1BA400-A8F5-46DF-902E-FD24DC3E7E41}"/>
          </ac:spMkLst>
        </pc:spChg>
        <pc:spChg chg="add mod">
          <ac:chgData name="El Bakkouri, Manal" userId="8b130982-2e3f-4164-b881-fd3a2e4b2453" providerId="ADAL" clId="{4457FA57-250B-44AC-8655-05D46C5A3D8A}" dt="2023-06-12T13:34:35.826" v="15868"/>
          <ac:spMkLst>
            <pc:docMk/>
            <pc:sldMk cId="3393548977" sldId="230717701"/>
            <ac:spMk id="86" creationId="{D3602FF3-988E-453E-8084-1E1916F1A356}"/>
          </ac:spMkLst>
        </pc:spChg>
        <pc:spChg chg="add mod">
          <ac:chgData name="El Bakkouri, Manal" userId="8b130982-2e3f-4164-b881-fd3a2e4b2453" providerId="ADAL" clId="{4457FA57-250B-44AC-8655-05D46C5A3D8A}" dt="2023-06-12T13:34:35.826" v="15868"/>
          <ac:spMkLst>
            <pc:docMk/>
            <pc:sldMk cId="3393548977" sldId="230717701"/>
            <ac:spMk id="87" creationId="{AD999528-A7A0-456E-B320-993FCE632E84}"/>
          </ac:spMkLst>
        </pc:spChg>
        <pc:spChg chg="add mod">
          <ac:chgData name="El Bakkouri, Manal" userId="8b130982-2e3f-4164-b881-fd3a2e4b2453" providerId="ADAL" clId="{4457FA57-250B-44AC-8655-05D46C5A3D8A}" dt="2023-06-12T13:34:35.826" v="15868"/>
          <ac:spMkLst>
            <pc:docMk/>
            <pc:sldMk cId="3393548977" sldId="230717701"/>
            <ac:spMk id="88" creationId="{7972A516-0B4A-470F-B45A-5F86B569FF1E}"/>
          </ac:spMkLst>
        </pc:spChg>
        <pc:grpChg chg="del">
          <ac:chgData name="El Bakkouri, Manal" userId="8b130982-2e3f-4164-b881-fd3a2e4b2453" providerId="ADAL" clId="{4457FA57-250B-44AC-8655-05D46C5A3D8A}" dt="2023-06-12T13:33:59.483" v="15859" actId="478"/>
          <ac:grpSpMkLst>
            <pc:docMk/>
            <pc:sldMk cId="3393548977" sldId="230717701"/>
            <ac:grpSpMk id="29" creationId="{2A76E2E9-B99C-4B49-BDFE-C7C70D045DD2}"/>
          </ac:grpSpMkLst>
        </pc:grpChg>
        <pc:grpChg chg="del">
          <ac:chgData name="El Bakkouri, Manal" userId="8b130982-2e3f-4164-b881-fd3a2e4b2453" providerId="ADAL" clId="{4457FA57-250B-44AC-8655-05D46C5A3D8A}" dt="2023-06-12T13:33:59.483" v="15859" actId="478"/>
          <ac:grpSpMkLst>
            <pc:docMk/>
            <pc:sldMk cId="3393548977" sldId="230717701"/>
            <ac:grpSpMk id="32" creationId="{DD435ED9-87A8-449B-9694-3DA088CC6E30}"/>
          </ac:grpSpMkLst>
        </pc:grpChg>
        <pc:grpChg chg="del">
          <ac:chgData name="El Bakkouri, Manal" userId="8b130982-2e3f-4164-b881-fd3a2e4b2453" providerId="ADAL" clId="{4457FA57-250B-44AC-8655-05D46C5A3D8A}" dt="2023-06-12T13:33:59.483" v="15859" actId="478"/>
          <ac:grpSpMkLst>
            <pc:docMk/>
            <pc:sldMk cId="3393548977" sldId="230717701"/>
            <ac:grpSpMk id="35" creationId="{DFD524FB-28BB-4F04-8603-14330367562E}"/>
          </ac:grpSpMkLst>
        </pc:grpChg>
        <pc:grpChg chg="del">
          <ac:chgData name="El Bakkouri, Manal" userId="8b130982-2e3f-4164-b881-fd3a2e4b2453" providerId="ADAL" clId="{4457FA57-250B-44AC-8655-05D46C5A3D8A}" dt="2023-06-12T13:33:59.483" v="15859" actId="478"/>
          <ac:grpSpMkLst>
            <pc:docMk/>
            <pc:sldMk cId="3393548977" sldId="230717701"/>
            <ac:grpSpMk id="38" creationId="{49FEF910-9A22-4DB8-8581-4FAC09DA3844}"/>
          </ac:grpSpMkLst>
        </pc:grpChg>
        <pc:grpChg chg="del">
          <ac:chgData name="El Bakkouri, Manal" userId="8b130982-2e3f-4164-b881-fd3a2e4b2453" providerId="ADAL" clId="{4457FA57-250B-44AC-8655-05D46C5A3D8A}" dt="2023-06-12T13:33:59.483" v="15859" actId="478"/>
          <ac:grpSpMkLst>
            <pc:docMk/>
            <pc:sldMk cId="3393548977" sldId="230717701"/>
            <ac:grpSpMk id="41" creationId="{14DF3A53-2C6B-4402-9566-1004360339A1}"/>
          </ac:grpSpMkLst>
        </pc:grpChg>
        <pc:grpChg chg="add del mod">
          <ac:chgData name="El Bakkouri, Manal" userId="8b130982-2e3f-4164-b881-fd3a2e4b2453" providerId="ADAL" clId="{4457FA57-250B-44AC-8655-05D46C5A3D8A}" dt="2023-06-12T13:34:35.330" v="15867" actId="478"/>
          <ac:grpSpMkLst>
            <pc:docMk/>
            <pc:sldMk cId="3393548977" sldId="230717701"/>
            <ac:grpSpMk id="42" creationId="{A243B70B-935C-4AB6-9F3D-02C00812FB0A}"/>
          </ac:grpSpMkLst>
        </pc:grpChg>
        <pc:grpChg chg="add del mod">
          <ac:chgData name="El Bakkouri, Manal" userId="8b130982-2e3f-4164-b881-fd3a2e4b2453" providerId="ADAL" clId="{4457FA57-250B-44AC-8655-05D46C5A3D8A}" dt="2023-06-12T13:34:35.330" v="15867" actId="478"/>
          <ac:grpSpMkLst>
            <pc:docMk/>
            <pc:sldMk cId="3393548977" sldId="230717701"/>
            <ac:grpSpMk id="51" creationId="{0C74F494-6457-452D-96CE-4DE804985E25}"/>
          </ac:grpSpMkLst>
        </pc:grpChg>
        <pc:grpChg chg="add del mod">
          <ac:chgData name="El Bakkouri, Manal" userId="8b130982-2e3f-4164-b881-fd3a2e4b2453" providerId="ADAL" clId="{4457FA57-250B-44AC-8655-05D46C5A3D8A}" dt="2023-06-12T13:34:35.330" v="15867" actId="478"/>
          <ac:grpSpMkLst>
            <pc:docMk/>
            <pc:sldMk cId="3393548977" sldId="230717701"/>
            <ac:grpSpMk id="54" creationId="{66BDFB3F-3FEC-47E4-B37D-8F043957DA71}"/>
          </ac:grpSpMkLst>
        </pc:grpChg>
        <pc:grpChg chg="add del mod">
          <ac:chgData name="El Bakkouri, Manal" userId="8b130982-2e3f-4164-b881-fd3a2e4b2453" providerId="ADAL" clId="{4457FA57-250B-44AC-8655-05D46C5A3D8A}" dt="2023-06-12T13:34:35.330" v="15867" actId="478"/>
          <ac:grpSpMkLst>
            <pc:docMk/>
            <pc:sldMk cId="3393548977" sldId="230717701"/>
            <ac:grpSpMk id="57" creationId="{40EC6A39-3E12-43BF-9358-19DE01BBDC66}"/>
          </ac:grpSpMkLst>
        </pc:grpChg>
        <pc:grpChg chg="add del mod">
          <ac:chgData name="El Bakkouri, Manal" userId="8b130982-2e3f-4164-b881-fd3a2e4b2453" providerId="ADAL" clId="{4457FA57-250B-44AC-8655-05D46C5A3D8A}" dt="2023-06-12T13:34:35.330" v="15867" actId="478"/>
          <ac:grpSpMkLst>
            <pc:docMk/>
            <pc:sldMk cId="3393548977" sldId="230717701"/>
            <ac:grpSpMk id="63" creationId="{AECB3286-AA63-4E8F-B517-AA8D5E2A735F}"/>
          </ac:grpSpMkLst>
        </pc:grpChg>
        <pc:grpChg chg="add mod">
          <ac:chgData name="El Bakkouri, Manal" userId="8b130982-2e3f-4164-b881-fd3a2e4b2453" providerId="ADAL" clId="{4457FA57-250B-44AC-8655-05D46C5A3D8A}" dt="2023-06-12T13:34:35.826" v="15868"/>
          <ac:grpSpMkLst>
            <pc:docMk/>
            <pc:sldMk cId="3393548977" sldId="230717701"/>
            <ac:grpSpMk id="70" creationId="{DFCA77C7-3E6E-494F-8EC1-5F9CB768A13C}"/>
          </ac:grpSpMkLst>
        </pc:grpChg>
        <pc:grpChg chg="add mod">
          <ac:chgData name="El Bakkouri, Manal" userId="8b130982-2e3f-4164-b881-fd3a2e4b2453" providerId="ADAL" clId="{4457FA57-250B-44AC-8655-05D46C5A3D8A}" dt="2023-06-12T13:34:35.826" v="15868"/>
          <ac:grpSpMkLst>
            <pc:docMk/>
            <pc:sldMk cId="3393548977" sldId="230717701"/>
            <ac:grpSpMk id="73" creationId="{AC35CC0C-0331-4FCC-B802-FC9EC8CF9012}"/>
          </ac:grpSpMkLst>
        </pc:grpChg>
        <pc:grpChg chg="add mod">
          <ac:chgData name="El Bakkouri, Manal" userId="8b130982-2e3f-4164-b881-fd3a2e4b2453" providerId="ADAL" clId="{4457FA57-250B-44AC-8655-05D46C5A3D8A}" dt="2023-06-12T13:34:35.826" v="15868"/>
          <ac:grpSpMkLst>
            <pc:docMk/>
            <pc:sldMk cId="3393548977" sldId="230717701"/>
            <ac:grpSpMk id="76" creationId="{28495F93-0407-4E55-9F6F-A65E7469645A}"/>
          </ac:grpSpMkLst>
        </pc:grpChg>
        <pc:grpChg chg="add mod">
          <ac:chgData name="El Bakkouri, Manal" userId="8b130982-2e3f-4164-b881-fd3a2e4b2453" providerId="ADAL" clId="{4457FA57-250B-44AC-8655-05D46C5A3D8A}" dt="2023-06-12T13:34:35.826" v="15868"/>
          <ac:grpSpMkLst>
            <pc:docMk/>
            <pc:sldMk cId="3393548977" sldId="230717701"/>
            <ac:grpSpMk id="79" creationId="{87B41EDC-9543-41F0-BFE7-130848C49711}"/>
          </ac:grpSpMkLst>
        </pc:grpChg>
        <pc:grpChg chg="add mod">
          <ac:chgData name="El Bakkouri, Manal" userId="8b130982-2e3f-4164-b881-fd3a2e4b2453" providerId="ADAL" clId="{4457FA57-250B-44AC-8655-05D46C5A3D8A}" dt="2023-06-12T13:34:35.826" v="15868"/>
          <ac:grpSpMkLst>
            <pc:docMk/>
            <pc:sldMk cId="3393548977" sldId="230717701"/>
            <ac:grpSpMk id="82" creationId="{E441D7D4-493B-49C1-AA2B-64C288A681F6}"/>
          </ac:grpSpMkLst>
        </pc:grpChg>
        <pc:picChg chg="mod">
          <ac:chgData name="El Bakkouri, Manal" userId="8b130982-2e3f-4164-b881-fd3a2e4b2453" providerId="ADAL" clId="{4457FA57-250B-44AC-8655-05D46C5A3D8A}" dt="2023-06-12T22:22:08.435" v="15978" actId="14100"/>
          <ac:picMkLst>
            <pc:docMk/>
            <pc:sldMk cId="3393548977" sldId="230717701"/>
            <ac:picMk id="9" creationId="{A8E930A2-4CB1-4781-A9C8-29077092C6A2}"/>
          </ac:picMkLst>
        </pc:picChg>
      </pc:sldChg>
      <pc:sldChg chg="addSp delSp modSp mod">
        <pc:chgData name="El Bakkouri, Manal" userId="8b130982-2e3f-4164-b881-fd3a2e4b2453" providerId="ADAL" clId="{4457FA57-250B-44AC-8655-05D46C5A3D8A}" dt="2023-06-12T22:22:22.710" v="15979" actId="14100"/>
        <pc:sldMkLst>
          <pc:docMk/>
          <pc:sldMk cId="3252418624" sldId="230717702"/>
        </pc:sldMkLst>
        <pc:spChg chg="mod">
          <ac:chgData name="El Bakkouri, Manal" userId="8b130982-2e3f-4164-b881-fd3a2e4b2453" providerId="ADAL" clId="{4457FA57-250B-44AC-8655-05D46C5A3D8A}" dt="2023-06-12T13:34:08.140" v="15862"/>
          <ac:spMkLst>
            <pc:docMk/>
            <pc:sldMk cId="3252418624" sldId="230717702"/>
            <ac:spMk id="45" creationId="{9630C19D-127D-49AE-9E75-C2492095E4C8}"/>
          </ac:spMkLst>
        </pc:spChg>
        <pc:spChg chg="del">
          <ac:chgData name="El Bakkouri, Manal" userId="8b130982-2e3f-4164-b881-fd3a2e4b2453" providerId="ADAL" clId="{4457FA57-250B-44AC-8655-05D46C5A3D8A}" dt="2023-06-12T13:34:07.609" v="15861" actId="478"/>
          <ac:spMkLst>
            <pc:docMk/>
            <pc:sldMk cId="3252418624" sldId="230717702"/>
            <ac:spMk id="46" creationId="{BCDBC7E5-69C5-4538-B000-554B1C034C6E}"/>
          </ac:spMkLst>
        </pc:spChg>
        <pc:spChg chg="mod">
          <ac:chgData name="El Bakkouri, Manal" userId="8b130982-2e3f-4164-b881-fd3a2e4b2453" providerId="ADAL" clId="{4457FA57-250B-44AC-8655-05D46C5A3D8A}" dt="2023-06-12T13:34:08.140" v="15862"/>
          <ac:spMkLst>
            <pc:docMk/>
            <pc:sldMk cId="3252418624" sldId="230717702"/>
            <ac:spMk id="47" creationId="{BBF2FCBA-58A7-4AF7-841D-E066925E8101}"/>
          </ac:spMkLst>
        </pc:spChg>
        <pc:spChg chg="del">
          <ac:chgData name="El Bakkouri, Manal" userId="8b130982-2e3f-4164-b881-fd3a2e4b2453" providerId="ADAL" clId="{4457FA57-250B-44AC-8655-05D46C5A3D8A}" dt="2023-06-12T13:34:07.609" v="15861" actId="478"/>
          <ac:spMkLst>
            <pc:docMk/>
            <pc:sldMk cId="3252418624" sldId="230717702"/>
            <ac:spMk id="48" creationId="{7D26F1DF-C3CB-42D8-A382-98088AB3836B}"/>
          </ac:spMkLst>
        </pc:spChg>
        <pc:spChg chg="del">
          <ac:chgData name="El Bakkouri, Manal" userId="8b130982-2e3f-4164-b881-fd3a2e4b2453" providerId="ADAL" clId="{4457FA57-250B-44AC-8655-05D46C5A3D8A}" dt="2023-06-12T13:34:07.609" v="15861" actId="478"/>
          <ac:spMkLst>
            <pc:docMk/>
            <pc:sldMk cId="3252418624" sldId="230717702"/>
            <ac:spMk id="49" creationId="{0A53A307-1C94-44F1-AAEC-A2F0880D84C3}"/>
          </ac:spMkLst>
        </pc:spChg>
        <pc:spChg chg="del">
          <ac:chgData name="El Bakkouri, Manal" userId="8b130982-2e3f-4164-b881-fd3a2e4b2453" providerId="ADAL" clId="{4457FA57-250B-44AC-8655-05D46C5A3D8A}" dt="2023-06-12T13:34:07.609" v="15861" actId="478"/>
          <ac:spMkLst>
            <pc:docMk/>
            <pc:sldMk cId="3252418624" sldId="230717702"/>
            <ac:spMk id="50" creationId="{82CF1FCA-0999-45AA-A25B-0477D6B64E64}"/>
          </ac:spMkLst>
        </pc:spChg>
        <pc:spChg chg="mod">
          <ac:chgData name="El Bakkouri, Manal" userId="8b130982-2e3f-4164-b881-fd3a2e4b2453" providerId="ADAL" clId="{4457FA57-250B-44AC-8655-05D46C5A3D8A}" dt="2023-06-12T13:34:08.140" v="15862"/>
          <ac:spMkLst>
            <pc:docMk/>
            <pc:sldMk cId="3252418624" sldId="230717702"/>
            <ac:spMk id="52" creationId="{F17EF098-C2B5-41B0-8084-23566BE54DB0}"/>
          </ac:spMkLst>
        </pc:spChg>
        <pc:spChg chg="mod">
          <ac:chgData name="El Bakkouri, Manal" userId="8b130982-2e3f-4164-b881-fd3a2e4b2453" providerId="ADAL" clId="{4457FA57-250B-44AC-8655-05D46C5A3D8A}" dt="2023-06-12T13:34:08.140" v="15862"/>
          <ac:spMkLst>
            <pc:docMk/>
            <pc:sldMk cId="3252418624" sldId="230717702"/>
            <ac:spMk id="53" creationId="{A37CC3F2-A222-4786-8665-FBD1056FF8E6}"/>
          </ac:spMkLst>
        </pc:spChg>
        <pc:spChg chg="mod">
          <ac:chgData name="El Bakkouri, Manal" userId="8b130982-2e3f-4164-b881-fd3a2e4b2453" providerId="ADAL" clId="{4457FA57-250B-44AC-8655-05D46C5A3D8A}" dt="2023-06-12T13:34:08.140" v="15862"/>
          <ac:spMkLst>
            <pc:docMk/>
            <pc:sldMk cId="3252418624" sldId="230717702"/>
            <ac:spMk id="55" creationId="{922C0850-1C32-4988-8A8C-4ED66D1D612A}"/>
          </ac:spMkLst>
        </pc:spChg>
        <pc:spChg chg="mod">
          <ac:chgData name="El Bakkouri, Manal" userId="8b130982-2e3f-4164-b881-fd3a2e4b2453" providerId="ADAL" clId="{4457FA57-250B-44AC-8655-05D46C5A3D8A}" dt="2023-06-12T13:34:08.140" v="15862"/>
          <ac:spMkLst>
            <pc:docMk/>
            <pc:sldMk cId="3252418624" sldId="230717702"/>
            <ac:spMk id="56" creationId="{A6CE3B0C-E924-4DB2-8BC5-0B0F76D1C3B4}"/>
          </ac:spMkLst>
        </pc:spChg>
        <pc:spChg chg="mod">
          <ac:chgData name="El Bakkouri, Manal" userId="8b130982-2e3f-4164-b881-fd3a2e4b2453" providerId="ADAL" clId="{4457FA57-250B-44AC-8655-05D46C5A3D8A}" dt="2023-06-12T13:34:08.140" v="15862"/>
          <ac:spMkLst>
            <pc:docMk/>
            <pc:sldMk cId="3252418624" sldId="230717702"/>
            <ac:spMk id="58" creationId="{1C86E46E-2082-41E2-BAAA-45595221AA75}"/>
          </ac:spMkLst>
        </pc:spChg>
        <pc:spChg chg="mod">
          <ac:chgData name="El Bakkouri, Manal" userId="8b130982-2e3f-4164-b881-fd3a2e4b2453" providerId="ADAL" clId="{4457FA57-250B-44AC-8655-05D46C5A3D8A}" dt="2023-06-12T13:34:08.140" v="15862"/>
          <ac:spMkLst>
            <pc:docMk/>
            <pc:sldMk cId="3252418624" sldId="230717702"/>
            <ac:spMk id="61" creationId="{86DE2E53-6152-4BC8-9FBC-A2C78F0BE77F}"/>
          </ac:spMkLst>
        </pc:spChg>
        <pc:spChg chg="mod">
          <ac:chgData name="El Bakkouri, Manal" userId="8b130982-2e3f-4164-b881-fd3a2e4b2453" providerId="ADAL" clId="{4457FA57-250B-44AC-8655-05D46C5A3D8A}" dt="2023-06-12T13:34:08.140" v="15862"/>
          <ac:spMkLst>
            <pc:docMk/>
            <pc:sldMk cId="3252418624" sldId="230717702"/>
            <ac:spMk id="64" creationId="{678AB689-93E7-4CB2-A0F1-025EC92B9463}"/>
          </ac:spMkLst>
        </pc:spChg>
        <pc:spChg chg="mod">
          <ac:chgData name="El Bakkouri, Manal" userId="8b130982-2e3f-4164-b881-fd3a2e4b2453" providerId="ADAL" clId="{4457FA57-250B-44AC-8655-05D46C5A3D8A}" dt="2023-06-12T13:34:08.140" v="15862"/>
          <ac:spMkLst>
            <pc:docMk/>
            <pc:sldMk cId="3252418624" sldId="230717702"/>
            <ac:spMk id="65" creationId="{D7A43874-9E0A-49F9-8BF0-E7DBF01D7C98}"/>
          </ac:spMkLst>
        </pc:spChg>
        <pc:spChg chg="add del mod">
          <ac:chgData name="El Bakkouri, Manal" userId="8b130982-2e3f-4164-b881-fd3a2e4b2453" providerId="ADAL" clId="{4457FA57-250B-44AC-8655-05D46C5A3D8A}" dt="2023-06-12T13:34:43.291" v="15869" actId="478"/>
          <ac:spMkLst>
            <pc:docMk/>
            <pc:sldMk cId="3252418624" sldId="230717702"/>
            <ac:spMk id="66" creationId="{53428E5A-47ED-43C1-B6C2-F2ED42C82C3D}"/>
          </ac:spMkLst>
        </pc:spChg>
        <pc:spChg chg="add del mod">
          <ac:chgData name="El Bakkouri, Manal" userId="8b130982-2e3f-4164-b881-fd3a2e4b2453" providerId="ADAL" clId="{4457FA57-250B-44AC-8655-05D46C5A3D8A}" dt="2023-06-12T13:34:43.291" v="15869" actId="478"/>
          <ac:spMkLst>
            <pc:docMk/>
            <pc:sldMk cId="3252418624" sldId="230717702"/>
            <ac:spMk id="67" creationId="{44842099-B1D9-4F3D-8591-44CC52EA87F6}"/>
          </ac:spMkLst>
        </pc:spChg>
        <pc:spChg chg="add del mod">
          <ac:chgData name="El Bakkouri, Manal" userId="8b130982-2e3f-4164-b881-fd3a2e4b2453" providerId="ADAL" clId="{4457FA57-250B-44AC-8655-05D46C5A3D8A}" dt="2023-06-12T13:34:43.291" v="15869" actId="478"/>
          <ac:spMkLst>
            <pc:docMk/>
            <pc:sldMk cId="3252418624" sldId="230717702"/>
            <ac:spMk id="68" creationId="{2FCD7D5E-75A1-48FA-AE50-224343DC81CE}"/>
          </ac:spMkLst>
        </pc:spChg>
        <pc:spChg chg="add del mod">
          <ac:chgData name="El Bakkouri, Manal" userId="8b130982-2e3f-4164-b881-fd3a2e4b2453" providerId="ADAL" clId="{4457FA57-250B-44AC-8655-05D46C5A3D8A}" dt="2023-06-12T13:34:43.291" v="15869" actId="478"/>
          <ac:spMkLst>
            <pc:docMk/>
            <pc:sldMk cId="3252418624" sldId="230717702"/>
            <ac:spMk id="69" creationId="{BFFE5E47-92E6-450E-A6CA-8F63ABB5BEA8}"/>
          </ac:spMkLst>
        </pc:spChg>
        <pc:spChg chg="mod">
          <ac:chgData name="El Bakkouri, Manal" userId="8b130982-2e3f-4164-b881-fd3a2e4b2453" providerId="ADAL" clId="{4457FA57-250B-44AC-8655-05D46C5A3D8A}" dt="2023-06-12T13:34:43.809" v="15870"/>
          <ac:spMkLst>
            <pc:docMk/>
            <pc:sldMk cId="3252418624" sldId="230717702"/>
            <ac:spMk id="71" creationId="{045CF23D-48D9-4D7B-A581-E59AA4F4A155}"/>
          </ac:spMkLst>
        </pc:spChg>
        <pc:spChg chg="mod">
          <ac:chgData name="El Bakkouri, Manal" userId="8b130982-2e3f-4164-b881-fd3a2e4b2453" providerId="ADAL" clId="{4457FA57-250B-44AC-8655-05D46C5A3D8A}" dt="2023-06-12T13:34:43.809" v="15870"/>
          <ac:spMkLst>
            <pc:docMk/>
            <pc:sldMk cId="3252418624" sldId="230717702"/>
            <ac:spMk id="72" creationId="{CB077CD7-4EB4-49CF-9B2B-2BA5B795845F}"/>
          </ac:spMkLst>
        </pc:spChg>
        <pc:spChg chg="mod">
          <ac:chgData name="El Bakkouri, Manal" userId="8b130982-2e3f-4164-b881-fd3a2e4b2453" providerId="ADAL" clId="{4457FA57-250B-44AC-8655-05D46C5A3D8A}" dt="2023-06-12T13:34:43.809" v="15870"/>
          <ac:spMkLst>
            <pc:docMk/>
            <pc:sldMk cId="3252418624" sldId="230717702"/>
            <ac:spMk id="74" creationId="{46CC3F5C-81A4-47D4-8301-CF7D393FDE9B}"/>
          </ac:spMkLst>
        </pc:spChg>
        <pc:spChg chg="mod">
          <ac:chgData name="El Bakkouri, Manal" userId="8b130982-2e3f-4164-b881-fd3a2e4b2453" providerId="ADAL" clId="{4457FA57-250B-44AC-8655-05D46C5A3D8A}" dt="2023-06-12T13:34:43.809" v="15870"/>
          <ac:spMkLst>
            <pc:docMk/>
            <pc:sldMk cId="3252418624" sldId="230717702"/>
            <ac:spMk id="75" creationId="{B1D2FDF4-F259-456D-A3B0-AB43A3B4AA16}"/>
          </ac:spMkLst>
        </pc:spChg>
        <pc:spChg chg="mod">
          <ac:chgData name="El Bakkouri, Manal" userId="8b130982-2e3f-4164-b881-fd3a2e4b2453" providerId="ADAL" clId="{4457FA57-250B-44AC-8655-05D46C5A3D8A}" dt="2023-06-12T13:34:43.809" v="15870"/>
          <ac:spMkLst>
            <pc:docMk/>
            <pc:sldMk cId="3252418624" sldId="230717702"/>
            <ac:spMk id="77" creationId="{BD73ADB7-99B0-4F58-8BBA-7866A3AD8CDB}"/>
          </ac:spMkLst>
        </pc:spChg>
        <pc:spChg chg="mod">
          <ac:chgData name="El Bakkouri, Manal" userId="8b130982-2e3f-4164-b881-fd3a2e4b2453" providerId="ADAL" clId="{4457FA57-250B-44AC-8655-05D46C5A3D8A}" dt="2023-06-12T13:34:43.809" v="15870"/>
          <ac:spMkLst>
            <pc:docMk/>
            <pc:sldMk cId="3252418624" sldId="230717702"/>
            <ac:spMk id="78" creationId="{6DEA350A-C1FD-4557-BD3A-CC433912F3AF}"/>
          </ac:spMkLst>
        </pc:spChg>
        <pc:spChg chg="mod">
          <ac:chgData name="El Bakkouri, Manal" userId="8b130982-2e3f-4164-b881-fd3a2e4b2453" providerId="ADAL" clId="{4457FA57-250B-44AC-8655-05D46C5A3D8A}" dt="2023-06-12T13:34:43.809" v="15870"/>
          <ac:spMkLst>
            <pc:docMk/>
            <pc:sldMk cId="3252418624" sldId="230717702"/>
            <ac:spMk id="80" creationId="{14E5ADB2-22CC-44DB-8D2F-B62104076C05}"/>
          </ac:spMkLst>
        </pc:spChg>
        <pc:spChg chg="mod">
          <ac:chgData name="El Bakkouri, Manal" userId="8b130982-2e3f-4164-b881-fd3a2e4b2453" providerId="ADAL" clId="{4457FA57-250B-44AC-8655-05D46C5A3D8A}" dt="2023-06-12T13:34:43.809" v="15870"/>
          <ac:spMkLst>
            <pc:docMk/>
            <pc:sldMk cId="3252418624" sldId="230717702"/>
            <ac:spMk id="81" creationId="{F7FC6A6B-966F-4253-A3F0-1D02B321805A}"/>
          </ac:spMkLst>
        </pc:spChg>
        <pc:spChg chg="mod">
          <ac:chgData name="El Bakkouri, Manal" userId="8b130982-2e3f-4164-b881-fd3a2e4b2453" providerId="ADAL" clId="{4457FA57-250B-44AC-8655-05D46C5A3D8A}" dt="2023-06-12T13:34:43.809" v="15870"/>
          <ac:spMkLst>
            <pc:docMk/>
            <pc:sldMk cId="3252418624" sldId="230717702"/>
            <ac:spMk id="83" creationId="{7B274885-F2C0-470F-BA8D-1E8395712E02}"/>
          </ac:spMkLst>
        </pc:spChg>
        <pc:spChg chg="mod">
          <ac:chgData name="El Bakkouri, Manal" userId="8b130982-2e3f-4164-b881-fd3a2e4b2453" providerId="ADAL" clId="{4457FA57-250B-44AC-8655-05D46C5A3D8A}" dt="2023-06-12T13:34:43.809" v="15870"/>
          <ac:spMkLst>
            <pc:docMk/>
            <pc:sldMk cId="3252418624" sldId="230717702"/>
            <ac:spMk id="84" creationId="{A5177A4C-B4B6-4753-A209-5C1854AFDCB1}"/>
          </ac:spMkLst>
        </pc:spChg>
        <pc:spChg chg="add mod">
          <ac:chgData name="El Bakkouri, Manal" userId="8b130982-2e3f-4164-b881-fd3a2e4b2453" providerId="ADAL" clId="{4457FA57-250B-44AC-8655-05D46C5A3D8A}" dt="2023-06-12T13:34:43.809" v="15870"/>
          <ac:spMkLst>
            <pc:docMk/>
            <pc:sldMk cId="3252418624" sldId="230717702"/>
            <ac:spMk id="85" creationId="{EAEA840D-27E1-4E4C-AA6F-E1C5BF7483E5}"/>
          </ac:spMkLst>
        </pc:spChg>
        <pc:spChg chg="add mod">
          <ac:chgData name="El Bakkouri, Manal" userId="8b130982-2e3f-4164-b881-fd3a2e4b2453" providerId="ADAL" clId="{4457FA57-250B-44AC-8655-05D46C5A3D8A}" dt="2023-06-12T13:34:43.809" v="15870"/>
          <ac:spMkLst>
            <pc:docMk/>
            <pc:sldMk cId="3252418624" sldId="230717702"/>
            <ac:spMk id="86" creationId="{C2958DC5-9A33-4E5B-9406-897E89DEACA0}"/>
          </ac:spMkLst>
        </pc:spChg>
        <pc:spChg chg="add mod">
          <ac:chgData name="El Bakkouri, Manal" userId="8b130982-2e3f-4164-b881-fd3a2e4b2453" providerId="ADAL" clId="{4457FA57-250B-44AC-8655-05D46C5A3D8A}" dt="2023-06-12T13:34:43.809" v="15870"/>
          <ac:spMkLst>
            <pc:docMk/>
            <pc:sldMk cId="3252418624" sldId="230717702"/>
            <ac:spMk id="87" creationId="{079B361C-2D38-4686-BDE7-84F79BDC7F8F}"/>
          </ac:spMkLst>
        </pc:spChg>
        <pc:spChg chg="add mod">
          <ac:chgData name="El Bakkouri, Manal" userId="8b130982-2e3f-4164-b881-fd3a2e4b2453" providerId="ADAL" clId="{4457FA57-250B-44AC-8655-05D46C5A3D8A}" dt="2023-06-12T13:34:43.809" v="15870"/>
          <ac:spMkLst>
            <pc:docMk/>
            <pc:sldMk cId="3252418624" sldId="230717702"/>
            <ac:spMk id="88" creationId="{ABEE9D87-6B6A-4CAC-8BBC-65E4DD882D34}"/>
          </ac:spMkLst>
        </pc:spChg>
        <pc:grpChg chg="del">
          <ac:chgData name="El Bakkouri, Manal" userId="8b130982-2e3f-4164-b881-fd3a2e4b2453" providerId="ADAL" clId="{4457FA57-250B-44AC-8655-05D46C5A3D8A}" dt="2023-06-12T13:34:07.609" v="15861" actId="478"/>
          <ac:grpSpMkLst>
            <pc:docMk/>
            <pc:sldMk cId="3252418624" sldId="230717702"/>
            <ac:grpSpMk id="29" creationId="{041AAF41-643E-4BFA-A486-AC77F91FF254}"/>
          </ac:grpSpMkLst>
        </pc:grpChg>
        <pc:grpChg chg="del">
          <ac:chgData name="El Bakkouri, Manal" userId="8b130982-2e3f-4164-b881-fd3a2e4b2453" providerId="ADAL" clId="{4457FA57-250B-44AC-8655-05D46C5A3D8A}" dt="2023-06-12T13:34:07.609" v="15861" actId="478"/>
          <ac:grpSpMkLst>
            <pc:docMk/>
            <pc:sldMk cId="3252418624" sldId="230717702"/>
            <ac:grpSpMk id="32" creationId="{5892407A-64FD-40DF-B406-F94CA75331E1}"/>
          </ac:grpSpMkLst>
        </pc:grpChg>
        <pc:grpChg chg="del">
          <ac:chgData name="El Bakkouri, Manal" userId="8b130982-2e3f-4164-b881-fd3a2e4b2453" providerId="ADAL" clId="{4457FA57-250B-44AC-8655-05D46C5A3D8A}" dt="2023-06-12T13:34:07.609" v="15861" actId="478"/>
          <ac:grpSpMkLst>
            <pc:docMk/>
            <pc:sldMk cId="3252418624" sldId="230717702"/>
            <ac:grpSpMk id="35" creationId="{6F3A0614-6886-4754-ACC2-D3B928A5B3BC}"/>
          </ac:grpSpMkLst>
        </pc:grpChg>
        <pc:grpChg chg="del">
          <ac:chgData name="El Bakkouri, Manal" userId="8b130982-2e3f-4164-b881-fd3a2e4b2453" providerId="ADAL" clId="{4457FA57-250B-44AC-8655-05D46C5A3D8A}" dt="2023-06-12T13:34:07.609" v="15861" actId="478"/>
          <ac:grpSpMkLst>
            <pc:docMk/>
            <pc:sldMk cId="3252418624" sldId="230717702"/>
            <ac:grpSpMk id="38" creationId="{993E9699-EBDD-46CA-8D79-039C1B841AAB}"/>
          </ac:grpSpMkLst>
        </pc:grpChg>
        <pc:grpChg chg="del">
          <ac:chgData name="El Bakkouri, Manal" userId="8b130982-2e3f-4164-b881-fd3a2e4b2453" providerId="ADAL" clId="{4457FA57-250B-44AC-8655-05D46C5A3D8A}" dt="2023-06-12T13:34:07.609" v="15861" actId="478"/>
          <ac:grpSpMkLst>
            <pc:docMk/>
            <pc:sldMk cId="3252418624" sldId="230717702"/>
            <ac:grpSpMk id="41" creationId="{2BB9B0FD-72AC-44C5-B4CA-327B3BF33FE0}"/>
          </ac:grpSpMkLst>
        </pc:grpChg>
        <pc:grpChg chg="add del mod">
          <ac:chgData name="El Bakkouri, Manal" userId="8b130982-2e3f-4164-b881-fd3a2e4b2453" providerId="ADAL" clId="{4457FA57-250B-44AC-8655-05D46C5A3D8A}" dt="2023-06-12T13:34:43.291" v="15869" actId="478"/>
          <ac:grpSpMkLst>
            <pc:docMk/>
            <pc:sldMk cId="3252418624" sldId="230717702"/>
            <ac:grpSpMk id="42" creationId="{926AFA7D-B171-46A8-9FF9-FFD3E89E6362}"/>
          </ac:grpSpMkLst>
        </pc:grpChg>
        <pc:grpChg chg="add del mod">
          <ac:chgData name="El Bakkouri, Manal" userId="8b130982-2e3f-4164-b881-fd3a2e4b2453" providerId="ADAL" clId="{4457FA57-250B-44AC-8655-05D46C5A3D8A}" dt="2023-06-12T13:34:43.291" v="15869" actId="478"/>
          <ac:grpSpMkLst>
            <pc:docMk/>
            <pc:sldMk cId="3252418624" sldId="230717702"/>
            <ac:grpSpMk id="51" creationId="{D50432CC-29FD-4686-8AD7-22A5D3D01E93}"/>
          </ac:grpSpMkLst>
        </pc:grpChg>
        <pc:grpChg chg="add del mod">
          <ac:chgData name="El Bakkouri, Manal" userId="8b130982-2e3f-4164-b881-fd3a2e4b2453" providerId="ADAL" clId="{4457FA57-250B-44AC-8655-05D46C5A3D8A}" dt="2023-06-12T13:34:43.291" v="15869" actId="478"/>
          <ac:grpSpMkLst>
            <pc:docMk/>
            <pc:sldMk cId="3252418624" sldId="230717702"/>
            <ac:grpSpMk id="54" creationId="{388BE67F-6217-46CA-8B85-280AEFC755E5}"/>
          </ac:grpSpMkLst>
        </pc:grpChg>
        <pc:grpChg chg="add del mod">
          <ac:chgData name="El Bakkouri, Manal" userId="8b130982-2e3f-4164-b881-fd3a2e4b2453" providerId="ADAL" clId="{4457FA57-250B-44AC-8655-05D46C5A3D8A}" dt="2023-06-12T13:34:43.291" v="15869" actId="478"/>
          <ac:grpSpMkLst>
            <pc:docMk/>
            <pc:sldMk cId="3252418624" sldId="230717702"/>
            <ac:grpSpMk id="57" creationId="{43674A56-C152-4AF5-B1B9-20376E6769DB}"/>
          </ac:grpSpMkLst>
        </pc:grpChg>
        <pc:grpChg chg="add del mod">
          <ac:chgData name="El Bakkouri, Manal" userId="8b130982-2e3f-4164-b881-fd3a2e4b2453" providerId="ADAL" clId="{4457FA57-250B-44AC-8655-05D46C5A3D8A}" dt="2023-06-12T13:34:43.291" v="15869" actId="478"/>
          <ac:grpSpMkLst>
            <pc:docMk/>
            <pc:sldMk cId="3252418624" sldId="230717702"/>
            <ac:grpSpMk id="63" creationId="{6915D739-8CAA-467B-B1CF-48D1C9CF0E2D}"/>
          </ac:grpSpMkLst>
        </pc:grpChg>
        <pc:grpChg chg="add mod">
          <ac:chgData name="El Bakkouri, Manal" userId="8b130982-2e3f-4164-b881-fd3a2e4b2453" providerId="ADAL" clId="{4457FA57-250B-44AC-8655-05D46C5A3D8A}" dt="2023-06-12T13:34:43.809" v="15870"/>
          <ac:grpSpMkLst>
            <pc:docMk/>
            <pc:sldMk cId="3252418624" sldId="230717702"/>
            <ac:grpSpMk id="70" creationId="{CA99CF6E-71D2-464F-ABBD-E903209641D7}"/>
          </ac:grpSpMkLst>
        </pc:grpChg>
        <pc:grpChg chg="add mod">
          <ac:chgData name="El Bakkouri, Manal" userId="8b130982-2e3f-4164-b881-fd3a2e4b2453" providerId="ADAL" clId="{4457FA57-250B-44AC-8655-05D46C5A3D8A}" dt="2023-06-12T13:34:43.809" v="15870"/>
          <ac:grpSpMkLst>
            <pc:docMk/>
            <pc:sldMk cId="3252418624" sldId="230717702"/>
            <ac:grpSpMk id="73" creationId="{5CC1835D-6604-44A6-BF44-00EF205E22F8}"/>
          </ac:grpSpMkLst>
        </pc:grpChg>
        <pc:grpChg chg="add mod">
          <ac:chgData name="El Bakkouri, Manal" userId="8b130982-2e3f-4164-b881-fd3a2e4b2453" providerId="ADAL" clId="{4457FA57-250B-44AC-8655-05D46C5A3D8A}" dt="2023-06-12T13:34:43.809" v="15870"/>
          <ac:grpSpMkLst>
            <pc:docMk/>
            <pc:sldMk cId="3252418624" sldId="230717702"/>
            <ac:grpSpMk id="76" creationId="{3631797A-A6DD-459B-AEA8-500FF8F9FF25}"/>
          </ac:grpSpMkLst>
        </pc:grpChg>
        <pc:grpChg chg="add mod">
          <ac:chgData name="El Bakkouri, Manal" userId="8b130982-2e3f-4164-b881-fd3a2e4b2453" providerId="ADAL" clId="{4457FA57-250B-44AC-8655-05D46C5A3D8A}" dt="2023-06-12T13:34:43.809" v="15870"/>
          <ac:grpSpMkLst>
            <pc:docMk/>
            <pc:sldMk cId="3252418624" sldId="230717702"/>
            <ac:grpSpMk id="79" creationId="{4904AC5C-656F-4C1E-8FC5-8BE19286F9B7}"/>
          </ac:grpSpMkLst>
        </pc:grpChg>
        <pc:grpChg chg="add mod">
          <ac:chgData name="El Bakkouri, Manal" userId="8b130982-2e3f-4164-b881-fd3a2e4b2453" providerId="ADAL" clId="{4457FA57-250B-44AC-8655-05D46C5A3D8A}" dt="2023-06-12T13:34:43.809" v="15870"/>
          <ac:grpSpMkLst>
            <pc:docMk/>
            <pc:sldMk cId="3252418624" sldId="230717702"/>
            <ac:grpSpMk id="82" creationId="{B21DC99F-A060-4B59-BBE7-8819CB50A056}"/>
          </ac:grpSpMkLst>
        </pc:grpChg>
        <pc:picChg chg="mod">
          <ac:chgData name="El Bakkouri, Manal" userId="8b130982-2e3f-4164-b881-fd3a2e4b2453" providerId="ADAL" clId="{4457FA57-250B-44AC-8655-05D46C5A3D8A}" dt="2023-06-12T22:22:22.710" v="15979" actId="14100"/>
          <ac:picMkLst>
            <pc:docMk/>
            <pc:sldMk cId="3252418624" sldId="230717702"/>
            <ac:picMk id="18" creationId="{DD627184-D4DB-4368-95C2-5485143F4BAF}"/>
          </ac:picMkLst>
        </pc:picChg>
      </pc:sldChg>
      <pc:sldChg chg="addSp delSp modSp mod">
        <pc:chgData name="El Bakkouri, Manal" userId="8b130982-2e3f-4164-b881-fd3a2e4b2453" providerId="ADAL" clId="{4457FA57-250B-44AC-8655-05D46C5A3D8A}" dt="2023-06-12T22:22:34.699" v="15980" actId="14100"/>
        <pc:sldMkLst>
          <pc:docMk/>
          <pc:sldMk cId="1776306123" sldId="230717705"/>
        </pc:sldMkLst>
        <pc:spChg chg="mod">
          <ac:chgData name="El Bakkouri, Manal" userId="8b130982-2e3f-4164-b881-fd3a2e4b2453" providerId="ADAL" clId="{4457FA57-250B-44AC-8655-05D46C5A3D8A}" dt="2023-06-12T13:34:15.990" v="15864"/>
          <ac:spMkLst>
            <pc:docMk/>
            <pc:sldMk cId="1776306123" sldId="230717705"/>
            <ac:spMk id="31" creationId="{93E3278C-3F18-4FE5-8841-E9CC09E4AAD0}"/>
          </ac:spMkLst>
        </pc:spChg>
        <pc:spChg chg="mod">
          <ac:chgData name="El Bakkouri, Manal" userId="8b130982-2e3f-4164-b881-fd3a2e4b2453" providerId="ADAL" clId="{4457FA57-250B-44AC-8655-05D46C5A3D8A}" dt="2023-06-12T13:34:15.990" v="15864"/>
          <ac:spMkLst>
            <pc:docMk/>
            <pc:sldMk cId="1776306123" sldId="230717705"/>
            <ac:spMk id="32" creationId="{F5A6A3D1-9CC3-4CBF-BB4D-BB4AAB799529}"/>
          </ac:spMkLst>
        </pc:spChg>
        <pc:spChg chg="mod">
          <ac:chgData name="El Bakkouri, Manal" userId="8b130982-2e3f-4164-b881-fd3a2e4b2453" providerId="ADAL" clId="{4457FA57-250B-44AC-8655-05D46C5A3D8A}" dt="2023-06-12T13:34:15.990" v="15864"/>
          <ac:spMkLst>
            <pc:docMk/>
            <pc:sldMk cId="1776306123" sldId="230717705"/>
            <ac:spMk id="34" creationId="{02F89D9D-9DB7-4CBD-AE45-9FB2F9D2DBCF}"/>
          </ac:spMkLst>
        </pc:spChg>
        <pc:spChg chg="mod">
          <ac:chgData name="El Bakkouri, Manal" userId="8b130982-2e3f-4164-b881-fd3a2e4b2453" providerId="ADAL" clId="{4457FA57-250B-44AC-8655-05D46C5A3D8A}" dt="2023-06-12T13:34:15.990" v="15864"/>
          <ac:spMkLst>
            <pc:docMk/>
            <pc:sldMk cId="1776306123" sldId="230717705"/>
            <ac:spMk id="35" creationId="{BFFA7782-B496-4C04-9528-EDD4BBF4888F}"/>
          </ac:spMkLst>
        </pc:spChg>
        <pc:spChg chg="mod">
          <ac:chgData name="El Bakkouri, Manal" userId="8b130982-2e3f-4164-b881-fd3a2e4b2453" providerId="ADAL" clId="{4457FA57-250B-44AC-8655-05D46C5A3D8A}" dt="2023-06-12T13:34:15.990" v="15864"/>
          <ac:spMkLst>
            <pc:docMk/>
            <pc:sldMk cId="1776306123" sldId="230717705"/>
            <ac:spMk id="37" creationId="{10C51112-9EA1-4DBD-8751-B20E9833E95B}"/>
          </ac:spMkLst>
        </pc:spChg>
        <pc:spChg chg="mod">
          <ac:chgData name="El Bakkouri, Manal" userId="8b130982-2e3f-4164-b881-fd3a2e4b2453" providerId="ADAL" clId="{4457FA57-250B-44AC-8655-05D46C5A3D8A}" dt="2023-06-12T13:34:15.990" v="15864"/>
          <ac:spMkLst>
            <pc:docMk/>
            <pc:sldMk cId="1776306123" sldId="230717705"/>
            <ac:spMk id="38" creationId="{8B54B631-14F1-4CF0-967D-01BAA3BC6401}"/>
          </ac:spMkLst>
        </pc:spChg>
        <pc:spChg chg="mod">
          <ac:chgData name="El Bakkouri, Manal" userId="8b130982-2e3f-4164-b881-fd3a2e4b2453" providerId="ADAL" clId="{4457FA57-250B-44AC-8655-05D46C5A3D8A}" dt="2023-06-12T13:34:15.990" v="15864"/>
          <ac:spMkLst>
            <pc:docMk/>
            <pc:sldMk cId="1776306123" sldId="230717705"/>
            <ac:spMk id="40" creationId="{09B19A93-2CE8-4A28-BB53-E2E48A696B3F}"/>
          </ac:spMkLst>
        </pc:spChg>
        <pc:spChg chg="mod">
          <ac:chgData name="El Bakkouri, Manal" userId="8b130982-2e3f-4164-b881-fd3a2e4b2453" providerId="ADAL" clId="{4457FA57-250B-44AC-8655-05D46C5A3D8A}" dt="2023-06-12T13:34:15.990" v="15864"/>
          <ac:spMkLst>
            <pc:docMk/>
            <pc:sldMk cId="1776306123" sldId="230717705"/>
            <ac:spMk id="42" creationId="{698C76AB-07A8-451F-B371-AEC51EB3F909}"/>
          </ac:spMkLst>
        </pc:spChg>
        <pc:spChg chg="mod">
          <ac:chgData name="El Bakkouri, Manal" userId="8b130982-2e3f-4164-b881-fd3a2e4b2453" providerId="ADAL" clId="{4457FA57-250B-44AC-8655-05D46C5A3D8A}" dt="2023-06-12T13:34:15.990" v="15864"/>
          <ac:spMkLst>
            <pc:docMk/>
            <pc:sldMk cId="1776306123" sldId="230717705"/>
            <ac:spMk id="47" creationId="{1D222794-A168-496E-8408-FB402158CE85}"/>
          </ac:spMkLst>
        </pc:spChg>
        <pc:spChg chg="del">
          <ac:chgData name="El Bakkouri, Manal" userId="8b130982-2e3f-4164-b881-fd3a2e4b2453" providerId="ADAL" clId="{4457FA57-250B-44AC-8655-05D46C5A3D8A}" dt="2023-06-12T13:34:15.492" v="15863" actId="478"/>
          <ac:spMkLst>
            <pc:docMk/>
            <pc:sldMk cId="1776306123" sldId="230717705"/>
            <ac:spMk id="61" creationId="{FFA2317B-6459-411C-9055-52D6BC45A9A0}"/>
          </ac:spMkLst>
        </pc:spChg>
        <pc:spChg chg="del">
          <ac:chgData name="El Bakkouri, Manal" userId="8b130982-2e3f-4164-b881-fd3a2e4b2453" providerId="ADAL" clId="{4457FA57-250B-44AC-8655-05D46C5A3D8A}" dt="2023-06-12T13:34:15.492" v="15863" actId="478"/>
          <ac:spMkLst>
            <pc:docMk/>
            <pc:sldMk cId="1776306123" sldId="230717705"/>
            <ac:spMk id="63" creationId="{1B441B28-C798-4531-87AD-F93A45FBF97C}"/>
          </ac:spMkLst>
        </pc:spChg>
        <pc:spChg chg="del">
          <ac:chgData name="El Bakkouri, Manal" userId="8b130982-2e3f-4164-b881-fd3a2e4b2453" providerId="ADAL" clId="{4457FA57-250B-44AC-8655-05D46C5A3D8A}" dt="2023-06-12T13:34:15.492" v="15863" actId="478"/>
          <ac:spMkLst>
            <pc:docMk/>
            <pc:sldMk cId="1776306123" sldId="230717705"/>
            <ac:spMk id="64" creationId="{91DA6FA0-84FF-47B7-8DE7-3A7517C1A597}"/>
          </ac:spMkLst>
        </pc:spChg>
        <pc:spChg chg="del">
          <ac:chgData name="El Bakkouri, Manal" userId="8b130982-2e3f-4164-b881-fd3a2e4b2453" providerId="ADAL" clId="{4457FA57-250B-44AC-8655-05D46C5A3D8A}" dt="2023-06-12T13:34:15.492" v="15863" actId="478"/>
          <ac:spMkLst>
            <pc:docMk/>
            <pc:sldMk cId="1776306123" sldId="230717705"/>
            <ac:spMk id="65" creationId="{9703C1B5-528C-4ED9-A7B2-6AE956D2190A}"/>
          </ac:spMkLst>
        </pc:spChg>
        <pc:spChg chg="mod">
          <ac:chgData name="El Bakkouri, Manal" userId="8b130982-2e3f-4164-b881-fd3a2e4b2453" providerId="ADAL" clId="{4457FA57-250B-44AC-8655-05D46C5A3D8A}" dt="2023-06-12T13:34:15.990" v="15864"/>
          <ac:spMkLst>
            <pc:docMk/>
            <pc:sldMk cId="1776306123" sldId="230717705"/>
            <ac:spMk id="66" creationId="{D1C0D270-92CC-465D-A98E-B3432123B095}"/>
          </ac:spMkLst>
        </pc:spChg>
        <pc:spChg chg="add del mod">
          <ac:chgData name="El Bakkouri, Manal" userId="8b130982-2e3f-4164-b881-fd3a2e4b2453" providerId="ADAL" clId="{4457FA57-250B-44AC-8655-05D46C5A3D8A}" dt="2023-06-12T13:34:47.694" v="15871" actId="478"/>
          <ac:spMkLst>
            <pc:docMk/>
            <pc:sldMk cId="1776306123" sldId="230717705"/>
            <ac:spMk id="67" creationId="{35048024-7CC8-4349-BA00-28072D640C56}"/>
          </ac:spMkLst>
        </pc:spChg>
        <pc:spChg chg="add del mod">
          <ac:chgData name="El Bakkouri, Manal" userId="8b130982-2e3f-4164-b881-fd3a2e4b2453" providerId="ADAL" clId="{4457FA57-250B-44AC-8655-05D46C5A3D8A}" dt="2023-06-12T13:34:47.694" v="15871" actId="478"/>
          <ac:spMkLst>
            <pc:docMk/>
            <pc:sldMk cId="1776306123" sldId="230717705"/>
            <ac:spMk id="68" creationId="{F0139046-F499-456F-9F4B-07DF34873ADF}"/>
          </ac:spMkLst>
        </pc:spChg>
        <pc:spChg chg="add del mod">
          <ac:chgData name="El Bakkouri, Manal" userId="8b130982-2e3f-4164-b881-fd3a2e4b2453" providerId="ADAL" clId="{4457FA57-250B-44AC-8655-05D46C5A3D8A}" dt="2023-06-12T13:34:47.694" v="15871" actId="478"/>
          <ac:spMkLst>
            <pc:docMk/>
            <pc:sldMk cId="1776306123" sldId="230717705"/>
            <ac:spMk id="69" creationId="{429F0B76-25E0-48AA-A14A-27745ECDC702}"/>
          </ac:spMkLst>
        </pc:spChg>
        <pc:spChg chg="add del mod">
          <ac:chgData name="El Bakkouri, Manal" userId="8b130982-2e3f-4164-b881-fd3a2e4b2453" providerId="ADAL" clId="{4457FA57-250B-44AC-8655-05D46C5A3D8A}" dt="2023-06-12T13:34:47.694" v="15871" actId="478"/>
          <ac:spMkLst>
            <pc:docMk/>
            <pc:sldMk cId="1776306123" sldId="230717705"/>
            <ac:spMk id="70" creationId="{9CC089AC-D571-46FB-9790-E96AEC5A3CB5}"/>
          </ac:spMkLst>
        </pc:spChg>
        <pc:spChg chg="mod">
          <ac:chgData name="El Bakkouri, Manal" userId="8b130982-2e3f-4164-b881-fd3a2e4b2453" providerId="ADAL" clId="{4457FA57-250B-44AC-8655-05D46C5A3D8A}" dt="2023-06-12T13:34:48.244" v="15872"/>
          <ac:spMkLst>
            <pc:docMk/>
            <pc:sldMk cId="1776306123" sldId="230717705"/>
            <ac:spMk id="72" creationId="{35777398-CA0E-4E8B-819B-E73C16E6291A}"/>
          </ac:spMkLst>
        </pc:spChg>
        <pc:spChg chg="mod">
          <ac:chgData name="El Bakkouri, Manal" userId="8b130982-2e3f-4164-b881-fd3a2e4b2453" providerId="ADAL" clId="{4457FA57-250B-44AC-8655-05D46C5A3D8A}" dt="2023-06-12T13:34:48.244" v="15872"/>
          <ac:spMkLst>
            <pc:docMk/>
            <pc:sldMk cId="1776306123" sldId="230717705"/>
            <ac:spMk id="73" creationId="{C870AD32-F6A5-4CCB-9FAD-95EC918954A0}"/>
          </ac:spMkLst>
        </pc:spChg>
        <pc:spChg chg="mod">
          <ac:chgData name="El Bakkouri, Manal" userId="8b130982-2e3f-4164-b881-fd3a2e4b2453" providerId="ADAL" clId="{4457FA57-250B-44AC-8655-05D46C5A3D8A}" dt="2023-06-12T13:34:48.244" v="15872"/>
          <ac:spMkLst>
            <pc:docMk/>
            <pc:sldMk cId="1776306123" sldId="230717705"/>
            <ac:spMk id="75" creationId="{C802BA99-E9E8-4345-9D42-8A8CEE048C65}"/>
          </ac:spMkLst>
        </pc:spChg>
        <pc:spChg chg="mod">
          <ac:chgData name="El Bakkouri, Manal" userId="8b130982-2e3f-4164-b881-fd3a2e4b2453" providerId="ADAL" clId="{4457FA57-250B-44AC-8655-05D46C5A3D8A}" dt="2023-06-12T13:34:48.244" v="15872"/>
          <ac:spMkLst>
            <pc:docMk/>
            <pc:sldMk cId="1776306123" sldId="230717705"/>
            <ac:spMk id="76" creationId="{27A7F44D-DCC5-49E1-A88D-3CD440E16202}"/>
          </ac:spMkLst>
        </pc:spChg>
        <pc:spChg chg="mod">
          <ac:chgData name="El Bakkouri, Manal" userId="8b130982-2e3f-4164-b881-fd3a2e4b2453" providerId="ADAL" clId="{4457FA57-250B-44AC-8655-05D46C5A3D8A}" dt="2023-06-12T13:34:48.244" v="15872"/>
          <ac:spMkLst>
            <pc:docMk/>
            <pc:sldMk cId="1776306123" sldId="230717705"/>
            <ac:spMk id="78" creationId="{EB07EBA1-94DA-4ABD-9E44-E147A73E125C}"/>
          </ac:spMkLst>
        </pc:spChg>
        <pc:spChg chg="mod">
          <ac:chgData name="El Bakkouri, Manal" userId="8b130982-2e3f-4164-b881-fd3a2e4b2453" providerId="ADAL" clId="{4457FA57-250B-44AC-8655-05D46C5A3D8A}" dt="2023-06-12T13:34:48.244" v="15872"/>
          <ac:spMkLst>
            <pc:docMk/>
            <pc:sldMk cId="1776306123" sldId="230717705"/>
            <ac:spMk id="79" creationId="{8A3FD526-8CDB-438F-A885-E06E076183BF}"/>
          </ac:spMkLst>
        </pc:spChg>
        <pc:spChg chg="mod">
          <ac:chgData name="El Bakkouri, Manal" userId="8b130982-2e3f-4164-b881-fd3a2e4b2453" providerId="ADAL" clId="{4457FA57-250B-44AC-8655-05D46C5A3D8A}" dt="2023-06-12T13:34:48.244" v="15872"/>
          <ac:spMkLst>
            <pc:docMk/>
            <pc:sldMk cId="1776306123" sldId="230717705"/>
            <ac:spMk id="81" creationId="{2843069A-8EA4-459E-A4CC-F7E9E027FFB2}"/>
          </ac:spMkLst>
        </pc:spChg>
        <pc:spChg chg="mod">
          <ac:chgData name="El Bakkouri, Manal" userId="8b130982-2e3f-4164-b881-fd3a2e4b2453" providerId="ADAL" clId="{4457FA57-250B-44AC-8655-05D46C5A3D8A}" dt="2023-06-12T13:34:48.244" v="15872"/>
          <ac:spMkLst>
            <pc:docMk/>
            <pc:sldMk cId="1776306123" sldId="230717705"/>
            <ac:spMk id="82" creationId="{9F342F2E-EC08-4C86-8ACA-34C999F7B04A}"/>
          </ac:spMkLst>
        </pc:spChg>
        <pc:spChg chg="mod">
          <ac:chgData name="El Bakkouri, Manal" userId="8b130982-2e3f-4164-b881-fd3a2e4b2453" providerId="ADAL" clId="{4457FA57-250B-44AC-8655-05D46C5A3D8A}" dt="2023-06-12T13:34:48.244" v="15872"/>
          <ac:spMkLst>
            <pc:docMk/>
            <pc:sldMk cId="1776306123" sldId="230717705"/>
            <ac:spMk id="84" creationId="{046D51A7-BC3B-4DDF-B94F-ADBD22E2B608}"/>
          </ac:spMkLst>
        </pc:spChg>
        <pc:spChg chg="mod">
          <ac:chgData name="El Bakkouri, Manal" userId="8b130982-2e3f-4164-b881-fd3a2e4b2453" providerId="ADAL" clId="{4457FA57-250B-44AC-8655-05D46C5A3D8A}" dt="2023-06-12T13:34:48.244" v="15872"/>
          <ac:spMkLst>
            <pc:docMk/>
            <pc:sldMk cId="1776306123" sldId="230717705"/>
            <ac:spMk id="85" creationId="{C2D628F3-6C7C-472B-ADD6-C1CF0C292D39}"/>
          </ac:spMkLst>
        </pc:spChg>
        <pc:spChg chg="add mod">
          <ac:chgData name="El Bakkouri, Manal" userId="8b130982-2e3f-4164-b881-fd3a2e4b2453" providerId="ADAL" clId="{4457FA57-250B-44AC-8655-05D46C5A3D8A}" dt="2023-06-12T13:34:48.244" v="15872"/>
          <ac:spMkLst>
            <pc:docMk/>
            <pc:sldMk cId="1776306123" sldId="230717705"/>
            <ac:spMk id="86" creationId="{9D639E44-D965-42D6-B4FC-A0D9E68F91A2}"/>
          </ac:spMkLst>
        </pc:spChg>
        <pc:spChg chg="add mod">
          <ac:chgData name="El Bakkouri, Manal" userId="8b130982-2e3f-4164-b881-fd3a2e4b2453" providerId="ADAL" clId="{4457FA57-250B-44AC-8655-05D46C5A3D8A}" dt="2023-06-12T13:34:48.244" v="15872"/>
          <ac:spMkLst>
            <pc:docMk/>
            <pc:sldMk cId="1776306123" sldId="230717705"/>
            <ac:spMk id="87" creationId="{1B5A954A-B15A-4C52-8175-D7354364BCF0}"/>
          </ac:spMkLst>
        </pc:spChg>
        <pc:spChg chg="add mod">
          <ac:chgData name="El Bakkouri, Manal" userId="8b130982-2e3f-4164-b881-fd3a2e4b2453" providerId="ADAL" clId="{4457FA57-250B-44AC-8655-05D46C5A3D8A}" dt="2023-06-12T13:34:48.244" v="15872"/>
          <ac:spMkLst>
            <pc:docMk/>
            <pc:sldMk cId="1776306123" sldId="230717705"/>
            <ac:spMk id="88" creationId="{97C25945-C859-4FF4-89EC-3DD9B9AB3F53}"/>
          </ac:spMkLst>
        </pc:spChg>
        <pc:spChg chg="add mod">
          <ac:chgData name="El Bakkouri, Manal" userId="8b130982-2e3f-4164-b881-fd3a2e4b2453" providerId="ADAL" clId="{4457FA57-250B-44AC-8655-05D46C5A3D8A}" dt="2023-06-12T13:34:48.244" v="15872"/>
          <ac:spMkLst>
            <pc:docMk/>
            <pc:sldMk cId="1776306123" sldId="230717705"/>
            <ac:spMk id="89" creationId="{F854868D-4FD9-4037-AE3E-30755DA48FB4}"/>
          </ac:spMkLst>
        </pc:spChg>
        <pc:grpChg chg="add del mod">
          <ac:chgData name="El Bakkouri, Manal" userId="8b130982-2e3f-4164-b881-fd3a2e4b2453" providerId="ADAL" clId="{4457FA57-250B-44AC-8655-05D46C5A3D8A}" dt="2023-06-12T13:34:47.694" v="15871" actId="478"/>
          <ac:grpSpMkLst>
            <pc:docMk/>
            <pc:sldMk cId="1776306123" sldId="230717705"/>
            <ac:grpSpMk id="30" creationId="{F5C1E2DD-8F4A-4D30-B63A-B5455E7B8F9E}"/>
          </ac:grpSpMkLst>
        </pc:grpChg>
        <pc:grpChg chg="add del mod">
          <ac:chgData name="El Bakkouri, Manal" userId="8b130982-2e3f-4164-b881-fd3a2e4b2453" providerId="ADAL" clId="{4457FA57-250B-44AC-8655-05D46C5A3D8A}" dt="2023-06-12T13:34:47.694" v="15871" actId="478"/>
          <ac:grpSpMkLst>
            <pc:docMk/>
            <pc:sldMk cId="1776306123" sldId="230717705"/>
            <ac:grpSpMk id="33" creationId="{038A90AF-9038-4AC2-ADC0-FC5D2D6A7E07}"/>
          </ac:grpSpMkLst>
        </pc:grpChg>
        <pc:grpChg chg="add del mod">
          <ac:chgData name="El Bakkouri, Manal" userId="8b130982-2e3f-4164-b881-fd3a2e4b2453" providerId="ADAL" clId="{4457FA57-250B-44AC-8655-05D46C5A3D8A}" dt="2023-06-12T13:34:47.694" v="15871" actId="478"/>
          <ac:grpSpMkLst>
            <pc:docMk/>
            <pc:sldMk cId="1776306123" sldId="230717705"/>
            <ac:grpSpMk id="36" creationId="{DED39E06-8CA3-4192-87A6-A984787F4A22}"/>
          </ac:grpSpMkLst>
        </pc:grpChg>
        <pc:grpChg chg="add del mod">
          <ac:chgData name="El Bakkouri, Manal" userId="8b130982-2e3f-4164-b881-fd3a2e4b2453" providerId="ADAL" clId="{4457FA57-250B-44AC-8655-05D46C5A3D8A}" dt="2023-06-12T13:34:47.694" v="15871" actId="478"/>
          <ac:grpSpMkLst>
            <pc:docMk/>
            <pc:sldMk cId="1776306123" sldId="230717705"/>
            <ac:grpSpMk id="39" creationId="{E8193F3F-1E3C-4AA9-8068-14157D01012C}"/>
          </ac:grpSpMkLst>
        </pc:grpChg>
        <pc:grpChg chg="del">
          <ac:chgData name="El Bakkouri, Manal" userId="8b130982-2e3f-4164-b881-fd3a2e4b2453" providerId="ADAL" clId="{4457FA57-250B-44AC-8655-05D46C5A3D8A}" dt="2023-06-12T13:34:15.492" v="15863" actId="478"/>
          <ac:grpSpMkLst>
            <pc:docMk/>
            <pc:sldMk cId="1776306123" sldId="230717705"/>
            <ac:grpSpMk id="41" creationId="{F02C933F-D56A-4076-A6DC-0BC2C72EE8F3}"/>
          </ac:grpSpMkLst>
        </pc:grpChg>
        <pc:grpChg chg="add del mod">
          <ac:chgData name="El Bakkouri, Manal" userId="8b130982-2e3f-4164-b881-fd3a2e4b2453" providerId="ADAL" clId="{4457FA57-250B-44AC-8655-05D46C5A3D8A}" dt="2023-06-12T13:34:47.694" v="15871" actId="478"/>
          <ac:grpSpMkLst>
            <pc:docMk/>
            <pc:sldMk cId="1776306123" sldId="230717705"/>
            <ac:grpSpMk id="45" creationId="{2058DA8A-86D8-448B-AA7E-021CAD8F8243}"/>
          </ac:grpSpMkLst>
        </pc:grpChg>
        <pc:grpChg chg="del">
          <ac:chgData name="El Bakkouri, Manal" userId="8b130982-2e3f-4164-b881-fd3a2e4b2453" providerId="ADAL" clId="{4457FA57-250B-44AC-8655-05D46C5A3D8A}" dt="2023-06-12T13:34:15.492" v="15863" actId="478"/>
          <ac:grpSpMkLst>
            <pc:docMk/>
            <pc:sldMk cId="1776306123" sldId="230717705"/>
            <ac:grpSpMk id="46" creationId="{0F90BDC9-EC1A-434F-BABF-D4BAC611D2BF}"/>
          </ac:grpSpMkLst>
        </pc:grpChg>
        <pc:grpChg chg="del">
          <ac:chgData name="El Bakkouri, Manal" userId="8b130982-2e3f-4164-b881-fd3a2e4b2453" providerId="ADAL" clId="{4457FA57-250B-44AC-8655-05D46C5A3D8A}" dt="2023-06-12T13:34:15.492" v="15863" actId="478"/>
          <ac:grpSpMkLst>
            <pc:docMk/>
            <pc:sldMk cId="1776306123" sldId="230717705"/>
            <ac:grpSpMk id="50" creationId="{16D57879-1C1F-44CC-8E64-CC9982A9A30C}"/>
          </ac:grpSpMkLst>
        </pc:grpChg>
        <pc:grpChg chg="del">
          <ac:chgData name="El Bakkouri, Manal" userId="8b130982-2e3f-4164-b881-fd3a2e4b2453" providerId="ADAL" clId="{4457FA57-250B-44AC-8655-05D46C5A3D8A}" dt="2023-06-12T13:34:15.492" v="15863" actId="478"/>
          <ac:grpSpMkLst>
            <pc:docMk/>
            <pc:sldMk cId="1776306123" sldId="230717705"/>
            <ac:grpSpMk id="53" creationId="{33A8AB98-2C05-46A8-841B-996C9D990C7B}"/>
          </ac:grpSpMkLst>
        </pc:grpChg>
        <pc:grpChg chg="del">
          <ac:chgData name="El Bakkouri, Manal" userId="8b130982-2e3f-4164-b881-fd3a2e4b2453" providerId="ADAL" clId="{4457FA57-250B-44AC-8655-05D46C5A3D8A}" dt="2023-06-12T13:34:15.492" v="15863" actId="478"/>
          <ac:grpSpMkLst>
            <pc:docMk/>
            <pc:sldMk cId="1776306123" sldId="230717705"/>
            <ac:grpSpMk id="56" creationId="{6AF95141-8D82-455F-A306-AC2AAB1739F4}"/>
          </ac:grpSpMkLst>
        </pc:grpChg>
        <pc:grpChg chg="add mod">
          <ac:chgData name="El Bakkouri, Manal" userId="8b130982-2e3f-4164-b881-fd3a2e4b2453" providerId="ADAL" clId="{4457FA57-250B-44AC-8655-05D46C5A3D8A}" dt="2023-06-12T13:34:48.244" v="15872"/>
          <ac:grpSpMkLst>
            <pc:docMk/>
            <pc:sldMk cId="1776306123" sldId="230717705"/>
            <ac:grpSpMk id="71" creationId="{14DF2ED4-F8F9-4D85-91CD-DF9500612E97}"/>
          </ac:grpSpMkLst>
        </pc:grpChg>
        <pc:grpChg chg="add mod">
          <ac:chgData name="El Bakkouri, Manal" userId="8b130982-2e3f-4164-b881-fd3a2e4b2453" providerId="ADAL" clId="{4457FA57-250B-44AC-8655-05D46C5A3D8A}" dt="2023-06-12T13:34:48.244" v="15872"/>
          <ac:grpSpMkLst>
            <pc:docMk/>
            <pc:sldMk cId="1776306123" sldId="230717705"/>
            <ac:grpSpMk id="74" creationId="{8A8DA8B5-9856-4150-8670-A6778C873AC0}"/>
          </ac:grpSpMkLst>
        </pc:grpChg>
        <pc:grpChg chg="add mod">
          <ac:chgData name="El Bakkouri, Manal" userId="8b130982-2e3f-4164-b881-fd3a2e4b2453" providerId="ADAL" clId="{4457FA57-250B-44AC-8655-05D46C5A3D8A}" dt="2023-06-12T13:34:48.244" v="15872"/>
          <ac:grpSpMkLst>
            <pc:docMk/>
            <pc:sldMk cId="1776306123" sldId="230717705"/>
            <ac:grpSpMk id="77" creationId="{62413F40-D0B7-4C0B-91AB-802B3EC57270}"/>
          </ac:grpSpMkLst>
        </pc:grpChg>
        <pc:grpChg chg="add mod">
          <ac:chgData name="El Bakkouri, Manal" userId="8b130982-2e3f-4164-b881-fd3a2e4b2453" providerId="ADAL" clId="{4457FA57-250B-44AC-8655-05D46C5A3D8A}" dt="2023-06-12T13:34:48.244" v="15872"/>
          <ac:grpSpMkLst>
            <pc:docMk/>
            <pc:sldMk cId="1776306123" sldId="230717705"/>
            <ac:grpSpMk id="80" creationId="{CD61C888-EA16-4347-AA67-CB58C638F762}"/>
          </ac:grpSpMkLst>
        </pc:grpChg>
        <pc:grpChg chg="add mod">
          <ac:chgData name="El Bakkouri, Manal" userId="8b130982-2e3f-4164-b881-fd3a2e4b2453" providerId="ADAL" clId="{4457FA57-250B-44AC-8655-05D46C5A3D8A}" dt="2023-06-12T13:34:48.244" v="15872"/>
          <ac:grpSpMkLst>
            <pc:docMk/>
            <pc:sldMk cId="1776306123" sldId="230717705"/>
            <ac:grpSpMk id="83" creationId="{9E3D690A-9861-4D72-8662-A6B735D039CF}"/>
          </ac:grpSpMkLst>
        </pc:grpChg>
        <pc:picChg chg="mod">
          <ac:chgData name="El Bakkouri, Manal" userId="8b130982-2e3f-4164-b881-fd3a2e4b2453" providerId="ADAL" clId="{4457FA57-250B-44AC-8655-05D46C5A3D8A}" dt="2023-06-12T22:22:34.699" v="15980" actId="14100"/>
          <ac:picMkLst>
            <pc:docMk/>
            <pc:sldMk cId="1776306123" sldId="230717705"/>
            <ac:picMk id="3" creationId="{63C8F282-454F-44AC-B262-0B6A21DF676C}"/>
          </ac:picMkLst>
        </pc:picChg>
      </pc:sldChg>
      <pc:sldChg chg="addSp delSp modSp mod modNotesTx">
        <pc:chgData name="El Bakkouri, Manal" userId="8b130982-2e3f-4164-b881-fd3a2e4b2453" providerId="ADAL" clId="{4457FA57-250B-44AC-8655-05D46C5A3D8A}" dt="2023-06-12T13:34:53.180" v="15874"/>
        <pc:sldMkLst>
          <pc:docMk/>
          <pc:sldMk cId="2536010391" sldId="230717706"/>
        </pc:sldMkLst>
        <pc:spChg chg="add mod">
          <ac:chgData name="El Bakkouri, Manal" userId="8b130982-2e3f-4164-b881-fd3a2e4b2453" providerId="ADAL" clId="{4457FA57-250B-44AC-8655-05D46C5A3D8A}" dt="2023-06-11T23:01:36.231" v="15659"/>
          <ac:spMkLst>
            <pc:docMk/>
            <pc:sldMk cId="2536010391" sldId="230717706"/>
            <ac:spMk id="29" creationId="{B769203B-08E3-47B3-94DC-745927378E28}"/>
          </ac:spMkLst>
        </pc:spChg>
        <pc:spChg chg="mod">
          <ac:chgData name="El Bakkouri, Manal" userId="8b130982-2e3f-4164-b881-fd3a2e4b2453" providerId="ADAL" clId="{4457FA57-250B-44AC-8655-05D46C5A3D8A}" dt="2023-06-12T13:34:21.228" v="15866"/>
          <ac:spMkLst>
            <pc:docMk/>
            <pc:sldMk cId="2536010391" sldId="230717706"/>
            <ac:spMk id="31" creationId="{3414AED3-A4AA-4384-8B8C-6BA524E9C170}"/>
          </ac:spMkLst>
        </pc:spChg>
        <pc:spChg chg="mod">
          <ac:chgData name="El Bakkouri, Manal" userId="8b130982-2e3f-4164-b881-fd3a2e4b2453" providerId="ADAL" clId="{4457FA57-250B-44AC-8655-05D46C5A3D8A}" dt="2023-06-12T13:34:21.228" v="15866"/>
          <ac:spMkLst>
            <pc:docMk/>
            <pc:sldMk cId="2536010391" sldId="230717706"/>
            <ac:spMk id="32" creationId="{6E7F4621-5100-4F49-8845-DC6460201A32}"/>
          </ac:spMkLst>
        </pc:spChg>
        <pc:spChg chg="mod">
          <ac:chgData name="El Bakkouri, Manal" userId="8b130982-2e3f-4164-b881-fd3a2e4b2453" providerId="ADAL" clId="{4457FA57-250B-44AC-8655-05D46C5A3D8A}" dt="2023-06-12T13:34:21.228" v="15866"/>
          <ac:spMkLst>
            <pc:docMk/>
            <pc:sldMk cId="2536010391" sldId="230717706"/>
            <ac:spMk id="34" creationId="{F027ED0C-68C6-4EA2-A947-68B37A8BF3D8}"/>
          </ac:spMkLst>
        </pc:spChg>
        <pc:spChg chg="mod">
          <ac:chgData name="El Bakkouri, Manal" userId="8b130982-2e3f-4164-b881-fd3a2e4b2453" providerId="ADAL" clId="{4457FA57-250B-44AC-8655-05D46C5A3D8A}" dt="2023-06-12T13:34:21.228" v="15866"/>
          <ac:spMkLst>
            <pc:docMk/>
            <pc:sldMk cId="2536010391" sldId="230717706"/>
            <ac:spMk id="35" creationId="{DF6AC34F-EAF7-4F50-AE29-9EDD40519A66}"/>
          </ac:spMkLst>
        </pc:spChg>
        <pc:spChg chg="mod">
          <ac:chgData name="El Bakkouri, Manal" userId="8b130982-2e3f-4164-b881-fd3a2e4b2453" providerId="ADAL" clId="{4457FA57-250B-44AC-8655-05D46C5A3D8A}" dt="2023-06-12T13:34:21.228" v="15866"/>
          <ac:spMkLst>
            <pc:docMk/>
            <pc:sldMk cId="2536010391" sldId="230717706"/>
            <ac:spMk id="37" creationId="{C238E457-DB35-4EFA-826B-8A24CE31B081}"/>
          </ac:spMkLst>
        </pc:spChg>
        <pc:spChg chg="mod">
          <ac:chgData name="El Bakkouri, Manal" userId="8b130982-2e3f-4164-b881-fd3a2e4b2453" providerId="ADAL" clId="{4457FA57-250B-44AC-8655-05D46C5A3D8A}" dt="2023-06-12T13:34:21.228" v="15866"/>
          <ac:spMkLst>
            <pc:docMk/>
            <pc:sldMk cId="2536010391" sldId="230717706"/>
            <ac:spMk id="38" creationId="{CD40DB56-DEDD-42E7-B4F6-3D45B89697FC}"/>
          </ac:spMkLst>
        </pc:spChg>
        <pc:spChg chg="mod">
          <ac:chgData name="El Bakkouri, Manal" userId="8b130982-2e3f-4164-b881-fd3a2e4b2453" providerId="ADAL" clId="{4457FA57-250B-44AC-8655-05D46C5A3D8A}" dt="2023-06-12T13:34:21.228" v="15866"/>
          <ac:spMkLst>
            <pc:docMk/>
            <pc:sldMk cId="2536010391" sldId="230717706"/>
            <ac:spMk id="40" creationId="{526ECABB-E2C8-4FBC-853C-E1A070730FCE}"/>
          </ac:spMkLst>
        </pc:spChg>
        <pc:spChg chg="mod">
          <ac:chgData name="El Bakkouri, Manal" userId="8b130982-2e3f-4164-b881-fd3a2e4b2453" providerId="ADAL" clId="{4457FA57-250B-44AC-8655-05D46C5A3D8A}" dt="2023-06-12T13:34:21.228" v="15866"/>
          <ac:spMkLst>
            <pc:docMk/>
            <pc:sldMk cId="2536010391" sldId="230717706"/>
            <ac:spMk id="41" creationId="{B63A6282-5604-41AF-B4D4-1EB2B60C58D3}"/>
          </ac:spMkLst>
        </pc:spChg>
        <pc:spChg chg="mod">
          <ac:chgData name="El Bakkouri, Manal" userId="8b130982-2e3f-4164-b881-fd3a2e4b2453" providerId="ADAL" clId="{4457FA57-250B-44AC-8655-05D46C5A3D8A}" dt="2023-06-12T13:34:21.228" v="15866"/>
          <ac:spMkLst>
            <pc:docMk/>
            <pc:sldMk cId="2536010391" sldId="230717706"/>
            <ac:spMk id="43" creationId="{2D3B51E9-80AA-4983-BEFA-C5D9E06C0B72}"/>
          </ac:spMkLst>
        </pc:spChg>
        <pc:spChg chg="mod">
          <ac:chgData name="El Bakkouri, Manal" userId="8b130982-2e3f-4164-b881-fd3a2e4b2453" providerId="ADAL" clId="{4457FA57-250B-44AC-8655-05D46C5A3D8A}" dt="2023-06-12T13:34:21.228" v="15866"/>
          <ac:spMkLst>
            <pc:docMk/>
            <pc:sldMk cId="2536010391" sldId="230717706"/>
            <ac:spMk id="44" creationId="{A5D70F68-2A89-4E0C-A12E-041FA41B5DF6}"/>
          </ac:spMkLst>
        </pc:spChg>
        <pc:spChg chg="add del mod">
          <ac:chgData name="El Bakkouri, Manal" userId="8b130982-2e3f-4164-b881-fd3a2e4b2453" providerId="ADAL" clId="{4457FA57-250B-44AC-8655-05D46C5A3D8A}" dt="2023-06-12T13:34:52.680" v="15873" actId="478"/>
          <ac:spMkLst>
            <pc:docMk/>
            <pc:sldMk cId="2536010391" sldId="230717706"/>
            <ac:spMk id="45" creationId="{E6FC344E-B109-47BD-B368-2F6664D06394}"/>
          </ac:spMkLst>
        </pc:spChg>
        <pc:spChg chg="add del mod">
          <ac:chgData name="El Bakkouri, Manal" userId="8b130982-2e3f-4164-b881-fd3a2e4b2453" providerId="ADAL" clId="{4457FA57-250B-44AC-8655-05D46C5A3D8A}" dt="2023-06-12T13:34:52.680" v="15873" actId="478"/>
          <ac:spMkLst>
            <pc:docMk/>
            <pc:sldMk cId="2536010391" sldId="230717706"/>
            <ac:spMk id="46" creationId="{3C70F198-8E45-40DE-95D3-EDDF2096BC17}"/>
          </ac:spMkLst>
        </pc:spChg>
        <pc:spChg chg="add del mod">
          <ac:chgData name="El Bakkouri, Manal" userId="8b130982-2e3f-4164-b881-fd3a2e4b2453" providerId="ADAL" clId="{4457FA57-250B-44AC-8655-05D46C5A3D8A}" dt="2023-06-12T13:34:52.680" v="15873" actId="478"/>
          <ac:spMkLst>
            <pc:docMk/>
            <pc:sldMk cId="2536010391" sldId="230717706"/>
            <ac:spMk id="47" creationId="{9CEE4818-78D7-416E-9164-00418867DC20}"/>
          </ac:spMkLst>
        </pc:spChg>
        <pc:spChg chg="add del mod">
          <ac:chgData name="El Bakkouri, Manal" userId="8b130982-2e3f-4164-b881-fd3a2e4b2453" providerId="ADAL" clId="{4457FA57-250B-44AC-8655-05D46C5A3D8A}" dt="2023-06-12T13:34:52.680" v="15873" actId="478"/>
          <ac:spMkLst>
            <pc:docMk/>
            <pc:sldMk cId="2536010391" sldId="230717706"/>
            <ac:spMk id="48" creationId="{A437100C-1599-400A-92B3-011524834610}"/>
          </ac:spMkLst>
        </pc:spChg>
        <pc:spChg chg="mod">
          <ac:chgData name="El Bakkouri, Manal" userId="8b130982-2e3f-4164-b881-fd3a2e4b2453" providerId="ADAL" clId="{4457FA57-250B-44AC-8655-05D46C5A3D8A}" dt="2023-06-12T13:34:53.180" v="15874"/>
          <ac:spMkLst>
            <pc:docMk/>
            <pc:sldMk cId="2536010391" sldId="230717706"/>
            <ac:spMk id="50" creationId="{12B1CE7A-9A7B-4DFE-8623-51A1302437A5}"/>
          </ac:spMkLst>
        </pc:spChg>
        <pc:spChg chg="mod">
          <ac:chgData name="El Bakkouri, Manal" userId="8b130982-2e3f-4164-b881-fd3a2e4b2453" providerId="ADAL" clId="{4457FA57-250B-44AC-8655-05D46C5A3D8A}" dt="2023-06-12T13:34:53.180" v="15874"/>
          <ac:spMkLst>
            <pc:docMk/>
            <pc:sldMk cId="2536010391" sldId="230717706"/>
            <ac:spMk id="51" creationId="{178439AB-D8AB-4516-874E-114F8B474FC5}"/>
          </ac:spMkLst>
        </pc:spChg>
        <pc:spChg chg="mod">
          <ac:chgData name="El Bakkouri, Manal" userId="8b130982-2e3f-4164-b881-fd3a2e4b2453" providerId="ADAL" clId="{4457FA57-250B-44AC-8655-05D46C5A3D8A}" dt="2023-06-12T13:34:53.180" v="15874"/>
          <ac:spMkLst>
            <pc:docMk/>
            <pc:sldMk cId="2536010391" sldId="230717706"/>
            <ac:spMk id="53" creationId="{E9494D13-E774-4A96-8C0B-B0D9368109F2}"/>
          </ac:spMkLst>
        </pc:spChg>
        <pc:spChg chg="mod">
          <ac:chgData name="El Bakkouri, Manal" userId="8b130982-2e3f-4164-b881-fd3a2e4b2453" providerId="ADAL" clId="{4457FA57-250B-44AC-8655-05D46C5A3D8A}" dt="2023-06-12T13:34:53.180" v="15874"/>
          <ac:spMkLst>
            <pc:docMk/>
            <pc:sldMk cId="2536010391" sldId="230717706"/>
            <ac:spMk id="54" creationId="{4B95B004-ECC7-4755-8282-D309279F034D}"/>
          </ac:spMkLst>
        </pc:spChg>
        <pc:spChg chg="mod">
          <ac:chgData name="El Bakkouri, Manal" userId="8b130982-2e3f-4164-b881-fd3a2e4b2453" providerId="ADAL" clId="{4457FA57-250B-44AC-8655-05D46C5A3D8A}" dt="2023-06-12T13:34:53.180" v="15874"/>
          <ac:spMkLst>
            <pc:docMk/>
            <pc:sldMk cId="2536010391" sldId="230717706"/>
            <ac:spMk id="56" creationId="{9F2F9B5A-5635-46A5-AA39-5EA265A0BAE0}"/>
          </ac:spMkLst>
        </pc:spChg>
        <pc:spChg chg="mod">
          <ac:chgData name="El Bakkouri, Manal" userId="8b130982-2e3f-4164-b881-fd3a2e4b2453" providerId="ADAL" clId="{4457FA57-250B-44AC-8655-05D46C5A3D8A}" dt="2023-06-12T13:34:53.180" v="15874"/>
          <ac:spMkLst>
            <pc:docMk/>
            <pc:sldMk cId="2536010391" sldId="230717706"/>
            <ac:spMk id="62" creationId="{49239B2F-2676-4D51-ABE0-5239ADB54EF7}"/>
          </ac:spMkLst>
        </pc:spChg>
        <pc:spChg chg="del">
          <ac:chgData name="El Bakkouri, Manal" userId="8b130982-2e3f-4164-b881-fd3a2e4b2453" providerId="ADAL" clId="{4457FA57-250B-44AC-8655-05D46C5A3D8A}" dt="2023-06-12T13:34:20.745" v="15865" actId="478"/>
          <ac:spMkLst>
            <pc:docMk/>
            <pc:sldMk cId="2536010391" sldId="230717706"/>
            <ac:spMk id="75" creationId="{C78E1F64-0807-4434-9A75-F91B489843CC}"/>
          </ac:spMkLst>
        </pc:spChg>
        <pc:spChg chg="del">
          <ac:chgData name="El Bakkouri, Manal" userId="8b130982-2e3f-4164-b881-fd3a2e4b2453" providerId="ADAL" clId="{4457FA57-250B-44AC-8655-05D46C5A3D8A}" dt="2023-06-12T13:34:20.745" v="15865" actId="478"/>
          <ac:spMkLst>
            <pc:docMk/>
            <pc:sldMk cId="2536010391" sldId="230717706"/>
            <ac:spMk id="76" creationId="{7C0F959A-A7DB-47B0-B4D2-D67E2E6F3257}"/>
          </ac:spMkLst>
        </pc:spChg>
        <pc:spChg chg="del">
          <ac:chgData name="El Bakkouri, Manal" userId="8b130982-2e3f-4164-b881-fd3a2e4b2453" providerId="ADAL" clId="{4457FA57-250B-44AC-8655-05D46C5A3D8A}" dt="2023-06-12T13:34:20.745" v="15865" actId="478"/>
          <ac:spMkLst>
            <pc:docMk/>
            <pc:sldMk cId="2536010391" sldId="230717706"/>
            <ac:spMk id="77" creationId="{D23F4412-77B2-424F-8B44-1E4DDABF68A9}"/>
          </ac:spMkLst>
        </pc:spChg>
        <pc:spChg chg="del">
          <ac:chgData name="El Bakkouri, Manal" userId="8b130982-2e3f-4164-b881-fd3a2e4b2453" providerId="ADAL" clId="{4457FA57-250B-44AC-8655-05D46C5A3D8A}" dt="2023-06-12T13:34:20.745" v="15865" actId="478"/>
          <ac:spMkLst>
            <pc:docMk/>
            <pc:sldMk cId="2536010391" sldId="230717706"/>
            <ac:spMk id="78" creationId="{B4F4ED07-2C64-4B34-943E-5F0DD302034B}"/>
          </ac:spMkLst>
        </pc:spChg>
        <pc:spChg chg="mod">
          <ac:chgData name="El Bakkouri, Manal" userId="8b130982-2e3f-4164-b881-fd3a2e4b2453" providerId="ADAL" clId="{4457FA57-250B-44AC-8655-05D46C5A3D8A}" dt="2023-06-12T13:34:53.180" v="15874"/>
          <ac:spMkLst>
            <pc:docMk/>
            <pc:sldMk cId="2536010391" sldId="230717706"/>
            <ac:spMk id="80" creationId="{E0858541-B626-4D95-A01A-A2131AE18B5C}"/>
          </ac:spMkLst>
        </pc:spChg>
        <pc:spChg chg="mod">
          <ac:chgData name="El Bakkouri, Manal" userId="8b130982-2e3f-4164-b881-fd3a2e4b2453" providerId="ADAL" clId="{4457FA57-250B-44AC-8655-05D46C5A3D8A}" dt="2023-06-12T13:34:53.180" v="15874"/>
          <ac:spMkLst>
            <pc:docMk/>
            <pc:sldMk cId="2536010391" sldId="230717706"/>
            <ac:spMk id="81" creationId="{812873AD-63B6-4FEE-8540-A253C743BAF5}"/>
          </ac:spMkLst>
        </pc:spChg>
        <pc:spChg chg="mod">
          <ac:chgData name="El Bakkouri, Manal" userId="8b130982-2e3f-4164-b881-fd3a2e4b2453" providerId="ADAL" clId="{4457FA57-250B-44AC-8655-05D46C5A3D8A}" dt="2023-06-12T13:34:53.180" v="15874"/>
          <ac:spMkLst>
            <pc:docMk/>
            <pc:sldMk cId="2536010391" sldId="230717706"/>
            <ac:spMk id="83" creationId="{ADD30722-E45F-4591-954A-CC2723EB7454}"/>
          </ac:spMkLst>
        </pc:spChg>
        <pc:spChg chg="mod">
          <ac:chgData name="El Bakkouri, Manal" userId="8b130982-2e3f-4164-b881-fd3a2e4b2453" providerId="ADAL" clId="{4457FA57-250B-44AC-8655-05D46C5A3D8A}" dt="2023-06-12T13:34:53.180" v="15874"/>
          <ac:spMkLst>
            <pc:docMk/>
            <pc:sldMk cId="2536010391" sldId="230717706"/>
            <ac:spMk id="84" creationId="{E619E1E6-B408-4D84-AC6B-5F16CE420BF0}"/>
          </ac:spMkLst>
        </pc:spChg>
        <pc:spChg chg="add mod">
          <ac:chgData name="El Bakkouri, Manal" userId="8b130982-2e3f-4164-b881-fd3a2e4b2453" providerId="ADAL" clId="{4457FA57-250B-44AC-8655-05D46C5A3D8A}" dt="2023-06-12T13:34:53.180" v="15874"/>
          <ac:spMkLst>
            <pc:docMk/>
            <pc:sldMk cId="2536010391" sldId="230717706"/>
            <ac:spMk id="85" creationId="{81553A0A-A8A3-47E1-AECA-B944650423CE}"/>
          </ac:spMkLst>
        </pc:spChg>
        <pc:spChg chg="add mod">
          <ac:chgData name="El Bakkouri, Manal" userId="8b130982-2e3f-4164-b881-fd3a2e4b2453" providerId="ADAL" clId="{4457FA57-250B-44AC-8655-05D46C5A3D8A}" dt="2023-06-12T13:34:53.180" v="15874"/>
          <ac:spMkLst>
            <pc:docMk/>
            <pc:sldMk cId="2536010391" sldId="230717706"/>
            <ac:spMk id="86" creationId="{3B6B2D80-5636-46FB-813A-AD003DDF2EE9}"/>
          </ac:spMkLst>
        </pc:spChg>
        <pc:spChg chg="add mod">
          <ac:chgData name="El Bakkouri, Manal" userId="8b130982-2e3f-4164-b881-fd3a2e4b2453" providerId="ADAL" clId="{4457FA57-250B-44AC-8655-05D46C5A3D8A}" dt="2023-06-12T13:34:53.180" v="15874"/>
          <ac:spMkLst>
            <pc:docMk/>
            <pc:sldMk cId="2536010391" sldId="230717706"/>
            <ac:spMk id="87" creationId="{F9D7BF34-AAEE-4A46-9384-553203248175}"/>
          </ac:spMkLst>
        </pc:spChg>
        <pc:spChg chg="add mod">
          <ac:chgData name="El Bakkouri, Manal" userId="8b130982-2e3f-4164-b881-fd3a2e4b2453" providerId="ADAL" clId="{4457FA57-250B-44AC-8655-05D46C5A3D8A}" dt="2023-06-12T13:34:53.180" v="15874"/>
          <ac:spMkLst>
            <pc:docMk/>
            <pc:sldMk cId="2536010391" sldId="230717706"/>
            <ac:spMk id="88" creationId="{D29E3E6A-D47E-4A05-BFAA-66B061142A62}"/>
          </ac:spMkLst>
        </pc:spChg>
        <pc:grpChg chg="add del mod">
          <ac:chgData name="El Bakkouri, Manal" userId="8b130982-2e3f-4164-b881-fd3a2e4b2453" providerId="ADAL" clId="{4457FA57-250B-44AC-8655-05D46C5A3D8A}" dt="2023-06-12T13:34:52.680" v="15873" actId="478"/>
          <ac:grpSpMkLst>
            <pc:docMk/>
            <pc:sldMk cId="2536010391" sldId="230717706"/>
            <ac:grpSpMk id="30" creationId="{1C231F4E-0008-4323-89FE-E2172D12AB9B}"/>
          </ac:grpSpMkLst>
        </pc:grpChg>
        <pc:grpChg chg="add del mod">
          <ac:chgData name="El Bakkouri, Manal" userId="8b130982-2e3f-4164-b881-fd3a2e4b2453" providerId="ADAL" clId="{4457FA57-250B-44AC-8655-05D46C5A3D8A}" dt="2023-06-12T13:34:52.680" v="15873" actId="478"/>
          <ac:grpSpMkLst>
            <pc:docMk/>
            <pc:sldMk cId="2536010391" sldId="230717706"/>
            <ac:grpSpMk id="33" creationId="{B75BA4C4-E063-44B9-BADE-F92EFF4B8EE9}"/>
          </ac:grpSpMkLst>
        </pc:grpChg>
        <pc:grpChg chg="add del mod">
          <ac:chgData name="El Bakkouri, Manal" userId="8b130982-2e3f-4164-b881-fd3a2e4b2453" providerId="ADAL" clId="{4457FA57-250B-44AC-8655-05D46C5A3D8A}" dt="2023-06-12T13:34:52.680" v="15873" actId="478"/>
          <ac:grpSpMkLst>
            <pc:docMk/>
            <pc:sldMk cId="2536010391" sldId="230717706"/>
            <ac:grpSpMk id="36" creationId="{32739280-40C6-4B9E-B2CA-B5B4EC922776}"/>
          </ac:grpSpMkLst>
        </pc:grpChg>
        <pc:grpChg chg="add del mod">
          <ac:chgData name="El Bakkouri, Manal" userId="8b130982-2e3f-4164-b881-fd3a2e4b2453" providerId="ADAL" clId="{4457FA57-250B-44AC-8655-05D46C5A3D8A}" dt="2023-06-12T13:34:52.680" v="15873" actId="478"/>
          <ac:grpSpMkLst>
            <pc:docMk/>
            <pc:sldMk cId="2536010391" sldId="230717706"/>
            <ac:grpSpMk id="39" creationId="{9B9AD359-EE24-4B5A-9190-9D7456A7F908}"/>
          </ac:grpSpMkLst>
        </pc:grpChg>
        <pc:grpChg chg="add del mod">
          <ac:chgData name="El Bakkouri, Manal" userId="8b130982-2e3f-4164-b881-fd3a2e4b2453" providerId="ADAL" clId="{4457FA57-250B-44AC-8655-05D46C5A3D8A}" dt="2023-06-12T13:34:52.680" v="15873" actId="478"/>
          <ac:grpSpMkLst>
            <pc:docMk/>
            <pc:sldMk cId="2536010391" sldId="230717706"/>
            <ac:grpSpMk id="42" creationId="{66C22ED6-E568-4D30-9F98-9F5A3569043E}"/>
          </ac:grpSpMkLst>
        </pc:grpChg>
        <pc:grpChg chg="add mod">
          <ac:chgData name="El Bakkouri, Manal" userId="8b130982-2e3f-4164-b881-fd3a2e4b2453" providerId="ADAL" clId="{4457FA57-250B-44AC-8655-05D46C5A3D8A}" dt="2023-06-12T13:34:53.180" v="15874"/>
          <ac:grpSpMkLst>
            <pc:docMk/>
            <pc:sldMk cId="2536010391" sldId="230717706"/>
            <ac:grpSpMk id="49" creationId="{39321192-CC1B-4D37-ADA4-1E578FE0F825}"/>
          </ac:grpSpMkLst>
        </pc:grpChg>
        <pc:grpChg chg="add mod">
          <ac:chgData name="El Bakkouri, Manal" userId="8b130982-2e3f-4164-b881-fd3a2e4b2453" providerId="ADAL" clId="{4457FA57-250B-44AC-8655-05D46C5A3D8A}" dt="2023-06-12T13:34:53.180" v="15874"/>
          <ac:grpSpMkLst>
            <pc:docMk/>
            <pc:sldMk cId="2536010391" sldId="230717706"/>
            <ac:grpSpMk id="52" creationId="{40283C1C-EE98-4D3C-AF9F-78149D911055}"/>
          </ac:grpSpMkLst>
        </pc:grpChg>
        <pc:grpChg chg="add mod">
          <ac:chgData name="El Bakkouri, Manal" userId="8b130982-2e3f-4164-b881-fd3a2e4b2453" providerId="ADAL" clId="{4457FA57-250B-44AC-8655-05D46C5A3D8A}" dt="2023-06-12T13:34:53.180" v="15874"/>
          <ac:grpSpMkLst>
            <pc:docMk/>
            <pc:sldMk cId="2536010391" sldId="230717706"/>
            <ac:grpSpMk id="55" creationId="{7AC1CA64-24C2-44C6-AED5-C16667B85B9A}"/>
          </ac:grpSpMkLst>
        </pc:grpChg>
        <pc:grpChg chg="del">
          <ac:chgData name="El Bakkouri, Manal" userId="8b130982-2e3f-4164-b881-fd3a2e4b2453" providerId="ADAL" clId="{4457FA57-250B-44AC-8655-05D46C5A3D8A}" dt="2023-06-12T13:34:20.745" v="15865" actId="478"/>
          <ac:grpSpMkLst>
            <pc:docMk/>
            <pc:sldMk cId="2536010391" sldId="230717706"/>
            <ac:grpSpMk id="57" creationId="{108CD6A2-FE56-40CA-84DC-319596154E56}"/>
          </ac:grpSpMkLst>
        </pc:grpChg>
        <pc:grpChg chg="del">
          <ac:chgData name="El Bakkouri, Manal" userId="8b130982-2e3f-4164-b881-fd3a2e4b2453" providerId="ADAL" clId="{4457FA57-250B-44AC-8655-05D46C5A3D8A}" dt="2023-06-12T13:34:20.745" v="15865" actId="478"/>
          <ac:grpSpMkLst>
            <pc:docMk/>
            <pc:sldMk cId="2536010391" sldId="230717706"/>
            <ac:grpSpMk id="63" creationId="{FD59F691-83E1-46A6-9F7D-64A9F5802526}"/>
          </ac:grpSpMkLst>
        </pc:grpChg>
        <pc:grpChg chg="del">
          <ac:chgData name="El Bakkouri, Manal" userId="8b130982-2e3f-4164-b881-fd3a2e4b2453" providerId="ADAL" clId="{4457FA57-250B-44AC-8655-05D46C5A3D8A}" dt="2023-06-12T13:34:20.745" v="15865" actId="478"/>
          <ac:grpSpMkLst>
            <pc:docMk/>
            <pc:sldMk cId="2536010391" sldId="230717706"/>
            <ac:grpSpMk id="66" creationId="{D5E3510A-AB1A-46B7-9F8E-998857EA27C0}"/>
          </ac:grpSpMkLst>
        </pc:grpChg>
        <pc:grpChg chg="del">
          <ac:chgData name="El Bakkouri, Manal" userId="8b130982-2e3f-4164-b881-fd3a2e4b2453" providerId="ADAL" clId="{4457FA57-250B-44AC-8655-05D46C5A3D8A}" dt="2023-06-12T13:34:20.745" v="15865" actId="478"/>
          <ac:grpSpMkLst>
            <pc:docMk/>
            <pc:sldMk cId="2536010391" sldId="230717706"/>
            <ac:grpSpMk id="69" creationId="{C772336D-27E9-4AE0-AC08-F8D57FDE209B}"/>
          </ac:grpSpMkLst>
        </pc:grpChg>
        <pc:grpChg chg="del">
          <ac:chgData name="El Bakkouri, Manal" userId="8b130982-2e3f-4164-b881-fd3a2e4b2453" providerId="ADAL" clId="{4457FA57-250B-44AC-8655-05D46C5A3D8A}" dt="2023-06-12T13:34:20.745" v="15865" actId="478"/>
          <ac:grpSpMkLst>
            <pc:docMk/>
            <pc:sldMk cId="2536010391" sldId="230717706"/>
            <ac:grpSpMk id="72" creationId="{2877127E-0F54-41D0-AD1E-14145C15CABB}"/>
          </ac:grpSpMkLst>
        </pc:grpChg>
        <pc:grpChg chg="add mod">
          <ac:chgData name="El Bakkouri, Manal" userId="8b130982-2e3f-4164-b881-fd3a2e4b2453" providerId="ADAL" clId="{4457FA57-250B-44AC-8655-05D46C5A3D8A}" dt="2023-06-12T13:34:53.180" v="15874"/>
          <ac:grpSpMkLst>
            <pc:docMk/>
            <pc:sldMk cId="2536010391" sldId="230717706"/>
            <ac:grpSpMk id="79" creationId="{818D2A9F-3FAA-43D7-80C3-6E83ECF6F11E}"/>
          </ac:grpSpMkLst>
        </pc:grpChg>
        <pc:grpChg chg="add mod">
          <ac:chgData name="El Bakkouri, Manal" userId="8b130982-2e3f-4164-b881-fd3a2e4b2453" providerId="ADAL" clId="{4457FA57-250B-44AC-8655-05D46C5A3D8A}" dt="2023-06-12T13:34:53.180" v="15874"/>
          <ac:grpSpMkLst>
            <pc:docMk/>
            <pc:sldMk cId="2536010391" sldId="230717706"/>
            <ac:grpSpMk id="82" creationId="{66C7F1CD-19B9-4808-8541-ECBD1AF5BC80}"/>
          </ac:grpSpMkLst>
        </pc:grpChg>
      </pc:sldChg>
      <pc:sldChg chg="addSp delSp modSp mod">
        <pc:chgData name="El Bakkouri, Manal" userId="8b130982-2e3f-4164-b881-fd3a2e4b2453" providerId="ADAL" clId="{4457FA57-250B-44AC-8655-05D46C5A3D8A}" dt="2023-06-12T13:35:04.589" v="15878"/>
        <pc:sldMkLst>
          <pc:docMk/>
          <pc:sldMk cId="4005026562" sldId="230717707"/>
        </pc:sldMkLst>
        <pc:spChg chg="mod">
          <ac:chgData name="El Bakkouri, Manal" userId="8b130982-2e3f-4164-b881-fd3a2e4b2453" providerId="ADAL" clId="{4457FA57-250B-44AC-8655-05D46C5A3D8A}" dt="2023-06-12T13:35:04.589" v="15878"/>
          <ac:spMkLst>
            <pc:docMk/>
            <pc:sldMk cId="4005026562" sldId="230717707"/>
            <ac:spMk id="31" creationId="{073E4BA2-B6D3-4528-9585-99BD9001ED28}"/>
          </ac:spMkLst>
        </pc:spChg>
        <pc:spChg chg="mod">
          <ac:chgData name="El Bakkouri, Manal" userId="8b130982-2e3f-4164-b881-fd3a2e4b2453" providerId="ADAL" clId="{4457FA57-250B-44AC-8655-05D46C5A3D8A}" dt="2023-06-12T13:35:04.589" v="15878"/>
          <ac:spMkLst>
            <pc:docMk/>
            <pc:sldMk cId="4005026562" sldId="230717707"/>
            <ac:spMk id="32" creationId="{C908A767-80CB-409D-8122-5234988D60AC}"/>
          </ac:spMkLst>
        </pc:spChg>
        <pc:spChg chg="mod">
          <ac:chgData name="El Bakkouri, Manal" userId="8b130982-2e3f-4164-b881-fd3a2e4b2453" providerId="ADAL" clId="{4457FA57-250B-44AC-8655-05D46C5A3D8A}" dt="2023-06-12T13:35:04.589" v="15878"/>
          <ac:spMkLst>
            <pc:docMk/>
            <pc:sldMk cId="4005026562" sldId="230717707"/>
            <ac:spMk id="34" creationId="{12D1627D-71A4-4341-BB00-4C78DE2C2BF3}"/>
          </ac:spMkLst>
        </pc:spChg>
        <pc:spChg chg="mod">
          <ac:chgData name="El Bakkouri, Manal" userId="8b130982-2e3f-4164-b881-fd3a2e4b2453" providerId="ADAL" clId="{4457FA57-250B-44AC-8655-05D46C5A3D8A}" dt="2023-06-12T13:35:04.589" v="15878"/>
          <ac:spMkLst>
            <pc:docMk/>
            <pc:sldMk cId="4005026562" sldId="230717707"/>
            <ac:spMk id="35" creationId="{131031A9-5322-4657-9198-ACD20DC7FA01}"/>
          </ac:spMkLst>
        </pc:spChg>
        <pc:spChg chg="mod">
          <ac:chgData name="El Bakkouri, Manal" userId="8b130982-2e3f-4164-b881-fd3a2e4b2453" providerId="ADAL" clId="{4457FA57-250B-44AC-8655-05D46C5A3D8A}" dt="2023-06-12T13:35:04.589" v="15878"/>
          <ac:spMkLst>
            <pc:docMk/>
            <pc:sldMk cId="4005026562" sldId="230717707"/>
            <ac:spMk id="37" creationId="{62B7F416-8DA2-4B0B-85FA-E57F37D36C57}"/>
          </ac:spMkLst>
        </pc:spChg>
        <pc:spChg chg="mod">
          <ac:chgData name="El Bakkouri, Manal" userId="8b130982-2e3f-4164-b881-fd3a2e4b2453" providerId="ADAL" clId="{4457FA57-250B-44AC-8655-05D46C5A3D8A}" dt="2023-06-12T13:35:04.589" v="15878"/>
          <ac:spMkLst>
            <pc:docMk/>
            <pc:sldMk cId="4005026562" sldId="230717707"/>
            <ac:spMk id="38" creationId="{CA608621-3E81-48A0-854E-71A25E2CCAA7}"/>
          </ac:spMkLst>
        </pc:spChg>
        <pc:spChg chg="mod">
          <ac:chgData name="El Bakkouri, Manal" userId="8b130982-2e3f-4164-b881-fd3a2e4b2453" providerId="ADAL" clId="{4457FA57-250B-44AC-8655-05D46C5A3D8A}" dt="2023-06-12T13:35:04.589" v="15878"/>
          <ac:spMkLst>
            <pc:docMk/>
            <pc:sldMk cId="4005026562" sldId="230717707"/>
            <ac:spMk id="45" creationId="{05496F5F-14AD-4638-9250-3DDFD10046CE}"/>
          </ac:spMkLst>
        </pc:spChg>
        <pc:spChg chg="mod">
          <ac:chgData name="El Bakkouri, Manal" userId="8b130982-2e3f-4164-b881-fd3a2e4b2453" providerId="ADAL" clId="{4457FA57-250B-44AC-8655-05D46C5A3D8A}" dt="2023-06-12T13:35:04.589" v="15878"/>
          <ac:spMkLst>
            <pc:docMk/>
            <pc:sldMk cId="4005026562" sldId="230717707"/>
            <ac:spMk id="47" creationId="{F0B5133C-35BC-4E3E-8606-A15B30558068}"/>
          </ac:spMkLst>
        </pc:spChg>
        <pc:spChg chg="del">
          <ac:chgData name="El Bakkouri, Manal" userId="8b130982-2e3f-4164-b881-fd3a2e4b2453" providerId="ADAL" clId="{4457FA57-250B-44AC-8655-05D46C5A3D8A}" dt="2023-06-12T13:35:02.767" v="15877" actId="478"/>
          <ac:spMkLst>
            <pc:docMk/>
            <pc:sldMk cId="4005026562" sldId="230717707"/>
            <ac:spMk id="57" creationId="{AD2928A9-E2C1-468C-93A4-1BDEF44C040E}"/>
          </ac:spMkLst>
        </pc:spChg>
        <pc:spChg chg="del">
          <ac:chgData name="El Bakkouri, Manal" userId="8b130982-2e3f-4164-b881-fd3a2e4b2453" providerId="ADAL" clId="{4457FA57-250B-44AC-8655-05D46C5A3D8A}" dt="2023-06-12T13:35:02.767" v="15877" actId="478"/>
          <ac:spMkLst>
            <pc:docMk/>
            <pc:sldMk cId="4005026562" sldId="230717707"/>
            <ac:spMk id="58" creationId="{9CB9451C-E9A2-4D8A-8DC2-ACA5AA7C097A}"/>
          </ac:spMkLst>
        </pc:spChg>
        <pc:spChg chg="del">
          <ac:chgData name="El Bakkouri, Manal" userId="8b130982-2e3f-4164-b881-fd3a2e4b2453" providerId="ADAL" clId="{4457FA57-250B-44AC-8655-05D46C5A3D8A}" dt="2023-06-12T13:35:02.767" v="15877" actId="478"/>
          <ac:spMkLst>
            <pc:docMk/>
            <pc:sldMk cId="4005026562" sldId="230717707"/>
            <ac:spMk id="61" creationId="{EA6DCE77-D166-4096-B38A-5CB32955D40E}"/>
          </ac:spMkLst>
        </pc:spChg>
        <pc:spChg chg="del">
          <ac:chgData name="El Bakkouri, Manal" userId="8b130982-2e3f-4164-b881-fd3a2e4b2453" providerId="ADAL" clId="{4457FA57-250B-44AC-8655-05D46C5A3D8A}" dt="2023-06-12T13:35:02.767" v="15877" actId="478"/>
          <ac:spMkLst>
            <pc:docMk/>
            <pc:sldMk cId="4005026562" sldId="230717707"/>
            <ac:spMk id="63" creationId="{1BC5C212-375E-45B3-909B-A6280E5B5544}"/>
          </ac:spMkLst>
        </pc:spChg>
        <pc:spChg chg="mod">
          <ac:chgData name="El Bakkouri, Manal" userId="8b130982-2e3f-4164-b881-fd3a2e4b2453" providerId="ADAL" clId="{4457FA57-250B-44AC-8655-05D46C5A3D8A}" dt="2023-06-12T13:35:04.589" v="15878"/>
          <ac:spMkLst>
            <pc:docMk/>
            <pc:sldMk cId="4005026562" sldId="230717707"/>
            <ac:spMk id="65" creationId="{195F9655-E406-4A4F-8872-8F5AD55745EF}"/>
          </ac:spMkLst>
        </pc:spChg>
        <pc:spChg chg="mod">
          <ac:chgData name="El Bakkouri, Manal" userId="8b130982-2e3f-4164-b881-fd3a2e4b2453" providerId="ADAL" clId="{4457FA57-250B-44AC-8655-05D46C5A3D8A}" dt="2023-06-12T13:35:04.589" v="15878"/>
          <ac:spMkLst>
            <pc:docMk/>
            <pc:sldMk cId="4005026562" sldId="230717707"/>
            <ac:spMk id="66" creationId="{A239D557-E91E-4A34-BE3E-2BAA1847EA84}"/>
          </ac:spMkLst>
        </pc:spChg>
        <pc:spChg chg="add mod">
          <ac:chgData name="El Bakkouri, Manal" userId="8b130982-2e3f-4164-b881-fd3a2e4b2453" providerId="ADAL" clId="{4457FA57-250B-44AC-8655-05D46C5A3D8A}" dt="2023-06-12T13:35:04.589" v="15878"/>
          <ac:spMkLst>
            <pc:docMk/>
            <pc:sldMk cId="4005026562" sldId="230717707"/>
            <ac:spMk id="67" creationId="{62FD6E39-AA10-4ECF-BB24-8F83D6A711C4}"/>
          </ac:spMkLst>
        </pc:spChg>
        <pc:spChg chg="add mod">
          <ac:chgData name="El Bakkouri, Manal" userId="8b130982-2e3f-4164-b881-fd3a2e4b2453" providerId="ADAL" clId="{4457FA57-250B-44AC-8655-05D46C5A3D8A}" dt="2023-06-12T13:35:04.589" v="15878"/>
          <ac:spMkLst>
            <pc:docMk/>
            <pc:sldMk cId="4005026562" sldId="230717707"/>
            <ac:spMk id="68" creationId="{52D46D18-9AD8-4351-A80B-28B825DE92F4}"/>
          </ac:spMkLst>
        </pc:spChg>
        <pc:spChg chg="add mod">
          <ac:chgData name="El Bakkouri, Manal" userId="8b130982-2e3f-4164-b881-fd3a2e4b2453" providerId="ADAL" clId="{4457FA57-250B-44AC-8655-05D46C5A3D8A}" dt="2023-06-12T13:35:04.589" v="15878"/>
          <ac:spMkLst>
            <pc:docMk/>
            <pc:sldMk cId="4005026562" sldId="230717707"/>
            <ac:spMk id="69" creationId="{BA8FE501-4E7A-410F-BFA7-5C788F90A22E}"/>
          </ac:spMkLst>
        </pc:spChg>
        <pc:spChg chg="add mod">
          <ac:chgData name="El Bakkouri, Manal" userId="8b130982-2e3f-4164-b881-fd3a2e4b2453" providerId="ADAL" clId="{4457FA57-250B-44AC-8655-05D46C5A3D8A}" dt="2023-06-12T13:35:04.589" v="15878"/>
          <ac:spMkLst>
            <pc:docMk/>
            <pc:sldMk cId="4005026562" sldId="230717707"/>
            <ac:spMk id="70" creationId="{24D725FB-92B7-4331-B58D-88977FE8FA19}"/>
          </ac:spMkLst>
        </pc:spChg>
        <pc:grpChg chg="add mod">
          <ac:chgData name="El Bakkouri, Manal" userId="8b130982-2e3f-4164-b881-fd3a2e4b2453" providerId="ADAL" clId="{4457FA57-250B-44AC-8655-05D46C5A3D8A}" dt="2023-06-12T13:35:04.589" v="15878"/>
          <ac:grpSpMkLst>
            <pc:docMk/>
            <pc:sldMk cId="4005026562" sldId="230717707"/>
            <ac:grpSpMk id="30" creationId="{FDCE36DC-51AF-4689-95C6-D40500814A55}"/>
          </ac:grpSpMkLst>
        </pc:grpChg>
        <pc:grpChg chg="add mod">
          <ac:chgData name="El Bakkouri, Manal" userId="8b130982-2e3f-4164-b881-fd3a2e4b2453" providerId="ADAL" clId="{4457FA57-250B-44AC-8655-05D46C5A3D8A}" dt="2023-06-12T13:35:04.589" v="15878"/>
          <ac:grpSpMkLst>
            <pc:docMk/>
            <pc:sldMk cId="4005026562" sldId="230717707"/>
            <ac:grpSpMk id="33" creationId="{95BF299C-41F9-4E5B-83EC-3A4D40C13F5A}"/>
          </ac:grpSpMkLst>
        </pc:grpChg>
        <pc:grpChg chg="add mod">
          <ac:chgData name="El Bakkouri, Manal" userId="8b130982-2e3f-4164-b881-fd3a2e4b2453" providerId="ADAL" clId="{4457FA57-250B-44AC-8655-05D46C5A3D8A}" dt="2023-06-12T13:35:04.589" v="15878"/>
          <ac:grpSpMkLst>
            <pc:docMk/>
            <pc:sldMk cId="4005026562" sldId="230717707"/>
            <ac:grpSpMk id="36" creationId="{E9562101-67E3-41E0-BC67-D05EDB1BBB64}"/>
          </ac:grpSpMkLst>
        </pc:grpChg>
        <pc:grpChg chg="del">
          <ac:chgData name="El Bakkouri, Manal" userId="8b130982-2e3f-4164-b881-fd3a2e4b2453" providerId="ADAL" clId="{4457FA57-250B-44AC-8655-05D46C5A3D8A}" dt="2023-06-12T13:35:02.767" v="15877" actId="478"/>
          <ac:grpSpMkLst>
            <pc:docMk/>
            <pc:sldMk cId="4005026562" sldId="230717707"/>
            <ac:grpSpMk id="39" creationId="{6865B83B-5994-4D34-802E-476D490A89BD}"/>
          </ac:grpSpMkLst>
        </pc:grpChg>
        <pc:grpChg chg="add mod">
          <ac:chgData name="El Bakkouri, Manal" userId="8b130982-2e3f-4164-b881-fd3a2e4b2453" providerId="ADAL" clId="{4457FA57-250B-44AC-8655-05D46C5A3D8A}" dt="2023-06-12T13:35:04.589" v="15878"/>
          <ac:grpSpMkLst>
            <pc:docMk/>
            <pc:sldMk cId="4005026562" sldId="230717707"/>
            <ac:grpSpMk id="42" creationId="{F3926FFD-85B5-437B-8A60-F16760139929}"/>
          </ac:grpSpMkLst>
        </pc:grpChg>
        <pc:grpChg chg="del">
          <ac:chgData name="El Bakkouri, Manal" userId="8b130982-2e3f-4164-b881-fd3a2e4b2453" providerId="ADAL" clId="{4457FA57-250B-44AC-8655-05D46C5A3D8A}" dt="2023-06-12T13:35:02.767" v="15877" actId="478"/>
          <ac:grpSpMkLst>
            <pc:docMk/>
            <pc:sldMk cId="4005026562" sldId="230717707"/>
            <ac:grpSpMk id="43" creationId="{6DA119F6-77FE-40D2-80B5-DB5DD7BCE328}"/>
          </ac:grpSpMkLst>
        </pc:grpChg>
        <pc:grpChg chg="del">
          <ac:chgData name="El Bakkouri, Manal" userId="8b130982-2e3f-4164-b881-fd3a2e4b2453" providerId="ADAL" clId="{4457FA57-250B-44AC-8655-05D46C5A3D8A}" dt="2023-06-12T13:35:02.767" v="15877" actId="478"/>
          <ac:grpSpMkLst>
            <pc:docMk/>
            <pc:sldMk cId="4005026562" sldId="230717707"/>
            <ac:grpSpMk id="48" creationId="{C1B8B868-30E6-4CDE-BC4E-88964EB5BA6D}"/>
          </ac:grpSpMkLst>
        </pc:grpChg>
        <pc:grpChg chg="del">
          <ac:chgData name="El Bakkouri, Manal" userId="8b130982-2e3f-4164-b881-fd3a2e4b2453" providerId="ADAL" clId="{4457FA57-250B-44AC-8655-05D46C5A3D8A}" dt="2023-06-12T13:35:02.767" v="15877" actId="478"/>
          <ac:grpSpMkLst>
            <pc:docMk/>
            <pc:sldMk cId="4005026562" sldId="230717707"/>
            <ac:grpSpMk id="51" creationId="{123FFE07-31FA-42D6-ACDC-415910228959}"/>
          </ac:grpSpMkLst>
        </pc:grpChg>
        <pc:grpChg chg="del">
          <ac:chgData name="El Bakkouri, Manal" userId="8b130982-2e3f-4164-b881-fd3a2e4b2453" providerId="ADAL" clId="{4457FA57-250B-44AC-8655-05D46C5A3D8A}" dt="2023-06-12T13:35:02.767" v="15877" actId="478"/>
          <ac:grpSpMkLst>
            <pc:docMk/>
            <pc:sldMk cId="4005026562" sldId="230717707"/>
            <ac:grpSpMk id="54" creationId="{15EC17DE-7112-4468-8235-9BEAA5937392}"/>
          </ac:grpSpMkLst>
        </pc:grpChg>
        <pc:grpChg chg="add mod">
          <ac:chgData name="El Bakkouri, Manal" userId="8b130982-2e3f-4164-b881-fd3a2e4b2453" providerId="ADAL" clId="{4457FA57-250B-44AC-8655-05D46C5A3D8A}" dt="2023-06-12T13:35:04.589" v="15878"/>
          <ac:grpSpMkLst>
            <pc:docMk/>
            <pc:sldMk cId="4005026562" sldId="230717707"/>
            <ac:grpSpMk id="64" creationId="{B5C68256-0037-4827-B031-CC1293BC2BE8}"/>
          </ac:grpSpMkLst>
        </pc:grpChg>
      </pc:sldChg>
      <pc:sldChg chg="addSp delSp modSp mod">
        <pc:chgData name="El Bakkouri, Manal" userId="8b130982-2e3f-4164-b881-fd3a2e4b2453" providerId="ADAL" clId="{4457FA57-250B-44AC-8655-05D46C5A3D8A}" dt="2023-06-12T13:35:22.752" v="15880"/>
        <pc:sldMkLst>
          <pc:docMk/>
          <pc:sldMk cId="3480139383" sldId="230717708"/>
        </pc:sldMkLst>
        <pc:spChg chg="mod">
          <ac:chgData name="El Bakkouri, Manal" userId="8b130982-2e3f-4164-b881-fd3a2e4b2453" providerId="ADAL" clId="{4457FA57-250B-44AC-8655-05D46C5A3D8A}" dt="2023-06-12T13:35:22.752" v="15880"/>
          <ac:spMkLst>
            <pc:docMk/>
            <pc:sldMk cId="3480139383" sldId="230717708"/>
            <ac:spMk id="31" creationId="{E4A62EF4-120D-4991-8B5E-BE2CEB9CFC43}"/>
          </ac:spMkLst>
        </pc:spChg>
        <pc:spChg chg="mod">
          <ac:chgData name="El Bakkouri, Manal" userId="8b130982-2e3f-4164-b881-fd3a2e4b2453" providerId="ADAL" clId="{4457FA57-250B-44AC-8655-05D46C5A3D8A}" dt="2023-06-12T13:35:22.752" v="15880"/>
          <ac:spMkLst>
            <pc:docMk/>
            <pc:sldMk cId="3480139383" sldId="230717708"/>
            <ac:spMk id="32" creationId="{DB714808-A2EE-4732-A87E-7DB598489AAE}"/>
          </ac:spMkLst>
        </pc:spChg>
        <pc:spChg chg="mod">
          <ac:chgData name="El Bakkouri, Manal" userId="8b130982-2e3f-4164-b881-fd3a2e4b2453" providerId="ADAL" clId="{4457FA57-250B-44AC-8655-05D46C5A3D8A}" dt="2023-06-12T13:35:22.752" v="15880"/>
          <ac:spMkLst>
            <pc:docMk/>
            <pc:sldMk cId="3480139383" sldId="230717708"/>
            <ac:spMk id="34" creationId="{A8FCCFE9-9DF0-4340-9341-AAB3AB49A4A7}"/>
          </ac:spMkLst>
        </pc:spChg>
        <pc:spChg chg="mod">
          <ac:chgData name="El Bakkouri, Manal" userId="8b130982-2e3f-4164-b881-fd3a2e4b2453" providerId="ADAL" clId="{4457FA57-250B-44AC-8655-05D46C5A3D8A}" dt="2023-06-12T13:35:22.752" v="15880"/>
          <ac:spMkLst>
            <pc:docMk/>
            <pc:sldMk cId="3480139383" sldId="230717708"/>
            <ac:spMk id="35" creationId="{204AA1CA-8442-4CB5-BBCE-439F85667DD7}"/>
          </ac:spMkLst>
        </pc:spChg>
        <pc:spChg chg="mod">
          <ac:chgData name="El Bakkouri, Manal" userId="8b130982-2e3f-4164-b881-fd3a2e4b2453" providerId="ADAL" clId="{4457FA57-250B-44AC-8655-05D46C5A3D8A}" dt="2023-06-12T13:35:22.752" v="15880"/>
          <ac:spMkLst>
            <pc:docMk/>
            <pc:sldMk cId="3480139383" sldId="230717708"/>
            <ac:spMk id="37" creationId="{66328D7E-4577-4959-904E-97FD4F8115F5}"/>
          </ac:spMkLst>
        </pc:spChg>
        <pc:spChg chg="mod">
          <ac:chgData name="El Bakkouri, Manal" userId="8b130982-2e3f-4164-b881-fd3a2e4b2453" providerId="ADAL" clId="{4457FA57-250B-44AC-8655-05D46C5A3D8A}" dt="2023-06-12T13:35:22.752" v="15880"/>
          <ac:spMkLst>
            <pc:docMk/>
            <pc:sldMk cId="3480139383" sldId="230717708"/>
            <ac:spMk id="38" creationId="{D77ED7F8-1F2C-4A35-86E8-B4CBDFF947C6}"/>
          </ac:spMkLst>
        </pc:spChg>
        <pc:spChg chg="mod">
          <ac:chgData name="El Bakkouri, Manal" userId="8b130982-2e3f-4164-b881-fd3a2e4b2453" providerId="ADAL" clId="{4457FA57-250B-44AC-8655-05D46C5A3D8A}" dt="2023-06-12T13:35:22.752" v="15880"/>
          <ac:spMkLst>
            <pc:docMk/>
            <pc:sldMk cId="3480139383" sldId="230717708"/>
            <ac:spMk id="42" creationId="{79788C5E-7967-415D-AA02-B31A1781399F}"/>
          </ac:spMkLst>
        </pc:spChg>
        <pc:spChg chg="mod">
          <ac:chgData name="El Bakkouri, Manal" userId="8b130982-2e3f-4164-b881-fd3a2e4b2453" providerId="ADAL" clId="{4457FA57-250B-44AC-8655-05D46C5A3D8A}" dt="2023-06-12T13:35:22.752" v="15880"/>
          <ac:spMkLst>
            <pc:docMk/>
            <pc:sldMk cId="3480139383" sldId="230717708"/>
            <ac:spMk id="45" creationId="{FACC6D84-3F2C-4321-8F43-937F546590AE}"/>
          </ac:spMkLst>
        </pc:spChg>
        <pc:spChg chg="del">
          <ac:chgData name="El Bakkouri, Manal" userId="8b130982-2e3f-4164-b881-fd3a2e4b2453" providerId="ADAL" clId="{4457FA57-250B-44AC-8655-05D46C5A3D8A}" dt="2023-06-12T13:35:22.239" v="15879" actId="478"/>
          <ac:spMkLst>
            <pc:docMk/>
            <pc:sldMk cId="3480139383" sldId="230717708"/>
            <ac:spMk id="58" creationId="{F51DBACC-D316-4B96-A4A4-DEFFEA8EEDB8}"/>
          </ac:spMkLst>
        </pc:spChg>
        <pc:spChg chg="del">
          <ac:chgData name="El Bakkouri, Manal" userId="8b130982-2e3f-4164-b881-fd3a2e4b2453" providerId="ADAL" clId="{4457FA57-250B-44AC-8655-05D46C5A3D8A}" dt="2023-06-12T13:35:22.239" v="15879" actId="478"/>
          <ac:spMkLst>
            <pc:docMk/>
            <pc:sldMk cId="3480139383" sldId="230717708"/>
            <ac:spMk id="61" creationId="{A608D777-6BD2-42D0-96CE-710398612A38}"/>
          </ac:spMkLst>
        </pc:spChg>
        <pc:spChg chg="del">
          <ac:chgData name="El Bakkouri, Manal" userId="8b130982-2e3f-4164-b881-fd3a2e4b2453" providerId="ADAL" clId="{4457FA57-250B-44AC-8655-05D46C5A3D8A}" dt="2023-06-12T13:35:22.239" v="15879" actId="478"/>
          <ac:spMkLst>
            <pc:docMk/>
            <pc:sldMk cId="3480139383" sldId="230717708"/>
            <ac:spMk id="63" creationId="{52BBB0F4-F4BF-408B-87F8-484751FB1DE4}"/>
          </ac:spMkLst>
        </pc:spChg>
        <pc:spChg chg="del">
          <ac:chgData name="El Bakkouri, Manal" userId="8b130982-2e3f-4164-b881-fd3a2e4b2453" providerId="ADAL" clId="{4457FA57-250B-44AC-8655-05D46C5A3D8A}" dt="2023-06-12T13:35:22.239" v="15879" actId="478"/>
          <ac:spMkLst>
            <pc:docMk/>
            <pc:sldMk cId="3480139383" sldId="230717708"/>
            <ac:spMk id="64" creationId="{6BA4E31F-4D7F-4F3C-B9D0-9E9FC0F9646F}"/>
          </ac:spMkLst>
        </pc:spChg>
        <pc:spChg chg="mod">
          <ac:chgData name="El Bakkouri, Manal" userId="8b130982-2e3f-4164-b881-fd3a2e4b2453" providerId="ADAL" clId="{4457FA57-250B-44AC-8655-05D46C5A3D8A}" dt="2023-06-12T13:35:22.752" v="15880"/>
          <ac:spMkLst>
            <pc:docMk/>
            <pc:sldMk cId="3480139383" sldId="230717708"/>
            <ac:spMk id="65" creationId="{787BAE03-CC0D-473D-A820-2BF1097B5D63}"/>
          </ac:spMkLst>
        </pc:spChg>
        <pc:spChg chg="mod">
          <ac:chgData name="El Bakkouri, Manal" userId="8b130982-2e3f-4164-b881-fd3a2e4b2453" providerId="ADAL" clId="{4457FA57-250B-44AC-8655-05D46C5A3D8A}" dt="2023-06-12T13:35:22.752" v="15880"/>
          <ac:spMkLst>
            <pc:docMk/>
            <pc:sldMk cId="3480139383" sldId="230717708"/>
            <ac:spMk id="66" creationId="{641C7642-1B1D-4CDA-BF17-E1A4D0013D07}"/>
          </ac:spMkLst>
        </pc:spChg>
        <pc:spChg chg="add mod">
          <ac:chgData name="El Bakkouri, Manal" userId="8b130982-2e3f-4164-b881-fd3a2e4b2453" providerId="ADAL" clId="{4457FA57-250B-44AC-8655-05D46C5A3D8A}" dt="2023-06-12T13:35:22.752" v="15880"/>
          <ac:spMkLst>
            <pc:docMk/>
            <pc:sldMk cId="3480139383" sldId="230717708"/>
            <ac:spMk id="67" creationId="{57934E30-32D9-4AFB-874F-302FD0A5E595}"/>
          </ac:spMkLst>
        </pc:spChg>
        <pc:spChg chg="add mod">
          <ac:chgData name="El Bakkouri, Manal" userId="8b130982-2e3f-4164-b881-fd3a2e4b2453" providerId="ADAL" clId="{4457FA57-250B-44AC-8655-05D46C5A3D8A}" dt="2023-06-12T13:35:22.752" v="15880"/>
          <ac:spMkLst>
            <pc:docMk/>
            <pc:sldMk cId="3480139383" sldId="230717708"/>
            <ac:spMk id="68" creationId="{2205803E-5453-4903-A8D2-4E88ED30E403}"/>
          </ac:spMkLst>
        </pc:spChg>
        <pc:spChg chg="add mod">
          <ac:chgData name="El Bakkouri, Manal" userId="8b130982-2e3f-4164-b881-fd3a2e4b2453" providerId="ADAL" clId="{4457FA57-250B-44AC-8655-05D46C5A3D8A}" dt="2023-06-12T13:35:22.752" v="15880"/>
          <ac:spMkLst>
            <pc:docMk/>
            <pc:sldMk cId="3480139383" sldId="230717708"/>
            <ac:spMk id="69" creationId="{12127CA0-D1F9-41AC-B5FD-51942CA38E32}"/>
          </ac:spMkLst>
        </pc:spChg>
        <pc:spChg chg="add mod">
          <ac:chgData name="El Bakkouri, Manal" userId="8b130982-2e3f-4164-b881-fd3a2e4b2453" providerId="ADAL" clId="{4457FA57-250B-44AC-8655-05D46C5A3D8A}" dt="2023-06-12T13:35:22.752" v="15880"/>
          <ac:spMkLst>
            <pc:docMk/>
            <pc:sldMk cId="3480139383" sldId="230717708"/>
            <ac:spMk id="70" creationId="{D9EA7F26-4D98-4505-BC05-2DEC49F93F62}"/>
          </ac:spMkLst>
        </pc:spChg>
        <pc:grpChg chg="add mod">
          <ac:chgData name="El Bakkouri, Manal" userId="8b130982-2e3f-4164-b881-fd3a2e4b2453" providerId="ADAL" clId="{4457FA57-250B-44AC-8655-05D46C5A3D8A}" dt="2023-06-12T13:35:22.752" v="15880"/>
          <ac:grpSpMkLst>
            <pc:docMk/>
            <pc:sldMk cId="3480139383" sldId="230717708"/>
            <ac:grpSpMk id="30" creationId="{3DA1FD70-B224-4B2F-ADDB-53FBBF4F64DE}"/>
          </ac:grpSpMkLst>
        </pc:grpChg>
        <pc:grpChg chg="add mod">
          <ac:chgData name="El Bakkouri, Manal" userId="8b130982-2e3f-4164-b881-fd3a2e4b2453" providerId="ADAL" clId="{4457FA57-250B-44AC-8655-05D46C5A3D8A}" dt="2023-06-12T13:35:22.752" v="15880"/>
          <ac:grpSpMkLst>
            <pc:docMk/>
            <pc:sldMk cId="3480139383" sldId="230717708"/>
            <ac:grpSpMk id="33" creationId="{A0342D2F-6A11-4412-AD96-591C979767AC}"/>
          </ac:grpSpMkLst>
        </pc:grpChg>
        <pc:grpChg chg="add mod">
          <ac:chgData name="El Bakkouri, Manal" userId="8b130982-2e3f-4164-b881-fd3a2e4b2453" providerId="ADAL" clId="{4457FA57-250B-44AC-8655-05D46C5A3D8A}" dt="2023-06-12T13:35:22.752" v="15880"/>
          <ac:grpSpMkLst>
            <pc:docMk/>
            <pc:sldMk cId="3480139383" sldId="230717708"/>
            <ac:grpSpMk id="36" creationId="{2EB27344-BDAD-4349-AA70-AC610EEE582F}"/>
          </ac:grpSpMkLst>
        </pc:grpChg>
        <pc:grpChg chg="add mod">
          <ac:chgData name="El Bakkouri, Manal" userId="8b130982-2e3f-4164-b881-fd3a2e4b2453" providerId="ADAL" clId="{4457FA57-250B-44AC-8655-05D46C5A3D8A}" dt="2023-06-12T13:35:22.752" v="15880"/>
          <ac:grpSpMkLst>
            <pc:docMk/>
            <pc:sldMk cId="3480139383" sldId="230717708"/>
            <ac:grpSpMk id="39" creationId="{6959DA90-C3A2-4867-9196-219CAD5343AF}"/>
          </ac:grpSpMkLst>
        </pc:grpChg>
        <pc:grpChg chg="del">
          <ac:chgData name="El Bakkouri, Manal" userId="8b130982-2e3f-4164-b881-fd3a2e4b2453" providerId="ADAL" clId="{4457FA57-250B-44AC-8655-05D46C5A3D8A}" dt="2023-06-12T13:35:22.239" v="15879" actId="478"/>
          <ac:grpSpMkLst>
            <pc:docMk/>
            <pc:sldMk cId="3480139383" sldId="230717708"/>
            <ac:grpSpMk id="40" creationId="{3E4D8B7B-EB66-4687-AF71-9B10F569442A}"/>
          </ac:grpSpMkLst>
        </pc:grpChg>
        <pc:grpChg chg="del">
          <ac:chgData name="El Bakkouri, Manal" userId="8b130982-2e3f-4164-b881-fd3a2e4b2453" providerId="ADAL" clId="{4457FA57-250B-44AC-8655-05D46C5A3D8A}" dt="2023-06-12T13:35:22.239" v="15879" actId="478"/>
          <ac:grpSpMkLst>
            <pc:docMk/>
            <pc:sldMk cId="3480139383" sldId="230717708"/>
            <ac:grpSpMk id="44" creationId="{D2414979-16DC-404B-B9AC-FD8150D8C62C}"/>
          </ac:grpSpMkLst>
        </pc:grpChg>
        <pc:grpChg chg="add mod">
          <ac:chgData name="El Bakkouri, Manal" userId="8b130982-2e3f-4164-b881-fd3a2e4b2453" providerId="ADAL" clId="{4457FA57-250B-44AC-8655-05D46C5A3D8A}" dt="2023-06-12T13:35:22.752" v="15880"/>
          <ac:grpSpMkLst>
            <pc:docMk/>
            <pc:sldMk cId="3480139383" sldId="230717708"/>
            <ac:grpSpMk id="47" creationId="{5B065815-E252-40D7-9030-B9B417480184}"/>
          </ac:grpSpMkLst>
        </pc:grpChg>
        <pc:grpChg chg="del">
          <ac:chgData name="El Bakkouri, Manal" userId="8b130982-2e3f-4164-b881-fd3a2e4b2453" providerId="ADAL" clId="{4457FA57-250B-44AC-8655-05D46C5A3D8A}" dt="2023-06-12T13:35:22.239" v="15879" actId="478"/>
          <ac:grpSpMkLst>
            <pc:docMk/>
            <pc:sldMk cId="3480139383" sldId="230717708"/>
            <ac:grpSpMk id="49" creationId="{C7E700EE-9BDD-4133-8267-F919A42DF48C}"/>
          </ac:grpSpMkLst>
        </pc:grpChg>
        <pc:grpChg chg="del">
          <ac:chgData name="El Bakkouri, Manal" userId="8b130982-2e3f-4164-b881-fd3a2e4b2453" providerId="ADAL" clId="{4457FA57-250B-44AC-8655-05D46C5A3D8A}" dt="2023-06-12T13:35:22.239" v="15879" actId="478"/>
          <ac:grpSpMkLst>
            <pc:docMk/>
            <pc:sldMk cId="3480139383" sldId="230717708"/>
            <ac:grpSpMk id="52" creationId="{B869F3BD-9E3A-4302-A59E-8E7FA069697D}"/>
          </ac:grpSpMkLst>
        </pc:grpChg>
        <pc:grpChg chg="del">
          <ac:chgData name="El Bakkouri, Manal" userId="8b130982-2e3f-4164-b881-fd3a2e4b2453" providerId="ADAL" clId="{4457FA57-250B-44AC-8655-05D46C5A3D8A}" dt="2023-06-12T13:35:22.239" v="15879" actId="478"/>
          <ac:grpSpMkLst>
            <pc:docMk/>
            <pc:sldMk cId="3480139383" sldId="230717708"/>
            <ac:grpSpMk id="55" creationId="{C324BE12-3CA1-4358-9E81-FD4DF7F496C0}"/>
          </ac:grpSpMkLst>
        </pc:grpChg>
      </pc:sldChg>
      <pc:sldChg chg="addSp delSp modSp mod">
        <pc:chgData name="El Bakkouri, Manal" userId="8b130982-2e3f-4164-b881-fd3a2e4b2453" providerId="ADAL" clId="{4457FA57-250B-44AC-8655-05D46C5A3D8A}" dt="2023-06-12T13:35:29.671" v="15882"/>
        <pc:sldMkLst>
          <pc:docMk/>
          <pc:sldMk cId="1171884687" sldId="230717709"/>
        </pc:sldMkLst>
        <pc:spChg chg="mod">
          <ac:chgData name="El Bakkouri, Manal" userId="8b130982-2e3f-4164-b881-fd3a2e4b2453" providerId="ADAL" clId="{4457FA57-250B-44AC-8655-05D46C5A3D8A}" dt="2023-06-12T13:35:29.671" v="15882"/>
          <ac:spMkLst>
            <pc:docMk/>
            <pc:sldMk cId="1171884687" sldId="230717709"/>
            <ac:spMk id="30" creationId="{B24B6460-D323-44CE-85B0-259C9BD2F1CE}"/>
          </ac:spMkLst>
        </pc:spChg>
        <pc:spChg chg="mod">
          <ac:chgData name="El Bakkouri, Manal" userId="8b130982-2e3f-4164-b881-fd3a2e4b2453" providerId="ADAL" clId="{4457FA57-250B-44AC-8655-05D46C5A3D8A}" dt="2023-06-12T13:35:29.671" v="15882"/>
          <ac:spMkLst>
            <pc:docMk/>
            <pc:sldMk cId="1171884687" sldId="230717709"/>
            <ac:spMk id="31" creationId="{F23ADCC0-7A53-45DF-8BA7-E69CC60BAFC7}"/>
          </ac:spMkLst>
        </pc:spChg>
        <pc:spChg chg="mod">
          <ac:chgData name="El Bakkouri, Manal" userId="8b130982-2e3f-4164-b881-fd3a2e4b2453" providerId="ADAL" clId="{4457FA57-250B-44AC-8655-05D46C5A3D8A}" dt="2023-06-12T13:35:29.671" v="15882"/>
          <ac:spMkLst>
            <pc:docMk/>
            <pc:sldMk cId="1171884687" sldId="230717709"/>
            <ac:spMk id="33" creationId="{D010CF25-BB07-45D5-BC3A-71D5CE0238B4}"/>
          </ac:spMkLst>
        </pc:spChg>
        <pc:spChg chg="mod">
          <ac:chgData name="El Bakkouri, Manal" userId="8b130982-2e3f-4164-b881-fd3a2e4b2453" providerId="ADAL" clId="{4457FA57-250B-44AC-8655-05D46C5A3D8A}" dt="2023-06-12T13:35:29.671" v="15882"/>
          <ac:spMkLst>
            <pc:docMk/>
            <pc:sldMk cId="1171884687" sldId="230717709"/>
            <ac:spMk id="34" creationId="{FF66A350-6DE9-4206-81C4-9F23D228DD35}"/>
          </ac:spMkLst>
        </pc:spChg>
        <pc:spChg chg="mod">
          <ac:chgData name="El Bakkouri, Manal" userId="8b130982-2e3f-4164-b881-fd3a2e4b2453" providerId="ADAL" clId="{4457FA57-250B-44AC-8655-05D46C5A3D8A}" dt="2023-06-12T13:35:29.671" v="15882"/>
          <ac:spMkLst>
            <pc:docMk/>
            <pc:sldMk cId="1171884687" sldId="230717709"/>
            <ac:spMk id="36" creationId="{CDF49817-0A31-4CFD-930C-87168A5B45AB}"/>
          </ac:spMkLst>
        </pc:spChg>
        <pc:spChg chg="mod">
          <ac:chgData name="El Bakkouri, Manal" userId="8b130982-2e3f-4164-b881-fd3a2e4b2453" providerId="ADAL" clId="{4457FA57-250B-44AC-8655-05D46C5A3D8A}" dt="2023-06-12T13:35:29.671" v="15882"/>
          <ac:spMkLst>
            <pc:docMk/>
            <pc:sldMk cId="1171884687" sldId="230717709"/>
            <ac:spMk id="37" creationId="{130C1521-377F-47C2-B5BB-38656FD1A9D0}"/>
          </ac:spMkLst>
        </pc:spChg>
        <pc:spChg chg="mod">
          <ac:chgData name="El Bakkouri, Manal" userId="8b130982-2e3f-4164-b881-fd3a2e4b2453" providerId="ADAL" clId="{4457FA57-250B-44AC-8655-05D46C5A3D8A}" dt="2023-06-12T13:35:29.671" v="15882"/>
          <ac:spMkLst>
            <pc:docMk/>
            <pc:sldMk cId="1171884687" sldId="230717709"/>
            <ac:spMk id="42" creationId="{5CA0B776-C4E8-48CF-9267-13ED2E1F96A0}"/>
          </ac:spMkLst>
        </pc:spChg>
        <pc:spChg chg="mod">
          <ac:chgData name="El Bakkouri, Manal" userId="8b130982-2e3f-4164-b881-fd3a2e4b2453" providerId="ADAL" clId="{4457FA57-250B-44AC-8655-05D46C5A3D8A}" dt="2023-06-12T13:35:29.671" v="15882"/>
          <ac:spMkLst>
            <pc:docMk/>
            <pc:sldMk cId="1171884687" sldId="230717709"/>
            <ac:spMk id="45" creationId="{A5F9FCB4-DCD9-4717-8500-817E8ED65302}"/>
          </ac:spMkLst>
        </pc:spChg>
        <pc:spChg chg="del">
          <ac:chgData name="El Bakkouri, Manal" userId="8b130982-2e3f-4164-b881-fd3a2e4b2453" providerId="ADAL" clId="{4457FA57-250B-44AC-8655-05D46C5A3D8A}" dt="2023-06-12T13:35:29.134" v="15881" actId="478"/>
          <ac:spMkLst>
            <pc:docMk/>
            <pc:sldMk cId="1171884687" sldId="230717709"/>
            <ac:spMk id="57" creationId="{7C516218-20F0-47E7-AF98-A20A7B41F749}"/>
          </ac:spMkLst>
        </pc:spChg>
        <pc:spChg chg="del">
          <ac:chgData name="El Bakkouri, Manal" userId="8b130982-2e3f-4164-b881-fd3a2e4b2453" providerId="ADAL" clId="{4457FA57-250B-44AC-8655-05D46C5A3D8A}" dt="2023-06-12T13:35:29.134" v="15881" actId="478"/>
          <ac:spMkLst>
            <pc:docMk/>
            <pc:sldMk cId="1171884687" sldId="230717709"/>
            <ac:spMk id="58" creationId="{782419A5-AD73-41B9-BFEE-5EE698670EE7}"/>
          </ac:spMkLst>
        </pc:spChg>
        <pc:spChg chg="del">
          <ac:chgData name="El Bakkouri, Manal" userId="8b130982-2e3f-4164-b881-fd3a2e4b2453" providerId="ADAL" clId="{4457FA57-250B-44AC-8655-05D46C5A3D8A}" dt="2023-06-12T13:35:29.134" v="15881" actId="478"/>
          <ac:spMkLst>
            <pc:docMk/>
            <pc:sldMk cId="1171884687" sldId="230717709"/>
            <ac:spMk id="61" creationId="{421DA2C2-78D7-48E8-B0B8-0C972CFB1FE9}"/>
          </ac:spMkLst>
        </pc:spChg>
        <pc:spChg chg="del">
          <ac:chgData name="El Bakkouri, Manal" userId="8b130982-2e3f-4164-b881-fd3a2e4b2453" providerId="ADAL" clId="{4457FA57-250B-44AC-8655-05D46C5A3D8A}" dt="2023-06-12T13:35:29.134" v="15881" actId="478"/>
          <ac:spMkLst>
            <pc:docMk/>
            <pc:sldMk cId="1171884687" sldId="230717709"/>
            <ac:spMk id="62" creationId="{42DF8D30-CA4D-4BDB-A890-31E3D7FC0321}"/>
          </ac:spMkLst>
        </pc:spChg>
        <pc:spChg chg="mod">
          <ac:chgData name="El Bakkouri, Manal" userId="8b130982-2e3f-4164-b881-fd3a2e4b2453" providerId="ADAL" clId="{4457FA57-250B-44AC-8655-05D46C5A3D8A}" dt="2023-06-12T13:35:29.671" v="15882"/>
          <ac:spMkLst>
            <pc:docMk/>
            <pc:sldMk cId="1171884687" sldId="230717709"/>
            <ac:spMk id="63" creationId="{AD0234D2-0C79-4231-BA6C-D503B063FD95}"/>
          </ac:spMkLst>
        </pc:spChg>
        <pc:spChg chg="mod">
          <ac:chgData name="El Bakkouri, Manal" userId="8b130982-2e3f-4164-b881-fd3a2e4b2453" providerId="ADAL" clId="{4457FA57-250B-44AC-8655-05D46C5A3D8A}" dt="2023-06-12T13:35:29.671" v="15882"/>
          <ac:spMkLst>
            <pc:docMk/>
            <pc:sldMk cId="1171884687" sldId="230717709"/>
            <ac:spMk id="64" creationId="{2C57F333-6EA4-4640-B6DB-6B1933113E06}"/>
          </ac:spMkLst>
        </pc:spChg>
        <pc:spChg chg="add mod">
          <ac:chgData name="El Bakkouri, Manal" userId="8b130982-2e3f-4164-b881-fd3a2e4b2453" providerId="ADAL" clId="{4457FA57-250B-44AC-8655-05D46C5A3D8A}" dt="2023-06-12T13:35:29.671" v="15882"/>
          <ac:spMkLst>
            <pc:docMk/>
            <pc:sldMk cId="1171884687" sldId="230717709"/>
            <ac:spMk id="65" creationId="{5BE8472E-415A-4CF7-BA39-EFF7B8C2F044}"/>
          </ac:spMkLst>
        </pc:spChg>
        <pc:spChg chg="add mod">
          <ac:chgData name="El Bakkouri, Manal" userId="8b130982-2e3f-4164-b881-fd3a2e4b2453" providerId="ADAL" clId="{4457FA57-250B-44AC-8655-05D46C5A3D8A}" dt="2023-06-12T13:35:29.671" v="15882"/>
          <ac:spMkLst>
            <pc:docMk/>
            <pc:sldMk cId="1171884687" sldId="230717709"/>
            <ac:spMk id="66" creationId="{98A8125F-58FF-41DE-94EB-530474C9EECD}"/>
          </ac:spMkLst>
        </pc:spChg>
        <pc:spChg chg="add mod">
          <ac:chgData name="El Bakkouri, Manal" userId="8b130982-2e3f-4164-b881-fd3a2e4b2453" providerId="ADAL" clId="{4457FA57-250B-44AC-8655-05D46C5A3D8A}" dt="2023-06-12T13:35:29.671" v="15882"/>
          <ac:spMkLst>
            <pc:docMk/>
            <pc:sldMk cId="1171884687" sldId="230717709"/>
            <ac:spMk id="67" creationId="{1E1CCE95-9452-42F6-BC4B-F3766E9F43A5}"/>
          </ac:spMkLst>
        </pc:spChg>
        <pc:spChg chg="add mod">
          <ac:chgData name="El Bakkouri, Manal" userId="8b130982-2e3f-4164-b881-fd3a2e4b2453" providerId="ADAL" clId="{4457FA57-250B-44AC-8655-05D46C5A3D8A}" dt="2023-06-12T13:35:29.671" v="15882"/>
          <ac:spMkLst>
            <pc:docMk/>
            <pc:sldMk cId="1171884687" sldId="230717709"/>
            <ac:spMk id="68" creationId="{31B8BDE7-22FC-4C8E-A45E-836749755841}"/>
          </ac:spMkLst>
        </pc:spChg>
        <pc:grpChg chg="add mod">
          <ac:chgData name="El Bakkouri, Manal" userId="8b130982-2e3f-4164-b881-fd3a2e4b2453" providerId="ADAL" clId="{4457FA57-250B-44AC-8655-05D46C5A3D8A}" dt="2023-06-12T13:35:29.671" v="15882"/>
          <ac:grpSpMkLst>
            <pc:docMk/>
            <pc:sldMk cId="1171884687" sldId="230717709"/>
            <ac:grpSpMk id="29" creationId="{D44889FB-4F69-4BF0-B0FE-1D38DBA84FE1}"/>
          </ac:grpSpMkLst>
        </pc:grpChg>
        <pc:grpChg chg="add mod">
          <ac:chgData name="El Bakkouri, Manal" userId="8b130982-2e3f-4164-b881-fd3a2e4b2453" providerId="ADAL" clId="{4457FA57-250B-44AC-8655-05D46C5A3D8A}" dt="2023-06-12T13:35:29.671" v="15882"/>
          <ac:grpSpMkLst>
            <pc:docMk/>
            <pc:sldMk cId="1171884687" sldId="230717709"/>
            <ac:grpSpMk id="32" creationId="{9BCB4FF5-773B-478A-9A23-62FAA13CBB4F}"/>
          </ac:grpSpMkLst>
        </pc:grpChg>
        <pc:grpChg chg="add mod">
          <ac:chgData name="El Bakkouri, Manal" userId="8b130982-2e3f-4164-b881-fd3a2e4b2453" providerId="ADAL" clId="{4457FA57-250B-44AC-8655-05D46C5A3D8A}" dt="2023-06-12T13:35:29.671" v="15882"/>
          <ac:grpSpMkLst>
            <pc:docMk/>
            <pc:sldMk cId="1171884687" sldId="230717709"/>
            <ac:grpSpMk id="35" creationId="{4504F347-B823-42B9-9C71-077BBAF6F353}"/>
          </ac:grpSpMkLst>
        </pc:grpChg>
        <pc:grpChg chg="add mod">
          <ac:chgData name="El Bakkouri, Manal" userId="8b130982-2e3f-4164-b881-fd3a2e4b2453" providerId="ADAL" clId="{4457FA57-250B-44AC-8655-05D46C5A3D8A}" dt="2023-06-12T13:35:29.671" v="15882"/>
          <ac:grpSpMkLst>
            <pc:docMk/>
            <pc:sldMk cId="1171884687" sldId="230717709"/>
            <ac:grpSpMk id="38" creationId="{7A672025-5974-41A9-8F5C-BA4743A6F0A6}"/>
          </ac:grpSpMkLst>
        </pc:grpChg>
        <pc:grpChg chg="del">
          <ac:chgData name="El Bakkouri, Manal" userId="8b130982-2e3f-4164-b881-fd3a2e4b2453" providerId="ADAL" clId="{4457FA57-250B-44AC-8655-05D46C5A3D8A}" dt="2023-06-12T13:35:29.134" v="15881" actId="478"/>
          <ac:grpSpMkLst>
            <pc:docMk/>
            <pc:sldMk cId="1171884687" sldId="230717709"/>
            <ac:grpSpMk id="39" creationId="{7D6EC116-CC18-4DD8-93EA-091548DC6762}"/>
          </ac:grpSpMkLst>
        </pc:grpChg>
        <pc:grpChg chg="del">
          <ac:chgData name="El Bakkouri, Manal" userId="8b130982-2e3f-4164-b881-fd3a2e4b2453" providerId="ADAL" clId="{4457FA57-250B-44AC-8655-05D46C5A3D8A}" dt="2023-06-12T13:35:29.134" v="15881" actId="478"/>
          <ac:grpSpMkLst>
            <pc:docMk/>
            <pc:sldMk cId="1171884687" sldId="230717709"/>
            <ac:grpSpMk id="43" creationId="{03F5E109-F1B9-4762-830C-A0C00B28149B}"/>
          </ac:grpSpMkLst>
        </pc:grpChg>
        <pc:grpChg chg="add mod">
          <ac:chgData name="El Bakkouri, Manal" userId="8b130982-2e3f-4164-b881-fd3a2e4b2453" providerId="ADAL" clId="{4457FA57-250B-44AC-8655-05D46C5A3D8A}" dt="2023-06-12T13:35:29.671" v="15882"/>
          <ac:grpSpMkLst>
            <pc:docMk/>
            <pc:sldMk cId="1171884687" sldId="230717709"/>
            <ac:grpSpMk id="47" creationId="{CF143047-8892-4CE1-AC99-76F827AA90BE}"/>
          </ac:grpSpMkLst>
        </pc:grpChg>
        <pc:grpChg chg="del">
          <ac:chgData name="El Bakkouri, Manal" userId="8b130982-2e3f-4164-b881-fd3a2e4b2453" providerId="ADAL" clId="{4457FA57-250B-44AC-8655-05D46C5A3D8A}" dt="2023-06-12T13:35:29.134" v="15881" actId="478"/>
          <ac:grpSpMkLst>
            <pc:docMk/>
            <pc:sldMk cId="1171884687" sldId="230717709"/>
            <ac:grpSpMk id="48" creationId="{FB313139-B82A-4EFD-906B-385F222016B5}"/>
          </ac:grpSpMkLst>
        </pc:grpChg>
        <pc:grpChg chg="del">
          <ac:chgData name="El Bakkouri, Manal" userId="8b130982-2e3f-4164-b881-fd3a2e4b2453" providerId="ADAL" clId="{4457FA57-250B-44AC-8655-05D46C5A3D8A}" dt="2023-06-12T13:35:29.134" v="15881" actId="478"/>
          <ac:grpSpMkLst>
            <pc:docMk/>
            <pc:sldMk cId="1171884687" sldId="230717709"/>
            <ac:grpSpMk id="51" creationId="{C384D503-208A-4687-A4F2-B0ECF18B446C}"/>
          </ac:grpSpMkLst>
        </pc:grpChg>
        <pc:grpChg chg="del">
          <ac:chgData name="El Bakkouri, Manal" userId="8b130982-2e3f-4164-b881-fd3a2e4b2453" providerId="ADAL" clId="{4457FA57-250B-44AC-8655-05D46C5A3D8A}" dt="2023-06-12T13:35:29.134" v="15881" actId="478"/>
          <ac:grpSpMkLst>
            <pc:docMk/>
            <pc:sldMk cId="1171884687" sldId="230717709"/>
            <ac:grpSpMk id="54" creationId="{AB18138B-F51B-4AC0-869B-32254D7C3350}"/>
          </ac:grpSpMkLst>
        </pc:grpChg>
      </pc:sldChg>
      <pc:sldChg chg="addSp delSp modSp mod">
        <pc:chgData name="El Bakkouri, Manal" userId="8b130982-2e3f-4164-b881-fd3a2e4b2453" providerId="ADAL" clId="{4457FA57-250B-44AC-8655-05D46C5A3D8A}" dt="2023-06-12T13:37:31.361" v="15906"/>
        <pc:sldMkLst>
          <pc:docMk/>
          <pc:sldMk cId="389744111" sldId="230717710"/>
        </pc:sldMkLst>
        <pc:spChg chg="del">
          <ac:chgData name="El Bakkouri, Manal" userId="8b130982-2e3f-4164-b881-fd3a2e4b2453" providerId="ADAL" clId="{4457FA57-250B-44AC-8655-05D46C5A3D8A}" dt="2023-06-12T13:37:30.530" v="15905" actId="478"/>
          <ac:spMkLst>
            <pc:docMk/>
            <pc:sldMk cId="389744111" sldId="230717710"/>
            <ac:spMk id="10" creationId="{3D5DEBAD-EE21-4147-8022-15F2302CAFF4}"/>
          </ac:spMkLst>
        </pc:spChg>
        <pc:spChg chg="del">
          <ac:chgData name="El Bakkouri, Manal" userId="8b130982-2e3f-4164-b881-fd3a2e4b2453" providerId="ADAL" clId="{4457FA57-250B-44AC-8655-05D46C5A3D8A}" dt="2023-06-12T13:37:30.530" v="15905" actId="478"/>
          <ac:spMkLst>
            <pc:docMk/>
            <pc:sldMk cId="389744111" sldId="230717710"/>
            <ac:spMk id="11" creationId="{922A0F04-4F24-4EBA-AACB-25E139983E75}"/>
          </ac:spMkLst>
        </pc:spChg>
        <pc:spChg chg="del">
          <ac:chgData name="El Bakkouri, Manal" userId="8b130982-2e3f-4164-b881-fd3a2e4b2453" providerId="ADAL" clId="{4457FA57-250B-44AC-8655-05D46C5A3D8A}" dt="2023-06-12T13:37:30.530" v="15905" actId="478"/>
          <ac:spMkLst>
            <pc:docMk/>
            <pc:sldMk cId="389744111" sldId="230717710"/>
            <ac:spMk id="12" creationId="{BD265163-4FB0-4BF7-9B08-27E4EF456E4B}"/>
          </ac:spMkLst>
        </pc:spChg>
        <pc:spChg chg="del">
          <ac:chgData name="El Bakkouri, Manal" userId="8b130982-2e3f-4164-b881-fd3a2e4b2453" providerId="ADAL" clId="{4457FA57-250B-44AC-8655-05D46C5A3D8A}" dt="2023-06-12T13:37:30.530" v="15905" actId="478"/>
          <ac:spMkLst>
            <pc:docMk/>
            <pc:sldMk cId="389744111" sldId="230717710"/>
            <ac:spMk id="13" creationId="{CCD1FC7D-D577-4AAE-84A3-4617CE362D80}"/>
          </ac:spMkLst>
        </pc:spChg>
        <pc:spChg chg="del">
          <ac:chgData name="El Bakkouri, Manal" userId="8b130982-2e3f-4164-b881-fd3a2e4b2453" providerId="ADAL" clId="{4457FA57-250B-44AC-8655-05D46C5A3D8A}" dt="2023-06-12T13:37:30.530" v="15905" actId="478"/>
          <ac:spMkLst>
            <pc:docMk/>
            <pc:sldMk cId="389744111" sldId="230717710"/>
            <ac:spMk id="14" creationId="{80F3530F-1577-4FCE-A946-753F98785B3D}"/>
          </ac:spMkLst>
        </pc:spChg>
        <pc:spChg chg="del">
          <ac:chgData name="El Bakkouri, Manal" userId="8b130982-2e3f-4164-b881-fd3a2e4b2453" providerId="ADAL" clId="{4457FA57-250B-44AC-8655-05D46C5A3D8A}" dt="2023-06-12T13:37:30.530" v="15905" actId="478"/>
          <ac:spMkLst>
            <pc:docMk/>
            <pc:sldMk cId="389744111" sldId="230717710"/>
            <ac:spMk id="15" creationId="{7DEEA3FD-B6E0-4032-A5D4-A43A5B313F05}"/>
          </ac:spMkLst>
        </pc:spChg>
        <pc:spChg chg="del">
          <ac:chgData name="El Bakkouri, Manal" userId="8b130982-2e3f-4164-b881-fd3a2e4b2453" providerId="ADAL" clId="{4457FA57-250B-44AC-8655-05D46C5A3D8A}" dt="2023-06-12T13:37:30.530" v="15905" actId="478"/>
          <ac:spMkLst>
            <pc:docMk/>
            <pc:sldMk cId="389744111" sldId="230717710"/>
            <ac:spMk id="21" creationId="{B0FFF040-0F9E-4B20-BED5-E5C8DD0100B8}"/>
          </ac:spMkLst>
        </pc:spChg>
        <pc:spChg chg="del">
          <ac:chgData name="El Bakkouri, Manal" userId="8b130982-2e3f-4164-b881-fd3a2e4b2453" providerId="ADAL" clId="{4457FA57-250B-44AC-8655-05D46C5A3D8A}" dt="2023-06-12T13:37:30.530" v="15905" actId="478"/>
          <ac:spMkLst>
            <pc:docMk/>
            <pc:sldMk cId="389744111" sldId="230717710"/>
            <ac:spMk id="22" creationId="{E2176006-644A-4A5B-99F1-1AFE8006F848}"/>
          </ac:spMkLst>
        </pc:spChg>
        <pc:spChg chg="del">
          <ac:chgData name="El Bakkouri, Manal" userId="8b130982-2e3f-4164-b881-fd3a2e4b2453" providerId="ADAL" clId="{4457FA57-250B-44AC-8655-05D46C5A3D8A}" dt="2023-06-12T13:37:30.530" v="15905" actId="478"/>
          <ac:spMkLst>
            <pc:docMk/>
            <pc:sldMk cId="389744111" sldId="230717710"/>
            <ac:spMk id="23" creationId="{24D61433-AD04-4616-A749-0C43F730B4F3}"/>
          </ac:spMkLst>
        </pc:spChg>
        <pc:spChg chg="del">
          <ac:chgData name="El Bakkouri, Manal" userId="8b130982-2e3f-4164-b881-fd3a2e4b2453" providerId="ADAL" clId="{4457FA57-250B-44AC-8655-05D46C5A3D8A}" dt="2023-06-12T13:37:30.530" v="15905" actId="478"/>
          <ac:spMkLst>
            <pc:docMk/>
            <pc:sldMk cId="389744111" sldId="230717710"/>
            <ac:spMk id="25" creationId="{4D785009-428B-455A-A473-FE7C12AE2501}"/>
          </ac:spMkLst>
        </pc:spChg>
        <pc:spChg chg="add mod">
          <ac:chgData name="El Bakkouri, Manal" userId="8b130982-2e3f-4164-b881-fd3a2e4b2453" providerId="ADAL" clId="{4457FA57-250B-44AC-8655-05D46C5A3D8A}" dt="2023-06-12T13:37:31.361" v="15906"/>
          <ac:spMkLst>
            <pc:docMk/>
            <pc:sldMk cId="389744111" sldId="230717710"/>
            <ac:spMk id="27" creationId="{A6A6DFE1-29B8-4953-A607-A2E8C84D884A}"/>
          </ac:spMkLst>
        </pc:spChg>
        <pc:spChg chg="add mod">
          <ac:chgData name="El Bakkouri, Manal" userId="8b130982-2e3f-4164-b881-fd3a2e4b2453" providerId="ADAL" clId="{4457FA57-250B-44AC-8655-05D46C5A3D8A}" dt="2023-06-12T13:37:31.361" v="15906"/>
          <ac:spMkLst>
            <pc:docMk/>
            <pc:sldMk cId="389744111" sldId="230717710"/>
            <ac:spMk id="28" creationId="{8FB8DB8A-6305-45E7-AA32-98151D672F26}"/>
          </ac:spMkLst>
        </pc:spChg>
        <pc:spChg chg="add mod">
          <ac:chgData name="El Bakkouri, Manal" userId="8b130982-2e3f-4164-b881-fd3a2e4b2453" providerId="ADAL" clId="{4457FA57-250B-44AC-8655-05D46C5A3D8A}" dt="2023-06-12T13:37:31.361" v="15906"/>
          <ac:spMkLst>
            <pc:docMk/>
            <pc:sldMk cId="389744111" sldId="230717710"/>
            <ac:spMk id="30" creationId="{E698215D-2906-4AF3-8C95-9BB7C829056F}"/>
          </ac:spMkLst>
        </pc:spChg>
        <pc:spChg chg="add mod">
          <ac:chgData name="El Bakkouri, Manal" userId="8b130982-2e3f-4164-b881-fd3a2e4b2453" providerId="ADAL" clId="{4457FA57-250B-44AC-8655-05D46C5A3D8A}" dt="2023-06-12T13:37:31.361" v="15906"/>
          <ac:spMkLst>
            <pc:docMk/>
            <pc:sldMk cId="389744111" sldId="230717710"/>
            <ac:spMk id="31" creationId="{BD62E2C7-3684-42DD-8482-2C4FFDBBCAAA}"/>
          </ac:spMkLst>
        </pc:spChg>
        <pc:spChg chg="add mod">
          <ac:chgData name="El Bakkouri, Manal" userId="8b130982-2e3f-4164-b881-fd3a2e4b2453" providerId="ADAL" clId="{4457FA57-250B-44AC-8655-05D46C5A3D8A}" dt="2023-06-12T13:37:31.361" v="15906"/>
          <ac:spMkLst>
            <pc:docMk/>
            <pc:sldMk cId="389744111" sldId="230717710"/>
            <ac:spMk id="32" creationId="{F7B2160B-1041-40EE-B540-E3D94F9C560E}"/>
          </ac:spMkLst>
        </pc:spChg>
        <pc:spChg chg="add mod">
          <ac:chgData name="El Bakkouri, Manal" userId="8b130982-2e3f-4164-b881-fd3a2e4b2453" providerId="ADAL" clId="{4457FA57-250B-44AC-8655-05D46C5A3D8A}" dt="2023-06-12T13:37:31.361" v="15906"/>
          <ac:spMkLst>
            <pc:docMk/>
            <pc:sldMk cId="389744111" sldId="230717710"/>
            <ac:spMk id="33" creationId="{2DB1AE3D-F94D-4470-9EF6-29B8FC483F07}"/>
          </ac:spMkLst>
        </pc:spChg>
        <pc:spChg chg="add mod">
          <ac:chgData name="El Bakkouri, Manal" userId="8b130982-2e3f-4164-b881-fd3a2e4b2453" providerId="ADAL" clId="{4457FA57-250B-44AC-8655-05D46C5A3D8A}" dt="2023-06-12T13:37:31.361" v="15906"/>
          <ac:spMkLst>
            <pc:docMk/>
            <pc:sldMk cId="389744111" sldId="230717710"/>
            <ac:spMk id="34" creationId="{6BD95E57-0932-4C32-958A-4ED6B56A65A0}"/>
          </ac:spMkLst>
        </pc:spChg>
        <pc:spChg chg="add mod">
          <ac:chgData name="El Bakkouri, Manal" userId="8b130982-2e3f-4164-b881-fd3a2e4b2453" providerId="ADAL" clId="{4457FA57-250B-44AC-8655-05D46C5A3D8A}" dt="2023-06-12T13:37:31.361" v="15906"/>
          <ac:spMkLst>
            <pc:docMk/>
            <pc:sldMk cId="389744111" sldId="230717710"/>
            <ac:spMk id="35" creationId="{6F7BC709-8599-4CED-A93D-E384204C1B0C}"/>
          </ac:spMkLst>
        </pc:spChg>
        <pc:spChg chg="add mod">
          <ac:chgData name="El Bakkouri, Manal" userId="8b130982-2e3f-4164-b881-fd3a2e4b2453" providerId="ADAL" clId="{4457FA57-250B-44AC-8655-05D46C5A3D8A}" dt="2023-06-12T13:37:31.361" v="15906"/>
          <ac:spMkLst>
            <pc:docMk/>
            <pc:sldMk cId="389744111" sldId="230717710"/>
            <ac:spMk id="36" creationId="{49EB29D1-7A85-44D5-9A18-3C3C165698FC}"/>
          </ac:spMkLst>
        </pc:spChg>
        <pc:spChg chg="add mod">
          <ac:chgData name="El Bakkouri, Manal" userId="8b130982-2e3f-4164-b881-fd3a2e4b2453" providerId="ADAL" clId="{4457FA57-250B-44AC-8655-05D46C5A3D8A}" dt="2023-06-12T13:37:31.361" v="15906"/>
          <ac:spMkLst>
            <pc:docMk/>
            <pc:sldMk cId="389744111" sldId="230717710"/>
            <ac:spMk id="37" creationId="{9C6BED86-5A20-48B1-B50E-87DD16270C76}"/>
          </ac:spMkLst>
        </pc:spChg>
      </pc:sldChg>
      <pc:sldChg chg="addSp delSp modSp mod modNotesTx">
        <pc:chgData name="El Bakkouri, Manal" userId="8b130982-2e3f-4164-b881-fd3a2e4b2453" providerId="ADAL" clId="{4457FA57-250B-44AC-8655-05D46C5A3D8A}" dt="2023-06-12T13:34:58.159" v="15876"/>
        <pc:sldMkLst>
          <pc:docMk/>
          <pc:sldMk cId="2979480581" sldId="230717711"/>
        </pc:sldMkLst>
        <pc:spChg chg="mod">
          <ac:chgData name="El Bakkouri, Manal" userId="8b130982-2e3f-4164-b881-fd3a2e4b2453" providerId="ADAL" clId="{4457FA57-250B-44AC-8655-05D46C5A3D8A}" dt="2023-06-12T13:34:58.159" v="15876"/>
          <ac:spMkLst>
            <pc:docMk/>
            <pc:sldMk cId="2979480581" sldId="230717711"/>
            <ac:spMk id="47" creationId="{0B9D3D2A-BC81-46AE-AD84-6202268C6D1B}"/>
          </ac:spMkLst>
        </pc:spChg>
        <pc:spChg chg="mod">
          <ac:chgData name="El Bakkouri, Manal" userId="8b130982-2e3f-4164-b881-fd3a2e4b2453" providerId="ADAL" clId="{4457FA57-250B-44AC-8655-05D46C5A3D8A}" dt="2023-06-12T13:34:58.159" v="15876"/>
          <ac:spMkLst>
            <pc:docMk/>
            <pc:sldMk cId="2979480581" sldId="230717711"/>
            <ac:spMk id="50" creationId="{70049C41-0D61-42D3-A4A4-319F36EBDA0D}"/>
          </ac:spMkLst>
        </pc:spChg>
        <pc:spChg chg="mod">
          <ac:chgData name="El Bakkouri, Manal" userId="8b130982-2e3f-4164-b881-fd3a2e4b2453" providerId="ADAL" clId="{4457FA57-250B-44AC-8655-05D46C5A3D8A}" dt="2023-06-12T13:34:58.159" v="15876"/>
          <ac:spMkLst>
            <pc:docMk/>
            <pc:sldMk cId="2979480581" sldId="230717711"/>
            <ac:spMk id="52" creationId="{4BFAB226-B128-4071-BC4E-7A7177FF75B7}"/>
          </ac:spMkLst>
        </pc:spChg>
        <pc:spChg chg="mod">
          <ac:chgData name="El Bakkouri, Manal" userId="8b130982-2e3f-4164-b881-fd3a2e4b2453" providerId="ADAL" clId="{4457FA57-250B-44AC-8655-05D46C5A3D8A}" dt="2023-06-12T13:34:58.159" v="15876"/>
          <ac:spMkLst>
            <pc:docMk/>
            <pc:sldMk cId="2979480581" sldId="230717711"/>
            <ac:spMk id="53" creationId="{C7AB9224-F4F5-49BA-ADDF-51C84E71FE17}"/>
          </ac:spMkLst>
        </pc:spChg>
        <pc:spChg chg="mod">
          <ac:chgData name="El Bakkouri, Manal" userId="8b130982-2e3f-4164-b881-fd3a2e4b2453" providerId="ADAL" clId="{4457FA57-250B-44AC-8655-05D46C5A3D8A}" dt="2023-06-12T13:34:58.159" v="15876"/>
          <ac:spMkLst>
            <pc:docMk/>
            <pc:sldMk cId="2979480581" sldId="230717711"/>
            <ac:spMk id="55" creationId="{BFC3A03D-E251-459C-B222-2435E7478A2F}"/>
          </ac:spMkLst>
        </pc:spChg>
        <pc:spChg chg="mod">
          <ac:chgData name="El Bakkouri, Manal" userId="8b130982-2e3f-4164-b881-fd3a2e4b2453" providerId="ADAL" clId="{4457FA57-250B-44AC-8655-05D46C5A3D8A}" dt="2023-06-12T13:34:58.159" v="15876"/>
          <ac:spMkLst>
            <pc:docMk/>
            <pc:sldMk cId="2979480581" sldId="230717711"/>
            <ac:spMk id="56" creationId="{7A322990-A1A3-43A6-A6B8-656356828B56}"/>
          </ac:spMkLst>
        </pc:spChg>
        <pc:spChg chg="mod">
          <ac:chgData name="El Bakkouri, Manal" userId="8b130982-2e3f-4164-b881-fd3a2e4b2453" providerId="ADAL" clId="{4457FA57-250B-44AC-8655-05D46C5A3D8A}" dt="2023-06-12T13:34:58.159" v="15876"/>
          <ac:spMkLst>
            <pc:docMk/>
            <pc:sldMk cId="2979480581" sldId="230717711"/>
            <ac:spMk id="58" creationId="{EB65D997-C47A-4F35-BC68-B511BD84BE81}"/>
          </ac:spMkLst>
        </pc:spChg>
        <pc:spChg chg="mod">
          <ac:chgData name="El Bakkouri, Manal" userId="8b130982-2e3f-4164-b881-fd3a2e4b2453" providerId="ADAL" clId="{4457FA57-250B-44AC-8655-05D46C5A3D8A}" dt="2023-06-12T13:34:58.159" v="15876"/>
          <ac:spMkLst>
            <pc:docMk/>
            <pc:sldMk cId="2979480581" sldId="230717711"/>
            <ac:spMk id="66" creationId="{786A5EF0-A13C-415A-A272-CCC159A41F71}"/>
          </ac:spMkLst>
        </pc:spChg>
        <pc:spChg chg="mod">
          <ac:chgData name="El Bakkouri, Manal" userId="8b130982-2e3f-4164-b881-fd3a2e4b2453" providerId="ADAL" clId="{4457FA57-250B-44AC-8655-05D46C5A3D8A}" dt="2023-06-12T13:34:58.159" v="15876"/>
          <ac:spMkLst>
            <pc:docMk/>
            <pc:sldMk cId="2979480581" sldId="230717711"/>
            <ac:spMk id="74" creationId="{EDA0F491-FED2-447F-AE0D-CC179242AA1D}"/>
          </ac:spMkLst>
        </pc:spChg>
        <pc:spChg chg="mod">
          <ac:chgData name="El Bakkouri, Manal" userId="8b130982-2e3f-4164-b881-fd3a2e4b2453" providerId="ADAL" clId="{4457FA57-250B-44AC-8655-05D46C5A3D8A}" dt="2023-06-12T13:34:58.159" v="15876"/>
          <ac:spMkLst>
            <pc:docMk/>
            <pc:sldMk cId="2979480581" sldId="230717711"/>
            <ac:spMk id="75" creationId="{53082685-6CE6-4C87-88A4-0A68AB890BD9}"/>
          </ac:spMkLst>
        </pc:spChg>
        <pc:spChg chg="add mod">
          <ac:chgData name="El Bakkouri, Manal" userId="8b130982-2e3f-4164-b881-fd3a2e4b2453" providerId="ADAL" clId="{4457FA57-250B-44AC-8655-05D46C5A3D8A}" dt="2023-06-12T13:34:58.159" v="15876"/>
          <ac:spMkLst>
            <pc:docMk/>
            <pc:sldMk cId="2979480581" sldId="230717711"/>
            <ac:spMk id="76" creationId="{3167FA11-997C-45D8-8B76-A85AA6971A55}"/>
          </ac:spMkLst>
        </pc:spChg>
        <pc:spChg chg="add mod">
          <ac:chgData name="El Bakkouri, Manal" userId="8b130982-2e3f-4164-b881-fd3a2e4b2453" providerId="ADAL" clId="{4457FA57-250B-44AC-8655-05D46C5A3D8A}" dt="2023-06-12T13:34:58.159" v="15876"/>
          <ac:spMkLst>
            <pc:docMk/>
            <pc:sldMk cId="2979480581" sldId="230717711"/>
            <ac:spMk id="77" creationId="{D1D23C88-3249-4C1E-ABD5-62A2B9A2BB70}"/>
          </ac:spMkLst>
        </pc:spChg>
        <pc:spChg chg="del">
          <ac:chgData name="El Bakkouri, Manal" userId="8b130982-2e3f-4164-b881-fd3a2e4b2453" providerId="ADAL" clId="{4457FA57-250B-44AC-8655-05D46C5A3D8A}" dt="2023-06-12T13:34:57.581" v="15875" actId="478"/>
          <ac:spMkLst>
            <pc:docMk/>
            <pc:sldMk cId="2979480581" sldId="230717711"/>
            <ac:spMk id="78" creationId="{DADB0A59-E9DF-4F01-B6F1-320099DC518F}"/>
          </ac:spMkLst>
        </pc:spChg>
        <pc:spChg chg="del">
          <ac:chgData name="El Bakkouri, Manal" userId="8b130982-2e3f-4164-b881-fd3a2e4b2453" providerId="ADAL" clId="{4457FA57-250B-44AC-8655-05D46C5A3D8A}" dt="2023-06-12T13:34:57.581" v="15875" actId="478"/>
          <ac:spMkLst>
            <pc:docMk/>
            <pc:sldMk cId="2979480581" sldId="230717711"/>
            <ac:spMk id="79" creationId="{F13475A0-ADC1-483A-BAC4-6BA11A76EBDB}"/>
          </ac:spMkLst>
        </pc:spChg>
        <pc:spChg chg="del">
          <ac:chgData name="El Bakkouri, Manal" userId="8b130982-2e3f-4164-b881-fd3a2e4b2453" providerId="ADAL" clId="{4457FA57-250B-44AC-8655-05D46C5A3D8A}" dt="2023-06-12T13:34:57.581" v="15875" actId="478"/>
          <ac:spMkLst>
            <pc:docMk/>
            <pc:sldMk cId="2979480581" sldId="230717711"/>
            <ac:spMk id="80" creationId="{59F1D7D1-1DB0-4EC1-946F-A2BFCAC7A57C}"/>
          </ac:spMkLst>
        </pc:spChg>
        <pc:spChg chg="del">
          <ac:chgData name="El Bakkouri, Manal" userId="8b130982-2e3f-4164-b881-fd3a2e4b2453" providerId="ADAL" clId="{4457FA57-250B-44AC-8655-05D46C5A3D8A}" dt="2023-06-12T13:34:57.581" v="15875" actId="478"/>
          <ac:spMkLst>
            <pc:docMk/>
            <pc:sldMk cId="2979480581" sldId="230717711"/>
            <ac:spMk id="81" creationId="{22543970-E163-411B-A4F6-E0D75F2F672A}"/>
          </ac:spMkLst>
        </pc:spChg>
        <pc:spChg chg="add mod">
          <ac:chgData name="El Bakkouri, Manal" userId="8b130982-2e3f-4164-b881-fd3a2e4b2453" providerId="ADAL" clId="{4457FA57-250B-44AC-8655-05D46C5A3D8A}" dt="2023-06-12T13:34:58.159" v="15876"/>
          <ac:spMkLst>
            <pc:docMk/>
            <pc:sldMk cId="2979480581" sldId="230717711"/>
            <ac:spMk id="82" creationId="{6C723D65-77CB-45AE-8991-AE6B36CD6C78}"/>
          </ac:spMkLst>
        </pc:spChg>
        <pc:spChg chg="add mod">
          <ac:chgData name="El Bakkouri, Manal" userId="8b130982-2e3f-4164-b881-fd3a2e4b2453" providerId="ADAL" clId="{4457FA57-250B-44AC-8655-05D46C5A3D8A}" dt="2023-06-12T13:34:58.159" v="15876"/>
          <ac:spMkLst>
            <pc:docMk/>
            <pc:sldMk cId="2979480581" sldId="230717711"/>
            <ac:spMk id="83" creationId="{6EB2093D-873D-4AB4-B331-25872AB93DCC}"/>
          </ac:spMkLst>
        </pc:spChg>
        <pc:grpChg chg="del">
          <ac:chgData name="El Bakkouri, Manal" userId="8b130982-2e3f-4164-b881-fd3a2e4b2453" providerId="ADAL" clId="{4457FA57-250B-44AC-8655-05D46C5A3D8A}" dt="2023-06-12T13:34:57.581" v="15875" actId="478"/>
          <ac:grpSpMkLst>
            <pc:docMk/>
            <pc:sldMk cId="2979480581" sldId="230717711"/>
            <ac:grpSpMk id="43" creationId="{9BCFC71C-9E89-4CCA-9FBF-32346518526A}"/>
          </ac:grpSpMkLst>
        </pc:grpChg>
        <pc:grpChg chg="add mod">
          <ac:chgData name="El Bakkouri, Manal" userId="8b130982-2e3f-4164-b881-fd3a2e4b2453" providerId="ADAL" clId="{4457FA57-250B-44AC-8655-05D46C5A3D8A}" dt="2023-06-12T13:34:58.159" v="15876"/>
          <ac:grpSpMkLst>
            <pc:docMk/>
            <pc:sldMk cId="2979480581" sldId="230717711"/>
            <ac:grpSpMk id="45" creationId="{1675D6DE-3D87-41FE-9AAA-1C638D44219A}"/>
          </ac:grpSpMkLst>
        </pc:grpChg>
        <pc:grpChg chg="del">
          <ac:chgData name="El Bakkouri, Manal" userId="8b130982-2e3f-4164-b881-fd3a2e4b2453" providerId="ADAL" clId="{4457FA57-250B-44AC-8655-05D46C5A3D8A}" dt="2023-06-12T13:34:57.581" v="15875" actId="478"/>
          <ac:grpSpMkLst>
            <pc:docMk/>
            <pc:sldMk cId="2979480581" sldId="230717711"/>
            <ac:grpSpMk id="48" creationId="{964E4B98-764D-4152-ADC2-4410BE798A0A}"/>
          </ac:grpSpMkLst>
        </pc:grpChg>
        <pc:grpChg chg="add mod">
          <ac:chgData name="El Bakkouri, Manal" userId="8b130982-2e3f-4164-b881-fd3a2e4b2453" providerId="ADAL" clId="{4457FA57-250B-44AC-8655-05D46C5A3D8A}" dt="2023-06-12T13:34:58.159" v="15876"/>
          <ac:grpSpMkLst>
            <pc:docMk/>
            <pc:sldMk cId="2979480581" sldId="230717711"/>
            <ac:grpSpMk id="51" creationId="{503D1DB1-B60D-4871-A8C4-127D7FBB52A8}"/>
          </ac:grpSpMkLst>
        </pc:grpChg>
        <pc:grpChg chg="add mod">
          <ac:chgData name="El Bakkouri, Manal" userId="8b130982-2e3f-4164-b881-fd3a2e4b2453" providerId="ADAL" clId="{4457FA57-250B-44AC-8655-05D46C5A3D8A}" dt="2023-06-12T13:34:58.159" v="15876"/>
          <ac:grpSpMkLst>
            <pc:docMk/>
            <pc:sldMk cId="2979480581" sldId="230717711"/>
            <ac:grpSpMk id="54" creationId="{2C44FC2A-4C86-42DC-88B7-92537382740E}"/>
          </ac:grpSpMkLst>
        </pc:grpChg>
        <pc:grpChg chg="add mod">
          <ac:chgData name="El Bakkouri, Manal" userId="8b130982-2e3f-4164-b881-fd3a2e4b2453" providerId="ADAL" clId="{4457FA57-250B-44AC-8655-05D46C5A3D8A}" dt="2023-06-12T13:34:58.159" v="15876"/>
          <ac:grpSpMkLst>
            <pc:docMk/>
            <pc:sldMk cId="2979480581" sldId="230717711"/>
            <ac:grpSpMk id="57" creationId="{EA6C5884-F5C1-406B-8291-CE47BA36F2A6}"/>
          </ac:grpSpMkLst>
        </pc:grpChg>
        <pc:grpChg chg="del">
          <ac:chgData name="El Bakkouri, Manal" userId="8b130982-2e3f-4164-b881-fd3a2e4b2453" providerId="ADAL" clId="{4457FA57-250B-44AC-8655-05D46C5A3D8A}" dt="2023-06-12T13:34:57.581" v="15875" actId="478"/>
          <ac:grpSpMkLst>
            <pc:docMk/>
            <pc:sldMk cId="2979480581" sldId="230717711"/>
            <ac:grpSpMk id="63" creationId="{882D1CAB-F3DA-4BA4-9C8D-6CEDDFCFA778}"/>
          </ac:grpSpMkLst>
        </pc:grpChg>
        <pc:grpChg chg="del">
          <ac:chgData name="El Bakkouri, Manal" userId="8b130982-2e3f-4164-b881-fd3a2e4b2453" providerId="ADAL" clId="{4457FA57-250B-44AC-8655-05D46C5A3D8A}" dt="2023-06-12T13:34:57.581" v="15875" actId="478"/>
          <ac:grpSpMkLst>
            <pc:docMk/>
            <pc:sldMk cId="2979480581" sldId="230717711"/>
            <ac:grpSpMk id="67" creationId="{4C18F107-C3BF-4FE1-BA9B-93BC988FE854}"/>
          </ac:grpSpMkLst>
        </pc:grpChg>
        <pc:grpChg chg="del">
          <ac:chgData name="El Bakkouri, Manal" userId="8b130982-2e3f-4164-b881-fd3a2e4b2453" providerId="ADAL" clId="{4457FA57-250B-44AC-8655-05D46C5A3D8A}" dt="2023-06-12T13:34:57.581" v="15875" actId="478"/>
          <ac:grpSpMkLst>
            <pc:docMk/>
            <pc:sldMk cId="2979480581" sldId="230717711"/>
            <ac:grpSpMk id="70" creationId="{693CFACB-2110-4D43-907C-907A718CC4CA}"/>
          </ac:grpSpMkLst>
        </pc:grpChg>
        <pc:grpChg chg="add mod">
          <ac:chgData name="El Bakkouri, Manal" userId="8b130982-2e3f-4164-b881-fd3a2e4b2453" providerId="ADAL" clId="{4457FA57-250B-44AC-8655-05D46C5A3D8A}" dt="2023-06-12T13:34:58.159" v="15876"/>
          <ac:grpSpMkLst>
            <pc:docMk/>
            <pc:sldMk cId="2979480581" sldId="230717711"/>
            <ac:grpSpMk id="73" creationId="{D76B78FC-59EC-4C29-961C-336EB371139B}"/>
          </ac:grpSpMkLst>
        </pc:grpChg>
      </pc:sldChg>
      <pc:sldChg chg="addSp delSp modSp mod modNotesTx">
        <pc:chgData name="El Bakkouri, Manal" userId="8b130982-2e3f-4164-b881-fd3a2e4b2453" providerId="ADAL" clId="{4457FA57-250B-44AC-8655-05D46C5A3D8A}" dt="2023-06-12T13:30:11.723" v="15823"/>
        <pc:sldMkLst>
          <pc:docMk/>
          <pc:sldMk cId="800710135" sldId="230717712"/>
        </pc:sldMkLst>
        <pc:spChg chg="add mod">
          <ac:chgData name="El Bakkouri, Manal" userId="8b130982-2e3f-4164-b881-fd3a2e4b2453" providerId="ADAL" clId="{4457FA57-250B-44AC-8655-05D46C5A3D8A}" dt="2023-06-12T13:30:11.723" v="15823"/>
          <ac:spMkLst>
            <pc:docMk/>
            <pc:sldMk cId="800710135" sldId="230717712"/>
            <ac:spMk id="67" creationId="{D44D4C6F-985C-45DA-9246-F667A3C56AAE}"/>
          </ac:spMkLst>
        </pc:spChg>
        <pc:spChg chg="del">
          <ac:chgData name="El Bakkouri, Manal" userId="8b130982-2e3f-4164-b881-fd3a2e4b2453" providerId="ADAL" clId="{4457FA57-250B-44AC-8655-05D46C5A3D8A}" dt="2023-06-12T13:30:10.561" v="15822" actId="478"/>
          <ac:spMkLst>
            <pc:docMk/>
            <pc:sldMk cId="800710135" sldId="230717712"/>
            <ac:spMk id="68" creationId="{A976559C-24C2-45DD-BBCD-7423846E4419}"/>
          </ac:spMkLst>
        </pc:spChg>
        <pc:spChg chg="del">
          <ac:chgData name="El Bakkouri, Manal" userId="8b130982-2e3f-4164-b881-fd3a2e4b2453" providerId="ADAL" clId="{4457FA57-250B-44AC-8655-05D46C5A3D8A}" dt="2023-06-12T13:30:10.561" v="15822" actId="478"/>
          <ac:spMkLst>
            <pc:docMk/>
            <pc:sldMk cId="800710135" sldId="230717712"/>
            <ac:spMk id="69" creationId="{6B6A274D-A33C-4E8C-A0ED-F0B6C80449EA}"/>
          </ac:spMkLst>
        </pc:spChg>
        <pc:spChg chg="del">
          <ac:chgData name="El Bakkouri, Manal" userId="8b130982-2e3f-4164-b881-fd3a2e4b2453" providerId="ADAL" clId="{4457FA57-250B-44AC-8655-05D46C5A3D8A}" dt="2023-06-12T13:30:10.561" v="15822" actId="478"/>
          <ac:spMkLst>
            <pc:docMk/>
            <pc:sldMk cId="800710135" sldId="230717712"/>
            <ac:spMk id="70" creationId="{73485155-9AE0-4138-A179-8100FC46D656}"/>
          </ac:spMkLst>
        </pc:spChg>
        <pc:spChg chg="del">
          <ac:chgData name="El Bakkouri, Manal" userId="8b130982-2e3f-4164-b881-fd3a2e4b2453" providerId="ADAL" clId="{4457FA57-250B-44AC-8655-05D46C5A3D8A}" dt="2023-06-12T13:30:10.561" v="15822" actId="478"/>
          <ac:spMkLst>
            <pc:docMk/>
            <pc:sldMk cId="800710135" sldId="230717712"/>
            <ac:spMk id="71" creationId="{2DE5DF13-B5A2-45C9-A49F-09C9CD327BCA}"/>
          </ac:spMkLst>
        </pc:spChg>
        <pc:spChg chg="add mod">
          <ac:chgData name="El Bakkouri, Manal" userId="8b130982-2e3f-4164-b881-fd3a2e4b2453" providerId="ADAL" clId="{4457FA57-250B-44AC-8655-05D46C5A3D8A}" dt="2023-06-12T13:30:11.723" v="15823"/>
          <ac:spMkLst>
            <pc:docMk/>
            <pc:sldMk cId="800710135" sldId="230717712"/>
            <ac:spMk id="72" creationId="{E1990BF4-2F62-4ECF-870B-C3D4428C86A5}"/>
          </ac:spMkLst>
        </pc:spChg>
        <pc:spChg chg="add mod">
          <ac:chgData name="El Bakkouri, Manal" userId="8b130982-2e3f-4164-b881-fd3a2e4b2453" providerId="ADAL" clId="{4457FA57-250B-44AC-8655-05D46C5A3D8A}" dt="2023-06-12T13:30:11.723" v="15823"/>
          <ac:spMkLst>
            <pc:docMk/>
            <pc:sldMk cId="800710135" sldId="230717712"/>
            <ac:spMk id="73" creationId="{4C67A1DD-B02A-4240-9CF0-7E2221509CD2}"/>
          </ac:spMkLst>
        </pc:spChg>
        <pc:spChg chg="add mod">
          <ac:chgData name="El Bakkouri, Manal" userId="8b130982-2e3f-4164-b881-fd3a2e4b2453" providerId="ADAL" clId="{4457FA57-250B-44AC-8655-05D46C5A3D8A}" dt="2023-06-12T13:30:11.723" v="15823"/>
          <ac:spMkLst>
            <pc:docMk/>
            <pc:sldMk cId="800710135" sldId="230717712"/>
            <ac:spMk id="74" creationId="{EA2EF373-334E-40A9-8F5A-F722A54926E6}"/>
          </ac:spMkLst>
        </pc:spChg>
        <pc:spChg chg="del">
          <ac:chgData name="El Bakkouri, Manal" userId="8b130982-2e3f-4164-b881-fd3a2e4b2453" providerId="ADAL" clId="{4457FA57-250B-44AC-8655-05D46C5A3D8A}" dt="2023-06-12T13:30:10.561" v="15822" actId="478"/>
          <ac:spMkLst>
            <pc:docMk/>
            <pc:sldMk cId="800710135" sldId="230717712"/>
            <ac:spMk id="75" creationId="{CB4896AB-BF01-489F-9609-B12B0CCD17AC}"/>
          </ac:spMkLst>
        </pc:spChg>
        <pc:spChg chg="del">
          <ac:chgData name="El Bakkouri, Manal" userId="8b130982-2e3f-4164-b881-fd3a2e4b2453" providerId="ADAL" clId="{4457FA57-250B-44AC-8655-05D46C5A3D8A}" dt="2023-06-12T13:30:10.561" v="15822" actId="478"/>
          <ac:spMkLst>
            <pc:docMk/>
            <pc:sldMk cId="800710135" sldId="230717712"/>
            <ac:spMk id="76" creationId="{DAA005E4-40A9-4D49-8571-24594C171603}"/>
          </ac:spMkLst>
        </pc:spChg>
        <pc:spChg chg="add mod">
          <ac:chgData name="El Bakkouri, Manal" userId="8b130982-2e3f-4164-b881-fd3a2e4b2453" providerId="ADAL" clId="{4457FA57-250B-44AC-8655-05D46C5A3D8A}" dt="2023-06-12T13:30:11.723" v="15823"/>
          <ac:spMkLst>
            <pc:docMk/>
            <pc:sldMk cId="800710135" sldId="230717712"/>
            <ac:spMk id="77" creationId="{AE222612-8157-4765-932F-ECC2FBC1B2DA}"/>
          </ac:spMkLst>
        </pc:spChg>
        <pc:spChg chg="del">
          <ac:chgData name="El Bakkouri, Manal" userId="8b130982-2e3f-4164-b881-fd3a2e4b2453" providerId="ADAL" clId="{4457FA57-250B-44AC-8655-05D46C5A3D8A}" dt="2023-06-12T13:30:10.561" v="15822" actId="478"/>
          <ac:spMkLst>
            <pc:docMk/>
            <pc:sldMk cId="800710135" sldId="230717712"/>
            <ac:spMk id="78" creationId="{B0C60EF5-3048-40DE-BF4A-65F9E4D72BCD}"/>
          </ac:spMkLst>
        </pc:spChg>
        <pc:spChg chg="del">
          <ac:chgData name="El Bakkouri, Manal" userId="8b130982-2e3f-4164-b881-fd3a2e4b2453" providerId="ADAL" clId="{4457FA57-250B-44AC-8655-05D46C5A3D8A}" dt="2023-06-12T13:30:10.561" v="15822" actId="478"/>
          <ac:spMkLst>
            <pc:docMk/>
            <pc:sldMk cId="800710135" sldId="230717712"/>
            <ac:spMk id="79" creationId="{737529D2-E5BC-4121-84A7-D1EA515EC88A}"/>
          </ac:spMkLst>
        </pc:spChg>
        <pc:spChg chg="del">
          <ac:chgData name="El Bakkouri, Manal" userId="8b130982-2e3f-4164-b881-fd3a2e4b2453" providerId="ADAL" clId="{4457FA57-250B-44AC-8655-05D46C5A3D8A}" dt="2023-06-12T13:30:10.561" v="15822" actId="478"/>
          <ac:spMkLst>
            <pc:docMk/>
            <pc:sldMk cId="800710135" sldId="230717712"/>
            <ac:spMk id="80" creationId="{B6248E2D-2A6B-40BD-9F3A-D2DC50C0D106}"/>
          </ac:spMkLst>
        </pc:spChg>
        <pc:spChg chg="del">
          <ac:chgData name="El Bakkouri, Manal" userId="8b130982-2e3f-4164-b881-fd3a2e4b2453" providerId="ADAL" clId="{4457FA57-250B-44AC-8655-05D46C5A3D8A}" dt="2023-06-12T13:30:10.561" v="15822" actId="478"/>
          <ac:spMkLst>
            <pc:docMk/>
            <pc:sldMk cId="800710135" sldId="230717712"/>
            <ac:spMk id="81" creationId="{9804FF7E-BFF3-41DD-9420-17E4AFEC4386}"/>
          </ac:spMkLst>
        </pc:spChg>
        <pc:spChg chg="add mod">
          <ac:chgData name="El Bakkouri, Manal" userId="8b130982-2e3f-4164-b881-fd3a2e4b2453" providerId="ADAL" clId="{4457FA57-250B-44AC-8655-05D46C5A3D8A}" dt="2023-06-12T13:30:11.723" v="15823"/>
          <ac:spMkLst>
            <pc:docMk/>
            <pc:sldMk cId="800710135" sldId="230717712"/>
            <ac:spMk id="82" creationId="{2D8446CE-31B9-485B-8C0A-4954ABF3BF2E}"/>
          </ac:spMkLst>
        </pc:spChg>
        <pc:spChg chg="add mod">
          <ac:chgData name="El Bakkouri, Manal" userId="8b130982-2e3f-4164-b881-fd3a2e4b2453" providerId="ADAL" clId="{4457FA57-250B-44AC-8655-05D46C5A3D8A}" dt="2023-06-12T13:30:11.723" v="15823"/>
          <ac:spMkLst>
            <pc:docMk/>
            <pc:sldMk cId="800710135" sldId="230717712"/>
            <ac:spMk id="83" creationId="{6F68B69B-9603-4776-BBEA-A2D810BD292B}"/>
          </ac:spMkLst>
        </pc:spChg>
        <pc:spChg chg="add mod">
          <ac:chgData name="El Bakkouri, Manal" userId="8b130982-2e3f-4164-b881-fd3a2e4b2453" providerId="ADAL" clId="{4457FA57-250B-44AC-8655-05D46C5A3D8A}" dt="2023-06-12T13:30:11.723" v="15823"/>
          <ac:spMkLst>
            <pc:docMk/>
            <pc:sldMk cId="800710135" sldId="230717712"/>
            <ac:spMk id="84" creationId="{E2B9853B-A126-481A-B8FC-5B64138C8FC6}"/>
          </ac:spMkLst>
        </pc:spChg>
        <pc:spChg chg="add mod">
          <ac:chgData name="El Bakkouri, Manal" userId="8b130982-2e3f-4164-b881-fd3a2e4b2453" providerId="ADAL" clId="{4457FA57-250B-44AC-8655-05D46C5A3D8A}" dt="2023-06-12T13:30:11.723" v="15823"/>
          <ac:spMkLst>
            <pc:docMk/>
            <pc:sldMk cId="800710135" sldId="230717712"/>
            <ac:spMk id="85" creationId="{B108D9E1-6721-4946-82CE-A875E0AB48B8}"/>
          </ac:spMkLst>
        </pc:spChg>
        <pc:spChg chg="add mod">
          <ac:chgData name="El Bakkouri, Manal" userId="8b130982-2e3f-4164-b881-fd3a2e4b2453" providerId="ADAL" clId="{4457FA57-250B-44AC-8655-05D46C5A3D8A}" dt="2023-06-12T13:30:11.723" v="15823"/>
          <ac:spMkLst>
            <pc:docMk/>
            <pc:sldMk cId="800710135" sldId="230717712"/>
            <ac:spMk id="86" creationId="{DF00AD9F-B4E9-4F38-9E57-81A01C74CFCB}"/>
          </ac:spMkLst>
        </pc:spChg>
      </pc:sldChg>
      <pc:sldChg chg="addSp delSp modSp mod modNotesTx">
        <pc:chgData name="El Bakkouri, Manal" userId="8b130982-2e3f-4164-b881-fd3a2e4b2453" providerId="ADAL" clId="{4457FA57-250B-44AC-8655-05D46C5A3D8A}" dt="2023-06-12T13:30:29.395" v="15825"/>
        <pc:sldMkLst>
          <pc:docMk/>
          <pc:sldMk cId="498807704" sldId="230717713"/>
        </pc:sldMkLst>
        <pc:spChg chg="del">
          <ac:chgData name="El Bakkouri, Manal" userId="8b130982-2e3f-4164-b881-fd3a2e4b2453" providerId="ADAL" clId="{4457FA57-250B-44AC-8655-05D46C5A3D8A}" dt="2023-06-12T13:30:28.919" v="15824" actId="478"/>
          <ac:spMkLst>
            <pc:docMk/>
            <pc:sldMk cId="498807704" sldId="230717713"/>
            <ac:spMk id="68" creationId="{1EE3579F-472D-4D7E-9D5A-53047F0F8420}"/>
          </ac:spMkLst>
        </pc:spChg>
        <pc:spChg chg="del">
          <ac:chgData name="El Bakkouri, Manal" userId="8b130982-2e3f-4164-b881-fd3a2e4b2453" providerId="ADAL" clId="{4457FA57-250B-44AC-8655-05D46C5A3D8A}" dt="2023-06-12T13:30:28.919" v="15824" actId="478"/>
          <ac:spMkLst>
            <pc:docMk/>
            <pc:sldMk cId="498807704" sldId="230717713"/>
            <ac:spMk id="69" creationId="{CB13CED8-662C-41B5-8812-451BEB68EB06}"/>
          </ac:spMkLst>
        </pc:spChg>
        <pc:spChg chg="del">
          <ac:chgData name="El Bakkouri, Manal" userId="8b130982-2e3f-4164-b881-fd3a2e4b2453" providerId="ADAL" clId="{4457FA57-250B-44AC-8655-05D46C5A3D8A}" dt="2023-06-12T13:30:28.919" v="15824" actId="478"/>
          <ac:spMkLst>
            <pc:docMk/>
            <pc:sldMk cId="498807704" sldId="230717713"/>
            <ac:spMk id="70" creationId="{927A5DC3-F902-447C-ABDF-C60C5CF0E6B8}"/>
          </ac:spMkLst>
        </pc:spChg>
        <pc:spChg chg="del">
          <ac:chgData name="El Bakkouri, Manal" userId="8b130982-2e3f-4164-b881-fd3a2e4b2453" providerId="ADAL" clId="{4457FA57-250B-44AC-8655-05D46C5A3D8A}" dt="2023-06-12T13:30:28.919" v="15824" actId="478"/>
          <ac:spMkLst>
            <pc:docMk/>
            <pc:sldMk cId="498807704" sldId="230717713"/>
            <ac:spMk id="71" creationId="{DA4481E8-ECDD-40BC-BC6A-B249E8243D9A}"/>
          </ac:spMkLst>
        </pc:spChg>
        <pc:spChg chg="add mod">
          <ac:chgData name="El Bakkouri, Manal" userId="8b130982-2e3f-4164-b881-fd3a2e4b2453" providerId="ADAL" clId="{4457FA57-250B-44AC-8655-05D46C5A3D8A}" dt="2023-06-12T13:30:29.395" v="15825"/>
          <ac:spMkLst>
            <pc:docMk/>
            <pc:sldMk cId="498807704" sldId="230717713"/>
            <ac:spMk id="72" creationId="{2D04F9D0-F26F-4AAC-A5FD-478D8EF2C410}"/>
          </ac:spMkLst>
        </pc:spChg>
        <pc:spChg chg="add mod">
          <ac:chgData name="El Bakkouri, Manal" userId="8b130982-2e3f-4164-b881-fd3a2e4b2453" providerId="ADAL" clId="{4457FA57-250B-44AC-8655-05D46C5A3D8A}" dt="2023-06-12T13:30:29.395" v="15825"/>
          <ac:spMkLst>
            <pc:docMk/>
            <pc:sldMk cId="498807704" sldId="230717713"/>
            <ac:spMk id="73" creationId="{7A4D752C-2D33-4598-B255-557B36905987}"/>
          </ac:spMkLst>
        </pc:spChg>
        <pc:spChg chg="add mod">
          <ac:chgData name="El Bakkouri, Manal" userId="8b130982-2e3f-4164-b881-fd3a2e4b2453" providerId="ADAL" clId="{4457FA57-250B-44AC-8655-05D46C5A3D8A}" dt="2023-06-12T13:30:29.395" v="15825"/>
          <ac:spMkLst>
            <pc:docMk/>
            <pc:sldMk cId="498807704" sldId="230717713"/>
            <ac:spMk id="74" creationId="{C4473FE3-2BA5-40DE-9E55-BC34246C165A}"/>
          </ac:spMkLst>
        </pc:spChg>
        <pc:spChg chg="del">
          <ac:chgData name="El Bakkouri, Manal" userId="8b130982-2e3f-4164-b881-fd3a2e4b2453" providerId="ADAL" clId="{4457FA57-250B-44AC-8655-05D46C5A3D8A}" dt="2023-06-12T13:30:28.919" v="15824" actId="478"/>
          <ac:spMkLst>
            <pc:docMk/>
            <pc:sldMk cId="498807704" sldId="230717713"/>
            <ac:spMk id="75" creationId="{CB4896AB-BF01-489F-9609-B12B0CCD17AC}"/>
          </ac:spMkLst>
        </pc:spChg>
        <pc:spChg chg="del">
          <ac:chgData name="El Bakkouri, Manal" userId="8b130982-2e3f-4164-b881-fd3a2e4b2453" providerId="ADAL" clId="{4457FA57-250B-44AC-8655-05D46C5A3D8A}" dt="2023-06-12T13:30:28.919" v="15824" actId="478"/>
          <ac:spMkLst>
            <pc:docMk/>
            <pc:sldMk cId="498807704" sldId="230717713"/>
            <ac:spMk id="76" creationId="{DAA005E4-40A9-4D49-8571-24594C171603}"/>
          </ac:spMkLst>
        </pc:spChg>
        <pc:spChg chg="add mod">
          <ac:chgData name="El Bakkouri, Manal" userId="8b130982-2e3f-4164-b881-fd3a2e4b2453" providerId="ADAL" clId="{4457FA57-250B-44AC-8655-05D46C5A3D8A}" dt="2023-06-12T13:30:29.395" v="15825"/>
          <ac:spMkLst>
            <pc:docMk/>
            <pc:sldMk cId="498807704" sldId="230717713"/>
            <ac:spMk id="77" creationId="{DAB0F768-902C-4F34-9154-339DEFF92890}"/>
          </ac:spMkLst>
        </pc:spChg>
        <pc:spChg chg="del">
          <ac:chgData name="El Bakkouri, Manal" userId="8b130982-2e3f-4164-b881-fd3a2e4b2453" providerId="ADAL" clId="{4457FA57-250B-44AC-8655-05D46C5A3D8A}" dt="2023-06-12T13:30:28.919" v="15824" actId="478"/>
          <ac:spMkLst>
            <pc:docMk/>
            <pc:sldMk cId="498807704" sldId="230717713"/>
            <ac:spMk id="78" creationId="{B0C60EF5-3048-40DE-BF4A-65F9E4D72BCD}"/>
          </ac:spMkLst>
        </pc:spChg>
        <pc:spChg chg="del">
          <ac:chgData name="El Bakkouri, Manal" userId="8b130982-2e3f-4164-b881-fd3a2e4b2453" providerId="ADAL" clId="{4457FA57-250B-44AC-8655-05D46C5A3D8A}" dt="2023-06-12T13:30:28.919" v="15824" actId="478"/>
          <ac:spMkLst>
            <pc:docMk/>
            <pc:sldMk cId="498807704" sldId="230717713"/>
            <ac:spMk id="79" creationId="{737529D2-E5BC-4121-84A7-D1EA515EC88A}"/>
          </ac:spMkLst>
        </pc:spChg>
        <pc:spChg chg="del">
          <ac:chgData name="El Bakkouri, Manal" userId="8b130982-2e3f-4164-b881-fd3a2e4b2453" providerId="ADAL" clId="{4457FA57-250B-44AC-8655-05D46C5A3D8A}" dt="2023-06-12T13:30:28.919" v="15824" actId="478"/>
          <ac:spMkLst>
            <pc:docMk/>
            <pc:sldMk cId="498807704" sldId="230717713"/>
            <ac:spMk id="80" creationId="{B6248E2D-2A6B-40BD-9F3A-D2DC50C0D106}"/>
          </ac:spMkLst>
        </pc:spChg>
        <pc:spChg chg="del">
          <ac:chgData name="El Bakkouri, Manal" userId="8b130982-2e3f-4164-b881-fd3a2e4b2453" providerId="ADAL" clId="{4457FA57-250B-44AC-8655-05D46C5A3D8A}" dt="2023-06-12T13:30:28.919" v="15824" actId="478"/>
          <ac:spMkLst>
            <pc:docMk/>
            <pc:sldMk cId="498807704" sldId="230717713"/>
            <ac:spMk id="81" creationId="{9804FF7E-BFF3-41DD-9420-17E4AFEC4386}"/>
          </ac:spMkLst>
        </pc:spChg>
        <pc:spChg chg="add mod">
          <ac:chgData name="El Bakkouri, Manal" userId="8b130982-2e3f-4164-b881-fd3a2e4b2453" providerId="ADAL" clId="{4457FA57-250B-44AC-8655-05D46C5A3D8A}" dt="2023-06-12T13:30:29.395" v="15825"/>
          <ac:spMkLst>
            <pc:docMk/>
            <pc:sldMk cId="498807704" sldId="230717713"/>
            <ac:spMk id="82" creationId="{29CA3D67-72F4-4098-931D-84C2DE7EF8BE}"/>
          </ac:spMkLst>
        </pc:spChg>
        <pc:spChg chg="add mod">
          <ac:chgData name="El Bakkouri, Manal" userId="8b130982-2e3f-4164-b881-fd3a2e4b2453" providerId="ADAL" clId="{4457FA57-250B-44AC-8655-05D46C5A3D8A}" dt="2023-06-12T13:30:29.395" v="15825"/>
          <ac:spMkLst>
            <pc:docMk/>
            <pc:sldMk cId="498807704" sldId="230717713"/>
            <ac:spMk id="83" creationId="{21C3ABF8-CA10-441B-91FD-251805B1AC46}"/>
          </ac:spMkLst>
        </pc:spChg>
        <pc:spChg chg="add mod">
          <ac:chgData name="El Bakkouri, Manal" userId="8b130982-2e3f-4164-b881-fd3a2e4b2453" providerId="ADAL" clId="{4457FA57-250B-44AC-8655-05D46C5A3D8A}" dt="2023-06-12T13:30:29.395" v="15825"/>
          <ac:spMkLst>
            <pc:docMk/>
            <pc:sldMk cId="498807704" sldId="230717713"/>
            <ac:spMk id="84" creationId="{C25BAA96-FF32-4162-A47E-49713C9E1AF6}"/>
          </ac:spMkLst>
        </pc:spChg>
        <pc:spChg chg="add mod">
          <ac:chgData name="El Bakkouri, Manal" userId="8b130982-2e3f-4164-b881-fd3a2e4b2453" providerId="ADAL" clId="{4457FA57-250B-44AC-8655-05D46C5A3D8A}" dt="2023-06-12T13:30:29.395" v="15825"/>
          <ac:spMkLst>
            <pc:docMk/>
            <pc:sldMk cId="498807704" sldId="230717713"/>
            <ac:spMk id="85" creationId="{3B5C6774-1DB8-43C3-9A7E-75BCA42D5B3E}"/>
          </ac:spMkLst>
        </pc:spChg>
        <pc:spChg chg="add mod">
          <ac:chgData name="El Bakkouri, Manal" userId="8b130982-2e3f-4164-b881-fd3a2e4b2453" providerId="ADAL" clId="{4457FA57-250B-44AC-8655-05D46C5A3D8A}" dt="2023-06-12T13:30:29.395" v="15825"/>
          <ac:spMkLst>
            <pc:docMk/>
            <pc:sldMk cId="498807704" sldId="230717713"/>
            <ac:spMk id="86" creationId="{5F14010E-40EE-49F9-9E32-34DCF8D77355}"/>
          </ac:spMkLst>
        </pc:spChg>
        <pc:spChg chg="add mod">
          <ac:chgData name="El Bakkouri, Manal" userId="8b130982-2e3f-4164-b881-fd3a2e4b2453" providerId="ADAL" clId="{4457FA57-250B-44AC-8655-05D46C5A3D8A}" dt="2023-06-12T13:30:29.395" v="15825"/>
          <ac:spMkLst>
            <pc:docMk/>
            <pc:sldMk cId="498807704" sldId="230717713"/>
            <ac:spMk id="87" creationId="{4B410605-D3CC-4552-A17F-6B163C1084A3}"/>
          </ac:spMkLst>
        </pc:spChg>
      </pc:sldChg>
      <pc:sldChg chg="addSp delSp modSp mod modNotesTx">
        <pc:chgData name="El Bakkouri, Manal" userId="8b130982-2e3f-4164-b881-fd3a2e4b2453" providerId="ADAL" clId="{4457FA57-250B-44AC-8655-05D46C5A3D8A}" dt="2023-06-12T13:30:37.275" v="15827"/>
        <pc:sldMkLst>
          <pc:docMk/>
          <pc:sldMk cId="3771872325" sldId="230717714"/>
        </pc:sldMkLst>
        <pc:spChg chg="add mod">
          <ac:chgData name="El Bakkouri, Manal" userId="8b130982-2e3f-4164-b881-fd3a2e4b2453" providerId="ADAL" clId="{4457FA57-250B-44AC-8655-05D46C5A3D8A}" dt="2023-06-12T13:30:37.275" v="15827"/>
          <ac:spMkLst>
            <pc:docMk/>
            <pc:sldMk cId="3771872325" sldId="230717714"/>
            <ac:spMk id="67" creationId="{C1CDDD23-5D77-46DE-8854-3A370776A5DA}"/>
          </ac:spMkLst>
        </pc:spChg>
        <pc:spChg chg="del">
          <ac:chgData name="El Bakkouri, Manal" userId="8b130982-2e3f-4164-b881-fd3a2e4b2453" providerId="ADAL" clId="{4457FA57-250B-44AC-8655-05D46C5A3D8A}" dt="2023-06-12T13:30:35.259" v="15826" actId="478"/>
          <ac:spMkLst>
            <pc:docMk/>
            <pc:sldMk cId="3771872325" sldId="230717714"/>
            <ac:spMk id="68" creationId="{64735F5A-B087-4A38-9EA4-2CFC7CD726A7}"/>
          </ac:spMkLst>
        </pc:spChg>
        <pc:spChg chg="del">
          <ac:chgData name="El Bakkouri, Manal" userId="8b130982-2e3f-4164-b881-fd3a2e4b2453" providerId="ADAL" clId="{4457FA57-250B-44AC-8655-05D46C5A3D8A}" dt="2023-06-12T13:30:35.259" v="15826" actId="478"/>
          <ac:spMkLst>
            <pc:docMk/>
            <pc:sldMk cId="3771872325" sldId="230717714"/>
            <ac:spMk id="69" creationId="{B7A2DE60-1448-4539-85AE-9E97B04883C0}"/>
          </ac:spMkLst>
        </pc:spChg>
        <pc:spChg chg="del">
          <ac:chgData name="El Bakkouri, Manal" userId="8b130982-2e3f-4164-b881-fd3a2e4b2453" providerId="ADAL" clId="{4457FA57-250B-44AC-8655-05D46C5A3D8A}" dt="2023-06-12T13:30:35.259" v="15826" actId="478"/>
          <ac:spMkLst>
            <pc:docMk/>
            <pc:sldMk cId="3771872325" sldId="230717714"/>
            <ac:spMk id="70" creationId="{2C0EF117-FB46-4000-B232-7FD59600E2A2}"/>
          </ac:spMkLst>
        </pc:spChg>
        <pc:spChg chg="del">
          <ac:chgData name="El Bakkouri, Manal" userId="8b130982-2e3f-4164-b881-fd3a2e4b2453" providerId="ADAL" clId="{4457FA57-250B-44AC-8655-05D46C5A3D8A}" dt="2023-06-12T13:30:35.259" v="15826" actId="478"/>
          <ac:spMkLst>
            <pc:docMk/>
            <pc:sldMk cId="3771872325" sldId="230717714"/>
            <ac:spMk id="71" creationId="{DE7B85D0-AA88-4DC0-B940-6D3F86F9AC58}"/>
          </ac:spMkLst>
        </pc:spChg>
        <pc:spChg chg="add mod">
          <ac:chgData name="El Bakkouri, Manal" userId="8b130982-2e3f-4164-b881-fd3a2e4b2453" providerId="ADAL" clId="{4457FA57-250B-44AC-8655-05D46C5A3D8A}" dt="2023-06-12T13:30:37.275" v="15827"/>
          <ac:spMkLst>
            <pc:docMk/>
            <pc:sldMk cId="3771872325" sldId="230717714"/>
            <ac:spMk id="72" creationId="{A477DD06-BA64-4074-BC97-8D3C85AB5FEB}"/>
          </ac:spMkLst>
        </pc:spChg>
        <pc:spChg chg="add mod">
          <ac:chgData name="El Bakkouri, Manal" userId="8b130982-2e3f-4164-b881-fd3a2e4b2453" providerId="ADAL" clId="{4457FA57-250B-44AC-8655-05D46C5A3D8A}" dt="2023-06-12T13:30:37.275" v="15827"/>
          <ac:spMkLst>
            <pc:docMk/>
            <pc:sldMk cId="3771872325" sldId="230717714"/>
            <ac:spMk id="73" creationId="{3C18FF12-A838-4E56-999C-95500015EC3A}"/>
          </ac:spMkLst>
        </pc:spChg>
        <pc:spChg chg="add mod">
          <ac:chgData name="El Bakkouri, Manal" userId="8b130982-2e3f-4164-b881-fd3a2e4b2453" providerId="ADAL" clId="{4457FA57-250B-44AC-8655-05D46C5A3D8A}" dt="2023-06-12T13:30:37.275" v="15827"/>
          <ac:spMkLst>
            <pc:docMk/>
            <pc:sldMk cId="3771872325" sldId="230717714"/>
            <ac:spMk id="74" creationId="{D5CB256C-2F15-490F-829B-7A56880319B0}"/>
          </ac:spMkLst>
        </pc:spChg>
        <pc:spChg chg="del">
          <ac:chgData name="El Bakkouri, Manal" userId="8b130982-2e3f-4164-b881-fd3a2e4b2453" providerId="ADAL" clId="{4457FA57-250B-44AC-8655-05D46C5A3D8A}" dt="2023-06-12T13:30:35.259" v="15826" actId="478"/>
          <ac:spMkLst>
            <pc:docMk/>
            <pc:sldMk cId="3771872325" sldId="230717714"/>
            <ac:spMk id="75" creationId="{CB4896AB-BF01-489F-9609-B12B0CCD17AC}"/>
          </ac:spMkLst>
        </pc:spChg>
        <pc:spChg chg="del">
          <ac:chgData name="El Bakkouri, Manal" userId="8b130982-2e3f-4164-b881-fd3a2e4b2453" providerId="ADAL" clId="{4457FA57-250B-44AC-8655-05D46C5A3D8A}" dt="2023-06-12T13:30:35.259" v="15826" actId="478"/>
          <ac:spMkLst>
            <pc:docMk/>
            <pc:sldMk cId="3771872325" sldId="230717714"/>
            <ac:spMk id="76" creationId="{DAA005E4-40A9-4D49-8571-24594C171603}"/>
          </ac:spMkLst>
        </pc:spChg>
        <pc:spChg chg="add mod">
          <ac:chgData name="El Bakkouri, Manal" userId="8b130982-2e3f-4164-b881-fd3a2e4b2453" providerId="ADAL" clId="{4457FA57-250B-44AC-8655-05D46C5A3D8A}" dt="2023-06-12T13:30:37.275" v="15827"/>
          <ac:spMkLst>
            <pc:docMk/>
            <pc:sldMk cId="3771872325" sldId="230717714"/>
            <ac:spMk id="77" creationId="{3668C6AF-5A99-4C38-B8C8-B5FC96192003}"/>
          </ac:spMkLst>
        </pc:spChg>
        <pc:spChg chg="del">
          <ac:chgData name="El Bakkouri, Manal" userId="8b130982-2e3f-4164-b881-fd3a2e4b2453" providerId="ADAL" clId="{4457FA57-250B-44AC-8655-05D46C5A3D8A}" dt="2023-06-12T13:30:35.259" v="15826" actId="478"/>
          <ac:spMkLst>
            <pc:docMk/>
            <pc:sldMk cId="3771872325" sldId="230717714"/>
            <ac:spMk id="78" creationId="{B0C60EF5-3048-40DE-BF4A-65F9E4D72BCD}"/>
          </ac:spMkLst>
        </pc:spChg>
        <pc:spChg chg="del">
          <ac:chgData name="El Bakkouri, Manal" userId="8b130982-2e3f-4164-b881-fd3a2e4b2453" providerId="ADAL" clId="{4457FA57-250B-44AC-8655-05D46C5A3D8A}" dt="2023-06-12T13:30:35.259" v="15826" actId="478"/>
          <ac:spMkLst>
            <pc:docMk/>
            <pc:sldMk cId="3771872325" sldId="230717714"/>
            <ac:spMk id="79" creationId="{737529D2-E5BC-4121-84A7-D1EA515EC88A}"/>
          </ac:spMkLst>
        </pc:spChg>
        <pc:spChg chg="del">
          <ac:chgData name="El Bakkouri, Manal" userId="8b130982-2e3f-4164-b881-fd3a2e4b2453" providerId="ADAL" clId="{4457FA57-250B-44AC-8655-05D46C5A3D8A}" dt="2023-06-12T13:30:35.259" v="15826" actId="478"/>
          <ac:spMkLst>
            <pc:docMk/>
            <pc:sldMk cId="3771872325" sldId="230717714"/>
            <ac:spMk id="80" creationId="{B6248E2D-2A6B-40BD-9F3A-D2DC50C0D106}"/>
          </ac:spMkLst>
        </pc:spChg>
        <pc:spChg chg="del">
          <ac:chgData name="El Bakkouri, Manal" userId="8b130982-2e3f-4164-b881-fd3a2e4b2453" providerId="ADAL" clId="{4457FA57-250B-44AC-8655-05D46C5A3D8A}" dt="2023-06-12T13:30:35.259" v="15826" actId="478"/>
          <ac:spMkLst>
            <pc:docMk/>
            <pc:sldMk cId="3771872325" sldId="230717714"/>
            <ac:spMk id="81" creationId="{9804FF7E-BFF3-41DD-9420-17E4AFEC4386}"/>
          </ac:spMkLst>
        </pc:spChg>
        <pc:spChg chg="add mod">
          <ac:chgData name="El Bakkouri, Manal" userId="8b130982-2e3f-4164-b881-fd3a2e4b2453" providerId="ADAL" clId="{4457FA57-250B-44AC-8655-05D46C5A3D8A}" dt="2023-06-12T13:30:37.275" v="15827"/>
          <ac:spMkLst>
            <pc:docMk/>
            <pc:sldMk cId="3771872325" sldId="230717714"/>
            <ac:spMk id="82" creationId="{17AAB424-AF8A-49F7-9CF1-D7CBA6806DE2}"/>
          </ac:spMkLst>
        </pc:spChg>
        <pc:spChg chg="add mod">
          <ac:chgData name="El Bakkouri, Manal" userId="8b130982-2e3f-4164-b881-fd3a2e4b2453" providerId="ADAL" clId="{4457FA57-250B-44AC-8655-05D46C5A3D8A}" dt="2023-06-12T13:30:37.275" v="15827"/>
          <ac:spMkLst>
            <pc:docMk/>
            <pc:sldMk cId="3771872325" sldId="230717714"/>
            <ac:spMk id="83" creationId="{9DFCE0FB-0EE7-42B8-BC08-C396CEE91230}"/>
          </ac:spMkLst>
        </pc:spChg>
        <pc:spChg chg="add mod">
          <ac:chgData name="El Bakkouri, Manal" userId="8b130982-2e3f-4164-b881-fd3a2e4b2453" providerId="ADAL" clId="{4457FA57-250B-44AC-8655-05D46C5A3D8A}" dt="2023-06-12T13:30:37.275" v="15827"/>
          <ac:spMkLst>
            <pc:docMk/>
            <pc:sldMk cId="3771872325" sldId="230717714"/>
            <ac:spMk id="84" creationId="{8E5AC534-F653-4E19-AAE2-B8905A76E9C5}"/>
          </ac:spMkLst>
        </pc:spChg>
        <pc:spChg chg="add mod">
          <ac:chgData name="El Bakkouri, Manal" userId="8b130982-2e3f-4164-b881-fd3a2e4b2453" providerId="ADAL" clId="{4457FA57-250B-44AC-8655-05D46C5A3D8A}" dt="2023-06-12T13:30:37.275" v="15827"/>
          <ac:spMkLst>
            <pc:docMk/>
            <pc:sldMk cId="3771872325" sldId="230717714"/>
            <ac:spMk id="85" creationId="{9F942FB1-9E9F-433C-90C7-6EC3C6CCEFC9}"/>
          </ac:spMkLst>
        </pc:spChg>
        <pc:spChg chg="add mod">
          <ac:chgData name="El Bakkouri, Manal" userId="8b130982-2e3f-4164-b881-fd3a2e4b2453" providerId="ADAL" clId="{4457FA57-250B-44AC-8655-05D46C5A3D8A}" dt="2023-06-12T13:30:37.275" v="15827"/>
          <ac:spMkLst>
            <pc:docMk/>
            <pc:sldMk cId="3771872325" sldId="230717714"/>
            <ac:spMk id="86" creationId="{C239EE92-BCDB-49A8-B6A4-915620AB9E3F}"/>
          </ac:spMkLst>
        </pc:spChg>
      </pc:sldChg>
      <pc:sldChg chg="modSp mod">
        <pc:chgData name="El Bakkouri, Manal" userId="8b130982-2e3f-4164-b881-fd3a2e4b2453" providerId="ADAL" clId="{4457FA57-250B-44AC-8655-05D46C5A3D8A}" dt="2023-06-10T22:03:31.187" v="15450" actId="1037"/>
        <pc:sldMkLst>
          <pc:docMk/>
          <pc:sldMk cId="1164342460" sldId="230717715"/>
        </pc:sldMkLst>
        <pc:spChg chg="mod">
          <ac:chgData name="El Bakkouri, Manal" userId="8b130982-2e3f-4164-b881-fd3a2e4b2453" providerId="ADAL" clId="{4457FA57-250B-44AC-8655-05D46C5A3D8A}" dt="2023-06-10T22:03:31.187" v="15450" actId="1037"/>
          <ac:spMkLst>
            <pc:docMk/>
            <pc:sldMk cId="1164342460" sldId="230717715"/>
            <ac:spMk id="60" creationId="{FD3FA630-6445-4409-827A-899ABB7264D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0AEF8442-08C1-4349-A8AE-DA5897922AC1}" type="datetimeFigureOut">
              <a:rPr lang="fr-FR" smtClean="0"/>
              <a:t>22/02/2024</a:t>
            </a:fld>
            <a:endParaRPr lang="fr-FR"/>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D6CF851A-ED10-4873-91C0-2030E8282D2B}" type="slidenum">
              <a:rPr lang="fr-FR" smtClean="0"/>
              <a:t>‹#›</a:t>
            </a:fld>
            <a:endParaRPr lang="fr-FR"/>
          </a:p>
        </p:txBody>
      </p:sp>
    </p:spTree>
    <p:extLst>
      <p:ext uri="{BB962C8B-B14F-4D97-AF65-F5344CB8AC3E}">
        <p14:creationId xmlns:p14="http://schemas.microsoft.com/office/powerpoint/2010/main" val="36010631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1</a:t>
            </a:fld>
            <a:endParaRPr lang="fr-FR"/>
          </a:p>
        </p:txBody>
      </p:sp>
    </p:spTree>
    <p:extLst>
      <p:ext uri="{BB962C8B-B14F-4D97-AF65-F5344CB8AC3E}">
        <p14:creationId xmlns:p14="http://schemas.microsoft.com/office/powerpoint/2010/main" val="68979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4. Accès à des ressources avancées : Les fournisseurs de services CISO disposent généralement d'outils, de technologies et de méthodologies avancés en </a:t>
            </a:r>
            <a:r>
              <a:rPr lang="fr-FR" dirty="0" err="1"/>
              <a:t>matiere</a:t>
            </a:r>
            <a:r>
              <a:rPr lang="fr-FR" dirty="0"/>
              <a:t> de sécurité de l information</a:t>
            </a:r>
          </a:p>
          <a:p>
            <a:endParaRPr lang="fr-FR" dirty="0"/>
          </a:p>
        </p:txBody>
      </p:sp>
      <p:sp>
        <p:nvSpPr>
          <p:cNvPr id="4" name="Slide Number Placeholder 3"/>
          <p:cNvSpPr>
            <a:spLocks noGrp="1"/>
          </p:cNvSpPr>
          <p:nvPr>
            <p:ph type="sldNum" sz="quarter" idx="5"/>
          </p:nvPr>
        </p:nvSpPr>
        <p:spPr/>
        <p:txBody>
          <a:bodyPr/>
          <a:lstStyle/>
          <a:p>
            <a:fld id="{D6CF851A-ED10-4873-91C0-2030E8282D2B}" type="slidenum">
              <a:rPr lang="fr-FR" smtClean="0"/>
              <a:t>11</a:t>
            </a:fld>
            <a:endParaRPr lang="fr-FR"/>
          </a:p>
        </p:txBody>
      </p:sp>
    </p:spTree>
    <p:extLst>
      <p:ext uri="{BB962C8B-B14F-4D97-AF65-F5344CB8AC3E}">
        <p14:creationId xmlns:p14="http://schemas.microsoft.com/office/powerpoint/2010/main" val="109310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dirty="0">
                <a:solidFill>
                  <a:srgbClr val="D1D5DB"/>
                </a:solidFill>
                <a:effectLst/>
                <a:latin typeface="Söhne"/>
              </a:rPr>
              <a:t>Pour relever ce défi captivant, Deloitte m'a confié la tâche de mettre en œuvre un toolkit d'élaborer une approche pour mener un projet CISOaaS ainsi que de concevoir et mettre en œuvre un </a:t>
            </a:r>
            <a:r>
              <a:rPr lang="fr-FR" b="0" i="0" dirty="0" err="1">
                <a:solidFill>
                  <a:srgbClr val="D1D5DB"/>
                </a:solidFill>
                <a:effectLst/>
                <a:latin typeface="Söhne"/>
              </a:rPr>
              <a:t>framework</a:t>
            </a:r>
            <a:r>
              <a:rPr lang="fr-FR" b="0" i="0" dirty="0">
                <a:solidFill>
                  <a:srgbClr val="D1D5DB"/>
                </a:solidFill>
                <a:effectLst/>
                <a:latin typeface="Söhne"/>
              </a:rPr>
              <a:t> qui va jouer le rôle d un cadre de travail pour structurer et encadrer ce projet qui s est </a:t>
            </a:r>
            <a:r>
              <a:rPr lang="fr-FR" b="0" i="0" dirty="0" err="1">
                <a:solidFill>
                  <a:srgbClr val="D1D5DB"/>
                </a:solidFill>
                <a:effectLst/>
                <a:latin typeface="Söhne"/>
              </a:rPr>
              <a:t>etendu</a:t>
            </a:r>
            <a:r>
              <a:rPr lang="fr-FR" b="0" i="0" dirty="0">
                <a:solidFill>
                  <a:srgbClr val="D1D5DB"/>
                </a:solidFill>
                <a:effectLst/>
                <a:latin typeface="Söhne"/>
              </a:rPr>
              <a:t> sur une </a:t>
            </a:r>
            <a:r>
              <a:rPr lang="fr-FR" b="0" i="0" dirty="0" err="1">
                <a:solidFill>
                  <a:srgbClr val="D1D5DB"/>
                </a:solidFill>
                <a:effectLst/>
                <a:latin typeface="Söhne"/>
              </a:rPr>
              <a:t>duree</a:t>
            </a:r>
            <a:r>
              <a:rPr lang="fr-FR" b="0" i="0" dirty="0">
                <a:solidFill>
                  <a:srgbClr val="D1D5DB"/>
                </a:solidFill>
                <a:effectLst/>
                <a:latin typeface="Söhne"/>
              </a:rPr>
              <a:t> de 4 mois dans laquelle </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12</a:t>
            </a:fld>
            <a:endParaRPr lang="fr-FR"/>
          </a:p>
        </p:txBody>
      </p:sp>
    </p:spTree>
    <p:extLst>
      <p:ext uri="{BB962C8B-B14F-4D97-AF65-F5344CB8AC3E}">
        <p14:creationId xmlns:p14="http://schemas.microsoft.com/office/powerpoint/2010/main" val="1472091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dirty="0">
                <a:effectLst/>
              </a:rPr>
              <a:t>JAI COMMENCER PAR LA Compréhension du contexte ensuite je me suis </a:t>
            </a:r>
            <a:r>
              <a:rPr lang="fr-FR" sz="1200" b="0" dirty="0" err="1">
                <a:effectLst/>
              </a:rPr>
              <a:t>documentee</a:t>
            </a:r>
            <a:r>
              <a:rPr lang="fr-FR" sz="1200" b="0" dirty="0">
                <a:effectLst/>
              </a:rPr>
              <a:t> sur les normes et standards relatives a la </a:t>
            </a:r>
            <a:r>
              <a:rPr lang="fr-FR" sz="1200" b="0" dirty="0" err="1">
                <a:effectLst/>
              </a:rPr>
              <a:t>securite</a:t>
            </a:r>
            <a:r>
              <a:rPr lang="fr-FR" sz="1200" b="0" dirty="0">
                <a:effectLst/>
              </a:rPr>
              <a:t> des si, la </a:t>
            </a:r>
            <a:r>
              <a:rPr lang="fr-FR" sz="1200" b="0" dirty="0" err="1">
                <a:effectLst/>
              </a:rPr>
              <a:t>premiere</a:t>
            </a:r>
            <a:r>
              <a:rPr lang="fr-FR" sz="1200" b="0" dirty="0">
                <a:effectLst/>
              </a:rPr>
              <a:t> tache qui m a été </a:t>
            </a:r>
            <a:r>
              <a:rPr lang="fr-FR" sz="1200" b="0" dirty="0" err="1">
                <a:effectLst/>
              </a:rPr>
              <a:t>effecte</a:t>
            </a:r>
            <a:r>
              <a:rPr lang="fr-FR" sz="1200" b="0" dirty="0">
                <a:effectLst/>
              </a:rPr>
              <a:t> lors de la réalisation du </a:t>
            </a:r>
            <a:r>
              <a:rPr lang="fr-FR" sz="1200" b="0" dirty="0" err="1">
                <a:effectLst/>
              </a:rPr>
              <a:t>framework</a:t>
            </a:r>
            <a:r>
              <a:rPr lang="fr-FR" sz="1200" b="0"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Slide Number Placeholder 3"/>
          <p:cNvSpPr>
            <a:spLocks noGrp="1"/>
          </p:cNvSpPr>
          <p:nvPr>
            <p:ph type="sldNum" sz="quarter" idx="5"/>
          </p:nvPr>
        </p:nvSpPr>
        <p:spPr/>
        <p:txBody>
          <a:bodyPr/>
          <a:lstStyle/>
          <a:p>
            <a:fld id="{D6CF851A-ED10-4873-91C0-2030E8282D2B}" type="slidenum">
              <a:rPr lang="fr-FR" smtClean="0"/>
              <a:t>13</a:t>
            </a:fld>
            <a:endParaRPr lang="fr-FR"/>
          </a:p>
        </p:txBody>
      </p:sp>
    </p:spTree>
    <p:extLst>
      <p:ext uri="{BB962C8B-B14F-4D97-AF65-F5344CB8AC3E}">
        <p14:creationId xmlns:p14="http://schemas.microsoft.com/office/powerpoint/2010/main" val="1960589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i repose sur 4 principales étapes </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15</a:t>
            </a:fld>
            <a:endParaRPr lang="fr-FR"/>
          </a:p>
        </p:txBody>
      </p:sp>
    </p:spTree>
    <p:extLst>
      <p:ext uri="{BB962C8B-B14F-4D97-AF65-F5344CB8AC3E}">
        <p14:creationId xmlns:p14="http://schemas.microsoft.com/office/powerpoint/2010/main" val="3233710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ors de la réalisation de mon </a:t>
            </a:r>
            <a:r>
              <a:rPr lang="fr-FR" dirty="0" err="1"/>
              <a:t>framework</a:t>
            </a:r>
            <a:r>
              <a:rPr lang="fr-FR" dirty="0"/>
              <a:t>, </a:t>
            </a:r>
            <a:r>
              <a:rPr lang="fr-FR" dirty="0" err="1"/>
              <a:t>jai</a:t>
            </a:r>
            <a:r>
              <a:rPr lang="fr-FR" dirty="0"/>
              <a:t> juge comme primordiale de fixer plusieurs objectifs ou cas d’’utilisation vu l importance de ce dernier dans le projet </a:t>
            </a:r>
            <a:r>
              <a:rPr lang="fr-FR" dirty="0" err="1"/>
              <a:t>cisoaas</a:t>
            </a:r>
            <a:r>
              <a:rPr lang="fr-FR" dirty="0"/>
              <a:t> a savoir , premièrement , ………….</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16</a:t>
            </a:fld>
            <a:endParaRPr lang="fr-FR"/>
          </a:p>
        </p:txBody>
      </p:sp>
    </p:spTree>
    <p:extLst>
      <p:ext uri="{BB962C8B-B14F-4D97-AF65-F5344CB8AC3E}">
        <p14:creationId xmlns:p14="http://schemas.microsoft.com/office/powerpoint/2010/main" val="8319268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0" i="0" dirty="0">
                <a:solidFill>
                  <a:srgbClr val="D1D5DB"/>
                </a:solidFill>
                <a:effectLst/>
                <a:latin typeface="Söhne"/>
              </a:rPr>
              <a:t>Pour concevoir mon </a:t>
            </a:r>
            <a:r>
              <a:rPr lang="fr-FR" b="0" i="0" dirty="0" err="1">
                <a:solidFill>
                  <a:srgbClr val="D1D5DB"/>
                </a:solidFill>
                <a:effectLst/>
                <a:latin typeface="Söhne"/>
              </a:rPr>
              <a:t>framework</a:t>
            </a:r>
            <a:r>
              <a:rPr lang="fr-FR" b="0" i="0" dirty="0">
                <a:solidFill>
                  <a:srgbClr val="D1D5DB"/>
                </a:solidFill>
                <a:effectLst/>
                <a:latin typeface="Söhne"/>
              </a:rPr>
              <a:t>, j'ai réalisé une étude approfondie qui m'a permise de déterminer que le CISO travaille sur six aspects différents qui couvrent l'ensemble des domaines sur lesquels il intervient.</a:t>
            </a:r>
          </a:p>
          <a:p>
            <a:pPr algn="l"/>
            <a:r>
              <a:rPr lang="fr-FR" b="0" i="0" dirty="0">
                <a:solidFill>
                  <a:srgbClr val="D1D5DB"/>
                </a:solidFill>
                <a:effectLst/>
                <a:latin typeface="Söhne"/>
              </a:rPr>
              <a:t>1. </a:t>
            </a:r>
            <a:r>
              <a:rPr lang="fr-FR" b="0" i="0" dirty="0">
                <a:effectLst/>
                <a:latin typeface="Söhne"/>
              </a:rPr>
              <a:t>référence aux politiques, procédures et lignes directrices mises en place par les organisations pour gérer et atténuer les risques liés à la cybernétique.</a:t>
            </a:r>
          </a:p>
          <a:p>
            <a:r>
              <a:rPr lang="fr-FR" dirty="0"/>
              <a:t>2. Pour identifier gérer et réduire au minimum </a:t>
            </a:r>
            <a:r>
              <a:rPr lang="fr-FR" b="0" i="0" dirty="0">
                <a:solidFill>
                  <a:srgbClr val="D1D5DB"/>
                </a:solidFill>
                <a:effectLst/>
                <a:latin typeface="Söhne"/>
              </a:rPr>
              <a:t>Les risques potentiels pour les systèmes informatiques et les risques lies aux parties tierces </a:t>
            </a:r>
          </a:p>
          <a:p>
            <a:r>
              <a:rPr lang="fr-FR" b="0" i="0" dirty="0">
                <a:solidFill>
                  <a:srgbClr val="D1D5DB"/>
                </a:solidFill>
                <a:effectLst/>
                <a:latin typeface="Söhne"/>
              </a:rPr>
              <a:t>3. Assurer la conformité aux lois, règlements et politiques internes et externes applicables, </a:t>
            </a:r>
          </a:p>
          <a:p>
            <a:r>
              <a:rPr lang="fr-FR" b="0" i="0" dirty="0">
                <a:solidFill>
                  <a:srgbClr val="D1D5DB"/>
                </a:solidFill>
                <a:effectLst/>
                <a:latin typeface="Söhne"/>
              </a:rPr>
              <a:t>4. On travaillant sue ce quatrième service, je me suis </a:t>
            </a:r>
            <a:r>
              <a:rPr lang="fr-FR" b="0" i="0" dirty="0" err="1">
                <a:solidFill>
                  <a:srgbClr val="D1D5DB"/>
                </a:solidFill>
                <a:effectLst/>
                <a:latin typeface="Söhne"/>
              </a:rPr>
              <a:t>retouve</a:t>
            </a:r>
            <a:r>
              <a:rPr lang="fr-FR" b="0" i="0" dirty="0">
                <a:solidFill>
                  <a:srgbClr val="D1D5DB"/>
                </a:solidFill>
                <a:effectLst/>
                <a:latin typeface="Söhne"/>
              </a:rPr>
              <a:t> avec une panoplie d information et j ai </a:t>
            </a:r>
            <a:r>
              <a:rPr lang="fr-FR" b="0" i="0" dirty="0" err="1">
                <a:solidFill>
                  <a:srgbClr val="D1D5DB"/>
                </a:solidFill>
                <a:effectLst/>
                <a:latin typeface="Söhne"/>
              </a:rPr>
              <a:t>decide</a:t>
            </a:r>
            <a:r>
              <a:rPr lang="fr-FR" b="0" i="0" dirty="0">
                <a:solidFill>
                  <a:srgbClr val="D1D5DB"/>
                </a:solidFill>
                <a:effectLst/>
                <a:latin typeface="Söhne"/>
              </a:rPr>
              <a:t> de le diviser en 2 grandes familles , la </a:t>
            </a:r>
            <a:r>
              <a:rPr lang="fr-FR" b="0" i="0" dirty="0" err="1">
                <a:solidFill>
                  <a:srgbClr val="D1D5DB"/>
                </a:solidFill>
                <a:effectLst/>
                <a:latin typeface="Söhne"/>
              </a:rPr>
              <a:t>prevention</a:t>
            </a:r>
            <a:r>
              <a:rPr lang="fr-FR" b="0" i="0" dirty="0">
                <a:solidFill>
                  <a:srgbClr val="D1D5DB"/>
                </a:solidFill>
                <a:effectLst/>
                <a:latin typeface="Söhne"/>
              </a:rPr>
              <a:t> et la </a:t>
            </a:r>
            <a:r>
              <a:rPr lang="fr-FR" b="0" i="0" dirty="0" err="1">
                <a:solidFill>
                  <a:srgbClr val="D1D5DB"/>
                </a:solidFill>
                <a:effectLst/>
                <a:latin typeface="Söhne"/>
              </a:rPr>
              <a:t>detection</a:t>
            </a:r>
            <a:r>
              <a:rPr lang="fr-FR" b="0" i="0" dirty="0">
                <a:solidFill>
                  <a:srgbClr val="D1D5DB"/>
                </a:solidFill>
                <a:effectLst/>
                <a:latin typeface="Söhne"/>
              </a:rPr>
              <a:t> des menaces; l objectif de la </a:t>
            </a:r>
            <a:r>
              <a:rPr lang="fr-FR" b="1" i="0" dirty="0" err="1">
                <a:solidFill>
                  <a:srgbClr val="D1D5DB"/>
                </a:solidFill>
                <a:effectLst/>
                <a:latin typeface="Söhne"/>
              </a:rPr>
              <a:t>prevention</a:t>
            </a:r>
            <a:r>
              <a:rPr lang="fr-FR" b="0" i="0" dirty="0">
                <a:solidFill>
                  <a:srgbClr val="D1D5DB"/>
                </a:solidFill>
                <a:effectLst/>
                <a:latin typeface="Söhne"/>
              </a:rPr>
              <a:t> est de Déterminer, évaluer et mettre en œuvre des moyens pour prévenir les incidents de sécurité informatique avant qu'ils ne se produisent. Quant a </a:t>
            </a:r>
            <a:r>
              <a:rPr lang="fr-FR" b="1" i="0" dirty="0">
                <a:solidFill>
                  <a:srgbClr val="D1D5DB"/>
                </a:solidFill>
                <a:effectLst/>
                <a:latin typeface="Söhne"/>
              </a:rPr>
              <a:t>la </a:t>
            </a:r>
            <a:r>
              <a:rPr lang="fr-FR" b="1" i="0" dirty="0" err="1">
                <a:solidFill>
                  <a:srgbClr val="D1D5DB"/>
                </a:solidFill>
                <a:effectLst/>
                <a:latin typeface="Söhne"/>
              </a:rPr>
              <a:t>detection</a:t>
            </a:r>
            <a:r>
              <a:rPr lang="fr-FR" b="1" i="0" dirty="0">
                <a:solidFill>
                  <a:srgbClr val="D1D5DB"/>
                </a:solidFill>
                <a:effectLst/>
                <a:latin typeface="Söhne"/>
              </a:rPr>
              <a:t> </a:t>
            </a:r>
            <a:r>
              <a:rPr lang="fr-FR" b="0" i="0" dirty="0">
                <a:solidFill>
                  <a:srgbClr val="D1D5DB"/>
                </a:solidFill>
                <a:effectLst/>
                <a:latin typeface="Söhne"/>
              </a:rPr>
              <a:t>dont l objectif est de Reconnaître les incidents de sécurité informatique dès que possible afin de réagir de manière appropriée et de réduire leur impact sur l'activité de l'entreprise.</a:t>
            </a:r>
          </a:p>
          <a:p>
            <a:r>
              <a:rPr lang="fr-FR" b="0" i="0" dirty="0">
                <a:solidFill>
                  <a:srgbClr val="D1D5DB"/>
                </a:solidFill>
                <a:effectLst/>
                <a:latin typeface="Söhne"/>
              </a:rPr>
              <a:t>5. Garantir la résilience de l'activité en cas de perturbation majeure et restaurer rapidement les fonctions commerciales critiques. résilience commerciale fait référence à la capacité d'une organisation à résister, à s'adapter et à se rétablir rapidement face à des perturbations majeures, telles que des incidents de sécurité, des catastrophes naturelles ou des pannes techniques. </a:t>
            </a:r>
          </a:p>
          <a:p>
            <a:r>
              <a:rPr lang="fr-FR" b="0" i="0" dirty="0">
                <a:solidFill>
                  <a:srgbClr val="D1D5DB"/>
                </a:solidFill>
                <a:effectLst/>
                <a:latin typeface="Söhne"/>
              </a:rPr>
              <a:t>6. Assurer une gestion efficace et rigoureuse de toutes les phases du projet, de la définition à l'exécution, en mettant en place un contrôle strict, un suivi continu et en atteignant les objectifs fixés.</a:t>
            </a:r>
            <a:endParaRPr lang="fr-FR" dirty="0"/>
          </a:p>
        </p:txBody>
      </p:sp>
      <p:sp>
        <p:nvSpPr>
          <p:cNvPr id="4" name="Slide Number Placeholder 3"/>
          <p:cNvSpPr>
            <a:spLocks noGrp="1"/>
          </p:cNvSpPr>
          <p:nvPr>
            <p:ph type="sldNum" sz="quarter" idx="5"/>
          </p:nvPr>
        </p:nvSpPr>
        <p:spPr/>
        <p:txBody>
          <a:bodyPr/>
          <a:lstStyle/>
          <a:p>
            <a:fld id="{D6CF851A-ED10-4873-91C0-2030E8282D2B}" type="slidenum">
              <a:rPr lang="fr-FR" smtClean="0"/>
              <a:t>17</a:t>
            </a:fld>
            <a:endParaRPr lang="fr-FR"/>
          </a:p>
        </p:txBody>
      </p:sp>
    </p:spTree>
    <p:extLst>
      <p:ext uri="{BB962C8B-B14F-4D97-AF65-F5344CB8AC3E}">
        <p14:creationId xmlns:p14="http://schemas.microsoft.com/office/powerpoint/2010/main" val="12328913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0" i="0" dirty="0">
                <a:solidFill>
                  <a:srgbClr val="D1D5DB"/>
                </a:solidFill>
                <a:effectLst/>
                <a:latin typeface="Söhne"/>
              </a:rPr>
              <a:t>L'élaboration d'un </a:t>
            </a:r>
            <a:r>
              <a:rPr lang="fr-FR" b="0" i="0" dirty="0" err="1">
                <a:solidFill>
                  <a:srgbClr val="D1D5DB"/>
                </a:solidFill>
                <a:effectLst/>
                <a:latin typeface="Söhne"/>
              </a:rPr>
              <a:t>framework</a:t>
            </a:r>
            <a:r>
              <a:rPr lang="fr-FR" b="0" i="0" dirty="0">
                <a:solidFill>
                  <a:srgbClr val="D1D5DB"/>
                </a:solidFill>
                <a:effectLst/>
                <a:latin typeface="Söhne"/>
              </a:rPr>
              <a:t> qui intègre les cinq objectifs mentionnés et les 6 services a été un défi de taille. Pour relever ce défi complexe, j'ai basé mon approche sur l'utilisation de trois normes et standards différents qui </a:t>
            </a:r>
            <a:r>
              <a:rPr lang="fr-FR" dirty="0"/>
              <a:t>sont largement reconnues dans le domaine de la sécurité informatique et de la gouvernance des technologies de l'information</a:t>
            </a:r>
            <a:r>
              <a:rPr lang="fr-FR" b="0" i="0" dirty="0">
                <a:solidFill>
                  <a:srgbClr val="D1D5DB"/>
                </a:solidFill>
                <a:effectLst/>
                <a:latin typeface="Söhne"/>
              </a:rPr>
              <a:t>. </a:t>
            </a:r>
            <a:endParaRPr lang="fr-FR" dirty="0"/>
          </a:p>
          <a:p>
            <a:endParaRPr lang="fr-FR" dirty="0"/>
          </a:p>
        </p:txBody>
      </p:sp>
      <p:sp>
        <p:nvSpPr>
          <p:cNvPr id="4" name="Slide Number Placeholder 3"/>
          <p:cNvSpPr>
            <a:spLocks noGrp="1"/>
          </p:cNvSpPr>
          <p:nvPr>
            <p:ph type="sldNum" sz="quarter" idx="5"/>
          </p:nvPr>
        </p:nvSpPr>
        <p:spPr/>
        <p:txBody>
          <a:bodyPr/>
          <a:lstStyle/>
          <a:p>
            <a:fld id="{D6CF851A-ED10-4873-91C0-2030E8282D2B}" type="slidenum">
              <a:rPr lang="fr-FR" smtClean="0"/>
              <a:t>18</a:t>
            </a:fld>
            <a:endParaRPr lang="fr-FR"/>
          </a:p>
        </p:txBody>
      </p:sp>
    </p:spTree>
    <p:extLst>
      <p:ext uri="{BB962C8B-B14F-4D97-AF65-F5344CB8AC3E}">
        <p14:creationId xmlns:p14="http://schemas.microsoft.com/office/powerpoint/2010/main" val="2023535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0" i="0" dirty="0">
                <a:effectLst/>
              </a:rPr>
              <a:t>ISO 27001 est une norme internationale de gestion de la sécurité de l'information. </a:t>
            </a:r>
            <a:r>
              <a:rPr lang="fr-FR" b="0" i="0" dirty="0">
                <a:solidFill>
                  <a:srgbClr val="D1D5DB"/>
                </a:solidFill>
                <a:effectLst/>
                <a:latin typeface="Söhne"/>
              </a:rPr>
              <a:t>met l'accent sur l'identification et la gestion des risques liés à la sécurité de l'information, la protection des actifs et la garantie de la confidentialité, de l'intégrité et de la disponibilité des informations.</a:t>
            </a:r>
            <a:endParaRPr lang="fr-FR" dirty="0"/>
          </a:p>
        </p:txBody>
      </p:sp>
      <p:sp>
        <p:nvSpPr>
          <p:cNvPr id="4" name="Slide Number Placeholder 3"/>
          <p:cNvSpPr>
            <a:spLocks noGrp="1"/>
          </p:cNvSpPr>
          <p:nvPr>
            <p:ph type="sldNum" sz="quarter" idx="5"/>
          </p:nvPr>
        </p:nvSpPr>
        <p:spPr/>
        <p:txBody>
          <a:bodyPr/>
          <a:lstStyle/>
          <a:p>
            <a:fld id="{D6CF851A-ED10-4873-91C0-2030E8282D2B}" type="slidenum">
              <a:rPr lang="fr-FR" smtClean="0"/>
              <a:t>19</a:t>
            </a:fld>
            <a:endParaRPr lang="fr-FR"/>
          </a:p>
        </p:txBody>
      </p:sp>
    </p:spTree>
    <p:extLst>
      <p:ext uri="{BB962C8B-B14F-4D97-AF65-F5344CB8AC3E}">
        <p14:creationId xmlns:p14="http://schemas.microsoft.com/office/powerpoint/2010/main" val="3311469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6CF851A-ED10-4873-91C0-2030E8282D2B}" type="slidenum">
              <a:rPr lang="fr-FR" smtClean="0"/>
              <a:t>20</a:t>
            </a:fld>
            <a:endParaRPr lang="fr-FR"/>
          </a:p>
        </p:txBody>
      </p:sp>
    </p:spTree>
    <p:extLst>
      <p:ext uri="{BB962C8B-B14F-4D97-AF65-F5344CB8AC3E}">
        <p14:creationId xmlns:p14="http://schemas.microsoft.com/office/powerpoint/2010/main" val="527199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D6CF851A-ED10-4873-91C0-2030E8282D2B}" type="slidenum">
              <a:rPr lang="fr-FR" smtClean="0"/>
              <a:t>21</a:t>
            </a:fld>
            <a:endParaRPr lang="fr-FR"/>
          </a:p>
        </p:txBody>
      </p:sp>
    </p:spTree>
    <p:extLst>
      <p:ext uri="{BB962C8B-B14F-4D97-AF65-F5344CB8AC3E}">
        <p14:creationId xmlns:p14="http://schemas.microsoft.com/office/powerpoint/2010/main" val="4132653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REPARTI</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a:t>
            </a:fld>
            <a:endParaRPr lang="fr-FR"/>
          </a:p>
        </p:txBody>
      </p:sp>
    </p:spTree>
    <p:extLst>
      <p:ext uri="{BB962C8B-B14F-4D97-AF65-F5344CB8AC3E}">
        <p14:creationId xmlns:p14="http://schemas.microsoft.com/office/powerpoint/2010/main" val="31184191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aintenant, permettez-moi de vous présenter un aperçu du </a:t>
            </a:r>
            <a:r>
              <a:rPr lang="fr-FR" dirty="0" err="1"/>
              <a:t>framework</a:t>
            </a:r>
            <a:r>
              <a:rPr lang="fr-FR" dirty="0"/>
              <a:t> sur lequel j'ai travaillé de A </a:t>
            </a:r>
            <a:r>
              <a:rPr lang="fr-FR" dirty="0" err="1"/>
              <a:t>a</a:t>
            </a:r>
            <a:r>
              <a:rPr lang="fr-FR" dirty="0"/>
              <a:t> Z . J'ai minutieusement intégré plus de 400 contrôles et questions pour assurer une approche complète et rigoureuse de la sécurité des SI</a:t>
            </a:r>
          </a:p>
          <a:p>
            <a:r>
              <a:rPr lang="fr-FR" dirty="0"/>
              <a:t>Mon </a:t>
            </a:r>
            <a:r>
              <a:rPr lang="fr-FR" dirty="0" err="1"/>
              <a:t>framework</a:t>
            </a:r>
            <a:r>
              <a:rPr lang="fr-FR" dirty="0"/>
              <a:t> est reparti sur 12 interfaces </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2</a:t>
            </a:fld>
            <a:endParaRPr lang="fr-FR"/>
          </a:p>
        </p:txBody>
      </p:sp>
    </p:spTree>
    <p:extLst>
      <p:ext uri="{BB962C8B-B14F-4D97-AF65-F5344CB8AC3E}">
        <p14:creationId xmlns:p14="http://schemas.microsoft.com/office/powerpoint/2010/main" val="39760518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La </a:t>
            </a:r>
            <a:r>
              <a:rPr lang="fr-FR" dirty="0" err="1"/>
              <a:t>premiere</a:t>
            </a:r>
            <a:r>
              <a:rPr lang="fr-FR" dirty="0"/>
              <a:t> interface </a:t>
            </a:r>
            <a:r>
              <a:rPr lang="fr-FR" dirty="0" err="1"/>
              <a:t>presente</a:t>
            </a:r>
            <a:r>
              <a:rPr lang="fr-FR" dirty="0"/>
              <a:t> un </a:t>
            </a:r>
            <a:r>
              <a:rPr lang="fr-FR" dirty="0" err="1"/>
              <a:t>apercu</a:t>
            </a:r>
            <a:r>
              <a:rPr lang="fr-FR" dirty="0"/>
              <a:t> global du document, on retrouve les 6 services avec une petite description ainsi que le lien vers leurs interfaces respectives</a:t>
            </a:r>
          </a:p>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3</a:t>
            </a:fld>
            <a:endParaRPr lang="fr-FR"/>
          </a:p>
        </p:txBody>
      </p:sp>
    </p:spTree>
    <p:extLst>
      <p:ext uri="{BB962C8B-B14F-4D97-AF65-F5344CB8AC3E}">
        <p14:creationId xmlns:p14="http://schemas.microsoft.com/office/powerpoint/2010/main" val="776626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suite cette deuxième interface </a:t>
            </a:r>
            <a:r>
              <a:rPr lang="fr-FR" dirty="0" err="1"/>
              <a:t>represente</a:t>
            </a:r>
            <a:r>
              <a:rPr lang="fr-FR" dirty="0"/>
              <a:t> un </a:t>
            </a:r>
            <a:r>
              <a:rPr lang="fr-FR" dirty="0" err="1"/>
              <a:t>apercu</a:t>
            </a:r>
            <a:r>
              <a:rPr lang="fr-FR" dirty="0"/>
              <a:t> sur les différents objectifs ou cas d utilisation de mon </a:t>
            </a:r>
            <a:r>
              <a:rPr lang="fr-FR" dirty="0" err="1"/>
              <a:t>frameworj</a:t>
            </a:r>
            <a:r>
              <a:rPr lang="fr-FR" dirty="0"/>
              <a:t> que </a:t>
            </a:r>
            <a:r>
              <a:rPr lang="fr-FR" dirty="0" err="1"/>
              <a:t>jai</a:t>
            </a:r>
            <a:r>
              <a:rPr lang="fr-FR" dirty="0"/>
              <a:t> explique tt a l heure avec une explication pus </a:t>
            </a:r>
            <a:r>
              <a:rPr lang="fr-FR" dirty="0" err="1"/>
              <a:t>detailee</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4</a:t>
            </a:fld>
            <a:endParaRPr lang="fr-FR"/>
          </a:p>
        </p:txBody>
      </p:sp>
    </p:spTree>
    <p:extLst>
      <p:ext uri="{BB962C8B-B14F-4D97-AF65-F5344CB8AC3E}">
        <p14:creationId xmlns:p14="http://schemas.microsoft.com/office/powerpoint/2010/main" val="36824550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ette troisième interface regroupe les différentes </a:t>
            </a:r>
            <a:r>
              <a:rPr lang="fr-FR" dirty="0" err="1"/>
              <a:t>categories</a:t>
            </a:r>
            <a:r>
              <a:rPr lang="fr-FR" dirty="0"/>
              <a:t> et sous </a:t>
            </a:r>
            <a:r>
              <a:rPr lang="fr-FR" dirty="0" err="1"/>
              <a:t>categories</a:t>
            </a:r>
            <a:r>
              <a:rPr lang="fr-FR" dirty="0"/>
              <a:t> </a:t>
            </a:r>
            <a:r>
              <a:rPr lang="fr-FR" dirty="0" err="1"/>
              <a:t>qu</a:t>
            </a:r>
            <a:r>
              <a:rPr lang="fr-FR" dirty="0"/>
              <a:t> on retrouve pour chaque service</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5</a:t>
            </a:fld>
            <a:endParaRPr lang="fr-FR"/>
          </a:p>
        </p:txBody>
      </p:sp>
    </p:spTree>
    <p:extLst>
      <p:ext uri="{BB962C8B-B14F-4D97-AF65-F5344CB8AC3E}">
        <p14:creationId xmlns:p14="http://schemas.microsoft.com/office/powerpoint/2010/main" val="15378743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aintenant,  devant vous l interface la plus importante, qui est un exemple du service de la gouvernance, ici vous retrouvez </a:t>
            </a:r>
          </a:p>
          <a:p>
            <a:r>
              <a:rPr lang="fr-FR" dirty="0"/>
              <a:t>Et finalement ceci est un bouton automatise qui va venir affecter au questions non </a:t>
            </a:r>
            <a:r>
              <a:rPr lang="fr-FR" dirty="0" err="1"/>
              <a:t>repondus</a:t>
            </a:r>
            <a:r>
              <a:rPr lang="fr-FR" dirty="0"/>
              <a:t> le score de 0 afin d’avoir un calcul de la moyenne exacte</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6</a:t>
            </a:fld>
            <a:endParaRPr lang="fr-FR"/>
          </a:p>
        </p:txBody>
      </p:sp>
    </p:spTree>
    <p:extLst>
      <p:ext uri="{BB962C8B-B14F-4D97-AF65-F5344CB8AC3E}">
        <p14:creationId xmlns:p14="http://schemas.microsoft.com/office/powerpoint/2010/main" val="3402877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t nous retrouvons la même interface pour les 6 services avec 2 interfaces pour la </a:t>
            </a:r>
            <a:r>
              <a:rPr lang="fr-FR" dirty="0" err="1"/>
              <a:t>secops</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7</a:t>
            </a:fld>
            <a:endParaRPr lang="fr-FR"/>
          </a:p>
        </p:txBody>
      </p:sp>
    </p:spTree>
    <p:extLst>
      <p:ext uri="{BB962C8B-B14F-4D97-AF65-F5344CB8AC3E}">
        <p14:creationId xmlns:p14="http://schemas.microsoft.com/office/powerpoint/2010/main" val="14984090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buFont typeface="+mj-lt"/>
              <a:buNone/>
            </a:pPr>
            <a:r>
              <a:rPr lang="fr-FR" dirty="0"/>
              <a:t>Cette interface </a:t>
            </a:r>
            <a:r>
              <a:rPr lang="fr-FR" dirty="0" err="1"/>
              <a:t>represente</a:t>
            </a:r>
            <a:r>
              <a:rPr lang="fr-FR" dirty="0"/>
              <a:t> une matrice de scoring ou </a:t>
            </a:r>
            <a:r>
              <a:rPr lang="fr-FR" b="0" i="0" dirty="0">
                <a:solidFill>
                  <a:srgbClr val="D1D5DB"/>
                </a:solidFill>
                <a:effectLst/>
                <a:latin typeface="Söhne"/>
              </a:rPr>
              <a:t>de notation est conçue pour aider les organisations à évaluer leur niveau de maturité selon le modèle CMMI (Capability Maturity Model Integration). </a:t>
            </a:r>
          </a:p>
          <a:p>
            <a:pPr algn="l">
              <a:buFont typeface="+mj-lt"/>
              <a:buAutoNum type="arabicPeriod"/>
            </a:pPr>
            <a:r>
              <a:rPr lang="fr-FR" b="0" i="0" dirty="0">
                <a:solidFill>
                  <a:srgbClr val="D1D5DB"/>
                </a:solidFill>
                <a:effectLst/>
                <a:latin typeface="Söhne"/>
              </a:rPr>
              <a:t>Niveau Initial : À ce niveau, les processus sont généralement informels, non documentés et non standardisés. Les résultats peuvent être imprévisibles, car les pratiques sont souvent réactives et ad hoc.</a:t>
            </a:r>
          </a:p>
          <a:p>
            <a:pPr algn="l">
              <a:buFont typeface="+mj-lt"/>
              <a:buAutoNum type="arabicPeriod"/>
            </a:pPr>
            <a:r>
              <a:rPr lang="fr-FR" b="0" i="0" dirty="0">
                <a:solidFill>
                  <a:srgbClr val="D1D5DB"/>
                </a:solidFill>
                <a:effectLst/>
                <a:latin typeface="Söhne"/>
              </a:rPr>
              <a:t>Niveau Géré : À ce niveau, les processus sont planifiés, exécutés et contrôlés de manière plus structurée. Les activités et les tâches sont documentées, et des mesures de base sont utilisées pour suivre la performance.</a:t>
            </a:r>
          </a:p>
          <a:p>
            <a:pPr algn="l">
              <a:buFont typeface="+mj-lt"/>
              <a:buAutoNum type="arabicPeriod"/>
            </a:pPr>
            <a:r>
              <a:rPr lang="fr-FR" b="0" i="0" dirty="0">
                <a:solidFill>
                  <a:srgbClr val="D1D5DB"/>
                </a:solidFill>
                <a:effectLst/>
                <a:latin typeface="Söhne"/>
              </a:rPr>
              <a:t>Niveau Défini : À ce niveau, les processus sont définis, documentés et standardisés au sein de l'organisation. Les procédures et les méthodologies sont établies pour guider les activités, et les pratiques sont plus prédictibles.</a:t>
            </a:r>
          </a:p>
          <a:p>
            <a:pPr algn="l">
              <a:buFont typeface="+mj-lt"/>
              <a:buAutoNum type="arabicPeriod"/>
            </a:pPr>
            <a:r>
              <a:rPr lang="fr-FR" b="0" i="0" dirty="0">
                <a:solidFill>
                  <a:srgbClr val="D1D5DB"/>
                </a:solidFill>
                <a:effectLst/>
                <a:latin typeface="Söhne"/>
              </a:rPr>
              <a:t>Niveau Géré Quantitativement : À ce niveau, les processus sont mesurés de manière quantitative pour évaluer leur performance. Des données sont collectées et analysées pour prendre des décisions basées sur des faits.</a:t>
            </a:r>
          </a:p>
          <a:p>
            <a:pPr algn="l">
              <a:buFont typeface="+mj-lt"/>
              <a:buAutoNum type="arabicPeriod"/>
            </a:pPr>
            <a:r>
              <a:rPr lang="fr-FR" b="0" i="0" dirty="0">
                <a:solidFill>
                  <a:srgbClr val="D1D5DB"/>
                </a:solidFill>
                <a:effectLst/>
                <a:latin typeface="Söhne"/>
              </a:rPr>
              <a:t>Niveau Optimisé : À ce niveau, l'organisation s'engage dans une amélioration continue des processus. Les innovations et les meilleures pratiques sont identifiées et mises en œuvre pour atteindre des niveaux de performance supérieurs.</a:t>
            </a:r>
          </a:p>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8</a:t>
            </a:fld>
            <a:endParaRPr lang="fr-FR"/>
          </a:p>
        </p:txBody>
      </p:sp>
    </p:spTree>
    <p:extLst>
      <p:ext uri="{BB962C8B-B14F-4D97-AF65-F5344CB8AC3E}">
        <p14:creationId xmlns:p14="http://schemas.microsoft.com/office/powerpoint/2010/main" val="23435929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t cette dernière interface de mapping </a:t>
            </a:r>
            <a:r>
              <a:rPr lang="fr-FR" b="0" i="0" dirty="0">
                <a:solidFill>
                  <a:srgbClr val="D1D5DB"/>
                </a:solidFill>
                <a:effectLst/>
                <a:latin typeface="Söhne"/>
              </a:rPr>
              <a:t>nous permettra d'associer chaque contrôle aux normes et standards utilisés, ce qui sert à deux objectifs. Premièrement, cela permettra à l'utilisateur de rechercher l'indice d'un contrôle spécifique et d'obtenir des informations détaillées à son sujet. Deuxièmement, dans le cas où un client souhaite travailler uniquement avec les contrôles de NIST, ISO ou COBIT, nous pourrons trier les contrôles selon la norme choisie et les utiliser en conséquence. Cela offre une flexibilité pour adapter le système de contrôles en fonction des préférences et des besoins spécifiques du client, tout en garantissant la conformité et l'efficacité des mesures de sécurité.</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29</a:t>
            </a:fld>
            <a:endParaRPr lang="fr-FR"/>
          </a:p>
        </p:txBody>
      </p:sp>
    </p:spTree>
    <p:extLst>
      <p:ext uri="{BB962C8B-B14F-4D97-AF65-F5344CB8AC3E}">
        <p14:creationId xmlns:p14="http://schemas.microsoft.com/office/powerpoint/2010/main" val="1099313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pres deux mois et demi de travail acharne sur le </a:t>
            </a:r>
            <a:r>
              <a:rPr lang="fr-FR" dirty="0" err="1"/>
              <a:t>framework</a:t>
            </a:r>
            <a:r>
              <a:rPr lang="fr-FR" dirty="0"/>
              <a:t>, il a été utilise pour la </a:t>
            </a:r>
            <a:r>
              <a:rPr lang="fr-FR" dirty="0" err="1"/>
              <a:t>premiere</a:t>
            </a:r>
            <a:r>
              <a:rPr lang="fr-FR" dirty="0"/>
              <a:t> fois pour une mission client</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0</a:t>
            </a:fld>
            <a:endParaRPr lang="fr-FR"/>
          </a:p>
        </p:txBody>
      </p:sp>
    </p:spTree>
    <p:extLst>
      <p:ext uri="{BB962C8B-B14F-4D97-AF65-F5344CB8AC3E}">
        <p14:creationId xmlns:p14="http://schemas.microsoft.com/office/powerpoint/2010/main" val="121169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fr-FR" b="0" i="0" dirty="0">
                <a:solidFill>
                  <a:srgbClr val="D1D5DB"/>
                </a:solidFill>
                <a:effectLst/>
                <a:latin typeface="Söhne"/>
              </a:rPr>
              <a:t>Dont l’ objectif principal était d'améliorer la sécurité de l'entreprise en renforçant sa posture en matière de cybersécurité.</a:t>
            </a:r>
          </a:p>
          <a:p>
            <a:r>
              <a:rPr lang="fr-FR" b="0" i="0" dirty="0">
                <a:solidFill>
                  <a:srgbClr val="D1D5DB"/>
                </a:solidFill>
                <a:effectLst/>
                <a:latin typeface="Söhne"/>
              </a:rPr>
              <a:t>Grâce à cette collaboration avec Deloitte, notre client pourra se concentrer sur son cœur de métier, tout en ayant l'assurance que sa sécurité informatique est entre les mains d'experts qualifiés. Le projet CISO as a Service fournira a l entreprise</a:t>
            </a:r>
          </a:p>
          <a:p>
            <a:endParaRPr lang="fr-FR" b="0" i="0" dirty="0">
              <a:solidFill>
                <a:srgbClr val="D1D5DB"/>
              </a:solidFill>
              <a:effectLst/>
              <a:latin typeface="Söhne"/>
            </a:endParaRP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2</a:t>
            </a:fld>
            <a:endParaRPr lang="fr-FR"/>
          </a:p>
        </p:txBody>
      </p:sp>
    </p:spTree>
    <p:extLst>
      <p:ext uri="{BB962C8B-B14F-4D97-AF65-F5344CB8AC3E}">
        <p14:creationId xmlns:p14="http://schemas.microsoft.com/office/powerpoint/2010/main" val="1835303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J’ai effectue mon stage de 4mois au sein de </a:t>
            </a:r>
            <a:r>
              <a:rPr lang="fr-FR" dirty="0" err="1"/>
              <a:t>deloitte</a:t>
            </a:r>
            <a:r>
              <a:rPr lang="fr-FR" dirty="0"/>
              <a:t> qui est </a:t>
            </a:r>
            <a:r>
              <a:rPr lang="fr-FR" dirty="0" err="1"/>
              <a:t>repute</a:t>
            </a:r>
            <a:r>
              <a:rPr lang="fr-FR" dirty="0"/>
              <a:t> d être le plus ancien et le plus large des cabinets BIG4 et aussi le premier mondialement en </a:t>
            </a:r>
            <a:r>
              <a:rPr lang="fr-FR" dirty="0" err="1"/>
              <a:t>matiere</a:t>
            </a:r>
            <a:r>
              <a:rPr lang="fr-FR" dirty="0"/>
              <a:t> de de conseil en </a:t>
            </a:r>
            <a:r>
              <a:rPr lang="fr-FR" dirty="0" err="1"/>
              <a:t>securite</a:t>
            </a:r>
            <a:r>
              <a:rPr lang="fr-FR" dirty="0"/>
              <a:t>, et dans ce cadre </a:t>
            </a:r>
            <a:r>
              <a:rPr lang="fr-FR" dirty="0" err="1"/>
              <a:t>deloitte</a:t>
            </a:r>
            <a:r>
              <a:rPr lang="fr-FR" dirty="0"/>
              <a:t> a inaugure le DMCC </a:t>
            </a:r>
            <a:r>
              <a:rPr lang="fr-FR" sz="1200" dirty="0"/>
              <a:t>est un centre de Cyber Intelligence afin d’</a:t>
            </a:r>
            <a:r>
              <a:rPr lang="fr-FR" sz="1200" dirty="0" err="1"/>
              <a:t>elagir</a:t>
            </a:r>
            <a:r>
              <a:rPr lang="fr-FR" sz="1200" dirty="0"/>
              <a:t> élargir l'offre de services de Deloitte Global. Au sein du </a:t>
            </a:r>
            <a:r>
              <a:rPr lang="fr-FR" sz="1200" dirty="0" err="1"/>
              <a:t>dmcc</a:t>
            </a:r>
            <a:r>
              <a:rPr lang="fr-FR" sz="1200" dirty="0"/>
              <a:t>, nous avons une panoplie de piliers dont le pilier </a:t>
            </a:r>
            <a:r>
              <a:rPr lang="fr-FR" sz="1200" dirty="0" err="1"/>
              <a:t>cyberstrat</a:t>
            </a:r>
            <a:r>
              <a:rPr lang="fr-FR" sz="1200" dirty="0"/>
              <a:t> auquel jetais affecte dont </a:t>
            </a:r>
            <a:r>
              <a:rPr lang="fr-FR" sz="1200" b="0" dirty="0"/>
              <a:t>l’objectif est d </a:t>
            </a:r>
            <a:r>
              <a:rPr lang="fr-FR" sz="1200" b="0" dirty="0">
                <a:latin typeface="+mj-lt"/>
              </a:rPr>
              <a:t>Accompagner nos clients à faire coïncider leur stratégie cyber idéale avec leurs objectifs stratégiques sur l’ensemble du périmètre de l’entreprise</a:t>
            </a:r>
            <a:endParaRPr lang="fr-FR"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Et de nos jours la sécurité des systèmes d'information est devenue un enjeu crucial pour les entreprises face aux menaces de cybersécurité de plus en plus sophistiquées. Pour répondre à ce défi, </a:t>
            </a:r>
            <a:endParaRPr lang="fr-FR" sz="1200" b="0" dirty="0">
              <a:latin typeface="+mj-lt"/>
            </a:endParaRPr>
          </a:p>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a:t>
            </a:fld>
            <a:endParaRPr lang="fr-FR"/>
          </a:p>
        </p:txBody>
      </p:sp>
    </p:spTree>
    <p:extLst>
      <p:ext uri="{BB962C8B-B14F-4D97-AF65-F5344CB8AC3E}">
        <p14:creationId xmlns:p14="http://schemas.microsoft.com/office/powerpoint/2010/main" val="2195834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3</a:t>
            </a:fld>
            <a:endParaRPr lang="fr-FR"/>
          </a:p>
        </p:txBody>
      </p:sp>
    </p:spTree>
    <p:extLst>
      <p:ext uri="{BB962C8B-B14F-4D97-AF65-F5344CB8AC3E}">
        <p14:creationId xmlns:p14="http://schemas.microsoft.com/office/powerpoint/2010/main" val="2883870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baseline="0" dirty="0">
                <a:solidFill>
                  <a:srgbClr val="000000"/>
                </a:solidFill>
                <a:latin typeface="Calibri" panose="020F0502020204030204" pitchFamily="34" charset="0"/>
              </a:rPr>
              <a:t>Notre mission a débuté par une </a:t>
            </a:r>
            <a:r>
              <a:rPr lang="fr-FR" sz="1200" b="0" i="0" u="none" strike="noStrike" baseline="0" dirty="0" err="1">
                <a:solidFill>
                  <a:srgbClr val="000000"/>
                </a:solidFill>
                <a:latin typeface="Calibri" panose="020F0502020204030204" pitchFamily="34" charset="0"/>
              </a:rPr>
              <a:t>reunion</a:t>
            </a:r>
            <a:r>
              <a:rPr lang="fr-FR" sz="1200" b="0" i="0" u="none" strike="noStrike" baseline="0" dirty="0">
                <a:solidFill>
                  <a:srgbClr val="000000"/>
                </a:solidFill>
                <a:latin typeface="Calibri" panose="020F0502020204030204" pitchFamily="34" charset="0"/>
              </a:rPr>
              <a:t> de </a:t>
            </a:r>
            <a:r>
              <a:rPr lang="fr-FR" sz="1200" b="0" i="0" u="none" strike="noStrike" baseline="0" dirty="0" err="1">
                <a:solidFill>
                  <a:srgbClr val="000000"/>
                </a:solidFill>
                <a:latin typeface="Calibri" panose="020F0502020204030204" pitchFamily="34" charset="0"/>
              </a:rPr>
              <a:t>kickoff</a:t>
            </a:r>
            <a:r>
              <a:rPr lang="fr-FR" sz="1200" b="0" i="0" u="none" strike="noStrike" baseline="0" dirty="0">
                <a:solidFill>
                  <a:srgbClr val="000000"/>
                </a:solidFill>
                <a:latin typeface="Calibri" panose="020F0502020204030204" pitchFamily="34" charset="0"/>
              </a:rPr>
              <a:t>  dont l </a:t>
            </a:r>
            <a:r>
              <a:rPr lang="fr-FR" sz="1200" b="0" i="0" u="none" strike="noStrike" baseline="0" dirty="0" err="1">
                <a:solidFill>
                  <a:srgbClr val="000000"/>
                </a:solidFill>
                <a:latin typeface="Calibri" panose="020F0502020204030204" pitchFamily="34" charset="0"/>
              </a:rPr>
              <a:t>objecif</a:t>
            </a:r>
            <a:r>
              <a:rPr lang="fr-FR" sz="1200" b="0" i="0" u="none" strike="noStrike" baseline="0" dirty="0">
                <a:solidFill>
                  <a:srgbClr val="000000"/>
                </a:solidFill>
                <a:latin typeface="Calibri" panose="020F0502020204030204" pitchFamily="34" charset="0"/>
              </a:rPr>
              <a:t> était d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u="none" strike="noStrike" baseline="0" dirty="0">
                <a:solidFill>
                  <a:srgbClr val="000000"/>
                </a:solidFill>
                <a:latin typeface="Calibri" panose="020F0502020204030204" pitchFamily="34" charset="0"/>
              </a:rPr>
              <a:t>A la fin de cette phase nous avons pu élaborer un document de cadrage </a:t>
            </a:r>
            <a:r>
              <a:rPr lang="fr-FR" sz="1200" b="0" i="0" u="none" strike="noStrike" baseline="0" dirty="0">
                <a:latin typeface="Calibri" panose="020F0502020204030204" pitchFamily="34" charset="0"/>
              </a:rPr>
              <a:t>qui englobe le contexte, le budget et les ressources nécessaires. </a:t>
            </a:r>
          </a:p>
          <a:p>
            <a:r>
              <a:rPr lang="fr-FR" sz="1200" b="0" i="0" u="none" strike="noStrike" baseline="0" dirty="0">
                <a:solidFill>
                  <a:srgbClr val="000000"/>
                </a:solidFill>
                <a:latin typeface="Calibri" panose="020F0502020204030204" pitchFamily="34" charset="0"/>
              </a:rPr>
              <a:t>et planning détaillé, qui a servi </a:t>
            </a:r>
            <a:r>
              <a:rPr lang="fr-FR" sz="1200" b="0" i="0" u="none" strike="noStrike" baseline="0" dirty="0">
                <a:latin typeface="Calibri" panose="020F0502020204030204" pitchFamily="34" charset="0"/>
              </a:rPr>
              <a:t>de feuille de route pour l'ensemble du projet Cette phase initiale a été très importante pour établir une base solide et une compréhension mutuelle entre notre équipe et le client. </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4</a:t>
            </a:fld>
            <a:endParaRPr lang="fr-FR"/>
          </a:p>
        </p:txBody>
      </p:sp>
    </p:spTree>
    <p:extLst>
      <p:ext uri="{BB962C8B-B14F-4D97-AF65-F5344CB8AC3E}">
        <p14:creationId xmlns:p14="http://schemas.microsoft.com/office/powerpoint/2010/main" val="2217620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ur la phase d </a:t>
            </a:r>
            <a:r>
              <a:rPr lang="fr-FR" dirty="0" err="1"/>
              <a:t>evalutation</a:t>
            </a:r>
            <a:r>
              <a:rPr lang="fr-FR" dirty="0"/>
              <a:t>, nous avons organise 9 entretiens avec les responsables des départements de </a:t>
            </a:r>
            <a:r>
              <a:rPr lang="fr-FR" dirty="0" err="1"/>
              <a:t>securite</a:t>
            </a:r>
            <a:r>
              <a:rPr lang="fr-FR" dirty="0"/>
              <a:t> de l’entreprise pendant lesquels nous avons </a:t>
            </a:r>
            <a:r>
              <a:rPr lang="fr-FR" dirty="0" err="1"/>
              <a:t>deroule</a:t>
            </a:r>
            <a:r>
              <a:rPr lang="fr-FR" dirty="0"/>
              <a:t> la liste des questions du </a:t>
            </a:r>
            <a:r>
              <a:rPr lang="fr-FR" dirty="0" err="1"/>
              <a:t>framework</a:t>
            </a:r>
            <a:r>
              <a:rPr lang="fr-FR" dirty="0"/>
              <a:t> concernant les 6 services, par la suite nous avons organisé une </a:t>
            </a:r>
            <a:r>
              <a:rPr lang="fr-FR" dirty="0" err="1"/>
              <a:t>reunion</a:t>
            </a:r>
            <a:r>
              <a:rPr lang="fr-FR" dirty="0"/>
              <a:t> en interne avec l’</a:t>
            </a:r>
            <a:r>
              <a:rPr lang="fr-FR" dirty="0" err="1"/>
              <a:t>equipe</a:t>
            </a:r>
            <a:r>
              <a:rPr lang="fr-FR" dirty="0"/>
              <a:t> </a:t>
            </a:r>
            <a:r>
              <a:rPr lang="fr-FR" dirty="0" err="1"/>
              <a:t>deloitte</a:t>
            </a:r>
            <a:r>
              <a:rPr lang="fr-FR" dirty="0"/>
              <a:t> pendant laquelle nous avons revu l’ensemble des réponses et nous sommes passer a l’affectation des scores et a la formulation des constats </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5</a:t>
            </a:fld>
            <a:endParaRPr lang="fr-FR"/>
          </a:p>
        </p:txBody>
      </p:sp>
    </p:spTree>
    <p:extLst>
      <p:ext uri="{BB962C8B-B14F-4D97-AF65-F5344CB8AC3E}">
        <p14:creationId xmlns:p14="http://schemas.microsoft.com/office/powerpoint/2010/main" val="10574571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our la phase d </a:t>
            </a:r>
            <a:r>
              <a:rPr lang="fr-FR" dirty="0" err="1"/>
              <a:t>evalutation</a:t>
            </a:r>
            <a:r>
              <a:rPr lang="fr-FR" dirty="0"/>
              <a:t>, nous avons organise 9 entretiens avec les responsables des départements de </a:t>
            </a:r>
            <a:r>
              <a:rPr lang="fr-FR" dirty="0" err="1"/>
              <a:t>securite</a:t>
            </a:r>
            <a:r>
              <a:rPr lang="fr-FR" dirty="0"/>
              <a:t> de l’entreprise pendant lesquels nous avons </a:t>
            </a:r>
            <a:r>
              <a:rPr lang="fr-FR" dirty="0" err="1"/>
              <a:t>deroule</a:t>
            </a:r>
            <a:r>
              <a:rPr lang="fr-FR" dirty="0"/>
              <a:t> la liste des questions du </a:t>
            </a:r>
            <a:r>
              <a:rPr lang="fr-FR" dirty="0" err="1"/>
              <a:t>framework</a:t>
            </a:r>
            <a:r>
              <a:rPr lang="fr-FR" dirty="0"/>
              <a:t> concernant les 6 services, par la suite nous avons organisé une </a:t>
            </a:r>
            <a:r>
              <a:rPr lang="fr-FR" dirty="0" err="1"/>
              <a:t>reunion</a:t>
            </a:r>
            <a:r>
              <a:rPr lang="fr-FR" dirty="0"/>
              <a:t> en interne avec l’</a:t>
            </a:r>
            <a:r>
              <a:rPr lang="fr-FR" dirty="0" err="1"/>
              <a:t>equipe</a:t>
            </a:r>
            <a:r>
              <a:rPr lang="fr-FR" dirty="0"/>
              <a:t> </a:t>
            </a:r>
            <a:r>
              <a:rPr lang="fr-FR" dirty="0" err="1"/>
              <a:t>deloitte</a:t>
            </a:r>
            <a:r>
              <a:rPr lang="fr-FR" dirty="0"/>
              <a:t> pendant laquelle nous avons revu l’ensemble des réponses et nous sommes passer a l’affectation des scores et a la formulation des constats </a:t>
            </a:r>
          </a:p>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6</a:t>
            </a:fld>
            <a:endParaRPr lang="fr-FR"/>
          </a:p>
        </p:txBody>
      </p:sp>
    </p:spTree>
    <p:extLst>
      <p:ext uri="{BB962C8B-B14F-4D97-AF65-F5344CB8AC3E}">
        <p14:creationId xmlns:p14="http://schemas.microsoft.com/office/powerpoint/2010/main" val="32301537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our la phase d </a:t>
            </a:r>
            <a:r>
              <a:rPr lang="fr-FR" dirty="0" err="1"/>
              <a:t>evalutation</a:t>
            </a:r>
            <a:r>
              <a:rPr lang="fr-FR" dirty="0"/>
              <a:t>, nous avons organise 9 entretiens avec les responsables des départements de </a:t>
            </a:r>
            <a:r>
              <a:rPr lang="fr-FR" dirty="0" err="1"/>
              <a:t>securite</a:t>
            </a:r>
            <a:r>
              <a:rPr lang="fr-FR" dirty="0"/>
              <a:t> de l’entreprise pendant lesquels nous avons </a:t>
            </a:r>
            <a:r>
              <a:rPr lang="fr-FR" dirty="0" err="1"/>
              <a:t>deroule</a:t>
            </a:r>
            <a:r>
              <a:rPr lang="fr-FR" dirty="0"/>
              <a:t> la liste des questions du </a:t>
            </a:r>
            <a:r>
              <a:rPr lang="fr-FR" dirty="0" err="1"/>
              <a:t>framework</a:t>
            </a:r>
            <a:r>
              <a:rPr lang="fr-FR" dirty="0"/>
              <a:t> concernant les 6 services, par la suite nous avons organisé une </a:t>
            </a:r>
            <a:r>
              <a:rPr lang="fr-FR" dirty="0" err="1"/>
              <a:t>reunion</a:t>
            </a:r>
            <a:r>
              <a:rPr lang="fr-FR" dirty="0"/>
              <a:t> en interne avec l’</a:t>
            </a:r>
            <a:r>
              <a:rPr lang="fr-FR" dirty="0" err="1"/>
              <a:t>equipe</a:t>
            </a:r>
            <a:r>
              <a:rPr lang="fr-FR" dirty="0"/>
              <a:t> </a:t>
            </a:r>
            <a:r>
              <a:rPr lang="fr-FR" dirty="0" err="1"/>
              <a:t>deloitte</a:t>
            </a:r>
            <a:r>
              <a:rPr lang="fr-FR" dirty="0"/>
              <a:t> pendant laquelle nous avons revu l’ensemble des réponses et nous sommes passer a l’affectation des scores et a la formulation des constats </a:t>
            </a:r>
          </a:p>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7</a:t>
            </a:fld>
            <a:endParaRPr lang="fr-FR"/>
          </a:p>
        </p:txBody>
      </p:sp>
    </p:spTree>
    <p:extLst>
      <p:ext uri="{BB962C8B-B14F-4D97-AF65-F5344CB8AC3E}">
        <p14:creationId xmlns:p14="http://schemas.microsoft.com/office/powerpoint/2010/main" val="20323447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Une fois les constats formules nous avons organisé une </a:t>
            </a:r>
            <a:r>
              <a:rPr lang="fr-FR" dirty="0" err="1"/>
              <a:t>reunion</a:t>
            </a:r>
            <a:r>
              <a:rPr lang="fr-FR" dirty="0"/>
              <a:t> avec notre client pour lui présenter les résultats et le </a:t>
            </a:r>
            <a:r>
              <a:rPr lang="fr-FR" dirty="0" err="1"/>
              <a:t>dashboard</a:t>
            </a:r>
            <a:r>
              <a:rPr lang="fr-FR" dirty="0"/>
              <a:t> qui se </a:t>
            </a:r>
            <a:r>
              <a:rPr lang="fr-FR" dirty="0" err="1"/>
              <a:t>presente</a:t>
            </a:r>
            <a:r>
              <a:rPr lang="fr-FR" dirty="0"/>
              <a:t> comme suit</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8</a:t>
            </a:fld>
            <a:endParaRPr lang="fr-FR"/>
          </a:p>
        </p:txBody>
      </p:sp>
    </p:spTree>
    <p:extLst>
      <p:ext uri="{BB962C8B-B14F-4D97-AF65-F5344CB8AC3E}">
        <p14:creationId xmlns:p14="http://schemas.microsoft.com/office/powerpoint/2010/main" val="30201190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e </a:t>
            </a:r>
            <a:r>
              <a:rPr lang="fr-FR" dirty="0" err="1"/>
              <a:t>dashboard</a:t>
            </a:r>
            <a:r>
              <a:rPr lang="fr-FR" dirty="0"/>
              <a:t> a </a:t>
            </a:r>
            <a:r>
              <a:rPr lang="fr-FR" dirty="0" err="1"/>
              <a:t>etet</a:t>
            </a:r>
            <a:r>
              <a:rPr lang="fr-FR" dirty="0"/>
              <a:t> </a:t>
            </a:r>
            <a:r>
              <a:rPr lang="fr-FR" dirty="0" err="1"/>
              <a:t>concu</a:t>
            </a:r>
            <a:r>
              <a:rPr lang="fr-FR" dirty="0"/>
              <a:t> pour avoir une meilleure visibilité et une meilleure compréhension de la situation actuelle </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39</a:t>
            </a:fld>
            <a:endParaRPr lang="fr-FR"/>
          </a:p>
        </p:txBody>
      </p:sp>
    </p:spTree>
    <p:extLst>
      <p:ext uri="{BB962C8B-B14F-4D97-AF65-F5344CB8AC3E}">
        <p14:creationId xmlns:p14="http://schemas.microsoft.com/office/powerpoint/2010/main" val="2710927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0</a:t>
            </a:fld>
            <a:endParaRPr lang="fr-FR"/>
          </a:p>
        </p:txBody>
      </p:sp>
    </p:spTree>
    <p:extLst>
      <p:ext uri="{BB962C8B-B14F-4D97-AF65-F5344CB8AC3E}">
        <p14:creationId xmlns:p14="http://schemas.microsoft.com/office/powerpoint/2010/main" val="10158150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e diagramme circulaire </a:t>
            </a:r>
            <a:r>
              <a:rPr lang="fr-FR" dirty="0" err="1"/>
              <a:t>represente</a:t>
            </a:r>
            <a:r>
              <a:rPr lang="fr-FR" dirty="0"/>
              <a:t> le niveau de maturité </a:t>
            </a:r>
            <a:r>
              <a:rPr lang="fr-FR" dirty="0" err="1"/>
              <a:t>flobal</a:t>
            </a:r>
            <a:r>
              <a:rPr lang="fr-FR" dirty="0"/>
              <a:t> de notre client englobant les 6 SERVICES</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1</a:t>
            </a:fld>
            <a:endParaRPr lang="fr-FR"/>
          </a:p>
        </p:txBody>
      </p:sp>
    </p:spTree>
    <p:extLst>
      <p:ext uri="{BB962C8B-B14F-4D97-AF65-F5344CB8AC3E}">
        <p14:creationId xmlns:p14="http://schemas.microsoft.com/office/powerpoint/2010/main" val="350374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graphique radar </a:t>
            </a:r>
            <a:r>
              <a:rPr lang="fr-FR" dirty="0" err="1"/>
              <a:t>presente</a:t>
            </a:r>
            <a:r>
              <a:rPr lang="fr-FR" dirty="0"/>
              <a:t> une comparaison du niveau de maturité entre les différents services </a:t>
            </a:r>
            <a:r>
              <a:rPr lang="fr-FR" dirty="0" err="1"/>
              <a:t>evalues</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2</a:t>
            </a:fld>
            <a:endParaRPr lang="fr-FR"/>
          </a:p>
        </p:txBody>
      </p:sp>
    </p:spTree>
    <p:extLst>
      <p:ext uri="{BB962C8B-B14F-4D97-AF65-F5344CB8AC3E}">
        <p14:creationId xmlns:p14="http://schemas.microsoft.com/office/powerpoint/2010/main" val="1101065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Pour répondre à ce défi, les entreprises doivent embaucher un </a:t>
            </a:r>
            <a:r>
              <a:rPr lang="fr-FR" sz="1200" dirty="0" err="1"/>
              <a:t>ciso</a:t>
            </a:r>
            <a:r>
              <a:rPr lang="fr-FR" sz="1200" dirty="0"/>
              <a:t> </a:t>
            </a:r>
            <a:r>
              <a:rPr lang="fr-FR" sz="1200" dirty="0" err="1"/>
              <a:t>chief</a:t>
            </a:r>
            <a:r>
              <a:rPr lang="fr-FR" sz="1200" dirty="0"/>
              <a:t> info ou un </a:t>
            </a:r>
            <a:r>
              <a:rPr lang="fr-FR" sz="1200" dirty="0" err="1"/>
              <a:t>rssi</a:t>
            </a:r>
            <a:r>
              <a:rPr lang="fr-FR" sz="1200" dirty="0"/>
              <a:t> dont la mission principale est</a:t>
            </a:r>
            <a:endParaRPr lang="fr-FR" sz="1200" b="0" dirty="0">
              <a:latin typeface="+mj-lt"/>
            </a:endParaRPr>
          </a:p>
          <a:p>
            <a:r>
              <a:rPr lang="fr-FR" dirty="0"/>
              <a:t>Mais malheureusement les entreprises se retrouvent face a plusieurs </a:t>
            </a:r>
            <a:r>
              <a:rPr lang="fr-FR" dirty="0" err="1"/>
              <a:t>problemepremièrement</a:t>
            </a:r>
            <a:r>
              <a:rPr lang="fr-FR" dirty="0"/>
              <a:t> </a:t>
            </a:r>
          </a:p>
          <a:p>
            <a:pPr marL="228600" indent="-228600">
              <a:buAutoNum type="arabicPeriod"/>
            </a:pPr>
            <a:r>
              <a:rPr lang="fr-FR" dirty="0"/>
              <a:t>Pénurie de compétences en sécurité : Le manque de professionnels qualifiés en sécurité de l'information</a:t>
            </a:r>
          </a:p>
          <a:p>
            <a:pPr marL="0" indent="0">
              <a:buNone/>
            </a:pPr>
            <a:r>
              <a:rPr lang="fr-FR" dirty="0"/>
              <a:t>2. Coûts élevés : La mise en place d'un département de sécurité interne peut être coûteuse en termes de recrutement, de formation, d'infrastructure et de technologies. </a:t>
            </a:r>
          </a:p>
          <a:p>
            <a:r>
              <a:rPr lang="fr-FR" dirty="0"/>
              <a:t>3. Flexibilité et évolutivité : Les besoins en matière de sécurité de l'information peuvent varier en fonction de la taille, de la nature et des objectifs de l'entreprise. </a:t>
            </a:r>
          </a:p>
          <a:p>
            <a:r>
              <a:rPr lang="fr-FR" dirty="0"/>
              <a:t>4. Accès à une expertise de pointe : les entreprises n ont pas accès à une expertise de pointe en matière de sécurité de l'information. </a:t>
            </a:r>
          </a:p>
        </p:txBody>
      </p:sp>
      <p:sp>
        <p:nvSpPr>
          <p:cNvPr id="4" name="Slide Number Placeholder 3"/>
          <p:cNvSpPr>
            <a:spLocks noGrp="1"/>
          </p:cNvSpPr>
          <p:nvPr>
            <p:ph type="sldNum" sz="quarter" idx="5"/>
          </p:nvPr>
        </p:nvSpPr>
        <p:spPr/>
        <p:txBody>
          <a:bodyPr/>
          <a:lstStyle/>
          <a:p>
            <a:fld id="{D6CF851A-ED10-4873-91C0-2030E8282D2B}" type="slidenum">
              <a:rPr lang="fr-FR" smtClean="0"/>
              <a:t>5</a:t>
            </a:fld>
            <a:endParaRPr lang="fr-FR"/>
          </a:p>
        </p:txBody>
      </p:sp>
    </p:spTree>
    <p:extLst>
      <p:ext uri="{BB962C8B-B14F-4D97-AF65-F5344CB8AC3E}">
        <p14:creationId xmlns:p14="http://schemas.microsoft.com/office/powerpoint/2010/main" val="1647839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ci nous avons une visualisation claire du</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3</a:t>
            </a:fld>
            <a:endParaRPr lang="fr-FR"/>
          </a:p>
        </p:txBody>
      </p:sp>
    </p:spTree>
    <p:extLst>
      <p:ext uri="{BB962C8B-B14F-4D97-AF65-F5344CB8AC3E}">
        <p14:creationId xmlns:p14="http://schemas.microsoft.com/office/powerpoint/2010/main" val="41287554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4</a:t>
            </a:fld>
            <a:endParaRPr lang="fr-FR"/>
          </a:p>
        </p:txBody>
      </p:sp>
    </p:spTree>
    <p:extLst>
      <p:ext uri="{BB962C8B-B14F-4D97-AF65-F5344CB8AC3E}">
        <p14:creationId xmlns:p14="http://schemas.microsoft.com/office/powerpoint/2010/main" val="34040517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5</a:t>
            </a:fld>
            <a:endParaRPr lang="fr-FR"/>
          </a:p>
        </p:txBody>
      </p:sp>
    </p:spTree>
    <p:extLst>
      <p:ext uri="{BB962C8B-B14F-4D97-AF65-F5344CB8AC3E}">
        <p14:creationId xmlns:p14="http://schemas.microsoft.com/office/powerpoint/2010/main" val="17443419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Suivre le </a:t>
            </a:r>
            <a:r>
              <a:rPr lang="fr-FR" dirty="0" err="1"/>
              <a:t>starut</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6</a:t>
            </a:fld>
            <a:endParaRPr lang="fr-FR"/>
          </a:p>
        </p:txBody>
      </p:sp>
    </p:spTree>
    <p:extLst>
      <p:ext uri="{BB962C8B-B14F-4D97-AF65-F5344CB8AC3E}">
        <p14:creationId xmlns:p14="http://schemas.microsoft.com/office/powerpoint/2010/main" val="14316830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 ce qui concerne la dernière </a:t>
            </a:r>
            <a:r>
              <a:rPr lang="fr-FR" dirty="0" err="1"/>
              <a:t>etape</a:t>
            </a:r>
            <a:r>
              <a:rPr lang="fr-FR" dirty="0"/>
              <a:t> de l </a:t>
            </a:r>
            <a:r>
              <a:rPr lang="fr-FR" dirty="0" err="1"/>
              <a:t>evaluation</a:t>
            </a:r>
            <a:r>
              <a:rPr lang="fr-FR" dirty="0"/>
              <a:t> elle repose sur l identification des </a:t>
            </a:r>
            <a:r>
              <a:rPr lang="fr-FR" dirty="0" err="1"/>
              <a:t>ecarts</a:t>
            </a:r>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7</a:t>
            </a:fld>
            <a:endParaRPr lang="fr-FR"/>
          </a:p>
        </p:txBody>
      </p:sp>
    </p:spTree>
    <p:extLst>
      <p:ext uri="{BB962C8B-B14F-4D97-AF65-F5344CB8AC3E}">
        <p14:creationId xmlns:p14="http://schemas.microsoft.com/office/powerpoint/2010/main" val="26951787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Calibri" panose="020F0502020204030204" pitchFamily="34" charset="0"/>
                <a:ea typeface="Calibri" panose="020F0502020204030204" pitchFamily="34" charset="0"/>
                <a:cs typeface="Times New Roman" panose="02020603050405020304" pitchFamily="18" charset="0"/>
              </a:rPr>
              <a:t>Pour mener cette analyse, nous avons comparé les mesures de sécurité existantes chez notre client avec les meilleures pratiques et les normes de sécurité reconnues à l'échelle de l'industrie. Nous avons identifié les différences et les manques entre l'état actuel de sécurité et l'état de maturité cible que nous visons pour notre client.</a:t>
            </a:r>
          </a:p>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8</a:t>
            </a:fld>
            <a:endParaRPr lang="fr-FR"/>
          </a:p>
        </p:txBody>
      </p:sp>
    </p:spTree>
    <p:extLst>
      <p:ext uri="{BB962C8B-B14F-4D97-AF65-F5344CB8AC3E}">
        <p14:creationId xmlns:p14="http://schemas.microsoft.com/office/powerpoint/2010/main" val="18196773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Une fois la phase d </a:t>
            </a:r>
            <a:r>
              <a:rPr lang="fr-FR" dirty="0" err="1"/>
              <a:t>evaluation</a:t>
            </a:r>
            <a:r>
              <a:rPr lang="fr-FR" dirty="0"/>
              <a:t> finalisé nous sommes passé a la phase de recommandation sur laquelle nous sommes entrain de travailler actuellement, cette phase repose sur l </a:t>
            </a:r>
            <a:r>
              <a:rPr lang="fr-FR" dirty="0" err="1"/>
              <a:t>elaborations</a:t>
            </a:r>
            <a:endParaRPr lang="fr-FR" dirty="0"/>
          </a:p>
          <a:p>
            <a:r>
              <a:rPr lang="fr-FR" dirty="0"/>
              <a:t>Par la suite nous allons entamer la phase d </a:t>
            </a:r>
            <a:r>
              <a:rPr lang="fr-FR" dirty="0" err="1"/>
              <a:t>implementation</a:t>
            </a:r>
            <a:r>
              <a:rPr lang="fr-FR" dirty="0"/>
              <a:t> sur laquelle nous allons travailler en étroite collaboration</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49</a:t>
            </a:fld>
            <a:endParaRPr lang="fr-FR"/>
          </a:p>
        </p:txBody>
      </p:sp>
    </p:spTree>
    <p:extLst>
      <p:ext uri="{BB962C8B-B14F-4D97-AF65-F5344CB8AC3E}">
        <p14:creationId xmlns:p14="http://schemas.microsoft.com/office/powerpoint/2010/main" val="22071980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indent="449580" algn="just">
              <a:lnSpc>
                <a:spcPct val="150000"/>
              </a:lnSpc>
              <a:spcAft>
                <a:spcPts val="6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Une perspective a laquelle </a:t>
            </a:r>
            <a:r>
              <a:rPr lang="fr-FR" sz="1800" b="1" dirty="0" err="1">
                <a:effectLst/>
                <a:latin typeface="Calibri" panose="020F0502020204030204" pitchFamily="34" charset="0"/>
                <a:ea typeface="Calibri" panose="020F0502020204030204" pitchFamily="34" charset="0"/>
                <a:cs typeface="Times New Roman" panose="02020603050405020304" pitchFamily="18" charset="0"/>
              </a:rPr>
              <a:t>jai</a:t>
            </a:r>
            <a:r>
              <a:rPr lang="fr-FR" sz="1800" b="1" dirty="0">
                <a:effectLst/>
                <a:latin typeface="Calibri" panose="020F0502020204030204" pitchFamily="34" charset="0"/>
                <a:ea typeface="Calibri" panose="020F0502020204030204" pitchFamily="34" charset="0"/>
                <a:cs typeface="Times New Roman" panose="02020603050405020304" pitchFamily="18" charset="0"/>
              </a:rPr>
              <a:t> pense est l'amélioration continue de ce toolkit qui consiste sur l implication des utilisateurs finaux et des parties prenantes dans le processus de développement et leur inclusion dans le cycle de retour d'information. </a:t>
            </a:r>
            <a:r>
              <a:rPr lang="fr-FR" sz="1800" dirty="0">
                <a:effectLst/>
                <a:latin typeface="Calibri" panose="020F0502020204030204" pitchFamily="34" charset="0"/>
                <a:ea typeface="Calibri" panose="020F0502020204030204" pitchFamily="34" charset="0"/>
                <a:cs typeface="Times New Roman" panose="02020603050405020304" pitchFamily="18" charset="0"/>
              </a:rPr>
              <a:t>Leurs commentaires et leurs besoins spécifiques permettront d'enrichir et d'affiner le toolkit afin qu'il réponde de manière optimale aux exigences du marché.</a:t>
            </a:r>
          </a:p>
          <a:p>
            <a:pPr indent="449580" algn="just">
              <a:lnSpc>
                <a:spcPct val="150000"/>
              </a:lnSpc>
              <a:spcAft>
                <a:spcPts val="6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Il est également essentiel de se tenir au courant des évolutions technologiques et des nouvelles tendances en matière de cybersécurité.</a:t>
            </a:r>
          </a:p>
          <a:p>
            <a:pPr indent="449580" algn="just">
              <a:lnSpc>
                <a:spcPct val="150000"/>
              </a:lnSpc>
              <a:spcAft>
                <a:spcPts val="6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a:t>
            </a:r>
          </a:p>
          <a:p>
            <a:pPr indent="449580" algn="just">
              <a:lnSpc>
                <a:spcPct val="150000"/>
              </a:lnSpc>
              <a:spcAft>
                <a:spcPts val="6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Enfin, l'apprentissage continu et l'échange d'expériences au sein de la communauté de la cybersécurité contribueront également à l'amélioration constante du toolkit. </a:t>
            </a:r>
          </a:p>
          <a:p>
            <a:pPr indent="449580" algn="just">
              <a:lnSpc>
                <a:spcPct val="150000"/>
              </a:lnSpc>
              <a:spcAft>
                <a:spcPts val="60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indent="449580" algn="just">
              <a:lnSpc>
                <a:spcPct val="150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Pour finir, ce projet de développement du toolkit CISO as a Service a été une expérience stimulante et formatrice il m a permit de développer une idée globale sur la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securite</a:t>
            </a:r>
            <a:r>
              <a:rPr lang="fr-FR" sz="1800" dirty="0">
                <a:effectLst/>
                <a:latin typeface="Calibri" panose="020F0502020204030204" pitchFamily="34" charset="0"/>
                <a:ea typeface="Calibri" panose="020F0502020204030204" pitchFamily="34" charset="0"/>
                <a:cs typeface="Times New Roman" panose="02020603050405020304" pitchFamily="18" charset="0"/>
              </a:rPr>
              <a:t> des systèmes d informations</a:t>
            </a:r>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51</a:t>
            </a:fld>
            <a:endParaRPr lang="fr-FR"/>
          </a:p>
        </p:txBody>
      </p:sp>
    </p:spTree>
    <p:extLst>
      <p:ext uri="{BB962C8B-B14F-4D97-AF65-F5344CB8AC3E}">
        <p14:creationId xmlns:p14="http://schemas.microsoft.com/office/powerpoint/2010/main" val="24494912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EST AINSI QUE PRREND FIN MON EXPOSE, merci</a:t>
            </a:r>
          </a:p>
          <a:p>
            <a:endParaRPr lang="fr-FR" dirty="0"/>
          </a:p>
        </p:txBody>
      </p:sp>
      <p:sp>
        <p:nvSpPr>
          <p:cNvPr id="4" name="Espace réservé du numéro de diapositive 3"/>
          <p:cNvSpPr>
            <a:spLocks noGrp="1"/>
          </p:cNvSpPr>
          <p:nvPr>
            <p:ph type="sldNum" sz="quarter" idx="5"/>
          </p:nvPr>
        </p:nvSpPr>
        <p:spPr/>
        <p:txBody>
          <a:bodyPr/>
          <a:lstStyle/>
          <a:p>
            <a:fld id="{D6CF851A-ED10-4873-91C0-2030E8282D2B}" type="slidenum">
              <a:rPr lang="fr-FR" smtClean="0"/>
              <a:t>52</a:t>
            </a:fld>
            <a:endParaRPr lang="fr-FR"/>
          </a:p>
        </p:txBody>
      </p:sp>
    </p:spTree>
    <p:extLst>
      <p:ext uri="{BB962C8B-B14F-4D97-AF65-F5344CB8AC3E}">
        <p14:creationId xmlns:p14="http://schemas.microsoft.com/office/powerpoint/2010/main" val="407791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0" i="0" dirty="0">
                <a:solidFill>
                  <a:srgbClr val="D1D5DB"/>
                </a:solidFill>
                <a:effectLst/>
                <a:latin typeface="Söhne"/>
              </a:rPr>
              <a:t>Ces défis ont conduit à l'identification de notre problématique principale, qui se formule comme suit :</a:t>
            </a:r>
          </a:p>
          <a:p>
            <a:r>
              <a:rPr lang="fr-FR" sz="1200" dirty="0"/>
              <a:t>Comment les organisations peuvent-elles bénéficier des avantages d'un CISO pour garantir la sécurité de leurs systèmes et actifs, tout en minimisant les coûts et les complexités liées à cette fonction </a:t>
            </a:r>
          </a:p>
          <a:p>
            <a:endParaRPr lang="fr-FR" dirty="0"/>
          </a:p>
        </p:txBody>
      </p:sp>
      <p:sp>
        <p:nvSpPr>
          <p:cNvPr id="4" name="Slide Number Placeholder 3"/>
          <p:cNvSpPr>
            <a:spLocks noGrp="1"/>
          </p:cNvSpPr>
          <p:nvPr>
            <p:ph type="sldNum" sz="quarter" idx="5"/>
          </p:nvPr>
        </p:nvSpPr>
        <p:spPr/>
        <p:txBody>
          <a:bodyPr/>
          <a:lstStyle/>
          <a:p>
            <a:fld id="{D6CF851A-ED10-4873-91C0-2030E8282D2B}" type="slidenum">
              <a:rPr lang="fr-FR" smtClean="0"/>
              <a:t>6</a:t>
            </a:fld>
            <a:endParaRPr lang="fr-FR"/>
          </a:p>
        </p:txBody>
      </p:sp>
    </p:spTree>
    <p:extLst>
      <p:ext uri="{BB962C8B-B14F-4D97-AF65-F5344CB8AC3E}">
        <p14:creationId xmlns:p14="http://schemas.microsoft.com/office/powerpoint/2010/main" val="1359879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our répondre a cette problématique l une des solutions qui peut être mis en place est le recourt a un </a:t>
            </a:r>
            <a:r>
              <a:rPr lang="fr-FR" dirty="0" err="1"/>
              <a:t>rssi</a:t>
            </a:r>
            <a:r>
              <a:rPr lang="fr-FR" dirty="0"/>
              <a:t> externe ou ce </a:t>
            </a:r>
            <a:r>
              <a:rPr lang="fr-FR" dirty="0" err="1"/>
              <a:t>qu</a:t>
            </a:r>
            <a:r>
              <a:rPr lang="fr-FR" dirty="0"/>
              <a:t> on appelle dans le jargon de la </a:t>
            </a:r>
            <a:r>
              <a:rPr lang="fr-FR" dirty="0" err="1"/>
              <a:t>cybersec</a:t>
            </a:r>
            <a:r>
              <a:rPr lang="fr-FR" dirty="0"/>
              <a:t> </a:t>
            </a:r>
            <a:r>
              <a:rPr lang="fr-FR" dirty="0" err="1"/>
              <a:t>cisoaas</a:t>
            </a:r>
            <a:r>
              <a:rPr lang="fr-FR" dirty="0"/>
              <a:t> ou le </a:t>
            </a:r>
            <a:r>
              <a:rPr lang="fr-FR" dirty="0" err="1"/>
              <a:t>rrsi</a:t>
            </a:r>
            <a:r>
              <a:rPr lang="fr-FR" dirty="0"/>
              <a:t> en tant que service</a:t>
            </a:r>
          </a:p>
        </p:txBody>
      </p:sp>
      <p:sp>
        <p:nvSpPr>
          <p:cNvPr id="4" name="Slide Number Placeholder 3"/>
          <p:cNvSpPr>
            <a:spLocks noGrp="1"/>
          </p:cNvSpPr>
          <p:nvPr>
            <p:ph type="sldNum" sz="quarter" idx="5"/>
          </p:nvPr>
        </p:nvSpPr>
        <p:spPr/>
        <p:txBody>
          <a:bodyPr/>
          <a:lstStyle/>
          <a:p>
            <a:fld id="{D6CF851A-ED10-4873-91C0-2030E8282D2B}" type="slidenum">
              <a:rPr lang="fr-FR" smtClean="0"/>
              <a:t>7</a:t>
            </a:fld>
            <a:endParaRPr lang="fr-FR"/>
          </a:p>
        </p:txBody>
      </p:sp>
    </p:spTree>
    <p:extLst>
      <p:ext uri="{BB962C8B-B14F-4D97-AF65-F5344CB8AC3E}">
        <p14:creationId xmlns:p14="http://schemas.microsoft.com/office/powerpoint/2010/main" val="3799624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intérêt du CISO en tant que service réside dans plusieurs aspects clés :</a:t>
            </a:r>
          </a:p>
          <a:p>
            <a:endParaRPr lang="fr-FR" dirty="0"/>
          </a:p>
          <a:p>
            <a:pPr marL="228600" indent="-228600">
              <a:buAutoNum type="arabicPeriod"/>
            </a:pPr>
            <a:r>
              <a:rPr lang="fr-FR" dirty="0"/>
              <a:t>Expertise spécialisée : En optant pour la solution CISO as a Service, elles peuvent bénéficier de l'expertise d'une équipe spécialisée et compétente sans avoir à recruter et former du personnel supplémentaire.</a:t>
            </a:r>
          </a:p>
        </p:txBody>
      </p:sp>
      <p:sp>
        <p:nvSpPr>
          <p:cNvPr id="4" name="Slide Number Placeholder 3"/>
          <p:cNvSpPr>
            <a:spLocks noGrp="1"/>
          </p:cNvSpPr>
          <p:nvPr>
            <p:ph type="sldNum" sz="quarter" idx="5"/>
          </p:nvPr>
        </p:nvSpPr>
        <p:spPr/>
        <p:txBody>
          <a:bodyPr/>
          <a:lstStyle/>
          <a:p>
            <a:fld id="{D6CF851A-ED10-4873-91C0-2030E8282D2B}" type="slidenum">
              <a:rPr lang="fr-FR" smtClean="0"/>
              <a:t>8</a:t>
            </a:fld>
            <a:endParaRPr lang="fr-FR"/>
          </a:p>
        </p:txBody>
      </p:sp>
    </p:spTree>
    <p:extLst>
      <p:ext uri="{BB962C8B-B14F-4D97-AF65-F5344CB8AC3E}">
        <p14:creationId xmlns:p14="http://schemas.microsoft.com/office/powerpoint/2010/main" val="1572619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2. Coûts réduits : En optant pour CISO as a Service, les organisations peuvent réduire les coûts liés à la mise en place et à la gestion d'une équipe de sécurité interne, </a:t>
            </a:r>
          </a:p>
        </p:txBody>
      </p:sp>
      <p:sp>
        <p:nvSpPr>
          <p:cNvPr id="4" name="Slide Number Placeholder 3"/>
          <p:cNvSpPr>
            <a:spLocks noGrp="1"/>
          </p:cNvSpPr>
          <p:nvPr>
            <p:ph type="sldNum" sz="quarter" idx="5"/>
          </p:nvPr>
        </p:nvSpPr>
        <p:spPr/>
        <p:txBody>
          <a:bodyPr/>
          <a:lstStyle/>
          <a:p>
            <a:fld id="{D6CF851A-ED10-4873-91C0-2030E8282D2B}" type="slidenum">
              <a:rPr lang="fr-FR" smtClean="0"/>
              <a:t>9</a:t>
            </a:fld>
            <a:endParaRPr lang="fr-FR"/>
          </a:p>
        </p:txBody>
      </p:sp>
    </p:spTree>
    <p:extLst>
      <p:ext uri="{BB962C8B-B14F-4D97-AF65-F5344CB8AC3E}">
        <p14:creationId xmlns:p14="http://schemas.microsoft.com/office/powerpoint/2010/main" val="1228736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3. Flexibilité et scalabilité : La solution CISO as a Service va permettre aux organisations d'adapter facilement leurs besoins en sécurité en fonction de l'évolution de leur environnement.</a:t>
            </a:r>
          </a:p>
        </p:txBody>
      </p:sp>
      <p:sp>
        <p:nvSpPr>
          <p:cNvPr id="4" name="Slide Number Placeholder 3"/>
          <p:cNvSpPr>
            <a:spLocks noGrp="1"/>
          </p:cNvSpPr>
          <p:nvPr>
            <p:ph type="sldNum" sz="quarter" idx="5"/>
          </p:nvPr>
        </p:nvSpPr>
        <p:spPr/>
        <p:txBody>
          <a:bodyPr/>
          <a:lstStyle/>
          <a:p>
            <a:fld id="{D6CF851A-ED10-4873-91C0-2030E8282D2B}" type="slidenum">
              <a:rPr lang="fr-FR" smtClean="0"/>
              <a:t>10</a:t>
            </a:fld>
            <a:endParaRPr lang="fr-FR"/>
          </a:p>
        </p:txBody>
      </p:sp>
    </p:spTree>
    <p:extLst>
      <p:ext uri="{BB962C8B-B14F-4D97-AF65-F5344CB8AC3E}">
        <p14:creationId xmlns:p14="http://schemas.microsoft.com/office/powerpoint/2010/main" val="8423180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2991" y="6950291"/>
            <a:ext cx="5113539" cy="328986"/>
          </a:xfrm>
          <a:prstGeom prst="rect">
            <a:avLst/>
          </a:prstGeom>
        </p:spPr>
        <p:txBody>
          <a:bodyPr anchor="b">
            <a:normAutofit/>
          </a:bodyPr>
          <a:lstStyle>
            <a:lvl1pPr>
              <a:spcAft>
                <a:spcPts val="0"/>
              </a:spcAft>
              <a:defRPr sz="176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983549" y="7140778"/>
            <a:ext cx="5903237" cy="174022"/>
          </a:xfrm>
          <a:prstGeom prst="rect">
            <a:avLst/>
          </a:prstGeom>
          <a:noFill/>
        </p:spPr>
        <p:txBody>
          <a:bodyPr wrap="square" lIns="0" tIns="0" rIns="0" bIns="0" rtlCol="0">
            <a:spAutoFit/>
          </a:bodyPr>
          <a:lstStyle>
            <a:lvl1pPr algn="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379344" y="1163188"/>
            <a:ext cx="6702819" cy="5026982"/>
          </a:xfrm>
          <a:prstGeom prst="rect">
            <a:avLst/>
          </a:prstGeom>
        </p:spPr>
        <p:txBody>
          <a:bodyPr/>
          <a:lstStyle>
            <a:lvl1pPr>
              <a:defRPr>
                <a:solidFill>
                  <a:schemeClr val="tx1"/>
                </a:solidFill>
              </a:defRPr>
            </a:lvl1pPr>
          </a:lstStyle>
          <a:p>
            <a:r>
              <a:rPr lang="en-US" noProof="0"/>
              <a:t>Click icon to add picture</a:t>
            </a:r>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983550" y="5784085"/>
            <a:ext cx="4525256" cy="997200"/>
          </a:xfrm>
        </p:spPr>
        <p:txBody>
          <a:bodyPr anchor="b">
            <a:noAutofit/>
          </a:bodyPr>
          <a:lstStyle>
            <a:lvl1pPr>
              <a:spcAft>
                <a:spcPts val="754"/>
              </a:spcAft>
              <a:defRPr sz="1257" b="0">
                <a:solidFill>
                  <a:schemeClr val="tx1"/>
                </a:solidFill>
              </a:defRPr>
            </a:lvl1pPr>
            <a:lvl2pPr marL="215513" indent="-215513">
              <a:spcAft>
                <a:spcPts val="754"/>
              </a:spcAft>
              <a:buFont typeface="Arial" panose="020B0604020202020204" pitchFamily="34" charset="0"/>
              <a:buChar char="•"/>
              <a:defRPr sz="1257" b="0">
                <a:solidFill>
                  <a:schemeClr val="bg1"/>
                </a:solidFill>
              </a:defRPr>
            </a:lvl2pPr>
            <a:lvl3pPr>
              <a:spcAft>
                <a:spcPts val="754"/>
              </a:spcAft>
              <a:defRPr sz="1257">
                <a:solidFill>
                  <a:schemeClr val="bg1"/>
                </a:solidFill>
              </a:defRPr>
            </a:lvl3pPr>
            <a:lvl4pPr>
              <a:spcAft>
                <a:spcPts val="754"/>
              </a:spcAft>
              <a:defRPr sz="1257">
                <a:solidFill>
                  <a:schemeClr val="bg1"/>
                </a:solidFill>
              </a:defRPr>
            </a:lvl4pPr>
            <a:lvl5pPr>
              <a:spcAft>
                <a:spcPts val="754"/>
              </a:spcAft>
              <a:defRPr sz="1257">
                <a:solidFill>
                  <a:schemeClr val="bg1"/>
                </a:solidFill>
              </a:defRPr>
            </a:lvl5pPr>
          </a:lstStyle>
          <a:p>
            <a:r>
              <a:rPr lang="fr-FR"/>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52994" y="5784084"/>
            <a:ext cx="5113539" cy="997200"/>
          </a:xfrm>
        </p:spPr>
        <p:txBody>
          <a:bodyPr anchor="b"/>
          <a:lstStyle>
            <a:lvl1pPr>
              <a:defRPr sz="3520" b="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fr-FR"/>
          </a:p>
        </p:txBody>
      </p:sp>
      <p:pic>
        <p:nvPicPr>
          <p:cNvPr id="27" name="Picture 26">
            <a:extLst>
              <a:ext uri="{FF2B5EF4-FFF2-40B4-BE49-F238E27FC236}">
                <a16:creationId xmlns:a16="http://schemas.microsoft.com/office/drawing/2014/main" id="{359138ED-0968-4032-A810-5D84ED6F3BD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1584655" y="6012000"/>
            <a:ext cx="1507011" cy="1198880"/>
          </a:xfrm>
          <a:prstGeom prst="rect">
            <a:avLst/>
          </a:prstGeom>
        </p:spPr>
      </p:pic>
    </p:spTree>
    <p:extLst>
      <p:ext uri="{BB962C8B-B14F-4D97-AF65-F5344CB8AC3E}">
        <p14:creationId xmlns:p14="http://schemas.microsoft.com/office/powerpoint/2010/main" val="2664987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52991" y="1835674"/>
            <a:ext cx="10226828" cy="5199027"/>
          </a:xfrm>
          <a:prstGeom prst="rect">
            <a:avLst/>
          </a:prstGeom>
        </p:spPr>
        <p:txBody>
          <a:bodyPr/>
          <a:lstStyle>
            <a:lvl1pPr>
              <a:tabLst>
                <a:tab pos="10902804" algn="r"/>
              </a:tabLst>
              <a:defRPr>
                <a:latin typeface="+mn-lt"/>
              </a:defRPr>
            </a:lvl1pPr>
            <a:lvl2pPr>
              <a:tabLst>
                <a:tab pos="10902804" algn="r"/>
              </a:tabLst>
              <a:defRPr>
                <a:latin typeface="+mj-lt"/>
              </a:defRPr>
            </a:lvl2pPr>
            <a:lvl3pPr>
              <a:tabLst>
                <a:tab pos="10902804" algn="r"/>
              </a:tabLst>
              <a:defRPr>
                <a:latin typeface="+mn-lt"/>
              </a:defRPr>
            </a:lvl3pPr>
            <a:lvl4pPr>
              <a:tabLst>
                <a:tab pos="10902804" algn="r"/>
              </a:tabLst>
              <a:defRPr>
                <a:latin typeface="+mn-lt"/>
              </a:defRPr>
            </a:lvl4pPr>
            <a:lvl5pPr>
              <a:tabLst>
                <a:tab pos="8148168" algn="r"/>
              </a:tabLst>
              <a:defRPr baseline="0">
                <a:latin typeface="+mn-lt"/>
              </a:defRPr>
            </a:lvl5pPr>
            <a:lvl6pPr>
              <a:tabLst>
                <a:tab pos="10902804" algn="r"/>
              </a:tabLst>
              <a:defRPr/>
            </a:lvl6pPr>
            <a:lvl7pPr>
              <a:tabLst>
                <a:tab pos="10902804" algn="r"/>
              </a:tabLst>
              <a:defRPr/>
            </a:lvl7pPr>
            <a:lvl8pPr>
              <a:tabLst>
                <a:tab pos="10902804" algn="r"/>
              </a:tabLst>
              <a:defRPr/>
            </a:lvl8pPr>
            <a:lvl9pPr>
              <a:tabLst>
                <a:tab pos="10902804"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52990" y="320040"/>
            <a:ext cx="12324459"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9" name="Date Placeholder 7">
            <a:extLst>
              <a:ext uri="{FF2B5EF4-FFF2-40B4-BE49-F238E27FC236}">
                <a16:creationId xmlns:a16="http://schemas.microsoft.com/office/drawing/2014/main" id="{0F9BE5D8-B03E-49A0-9138-7092C9D20BEB}"/>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0" name="Footer Placeholder 8">
            <a:extLst>
              <a:ext uri="{FF2B5EF4-FFF2-40B4-BE49-F238E27FC236}">
                <a16:creationId xmlns:a16="http://schemas.microsoft.com/office/drawing/2014/main" id="{D650288F-6B2A-4410-B558-D205D601A0B7}"/>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1" name="Slide Number Placeholder 9">
            <a:extLst>
              <a:ext uri="{FF2B5EF4-FFF2-40B4-BE49-F238E27FC236}">
                <a16:creationId xmlns:a16="http://schemas.microsoft.com/office/drawing/2014/main" id="{F9465B3A-0C43-4654-AC18-4CD147548662}"/>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087689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6008160" y="1875921"/>
            <a:ext cx="6878625" cy="5158778"/>
          </a:xfrm>
        </p:spPr>
        <p:txBody>
          <a:bodyPr/>
          <a:lstStyle/>
          <a:p>
            <a:r>
              <a:rPr lang="en-US" noProof="0"/>
              <a:t>Click icon to add picture</a:t>
            </a:r>
          </a:p>
        </p:txBody>
      </p:sp>
      <p:sp>
        <p:nvSpPr>
          <p:cNvPr id="6" name="Content Placeholder 3"/>
          <p:cNvSpPr>
            <a:spLocks noGrp="1"/>
          </p:cNvSpPr>
          <p:nvPr>
            <p:ph sz="quarter" idx="10"/>
          </p:nvPr>
        </p:nvSpPr>
        <p:spPr>
          <a:xfrm>
            <a:off x="552990" y="1835674"/>
            <a:ext cx="4912517" cy="5199027"/>
          </a:xfrm>
          <a:prstGeom prst="rect">
            <a:avLst/>
          </a:prstGeom>
        </p:spPr>
        <p:txBody>
          <a:bodyPr/>
          <a:lstStyle>
            <a:lvl1pPr>
              <a:tabLst>
                <a:tab pos="8148168" algn="r"/>
              </a:tabLst>
              <a:defRPr>
                <a:latin typeface="+mn-lt"/>
              </a:defRPr>
            </a:lvl1pPr>
            <a:lvl2pPr>
              <a:tabLst>
                <a:tab pos="8148168" algn="r"/>
              </a:tabLst>
              <a:defRPr>
                <a:latin typeface="+mj-lt"/>
              </a:defRPr>
            </a:lvl2pPr>
            <a:lvl3pPr>
              <a:tabLst>
                <a:tab pos="8148168" algn="r"/>
              </a:tabLst>
              <a:defRPr>
                <a:latin typeface="+mn-lt"/>
              </a:defRPr>
            </a:lvl3pPr>
            <a:lvl4pPr>
              <a:tabLst>
                <a:tab pos="8148168" algn="r"/>
              </a:tabLst>
              <a:defRPr>
                <a:latin typeface="+mn-lt"/>
              </a:defRPr>
            </a:lvl4pPr>
            <a:lvl5pPr>
              <a:tabLst>
                <a:tab pos="8148168"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Date Placeholder 7">
            <a:extLst>
              <a:ext uri="{FF2B5EF4-FFF2-40B4-BE49-F238E27FC236}">
                <a16:creationId xmlns:a16="http://schemas.microsoft.com/office/drawing/2014/main" id="{4CB9361A-00E4-41C6-AC03-EC1904D56219}"/>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2" name="Footer Placeholder 8">
            <a:extLst>
              <a:ext uri="{FF2B5EF4-FFF2-40B4-BE49-F238E27FC236}">
                <a16:creationId xmlns:a16="http://schemas.microsoft.com/office/drawing/2014/main" id="{F82CA36D-F772-4443-B7DC-D12351666980}"/>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3" name="Slide Number Placeholder 9">
            <a:extLst>
              <a:ext uri="{FF2B5EF4-FFF2-40B4-BE49-F238E27FC236}">
                <a16:creationId xmlns:a16="http://schemas.microsoft.com/office/drawing/2014/main" id="{EDFB9643-54B4-4F88-BDC5-F33675EEF78D}"/>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6571670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425501"/>
          </a:xfrm>
        </p:spPr>
        <p:txBody>
          <a:bodyPr>
            <a:spAutoFit/>
          </a:bodyPr>
          <a:lstStyle/>
          <a:p>
            <a:r>
              <a:rPr lang="en-US"/>
              <a:t>Click to edit Master title style</a:t>
            </a:r>
          </a:p>
        </p:txBody>
      </p:sp>
      <p:sp>
        <p:nvSpPr>
          <p:cNvPr id="14" name="Text Placeholder 18"/>
          <p:cNvSpPr>
            <a:spLocks noGrp="1"/>
          </p:cNvSpPr>
          <p:nvPr>
            <p:ph idx="1"/>
          </p:nvPr>
        </p:nvSpPr>
        <p:spPr>
          <a:xfrm>
            <a:off x="552990" y="1835674"/>
            <a:ext cx="12308127" cy="5199027"/>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7">
            <a:extLst>
              <a:ext uri="{FF2B5EF4-FFF2-40B4-BE49-F238E27FC236}">
                <a16:creationId xmlns:a16="http://schemas.microsoft.com/office/drawing/2014/main" id="{954A5705-7C03-4097-8784-E61EAC697913}"/>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CC7F319D-F0C3-46E0-B165-4015EA3A177E}"/>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65C72B26-E5A7-4CB8-A69C-EC46052018A5}"/>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31242529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52990" y="320040"/>
            <a:ext cx="12304747" cy="425501"/>
          </a:xfrm>
          <a:prstGeom prst="rect">
            <a:avLst/>
          </a:prstGeom>
        </p:spPr>
        <p:txBody>
          <a:bodyPr vert="horz" lIns="0" tIns="0" rIns="0" bIns="0" rtlCol="0" anchor="t" anchorCtr="0">
            <a:spAutoFit/>
          </a:bodyPr>
          <a:lstStyle>
            <a:lvl1pPr>
              <a:defRPr/>
            </a:lvl1pPr>
          </a:lstStyle>
          <a:p>
            <a:r>
              <a:rPr lang="en-US" noProof="0"/>
              <a:t>Click to edit Master title style</a:t>
            </a:r>
          </a:p>
        </p:txBody>
      </p:sp>
      <p:sp>
        <p:nvSpPr>
          <p:cNvPr id="8" name="Text Placeholder 18"/>
          <p:cNvSpPr>
            <a:spLocks noGrp="1"/>
          </p:cNvSpPr>
          <p:nvPr>
            <p:ph idx="1"/>
          </p:nvPr>
        </p:nvSpPr>
        <p:spPr>
          <a:xfrm>
            <a:off x="552990" y="1874170"/>
            <a:ext cx="12308127" cy="5157716"/>
          </a:xfrm>
          <a:prstGeom prst="rect">
            <a:avLst/>
          </a:prstGeom>
        </p:spPr>
        <p:txBody>
          <a:bodyPr vert="horz" lIns="0" tIns="0" rIns="0" bIns="0" rtlCol="0">
            <a:normAutofit/>
          </a:bodyPr>
          <a:lstStyle>
            <a:lvl1pPr>
              <a:defRPr sz="1760"/>
            </a:lvl1pPr>
            <a:lvl2pPr>
              <a:defRPr sz="1760"/>
            </a:lvl2pPr>
            <a:lvl3pPr>
              <a:defRPr sz="1760"/>
            </a:lvl3pPr>
            <a:lvl4pPr>
              <a:defRPr sz="1760"/>
            </a:lvl4pPr>
            <a:lvl5pPr>
              <a:defRPr sz="17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Date Placeholder 7">
            <a:extLst>
              <a:ext uri="{FF2B5EF4-FFF2-40B4-BE49-F238E27FC236}">
                <a16:creationId xmlns:a16="http://schemas.microsoft.com/office/drawing/2014/main" id="{472C0370-6559-492D-84D1-56D82FAE371C}"/>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2DCF9C5B-A919-40F2-B822-537C1D83E985}"/>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F74D121A-9310-4C8E-81EE-EF8FC74822E8}"/>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1927873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765"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52990" y="320040"/>
            <a:ext cx="12304747" cy="425501"/>
          </a:xfrm>
          <a:prstGeom prst="rect">
            <a:avLst/>
          </a:prstGeom>
        </p:spPr>
        <p:txBody>
          <a:bodyPr vert="horz" lIns="0" tIns="0" rIns="0" bIns="0" rtlCol="0" anchor="t" anchorCtr="0">
            <a:spAutoFit/>
          </a:bodyPr>
          <a:lstStyle>
            <a:lvl1pPr>
              <a:defRPr/>
            </a:lvl1pPr>
          </a:lstStyle>
          <a:p>
            <a:r>
              <a:rPr lang="en-US" noProof="0"/>
              <a:t>Click to edit Master title style</a:t>
            </a:r>
          </a:p>
        </p:txBody>
      </p:sp>
      <p:sp>
        <p:nvSpPr>
          <p:cNvPr id="8" name="Text Placeholder 18"/>
          <p:cNvSpPr>
            <a:spLocks noGrp="1"/>
          </p:cNvSpPr>
          <p:nvPr>
            <p:ph idx="1"/>
          </p:nvPr>
        </p:nvSpPr>
        <p:spPr>
          <a:xfrm>
            <a:off x="552990" y="1874170"/>
            <a:ext cx="12308127" cy="5157716"/>
          </a:xfrm>
          <a:prstGeom prst="rect">
            <a:avLst/>
          </a:prstGeom>
        </p:spPr>
        <p:txBody>
          <a:bodyPr vert="horz" lIns="0" tIns="0" rIns="0" bIns="0" rtlCol="0">
            <a:normAutofit/>
          </a:bodyPr>
          <a:lstStyle>
            <a:lvl1pPr>
              <a:defRPr sz="2011"/>
            </a:lvl1pPr>
            <a:lvl2pPr>
              <a:defRPr sz="2011"/>
            </a:lvl2pPr>
            <a:lvl3pPr>
              <a:defRPr sz="2011"/>
            </a:lvl3pPr>
            <a:lvl4pPr>
              <a:defRPr sz="2011"/>
            </a:lvl4pPr>
            <a:lvl5pPr>
              <a:defRPr sz="2011"/>
            </a:lvl5pPr>
            <a:lvl6pPr>
              <a:defRPr sz="2592"/>
            </a:lvl6pPr>
            <a:lvl7pPr>
              <a:defRPr sz="2592"/>
            </a:lvl7pPr>
            <a:lvl8pPr>
              <a:defRPr sz="2592"/>
            </a:lvl8pPr>
            <a:lvl9pPr>
              <a:defRPr sz="259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Date Placeholder 7">
            <a:extLst>
              <a:ext uri="{FF2B5EF4-FFF2-40B4-BE49-F238E27FC236}">
                <a16:creationId xmlns:a16="http://schemas.microsoft.com/office/drawing/2014/main" id="{37C34959-DC6D-4FDE-BCFB-481E19704263}"/>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2D56BAA8-A077-444B-BBF3-4F9DE05561B1}"/>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EBAB6C61-715B-4D63-8E28-C90BC7FB8622}"/>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60972498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17" name="Chart Placeholder 3"/>
          <p:cNvSpPr>
            <a:spLocks noGrp="1"/>
          </p:cNvSpPr>
          <p:nvPr>
            <p:ph type="chart" sz="quarter" idx="15"/>
          </p:nvPr>
        </p:nvSpPr>
        <p:spPr>
          <a:xfrm>
            <a:off x="552991" y="2261952"/>
            <a:ext cx="12333792" cy="448533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52991" y="1874172"/>
            <a:ext cx="12333792" cy="393733"/>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52990" y="6747285"/>
            <a:ext cx="12333794" cy="287414"/>
          </a:xfrm>
        </p:spPr>
        <p:txBody>
          <a:bodyPr>
            <a:normAutofit/>
          </a:bodyPr>
          <a:lstStyle>
            <a:lvl1pPr>
              <a:spcAft>
                <a:spcPts val="0"/>
              </a:spcAft>
              <a:defRPr sz="1458"/>
            </a:lvl1pPr>
          </a:lstStyle>
          <a:p>
            <a:pPr lvl="0"/>
            <a:r>
              <a:rPr lang="en-US"/>
              <a:t>Click to edit Master text styles</a:t>
            </a:r>
          </a:p>
        </p:txBody>
      </p:sp>
      <p:sp>
        <p:nvSpPr>
          <p:cNvPr id="10" name="Date Placeholder 7">
            <a:extLst>
              <a:ext uri="{FF2B5EF4-FFF2-40B4-BE49-F238E27FC236}">
                <a16:creationId xmlns:a16="http://schemas.microsoft.com/office/drawing/2014/main" id="{2D380E8B-906B-4F04-BDAC-2BE1B2AA9DE6}"/>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77DBFAD8-437C-4021-A8B8-0A9881B2124A}"/>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4826019E-0AA6-4F8B-9D83-F94D4E09BC62}"/>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19602062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17" name="Chart Placeholder 3"/>
          <p:cNvSpPr>
            <a:spLocks noGrp="1"/>
          </p:cNvSpPr>
          <p:nvPr>
            <p:ph type="chart" sz="quarter" idx="15"/>
          </p:nvPr>
        </p:nvSpPr>
        <p:spPr>
          <a:xfrm>
            <a:off x="552991" y="2261949"/>
            <a:ext cx="3912824" cy="44853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52991" y="1835673"/>
            <a:ext cx="3926935" cy="432231"/>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755942" y="2261949"/>
            <a:ext cx="3926125" cy="448533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755943" y="1835673"/>
            <a:ext cx="3926123" cy="432231"/>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958082" y="2261949"/>
            <a:ext cx="3928701" cy="448533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958084" y="1828901"/>
            <a:ext cx="3928703" cy="439003"/>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52991" y="6747285"/>
            <a:ext cx="12308129" cy="287414"/>
          </a:xfrm>
        </p:spPr>
        <p:txBody>
          <a:bodyPr>
            <a:normAutofit/>
          </a:bodyPr>
          <a:lstStyle>
            <a:lvl1pPr>
              <a:spcAft>
                <a:spcPts val="0"/>
              </a:spcAft>
              <a:defRPr sz="1383"/>
            </a:lvl1pPr>
          </a:lstStyle>
          <a:p>
            <a:pPr lvl="0"/>
            <a:r>
              <a:rPr lang="en-US" noProof="0"/>
              <a:t>Click to edit Master text styles</a:t>
            </a:r>
          </a:p>
        </p:txBody>
      </p:sp>
      <p:sp>
        <p:nvSpPr>
          <p:cNvPr id="19" name="Date Placeholder 7">
            <a:extLst>
              <a:ext uri="{FF2B5EF4-FFF2-40B4-BE49-F238E27FC236}">
                <a16:creationId xmlns:a16="http://schemas.microsoft.com/office/drawing/2014/main" id="{ED732CA7-E83C-49FA-9693-F3019398F7B0}"/>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0" name="Footer Placeholder 8">
            <a:extLst>
              <a:ext uri="{FF2B5EF4-FFF2-40B4-BE49-F238E27FC236}">
                <a16:creationId xmlns:a16="http://schemas.microsoft.com/office/drawing/2014/main" id="{EFF4014B-6BF7-4976-9C2E-E6D6B59FA378}"/>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21" name="Slide Number Placeholder 9">
            <a:extLst>
              <a:ext uri="{FF2B5EF4-FFF2-40B4-BE49-F238E27FC236}">
                <a16:creationId xmlns:a16="http://schemas.microsoft.com/office/drawing/2014/main" id="{3A9A2DF1-449A-48B3-9291-27DC0008BCD0}"/>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13754382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52990" y="320040"/>
            <a:ext cx="12349192"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52990" y="649225"/>
            <a:ext cx="12349192"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52990" y="1835674"/>
            <a:ext cx="5848571" cy="5199025"/>
          </a:xfrm>
          <a:prstGeom prst="rect">
            <a:avLst/>
          </a:prstGeom>
        </p:spPr>
        <p:txBody>
          <a:bodyPr/>
          <a:lstStyle>
            <a:lvl1pPr>
              <a:tabLst>
                <a:tab pos="8148168" algn="r"/>
              </a:tabLst>
              <a:defRPr/>
            </a:lvl1pPr>
            <a:lvl2pPr>
              <a:tabLst>
                <a:tab pos="8148168" algn="r"/>
              </a:tabLst>
              <a:defRPr/>
            </a:lvl2pPr>
            <a:lvl3pPr>
              <a:tabLst>
                <a:tab pos="8148168" algn="r"/>
              </a:tabLst>
              <a:defRPr/>
            </a:lvl3pPr>
            <a:lvl4pPr>
              <a:tabLst>
                <a:tab pos="8148168" algn="r"/>
              </a:tabLst>
              <a:defRPr/>
            </a:lvl4pPr>
            <a:lvl5pPr>
              <a:tabLst>
                <a:tab pos="814816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7034650" y="1835674"/>
            <a:ext cx="5867535" cy="5199025"/>
          </a:xfrm>
          <a:prstGeom prst="rect">
            <a:avLst/>
          </a:prstGeom>
        </p:spPr>
        <p:txBody>
          <a:bodyPr/>
          <a:lstStyle>
            <a:lvl1pPr>
              <a:tabLst>
                <a:tab pos="8148168" algn="r"/>
              </a:tabLst>
              <a:defRPr/>
            </a:lvl1pPr>
            <a:lvl2pPr>
              <a:tabLst>
                <a:tab pos="8148168" algn="r"/>
              </a:tabLst>
              <a:defRPr/>
            </a:lvl2pPr>
            <a:lvl3pPr>
              <a:tabLst>
                <a:tab pos="8148168" algn="r"/>
              </a:tabLst>
              <a:defRPr/>
            </a:lvl3pPr>
            <a:lvl4pPr>
              <a:tabLst>
                <a:tab pos="8148168" algn="r"/>
              </a:tabLst>
              <a:defRPr/>
            </a:lvl4pPr>
            <a:lvl5pPr>
              <a:tabLst>
                <a:tab pos="814816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Date Placeholder 7">
            <a:extLst>
              <a:ext uri="{FF2B5EF4-FFF2-40B4-BE49-F238E27FC236}">
                <a16:creationId xmlns:a16="http://schemas.microsoft.com/office/drawing/2014/main" id="{97A56A03-0E75-4282-B35F-958ACA872FBE}"/>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1" name="Footer Placeholder 8">
            <a:extLst>
              <a:ext uri="{FF2B5EF4-FFF2-40B4-BE49-F238E27FC236}">
                <a16:creationId xmlns:a16="http://schemas.microsoft.com/office/drawing/2014/main" id="{94296A86-662C-4F5F-B73C-2792A815431A}"/>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2" name="Slide Number Placeholder 9">
            <a:extLst>
              <a:ext uri="{FF2B5EF4-FFF2-40B4-BE49-F238E27FC236}">
                <a16:creationId xmlns:a16="http://schemas.microsoft.com/office/drawing/2014/main" id="{54A13BCF-961A-4773-B60D-77CB408DD3AE}"/>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171853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11" name="Content Placeholder 3"/>
          <p:cNvSpPr>
            <a:spLocks noGrp="1"/>
          </p:cNvSpPr>
          <p:nvPr>
            <p:ph sz="quarter" idx="10"/>
          </p:nvPr>
        </p:nvSpPr>
        <p:spPr>
          <a:xfrm>
            <a:off x="552991" y="1835674"/>
            <a:ext cx="5848573" cy="5199025"/>
          </a:xfrm>
          <a:prstGeom prst="rect">
            <a:avLst/>
          </a:prstGeom>
        </p:spPr>
        <p:txBody>
          <a:bodyPr>
            <a:normAutofit/>
          </a:bodyPr>
          <a:lstStyle>
            <a:lvl1pPr>
              <a:tabLst>
                <a:tab pos="8148168" algn="r"/>
              </a:tabLst>
              <a:defRPr sz="2011"/>
            </a:lvl1pPr>
            <a:lvl2pPr>
              <a:tabLst>
                <a:tab pos="8148168" algn="r"/>
              </a:tabLst>
              <a:defRPr sz="2011"/>
            </a:lvl2pPr>
            <a:lvl3pPr>
              <a:tabLst>
                <a:tab pos="8148168" algn="r"/>
              </a:tabLst>
              <a:defRPr sz="2011"/>
            </a:lvl3pPr>
            <a:lvl4pPr>
              <a:tabLst>
                <a:tab pos="8148168" algn="r"/>
              </a:tabLst>
              <a:defRPr sz="2011"/>
            </a:lvl4pPr>
            <a:lvl5pPr>
              <a:tabLst>
                <a:tab pos="8148168" algn="r"/>
              </a:tabLst>
              <a:defRPr sz="2011" baseline="0"/>
            </a:lvl5pPr>
            <a:lvl6pPr>
              <a:defRPr sz="2592"/>
            </a:lvl6pPr>
            <a:lvl7pPr>
              <a:defRPr sz="2592"/>
            </a:lvl7pPr>
            <a:lvl8pPr>
              <a:defRPr sz="2592"/>
            </a:lvl8pPr>
            <a:lvl9pPr>
              <a:defRPr sz="259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7037363" y="1835674"/>
            <a:ext cx="5849422" cy="5199025"/>
          </a:xfrm>
          <a:prstGeom prst="rect">
            <a:avLst/>
          </a:prstGeom>
        </p:spPr>
        <p:txBody>
          <a:bodyPr>
            <a:normAutofit/>
          </a:bodyPr>
          <a:lstStyle>
            <a:lvl1pPr>
              <a:tabLst>
                <a:tab pos="8148168" algn="r"/>
              </a:tabLst>
              <a:defRPr sz="2011"/>
            </a:lvl1pPr>
            <a:lvl2pPr>
              <a:tabLst>
                <a:tab pos="8148168" algn="r"/>
              </a:tabLst>
              <a:defRPr sz="2011"/>
            </a:lvl2pPr>
            <a:lvl3pPr>
              <a:tabLst>
                <a:tab pos="8148168" algn="r"/>
              </a:tabLst>
              <a:defRPr sz="2011"/>
            </a:lvl3pPr>
            <a:lvl4pPr>
              <a:tabLst>
                <a:tab pos="8148168" algn="r"/>
              </a:tabLst>
              <a:defRPr sz="2011"/>
            </a:lvl4pPr>
            <a:lvl5pPr>
              <a:tabLst>
                <a:tab pos="8148168" algn="r"/>
              </a:tabLst>
              <a:defRPr sz="2011" baseline="0"/>
            </a:lvl5pPr>
            <a:lvl6pPr>
              <a:defRPr sz="2592"/>
            </a:lvl6pPr>
            <a:lvl7pPr>
              <a:defRPr sz="2592"/>
            </a:lvl7pPr>
            <a:lvl8pPr>
              <a:defRPr sz="2592"/>
            </a:lvl8pPr>
            <a:lvl9pPr>
              <a:defRPr sz="259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Date Placeholder 7">
            <a:extLst>
              <a:ext uri="{FF2B5EF4-FFF2-40B4-BE49-F238E27FC236}">
                <a16:creationId xmlns:a16="http://schemas.microsoft.com/office/drawing/2014/main" id="{55684825-8195-4496-9A16-446AFCBD2E4A}"/>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1EF54C9F-9501-41BF-94B0-B2CA0260F274}"/>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BBC657A0-88BB-485F-9FB8-367FB5122B29}"/>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92660900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52991" y="1835673"/>
            <a:ext cx="5903233" cy="4911612"/>
          </a:xfrm>
          <a:prstGeom prst="rect">
            <a:avLst/>
          </a:prstGeom>
        </p:spPr>
        <p:txBody>
          <a:bodyPr/>
          <a:lstStyle>
            <a:lvl1pPr>
              <a:tabLst>
                <a:tab pos="8148168" algn="r"/>
              </a:tabLst>
              <a:defRPr/>
            </a:lvl1pPr>
            <a:lvl2pPr>
              <a:tabLst>
                <a:tab pos="8148168" algn="r"/>
              </a:tabLst>
              <a:defRPr/>
            </a:lvl2pPr>
            <a:lvl3pPr>
              <a:tabLst>
                <a:tab pos="8148168" algn="r"/>
              </a:tabLst>
              <a:defRPr/>
            </a:lvl3pPr>
            <a:lvl4pPr>
              <a:tabLst>
                <a:tab pos="8148168" algn="r"/>
              </a:tabLst>
              <a:defRPr/>
            </a:lvl4pPr>
            <a:lvl5pPr>
              <a:tabLst>
                <a:tab pos="814816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990209" y="2342433"/>
            <a:ext cx="5896578" cy="4404850"/>
          </a:xfrm>
        </p:spPr>
        <p:txBody>
          <a:bodyPr/>
          <a:lstStyle/>
          <a:p>
            <a:r>
              <a:rPr lang="en-US" noProof="0"/>
              <a:t>Click icon to add chart</a:t>
            </a:r>
          </a:p>
        </p:txBody>
      </p:sp>
      <p:sp>
        <p:nvSpPr>
          <p:cNvPr id="6" name="Text Placeholder 5"/>
          <p:cNvSpPr>
            <a:spLocks noGrp="1"/>
          </p:cNvSpPr>
          <p:nvPr>
            <p:ph type="body" sz="quarter" idx="22"/>
          </p:nvPr>
        </p:nvSpPr>
        <p:spPr>
          <a:xfrm>
            <a:off x="6990209" y="1835672"/>
            <a:ext cx="5896578" cy="463730"/>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15" name="Text Placeholder 7"/>
          <p:cNvSpPr>
            <a:spLocks noGrp="1"/>
          </p:cNvSpPr>
          <p:nvPr>
            <p:ph type="body" sz="quarter" idx="23"/>
          </p:nvPr>
        </p:nvSpPr>
        <p:spPr>
          <a:xfrm>
            <a:off x="552990" y="6747285"/>
            <a:ext cx="12333794" cy="287414"/>
          </a:xfrm>
        </p:spPr>
        <p:txBody>
          <a:bodyPr>
            <a:normAutofit/>
          </a:bodyPr>
          <a:lstStyle>
            <a:lvl1pPr>
              <a:spcAft>
                <a:spcPts val="0"/>
              </a:spcAft>
              <a:defRPr sz="1383"/>
            </a:lvl1pPr>
          </a:lstStyle>
          <a:p>
            <a:pPr lvl="0"/>
            <a:r>
              <a:rPr lang="en-US"/>
              <a:t>Click to edit Master text styles</a:t>
            </a:r>
          </a:p>
        </p:txBody>
      </p:sp>
      <p:sp>
        <p:nvSpPr>
          <p:cNvPr id="14" name="Date Placeholder 7">
            <a:extLst>
              <a:ext uri="{FF2B5EF4-FFF2-40B4-BE49-F238E27FC236}">
                <a16:creationId xmlns:a16="http://schemas.microsoft.com/office/drawing/2014/main" id="{0B054244-B15E-4D52-894F-DF588179C643}"/>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6" name="Footer Placeholder 8">
            <a:extLst>
              <a:ext uri="{FF2B5EF4-FFF2-40B4-BE49-F238E27FC236}">
                <a16:creationId xmlns:a16="http://schemas.microsoft.com/office/drawing/2014/main" id="{C8407D95-089C-4125-A3EC-446E01AEE7F4}"/>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7" name="Slide Number Placeholder 9">
            <a:extLst>
              <a:ext uri="{FF2B5EF4-FFF2-40B4-BE49-F238E27FC236}">
                <a16:creationId xmlns:a16="http://schemas.microsoft.com/office/drawing/2014/main" id="{28EEB498-78F1-40A4-A677-3143EF7E73FD}"/>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40825341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 Whit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2991" y="6950291"/>
            <a:ext cx="5113539" cy="328986"/>
          </a:xfrm>
          <a:prstGeom prst="rect">
            <a:avLst/>
          </a:prstGeom>
        </p:spPr>
        <p:txBody>
          <a:bodyPr anchor="b">
            <a:normAutofit/>
          </a:bodyPr>
          <a:lstStyle>
            <a:lvl1pPr>
              <a:spcAft>
                <a:spcPts val="0"/>
              </a:spcAft>
              <a:defRPr sz="176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983549" y="7140778"/>
            <a:ext cx="5903237" cy="174022"/>
          </a:xfrm>
          <a:prstGeom prst="rect">
            <a:avLst/>
          </a:prstGeom>
          <a:noFill/>
        </p:spPr>
        <p:txBody>
          <a:bodyPr wrap="square" lIns="0" tIns="0" rIns="0" bIns="0" rtlCol="0">
            <a:spAutoFit/>
          </a:bodyPr>
          <a:lstStyle>
            <a:lvl1pPr algn="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379344" y="1163188"/>
            <a:ext cx="6702819" cy="5026982"/>
          </a:xfrm>
          <a:prstGeom prst="rect">
            <a:avLst/>
          </a:prstGeom>
        </p:spPr>
        <p:txBody>
          <a:bodyPr/>
          <a:lstStyle>
            <a:lvl1pPr>
              <a:defRPr>
                <a:solidFill>
                  <a:schemeClr val="tx1"/>
                </a:solidFill>
              </a:defRPr>
            </a:lvl1pPr>
          </a:lstStyle>
          <a:p>
            <a:r>
              <a:rPr lang="en-US" noProof="0"/>
              <a:t>Click icon to add picture</a:t>
            </a:r>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983550" y="5784084"/>
            <a:ext cx="4525256" cy="998146"/>
          </a:xfrm>
        </p:spPr>
        <p:txBody>
          <a:bodyPr anchor="b">
            <a:noAutofit/>
          </a:bodyPr>
          <a:lstStyle>
            <a:lvl1pPr>
              <a:spcAft>
                <a:spcPts val="754"/>
              </a:spcAft>
              <a:defRPr sz="1257" b="0">
                <a:solidFill>
                  <a:schemeClr val="tx1"/>
                </a:solidFill>
              </a:defRPr>
            </a:lvl1pPr>
            <a:lvl2pPr marL="215513" indent="-215513">
              <a:spcAft>
                <a:spcPts val="754"/>
              </a:spcAft>
              <a:buFont typeface="Arial" panose="020B0604020202020204" pitchFamily="34" charset="0"/>
              <a:buChar char="•"/>
              <a:defRPr sz="1257" b="0">
                <a:solidFill>
                  <a:schemeClr val="bg1"/>
                </a:solidFill>
              </a:defRPr>
            </a:lvl2pPr>
            <a:lvl3pPr>
              <a:spcAft>
                <a:spcPts val="754"/>
              </a:spcAft>
              <a:defRPr sz="1257">
                <a:solidFill>
                  <a:schemeClr val="bg1"/>
                </a:solidFill>
              </a:defRPr>
            </a:lvl3pPr>
            <a:lvl4pPr>
              <a:spcAft>
                <a:spcPts val="754"/>
              </a:spcAft>
              <a:defRPr sz="1257">
                <a:solidFill>
                  <a:schemeClr val="bg1"/>
                </a:solidFill>
              </a:defRPr>
            </a:lvl4pPr>
            <a:lvl5pPr>
              <a:spcAft>
                <a:spcPts val="754"/>
              </a:spcAft>
              <a:defRPr sz="1257">
                <a:solidFill>
                  <a:schemeClr val="bg1"/>
                </a:solidFill>
              </a:defRPr>
            </a:lvl5pPr>
          </a:lstStyle>
          <a:p>
            <a:r>
              <a:rPr lang="fr-FR"/>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52994" y="5784085"/>
            <a:ext cx="5113539" cy="998145"/>
          </a:xfrm>
        </p:spPr>
        <p:txBody>
          <a:bodyPr anchor="b"/>
          <a:lstStyle>
            <a:lvl1pPr>
              <a:defRPr sz="3520" b="0">
                <a:solidFill>
                  <a:schemeClr val="accent1"/>
                </a:solidFill>
              </a:defRPr>
            </a:lvl1pPr>
          </a:lstStyle>
          <a:p>
            <a:r>
              <a:rPr lang="en-US"/>
              <a:t>Click to edit Master title style</a:t>
            </a:r>
            <a:endParaRPr lang="fr-FR"/>
          </a:p>
        </p:txBody>
      </p:sp>
      <p:pic>
        <p:nvPicPr>
          <p:cNvPr id="27" name="Picture 26">
            <a:extLst>
              <a:ext uri="{FF2B5EF4-FFF2-40B4-BE49-F238E27FC236}">
                <a16:creationId xmlns:a16="http://schemas.microsoft.com/office/drawing/2014/main" id="{4E327673-1413-4DDD-9B6F-FD99E249528C}"/>
              </a:ext>
            </a:extLst>
          </p:cNvPr>
          <p:cNvPicPr>
            <a:picLocks noChangeAspect="1"/>
          </p:cNvPicPr>
          <p:nvPr/>
        </p:nvPicPr>
        <p:blipFill>
          <a:blip r:embed="rId2"/>
          <a:srcRect/>
          <a:stretch/>
        </p:blipFill>
        <p:spPr>
          <a:xfrm>
            <a:off x="11584655" y="6012000"/>
            <a:ext cx="1507011" cy="1198880"/>
          </a:xfrm>
          <a:prstGeom prst="rect">
            <a:avLst/>
          </a:prstGeom>
        </p:spPr>
      </p:pic>
    </p:spTree>
    <p:extLst>
      <p:ext uri="{BB962C8B-B14F-4D97-AF65-F5344CB8AC3E}">
        <p14:creationId xmlns:p14="http://schemas.microsoft.com/office/powerpoint/2010/main" val="3257963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990204" y="2342433"/>
            <a:ext cx="5896579" cy="4404850"/>
          </a:xfrm>
        </p:spPr>
        <p:txBody>
          <a:bodyPr/>
          <a:lstStyle/>
          <a:p>
            <a:r>
              <a:rPr lang="en-US"/>
              <a:t>Click icon to add chart</a:t>
            </a:r>
            <a:endParaRPr lang="en-GB"/>
          </a:p>
        </p:txBody>
      </p:sp>
      <p:sp>
        <p:nvSpPr>
          <p:cNvPr id="6" name="Text Placeholder 5"/>
          <p:cNvSpPr>
            <a:spLocks noGrp="1"/>
          </p:cNvSpPr>
          <p:nvPr>
            <p:ph type="body" sz="quarter" idx="22"/>
          </p:nvPr>
        </p:nvSpPr>
        <p:spPr>
          <a:xfrm>
            <a:off x="6990207" y="1835672"/>
            <a:ext cx="5896579" cy="463730"/>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15" name="Text Placeholder 7"/>
          <p:cNvSpPr>
            <a:spLocks noGrp="1"/>
          </p:cNvSpPr>
          <p:nvPr>
            <p:ph type="body" sz="quarter" idx="23"/>
          </p:nvPr>
        </p:nvSpPr>
        <p:spPr>
          <a:xfrm>
            <a:off x="552991" y="6747285"/>
            <a:ext cx="12308129" cy="287414"/>
          </a:xfrm>
        </p:spPr>
        <p:txBody>
          <a:bodyPr>
            <a:normAutofit/>
          </a:bodyPr>
          <a:lstStyle>
            <a:lvl1pPr>
              <a:spcAft>
                <a:spcPts val="0"/>
              </a:spcAft>
              <a:defRPr sz="1383"/>
            </a:lvl1pPr>
          </a:lstStyle>
          <a:p>
            <a:pPr lvl="0"/>
            <a:r>
              <a:rPr lang="en-US"/>
              <a:t>Click to edit Master text styles</a:t>
            </a:r>
          </a:p>
        </p:txBody>
      </p:sp>
      <p:sp>
        <p:nvSpPr>
          <p:cNvPr id="9" name="Chart Placeholder 2"/>
          <p:cNvSpPr>
            <a:spLocks noGrp="1"/>
          </p:cNvSpPr>
          <p:nvPr>
            <p:ph type="chart" sz="quarter" idx="24"/>
          </p:nvPr>
        </p:nvSpPr>
        <p:spPr>
          <a:xfrm>
            <a:off x="552990" y="2342433"/>
            <a:ext cx="5885482" cy="4404850"/>
          </a:xfrm>
        </p:spPr>
        <p:txBody>
          <a:bodyPr/>
          <a:lstStyle/>
          <a:p>
            <a:r>
              <a:rPr lang="en-US"/>
              <a:t>Click icon to add chart</a:t>
            </a:r>
            <a:endParaRPr lang="en-GB"/>
          </a:p>
        </p:txBody>
      </p:sp>
      <p:sp>
        <p:nvSpPr>
          <p:cNvPr id="12" name="Text Placeholder 5"/>
          <p:cNvSpPr>
            <a:spLocks noGrp="1"/>
          </p:cNvSpPr>
          <p:nvPr>
            <p:ph type="body" sz="quarter" idx="25"/>
          </p:nvPr>
        </p:nvSpPr>
        <p:spPr>
          <a:xfrm>
            <a:off x="552991" y="1835672"/>
            <a:ext cx="5885484" cy="463730"/>
          </a:xfrm>
        </p:spPr>
        <p:txBody>
          <a:bodyPr/>
          <a:lstStyle/>
          <a:p>
            <a:pPr lvl="0"/>
            <a:r>
              <a:rPr lang="en-US" noProof="0"/>
              <a:t>Click to edit Master text styles</a:t>
            </a:r>
          </a:p>
        </p:txBody>
      </p:sp>
      <p:sp>
        <p:nvSpPr>
          <p:cNvPr id="17" name="Date Placeholder 7">
            <a:extLst>
              <a:ext uri="{FF2B5EF4-FFF2-40B4-BE49-F238E27FC236}">
                <a16:creationId xmlns:a16="http://schemas.microsoft.com/office/drawing/2014/main" id="{95AF6FF6-C08E-451B-819E-48462A4583D7}"/>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CBAE5FD5-2F5D-438E-BC70-DAC282B9DA3A}"/>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99AC8E73-FD21-4684-AABF-F6910E69998F}"/>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7482447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1" y="320040"/>
            <a:ext cx="12333792"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6" name="Content Placeholder 3"/>
          <p:cNvSpPr>
            <a:spLocks noGrp="1"/>
          </p:cNvSpPr>
          <p:nvPr>
            <p:ph sz="quarter" idx="10"/>
          </p:nvPr>
        </p:nvSpPr>
        <p:spPr>
          <a:xfrm>
            <a:off x="552991" y="1835674"/>
            <a:ext cx="4885430" cy="5199027"/>
          </a:xfrm>
          <a:prstGeom prst="rect">
            <a:avLst/>
          </a:prstGeom>
        </p:spPr>
        <p:txBody>
          <a:bodyPr/>
          <a:lstStyle>
            <a:lvl1pPr>
              <a:tabLst>
                <a:tab pos="8148168" algn="r"/>
              </a:tabLst>
              <a:defRPr/>
            </a:lvl1pPr>
            <a:lvl2pPr>
              <a:tabLst>
                <a:tab pos="8148168" algn="r"/>
              </a:tabLst>
              <a:defRPr/>
            </a:lvl2pPr>
            <a:lvl3pPr>
              <a:tabLst>
                <a:tab pos="8148168" algn="r"/>
              </a:tabLst>
              <a:defRPr/>
            </a:lvl3pPr>
            <a:lvl4pPr>
              <a:tabLst>
                <a:tab pos="8148168" algn="r"/>
              </a:tabLst>
              <a:defRPr/>
            </a:lvl4pPr>
            <a:lvl5pPr>
              <a:tabLst>
                <a:tab pos="814816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6008159" y="1874171"/>
            <a:ext cx="6878625" cy="5160528"/>
          </a:xfrm>
          <a:prstGeom prst="rect">
            <a:avLst/>
          </a:prstGeom>
        </p:spPr>
        <p:txBody>
          <a:bodyPr/>
          <a:lstStyle>
            <a:lvl1pPr>
              <a:tabLst>
                <a:tab pos="8148168" algn="r"/>
              </a:tabLst>
              <a:defRPr/>
            </a:lvl1pPr>
            <a:lvl2pPr>
              <a:tabLst>
                <a:tab pos="8148168" algn="r"/>
              </a:tabLst>
              <a:defRPr/>
            </a:lvl2pPr>
            <a:lvl3pPr>
              <a:tabLst>
                <a:tab pos="8148168" algn="r"/>
              </a:tabLst>
              <a:defRPr/>
            </a:lvl3pPr>
            <a:lvl4pPr>
              <a:tabLst>
                <a:tab pos="8148168" algn="r"/>
              </a:tabLst>
              <a:defRPr/>
            </a:lvl4pPr>
            <a:lvl5pPr>
              <a:tabLst>
                <a:tab pos="814816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3" name="Date Placeholder 7">
            <a:extLst>
              <a:ext uri="{FF2B5EF4-FFF2-40B4-BE49-F238E27FC236}">
                <a16:creationId xmlns:a16="http://schemas.microsoft.com/office/drawing/2014/main" id="{F14FEB2A-8432-413A-A456-6CDA5525A182}"/>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11C7FD25-3A1F-4600-90F6-984420B26974}"/>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0D35987E-2542-47A0-BF29-D70712E4725F}"/>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7551980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6" name="Content Placeholder 3"/>
          <p:cNvSpPr>
            <a:spLocks noGrp="1"/>
          </p:cNvSpPr>
          <p:nvPr>
            <p:ph sz="quarter" idx="10"/>
          </p:nvPr>
        </p:nvSpPr>
        <p:spPr>
          <a:xfrm>
            <a:off x="8353431" y="1828388"/>
            <a:ext cx="4533354" cy="5206312"/>
          </a:xfrm>
          <a:prstGeom prst="rect">
            <a:avLst/>
          </a:prstGeom>
        </p:spPr>
        <p:txBody>
          <a:bodyPr>
            <a:normAutofit/>
          </a:bodyPr>
          <a:lstStyle>
            <a:lvl1pPr>
              <a:tabLst>
                <a:tab pos="8148168" algn="r"/>
              </a:tabLst>
              <a:defRPr sz="2640">
                <a:solidFill>
                  <a:schemeClr val="accent3"/>
                </a:solidFill>
              </a:defRPr>
            </a:lvl1pPr>
            <a:lvl2pPr>
              <a:tabLst>
                <a:tab pos="8148168" algn="r"/>
              </a:tabLst>
              <a:defRPr/>
            </a:lvl2pPr>
            <a:lvl3pPr>
              <a:tabLst>
                <a:tab pos="8148168" algn="r"/>
              </a:tabLst>
              <a:defRPr/>
            </a:lvl3pPr>
            <a:lvl4pPr>
              <a:tabLst>
                <a:tab pos="8148168" algn="r"/>
              </a:tabLst>
              <a:defRPr/>
            </a:lvl4pPr>
            <a:lvl5pPr>
              <a:tabLst>
                <a:tab pos="8148168"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52990" y="1835672"/>
            <a:ext cx="7172231" cy="5199026"/>
          </a:xfrm>
          <a:prstGeom prst="rect">
            <a:avLst/>
          </a:prstGeom>
        </p:spPr>
        <p:txBody>
          <a:bodyPr/>
          <a:lstStyle>
            <a:lvl1pPr>
              <a:tabLst>
                <a:tab pos="8148168" algn="r"/>
              </a:tabLst>
              <a:defRPr/>
            </a:lvl1pPr>
            <a:lvl2pPr>
              <a:tabLst>
                <a:tab pos="8148168" algn="r"/>
              </a:tabLst>
              <a:defRPr/>
            </a:lvl2pPr>
            <a:lvl3pPr>
              <a:tabLst>
                <a:tab pos="8148168" algn="r"/>
              </a:tabLst>
              <a:defRPr/>
            </a:lvl3pPr>
            <a:lvl4pPr>
              <a:tabLst>
                <a:tab pos="8148168" algn="r"/>
              </a:tabLst>
              <a:defRPr/>
            </a:lvl4pPr>
            <a:lvl5pPr>
              <a:tabLst>
                <a:tab pos="814816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52991" y="649225"/>
            <a:ext cx="12333792"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3" name="Date Placeholder 7">
            <a:extLst>
              <a:ext uri="{FF2B5EF4-FFF2-40B4-BE49-F238E27FC236}">
                <a16:creationId xmlns:a16="http://schemas.microsoft.com/office/drawing/2014/main" id="{24624CF9-6D70-4211-A650-E9BE2C10FB64}"/>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4" name="Footer Placeholder 8">
            <a:extLst>
              <a:ext uri="{FF2B5EF4-FFF2-40B4-BE49-F238E27FC236}">
                <a16:creationId xmlns:a16="http://schemas.microsoft.com/office/drawing/2014/main" id="{7C762785-DDF5-4011-8148-92107988310B}"/>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5" name="Slide Number Placeholder 9">
            <a:extLst>
              <a:ext uri="{FF2B5EF4-FFF2-40B4-BE49-F238E27FC236}">
                <a16:creationId xmlns:a16="http://schemas.microsoft.com/office/drawing/2014/main" id="{93579AEC-628E-4D68-BC23-268E889C46D5}"/>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71320902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425501"/>
          </a:xfrm>
        </p:spPr>
        <p:txBody>
          <a:bodyPr>
            <a:spAutoFit/>
          </a:bodyPr>
          <a:lstStyle/>
          <a:p>
            <a:r>
              <a:rPr lang="en-US"/>
              <a:t>Click to edit Master title style</a:t>
            </a:r>
            <a:endParaRPr lang="en-GB"/>
          </a:p>
        </p:txBody>
      </p:sp>
      <p:sp>
        <p:nvSpPr>
          <p:cNvPr id="4" name="Picture Placeholder 6"/>
          <p:cNvSpPr>
            <a:spLocks noGrp="1"/>
          </p:cNvSpPr>
          <p:nvPr>
            <p:ph type="pic" sz="quarter" idx="13"/>
          </p:nvPr>
        </p:nvSpPr>
        <p:spPr>
          <a:xfrm>
            <a:off x="552991" y="1874171"/>
            <a:ext cx="2989556" cy="1388917"/>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667737" y="1874171"/>
            <a:ext cx="2989556" cy="1388917"/>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782483" y="1874171"/>
            <a:ext cx="2989556" cy="1388917"/>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897231" y="1874171"/>
            <a:ext cx="2989556" cy="1388917"/>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52991" y="3443853"/>
            <a:ext cx="2998891" cy="3590843"/>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85799" indent="-285799">
              <a:spcAft>
                <a:spcPts val="0"/>
              </a:spcAft>
              <a:buFont typeface="Arial" panose="020B0604020202020204" pitchFamily="34" charset="0"/>
              <a:buChar char="•"/>
              <a:defRPr/>
            </a:lvl4pPr>
            <a:lvl5pPr marL="577429" indent="-285799">
              <a:spcAft>
                <a:spcPts val="0"/>
              </a:spcAft>
              <a:defRPr baseline="0"/>
            </a:lvl5pPr>
            <a:lvl6pPr marL="577429" indent="-285799">
              <a:spcAft>
                <a:spcPts val="0"/>
              </a:spcAft>
              <a:buFont typeface="Verdana" panose="020B0604030504040204" pitchFamily="34" charset="0"/>
              <a:buChar char="−"/>
              <a:defRPr/>
            </a:lvl6pPr>
            <a:lvl7pPr marL="577429" indent="-285799">
              <a:spcAft>
                <a:spcPts val="0"/>
              </a:spcAft>
              <a:defRPr/>
            </a:lvl7pPr>
            <a:lvl8pPr marL="577429" indent="-285799">
              <a:spcAft>
                <a:spcPts val="0"/>
              </a:spcAft>
              <a:defRPr/>
            </a:lvl8pPr>
            <a:lvl9pPr marL="577429" indent="-28579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796486" y="3439830"/>
            <a:ext cx="2989556" cy="3594868"/>
          </a:xfrm>
        </p:spPr>
        <p:txBody>
          <a:bodyPr/>
          <a:lstStyle>
            <a:lvl1pPr>
              <a:defRPr b="1">
                <a:solidFill>
                  <a:schemeClr val="accent1"/>
                </a:solidFill>
              </a:defRPr>
            </a:lvl1pPr>
            <a:lvl2pPr>
              <a:spcAft>
                <a:spcPts val="0"/>
              </a:spcAft>
              <a:defRPr/>
            </a:lvl2pPr>
            <a:lvl3pPr marL="0" indent="0">
              <a:spcAft>
                <a:spcPts val="0"/>
              </a:spcAft>
              <a:buNone/>
              <a:defRPr/>
            </a:lvl3pPr>
            <a:lvl4pPr marL="285799" indent="-285799">
              <a:spcAft>
                <a:spcPts val="0"/>
              </a:spcAft>
              <a:buFont typeface="Arial" panose="020B0604020202020204" pitchFamily="34" charset="0"/>
              <a:buChar char="•"/>
              <a:defRPr/>
            </a:lvl4pPr>
            <a:lvl5pPr marL="577429" indent="-285799">
              <a:spcAft>
                <a:spcPts val="0"/>
              </a:spcAft>
              <a:defRPr baseline="0"/>
            </a:lvl5pPr>
            <a:lvl6pPr marL="577429" indent="-285799">
              <a:spcAft>
                <a:spcPts val="0"/>
              </a:spcAft>
              <a:buFont typeface="Verdana" panose="020B0604030504040204" pitchFamily="34" charset="0"/>
              <a:buChar char="−"/>
              <a:defRPr/>
            </a:lvl6pPr>
            <a:lvl7pPr marL="577429" indent="-285799">
              <a:spcAft>
                <a:spcPts val="0"/>
              </a:spcAft>
              <a:defRPr/>
            </a:lvl7pPr>
            <a:lvl8pPr marL="577429" indent="-285799">
              <a:spcAft>
                <a:spcPts val="0"/>
              </a:spcAft>
              <a:defRPr/>
            </a:lvl8pPr>
            <a:lvl9pPr marL="577429" indent="-28579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679406" y="3443853"/>
            <a:ext cx="2989556" cy="3590845"/>
          </a:xfrm>
        </p:spPr>
        <p:txBody>
          <a:bodyPr/>
          <a:lstStyle>
            <a:lvl1pPr>
              <a:defRPr b="1">
                <a:solidFill>
                  <a:schemeClr val="accent1"/>
                </a:solidFill>
              </a:defRPr>
            </a:lvl1pPr>
            <a:lvl2pPr>
              <a:spcAft>
                <a:spcPts val="0"/>
              </a:spcAft>
              <a:defRPr/>
            </a:lvl2pPr>
            <a:lvl3pPr marL="0" indent="0">
              <a:spcAft>
                <a:spcPts val="0"/>
              </a:spcAft>
              <a:buNone/>
              <a:defRPr/>
            </a:lvl3pPr>
            <a:lvl4pPr marL="285799" indent="-285799">
              <a:spcAft>
                <a:spcPts val="0"/>
              </a:spcAft>
              <a:buFont typeface="Arial" panose="020B0604020202020204" pitchFamily="34" charset="0"/>
              <a:buChar char="•"/>
              <a:defRPr/>
            </a:lvl4pPr>
            <a:lvl5pPr marL="577429" indent="-285799">
              <a:spcAft>
                <a:spcPts val="0"/>
              </a:spcAft>
              <a:defRPr baseline="0"/>
            </a:lvl5pPr>
            <a:lvl6pPr marL="577429" indent="-285799">
              <a:spcAft>
                <a:spcPts val="0"/>
              </a:spcAft>
              <a:buFont typeface="Verdana" panose="020B0604030504040204" pitchFamily="34" charset="0"/>
              <a:buChar char="−"/>
              <a:defRPr/>
            </a:lvl6pPr>
            <a:lvl7pPr marL="577429" indent="-285799">
              <a:spcAft>
                <a:spcPts val="0"/>
              </a:spcAft>
              <a:defRPr/>
            </a:lvl7pPr>
            <a:lvl8pPr marL="577429" indent="-285799">
              <a:spcAft>
                <a:spcPts val="0"/>
              </a:spcAft>
              <a:defRPr/>
            </a:lvl8pPr>
            <a:lvl9pPr marL="577429" indent="-28579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913565" y="3426555"/>
            <a:ext cx="2973223" cy="3608141"/>
          </a:xfrm>
        </p:spPr>
        <p:txBody>
          <a:bodyPr/>
          <a:lstStyle>
            <a:lvl1pPr>
              <a:defRPr b="1">
                <a:solidFill>
                  <a:schemeClr val="accent1"/>
                </a:solidFill>
              </a:defRPr>
            </a:lvl1pPr>
            <a:lvl2pPr>
              <a:spcAft>
                <a:spcPts val="0"/>
              </a:spcAft>
              <a:defRPr/>
            </a:lvl2pPr>
            <a:lvl3pPr marL="0" indent="0">
              <a:spcAft>
                <a:spcPts val="0"/>
              </a:spcAft>
              <a:buNone/>
              <a:defRPr/>
            </a:lvl3pPr>
            <a:lvl4pPr marL="285799" indent="-285799">
              <a:spcAft>
                <a:spcPts val="0"/>
              </a:spcAft>
              <a:buFont typeface="Arial" panose="020B0604020202020204" pitchFamily="34" charset="0"/>
              <a:buChar char="•"/>
              <a:defRPr/>
            </a:lvl4pPr>
            <a:lvl5pPr marL="577429" indent="-285799">
              <a:spcAft>
                <a:spcPts val="0"/>
              </a:spcAft>
              <a:defRPr baseline="0"/>
            </a:lvl5pPr>
            <a:lvl6pPr marL="577429" indent="-285799">
              <a:spcAft>
                <a:spcPts val="0"/>
              </a:spcAft>
              <a:buFont typeface="Verdana" panose="020B0604030504040204" pitchFamily="34" charset="0"/>
              <a:buChar char="−"/>
              <a:defRPr/>
            </a:lvl6pPr>
            <a:lvl7pPr marL="577429" indent="-285799">
              <a:spcAft>
                <a:spcPts val="0"/>
              </a:spcAft>
              <a:defRPr/>
            </a:lvl7pPr>
            <a:lvl8pPr marL="577429" indent="-285799">
              <a:spcAft>
                <a:spcPts val="0"/>
              </a:spcAft>
              <a:defRPr/>
            </a:lvl8pPr>
            <a:lvl9pPr marL="577429" indent="-28579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52991" y="649225"/>
            <a:ext cx="12333795"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7" name="Date Placeholder 7">
            <a:extLst>
              <a:ext uri="{FF2B5EF4-FFF2-40B4-BE49-F238E27FC236}">
                <a16:creationId xmlns:a16="http://schemas.microsoft.com/office/drawing/2014/main" id="{6CEA9E4F-59F0-4D08-83DF-EC879D57E839}"/>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CAFBA71F-4368-43FD-9156-937E0C9D463E}"/>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282A4A18-9409-4068-806C-99A791647829}"/>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295237050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425501"/>
          </a:xfrm>
        </p:spPr>
        <p:txBody>
          <a:bodyPr>
            <a:spAutoFit/>
          </a:bodyPr>
          <a:lstStyle/>
          <a:p>
            <a:r>
              <a:rPr lang="en-US" noProof="0"/>
              <a:t>Click to edit Master title style</a:t>
            </a:r>
          </a:p>
        </p:txBody>
      </p:sp>
      <p:sp>
        <p:nvSpPr>
          <p:cNvPr id="4" name="Rectangle 3"/>
          <p:cNvSpPr/>
          <p:nvPr/>
        </p:nvSpPr>
        <p:spPr>
          <a:xfrm>
            <a:off x="555583" y="1881842"/>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782">
              <a:solidFill>
                <a:schemeClr val="bg1"/>
              </a:solidFill>
            </a:endParaRPr>
          </a:p>
        </p:txBody>
      </p:sp>
      <p:sp>
        <p:nvSpPr>
          <p:cNvPr id="5" name="Rectangle 4"/>
          <p:cNvSpPr/>
          <p:nvPr/>
        </p:nvSpPr>
        <p:spPr>
          <a:xfrm>
            <a:off x="6861083" y="1874171"/>
            <a:ext cx="6035405"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782">
              <a:solidFill>
                <a:schemeClr val="bg1"/>
              </a:solidFill>
            </a:endParaRPr>
          </a:p>
        </p:txBody>
      </p:sp>
      <p:sp>
        <p:nvSpPr>
          <p:cNvPr id="6" name="Rectangle 5"/>
          <p:cNvSpPr/>
          <p:nvPr/>
        </p:nvSpPr>
        <p:spPr>
          <a:xfrm>
            <a:off x="555583" y="4481101"/>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782">
              <a:solidFill>
                <a:schemeClr val="bg1"/>
              </a:solidFill>
            </a:endParaRPr>
          </a:p>
        </p:txBody>
      </p:sp>
      <p:sp>
        <p:nvSpPr>
          <p:cNvPr id="7" name="Rectangle 6"/>
          <p:cNvSpPr/>
          <p:nvPr/>
        </p:nvSpPr>
        <p:spPr>
          <a:xfrm>
            <a:off x="6861083" y="4481101"/>
            <a:ext cx="603540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782">
              <a:solidFill>
                <a:schemeClr val="bg1"/>
              </a:solidFill>
            </a:endParaRPr>
          </a:p>
        </p:txBody>
      </p:sp>
      <p:sp>
        <p:nvSpPr>
          <p:cNvPr id="8" name="Picture Placeholder 11"/>
          <p:cNvSpPr>
            <a:spLocks noGrp="1"/>
          </p:cNvSpPr>
          <p:nvPr>
            <p:ph type="pic" sz="quarter" idx="25"/>
          </p:nvPr>
        </p:nvSpPr>
        <p:spPr>
          <a:xfrm>
            <a:off x="552990" y="2072587"/>
            <a:ext cx="2169413" cy="1627017"/>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861081" y="2072587"/>
            <a:ext cx="2169413" cy="1627017"/>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52990" y="4691687"/>
            <a:ext cx="2169413" cy="1627017"/>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861081" y="4691687"/>
            <a:ext cx="2169413" cy="1627017"/>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986966" y="2072587"/>
            <a:ext cx="3624506" cy="21429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9255898" y="2072587"/>
            <a:ext cx="3640592"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986966" y="4691687"/>
            <a:ext cx="3624506"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9255898" y="4691687"/>
            <a:ext cx="3640592" cy="21429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765"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BDA76EEA-1E52-4D3C-80ED-6243878A60CE}"/>
              </a:ext>
            </a:extLst>
          </p:cNvPr>
          <p:cNvSpPr/>
          <p:nvPr/>
        </p:nvSpPr>
        <p:spPr>
          <a:xfrm>
            <a:off x="552991" y="1881842"/>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19" name="Rectangle 18">
            <a:extLst>
              <a:ext uri="{FF2B5EF4-FFF2-40B4-BE49-F238E27FC236}">
                <a16:creationId xmlns:a16="http://schemas.microsoft.com/office/drawing/2014/main" id="{E1C3849E-5B87-4E89-A696-B1A8AE50A843}"/>
              </a:ext>
            </a:extLst>
          </p:cNvPr>
          <p:cNvSpPr/>
          <p:nvPr/>
        </p:nvSpPr>
        <p:spPr>
          <a:xfrm>
            <a:off x="6861083" y="1874171"/>
            <a:ext cx="6035405"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20" name="Rectangle 19">
            <a:extLst>
              <a:ext uri="{FF2B5EF4-FFF2-40B4-BE49-F238E27FC236}">
                <a16:creationId xmlns:a16="http://schemas.microsoft.com/office/drawing/2014/main" id="{5737EC39-0EB2-483C-9B36-B0052D120453}"/>
              </a:ext>
            </a:extLst>
          </p:cNvPr>
          <p:cNvSpPr/>
          <p:nvPr/>
        </p:nvSpPr>
        <p:spPr>
          <a:xfrm>
            <a:off x="552991" y="4481101"/>
            <a:ext cx="605848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21" name="Rectangle 20">
            <a:extLst>
              <a:ext uri="{FF2B5EF4-FFF2-40B4-BE49-F238E27FC236}">
                <a16:creationId xmlns:a16="http://schemas.microsoft.com/office/drawing/2014/main" id="{00D336B3-2575-4F6E-9BAD-8C32D75B6E63}"/>
              </a:ext>
            </a:extLst>
          </p:cNvPr>
          <p:cNvSpPr/>
          <p:nvPr/>
        </p:nvSpPr>
        <p:spPr>
          <a:xfrm>
            <a:off x="6861083" y="4481101"/>
            <a:ext cx="603540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25" name="Date Placeholder 7">
            <a:extLst>
              <a:ext uri="{FF2B5EF4-FFF2-40B4-BE49-F238E27FC236}">
                <a16:creationId xmlns:a16="http://schemas.microsoft.com/office/drawing/2014/main" id="{CBDC6718-CD9E-4364-AECA-A7D373D5BE14}"/>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6" name="Footer Placeholder 8">
            <a:extLst>
              <a:ext uri="{FF2B5EF4-FFF2-40B4-BE49-F238E27FC236}">
                <a16:creationId xmlns:a16="http://schemas.microsoft.com/office/drawing/2014/main" id="{C148113E-7764-4986-85D9-B371FA648592}"/>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27" name="Slide Number Placeholder 9">
            <a:extLst>
              <a:ext uri="{FF2B5EF4-FFF2-40B4-BE49-F238E27FC236}">
                <a16:creationId xmlns:a16="http://schemas.microsoft.com/office/drawing/2014/main" id="{F9942D63-C1A4-465E-8957-901189ACC6C7}"/>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18600081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425501"/>
          </a:xfrm>
        </p:spPr>
        <p:txBody>
          <a:bodyPr>
            <a:spAutoFit/>
          </a:bodyPr>
          <a:lstStyle/>
          <a:p>
            <a:r>
              <a:rPr lang="en-US" noProof="0"/>
              <a:t>Click to edit Master title style</a:t>
            </a:r>
          </a:p>
        </p:txBody>
      </p:sp>
      <p:sp>
        <p:nvSpPr>
          <p:cNvPr id="4" name="Picture Placeholder 7"/>
          <p:cNvSpPr>
            <a:spLocks noGrp="1"/>
          </p:cNvSpPr>
          <p:nvPr>
            <p:ph type="pic" sz="quarter" idx="13"/>
          </p:nvPr>
        </p:nvSpPr>
        <p:spPr>
          <a:xfrm>
            <a:off x="552990" y="1874172"/>
            <a:ext cx="4073932" cy="2173407"/>
          </a:xfrm>
        </p:spPr>
        <p:txBody>
          <a:bodyPr/>
          <a:lstStyle/>
          <a:p>
            <a:r>
              <a:rPr lang="en-US" noProof="0"/>
              <a:t>Click icon to add picture</a:t>
            </a:r>
          </a:p>
        </p:txBody>
      </p:sp>
      <p:sp>
        <p:nvSpPr>
          <p:cNvPr id="5" name="Picture Placeholder 7"/>
          <p:cNvSpPr>
            <a:spLocks noGrp="1"/>
          </p:cNvSpPr>
          <p:nvPr>
            <p:ph type="pic" sz="quarter" idx="14"/>
          </p:nvPr>
        </p:nvSpPr>
        <p:spPr>
          <a:xfrm>
            <a:off x="8825804" y="1874172"/>
            <a:ext cx="4060984" cy="2173407"/>
          </a:xfrm>
        </p:spPr>
        <p:txBody>
          <a:bodyPr/>
          <a:lstStyle/>
          <a:p>
            <a:r>
              <a:rPr lang="en-US" noProof="0"/>
              <a:t>Click icon to add picture</a:t>
            </a:r>
          </a:p>
        </p:txBody>
      </p:sp>
      <p:sp>
        <p:nvSpPr>
          <p:cNvPr id="6" name="Picture Placeholder 7"/>
          <p:cNvSpPr>
            <a:spLocks noGrp="1"/>
          </p:cNvSpPr>
          <p:nvPr>
            <p:ph type="pic" sz="quarter" idx="15"/>
          </p:nvPr>
        </p:nvSpPr>
        <p:spPr>
          <a:xfrm>
            <a:off x="4749991" y="1874172"/>
            <a:ext cx="4031933" cy="2173407"/>
          </a:xfrm>
        </p:spPr>
        <p:txBody>
          <a:bodyPr/>
          <a:lstStyle/>
          <a:p>
            <a:r>
              <a:rPr lang="en-US" noProof="0"/>
              <a:t>Click icon to add picture</a:t>
            </a:r>
          </a:p>
        </p:txBody>
      </p:sp>
      <p:sp>
        <p:nvSpPr>
          <p:cNvPr id="9" name="Text Placeholder 18"/>
          <p:cNvSpPr>
            <a:spLocks noGrp="1"/>
          </p:cNvSpPr>
          <p:nvPr>
            <p:ph idx="1" hasCustomPrompt="1"/>
          </p:nvPr>
        </p:nvSpPr>
        <p:spPr>
          <a:xfrm>
            <a:off x="552991" y="4224318"/>
            <a:ext cx="4060978" cy="230957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743514" y="4224318"/>
            <a:ext cx="4031933" cy="230957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825804" y="4224318"/>
            <a:ext cx="4060984" cy="230957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52990" y="649225"/>
            <a:ext cx="12304747" cy="834733"/>
          </a:xfrm>
          <a:prstGeom prst="rect">
            <a:avLst/>
          </a:prstGeom>
        </p:spPr>
        <p:txBody>
          <a:bodyPr lIns="0" tIns="0" rIns="0" bIns="0">
            <a:noAutofit/>
          </a:bodyPr>
          <a:lstStyle>
            <a:lvl1pPr marL="0" indent="0">
              <a:buNone/>
              <a:defRPr sz="2765" b="0">
                <a:solidFill>
                  <a:srgbClr val="575757"/>
                </a:solidFill>
              </a:defRPr>
            </a:lvl1pPr>
          </a:lstStyle>
          <a:p>
            <a:pPr lvl="0"/>
            <a:r>
              <a:rPr lang="en-US" noProof="0"/>
              <a:t>Click to add subtitle</a:t>
            </a:r>
          </a:p>
        </p:txBody>
      </p:sp>
      <p:sp>
        <p:nvSpPr>
          <p:cNvPr id="16" name="Date Placeholder 7">
            <a:extLst>
              <a:ext uri="{FF2B5EF4-FFF2-40B4-BE49-F238E27FC236}">
                <a16:creationId xmlns:a16="http://schemas.microsoft.com/office/drawing/2014/main" id="{9B5C8316-3CEF-4DBC-BF1A-47B234294977}"/>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7" name="Footer Placeholder 8">
            <a:extLst>
              <a:ext uri="{FF2B5EF4-FFF2-40B4-BE49-F238E27FC236}">
                <a16:creationId xmlns:a16="http://schemas.microsoft.com/office/drawing/2014/main" id="{CC6C909E-D857-46B3-B524-8F4D0466CE85}"/>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8" name="Slide Number Placeholder 9">
            <a:extLst>
              <a:ext uri="{FF2B5EF4-FFF2-40B4-BE49-F238E27FC236}">
                <a16:creationId xmlns:a16="http://schemas.microsoft.com/office/drawing/2014/main" id="{E469438D-A5E2-4F64-BD77-F25CEA2C6E88}"/>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23879376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09082936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52990" y="320040"/>
            <a:ext cx="12333794" cy="425501"/>
          </a:xfrm>
          <a:prstGeom prst="rect">
            <a:avLst/>
          </a:prstGeom>
        </p:spPr>
        <p:txBody>
          <a:bodyPr vert="horz" lIns="0" tIns="0" rIns="0" bIns="0" rtlCol="0" anchor="t" anchorCtr="0">
            <a:spAutoFit/>
          </a:bodyPr>
          <a:lstStyle>
            <a:lvl1pPr>
              <a:defRPr/>
            </a:lvl1pPr>
          </a:lstStyle>
          <a:p>
            <a:r>
              <a:rPr lang="en-US"/>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146309182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52991" y="2047982"/>
            <a:ext cx="6026320" cy="1868920"/>
          </a:xfrm>
        </p:spPr>
        <p:txBody>
          <a:bodyPr/>
          <a:lstStyle>
            <a:lvl1pPr>
              <a:spcAft>
                <a:spcPts val="1620"/>
              </a:spcAft>
              <a:defRPr b="1">
                <a:solidFill>
                  <a:schemeClr val="accent1"/>
                </a:solidFill>
                <a:latin typeface="+mj-lt"/>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885454" y="2047982"/>
            <a:ext cx="6001332" cy="1868920"/>
          </a:xfrm>
        </p:spPr>
        <p:txBody>
          <a:bodyPr/>
          <a:lstStyle>
            <a:lvl1pPr>
              <a:spcAft>
                <a:spcPts val="1620"/>
              </a:spcAft>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52990" y="320040"/>
            <a:ext cx="12333794" cy="425501"/>
          </a:xfrm>
        </p:spPr>
        <p:txBody>
          <a:bodyPr>
            <a:spAutoFit/>
          </a:bodyPr>
          <a:lstStyle/>
          <a:p>
            <a:r>
              <a:rPr lang="en-US" noProof="0"/>
              <a:t>Click to edit Master title style</a:t>
            </a:r>
          </a:p>
        </p:txBody>
      </p:sp>
      <p:sp>
        <p:nvSpPr>
          <p:cNvPr id="4" name="Rectangle 3"/>
          <p:cNvSpPr/>
          <p:nvPr/>
        </p:nvSpPr>
        <p:spPr>
          <a:xfrm>
            <a:off x="555583"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5" name="Rectangle 4"/>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6" name="Picture Placeholder 29"/>
          <p:cNvSpPr>
            <a:spLocks noGrp="1"/>
          </p:cNvSpPr>
          <p:nvPr>
            <p:ph type="pic" sz="quarter" idx="19" hasCustomPrompt="1"/>
          </p:nvPr>
        </p:nvSpPr>
        <p:spPr>
          <a:xfrm>
            <a:off x="5257620" y="2054624"/>
            <a:ext cx="1334064" cy="605474"/>
          </a:xfrm>
        </p:spPr>
        <p:txBody>
          <a:bodyPr/>
          <a:lstStyle>
            <a:lvl1pPr marL="0" marR="0" indent="0" algn="l" defTabSz="1481485" rtl="0" eaLnBrk="1" fontAlgn="auto" latinLnBrk="0" hangingPunct="1">
              <a:lnSpc>
                <a:spcPct val="100000"/>
              </a:lnSpc>
              <a:spcBef>
                <a:spcPts val="0"/>
              </a:spcBef>
              <a:spcAft>
                <a:spcPts val="1620"/>
              </a:spcAft>
              <a:buClrTx/>
              <a:buSzTx/>
              <a:buFont typeface="Arial" panose="020B0604020202020204" pitchFamily="34" charset="0"/>
              <a:buNone/>
              <a:tabLst/>
              <a:defRPr sz="1458"/>
            </a:lvl1pPr>
          </a:lstStyle>
          <a:p>
            <a:pPr>
              <a:spcBef>
                <a:spcPct val="0"/>
              </a:spcBef>
            </a:pPr>
            <a:r>
              <a:rPr lang="en-US" sz="1945" noProof="0">
                <a:solidFill>
                  <a:schemeClr val="bg1"/>
                </a:solidFill>
              </a:rPr>
              <a:t>Co-brand</a:t>
            </a:r>
            <a:br>
              <a:rPr lang="en-US" sz="1945" noProof="0">
                <a:solidFill>
                  <a:schemeClr val="bg1"/>
                </a:solidFill>
              </a:rPr>
            </a:br>
            <a:r>
              <a:rPr lang="en-US" sz="1945"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1491514" y="2047984"/>
            <a:ext cx="1371493" cy="605474"/>
          </a:xfrm>
        </p:spPr>
        <p:txBody>
          <a:bodyPr/>
          <a:lstStyle>
            <a:lvl1pPr marL="0" marR="0" indent="0" algn="l" defTabSz="1481485" rtl="0" eaLnBrk="1" fontAlgn="auto" latinLnBrk="0" hangingPunct="1">
              <a:lnSpc>
                <a:spcPct val="100000"/>
              </a:lnSpc>
              <a:spcBef>
                <a:spcPts val="0"/>
              </a:spcBef>
              <a:spcAft>
                <a:spcPts val="1620"/>
              </a:spcAft>
              <a:buClrTx/>
              <a:buSzTx/>
              <a:buFont typeface="Arial" panose="020B0604020202020204" pitchFamily="34" charset="0"/>
              <a:buNone/>
              <a:tabLst/>
              <a:defRPr sz="1458"/>
            </a:lvl1pPr>
          </a:lstStyle>
          <a:p>
            <a:pPr>
              <a:spcBef>
                <a:spcPct val="0"/>
              </a:spcBef>
            </a:pPr>
            <a:r>
              <a:rPr lang="en-US" sz="1945" noProof="0">
                <a:solidFill>
                  <a:schemeClr val="bg1"/>
                </a:solidFill>
              </a:rPr>
              <a:t>Co-brand</a:t>
            </a:r>
            <a:br>
              <a:rPr lang="en-US" sz="1945" noProof="0">
                <a:solidFill>
                  <a:schemeClr val="bg1"/>
                </a:solidFill>
              </a:rPr>
            </a:br>
            <a:r>
              <a:rPr lang="en-US" sz="1945"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DBDB6A6-081D-47AE-B102-5F147C322548}"/>
              </a:ext>
            </a:extLst>
          </p:cNvPr>
          <p:cNvSpPr/>
          <p:nvPr/>
        </p:nvSpPr>
        <p:spPr>
          <a:xfrm>
            <a:off x="552991"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11" name="Rectangle 10">
            <a:extLst>
              <a:ext uri="{FF2B5EF4-FFF2-40B4-BE49-F238E27FC236}">
                <a16:creationId xmlns:a16="http://schemas.microsoft.com/office/drawing/2014/main" id="{FD793F86-C856-4EF0-B7D3-046C51438F3B}"/>
              </a:ext>
            </a:extLst>
          </p:cNvPr>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15" name="Date Placeholder 7">
            <a:extLst>
              <a:ext uri="{FF2B5EF4-FFF2-40B4-BE49-F238E27FC236}">
                <a16:creationId xmlns:a16="http://schemas.microsoft.com/office/drawing/2014/main" id="{67CEC321-A536-4D16-A5D7-8EDA1A9A6C0A}"/>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7" name="Footer Placeholder 8">
            <a:extLst>
              <a:ext uri="{FF2B5EF4-FFF2-40B4-BE49-F238E27FC236}">
                <a16:creationId xmlns:a16="http://schemas.microsoft.com/office/drawing/2014/main" id="{A3A04753-70FD-46E2-B3FE-FEF33BD075A1}"/>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8" name="Slide Number Placeholder 9">
            <a:extLst>
              <a:ext uri="{FF2B5EF4-FFF2-40B4-BE49-F238E27FC236}">
                <a16:creationId xmlns:a16="http://schemas.microsoft.com/office/drawing/2014/main" id="{1C6415DA-9C37-40C1-ABEF-E4C3F41AD333}"/>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0289530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52991" y="2047982"/>
            <a:ext cx="6028653" cy="1868920"/>
          </a:xfrm>
        </p:spPr>
        <p:txBody>
          <a:bodyPr/>
          <a:lstStyle>
            <a:lvl1pPr>
              <a:spcAft>
                <a:spcPts val="1620"/>
              </a:spcAft>
              <a:defRPr b="1">
                <a:solidFill>
                  <a:schemeClr val="accent1"/>
                </a:solidFill>
                <a:latin typeface="+mj-lt"/>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885455" y="2047982"/>
            <a:ext cx="6012919" cy="1868920"/>
          </a:xfrm>
        </p:spPr>
        <p:txBody>
          <a:bodyPr/>
          <a:lstStyle>
            <a:lvl1pPr>
              <a:spcAft>
                <a:spcPts val="1620"/>
              </a:spcAft>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52990" y="320040"/>
            <a:ext cx="12333794" cy="425501"/>
          </a:xfrm>
        </p:spPr>
        <p:txBody>
          <a:bodyPr>
            <a:spAutoFit/>
          </a:bodyPr>
          <a:lstStyle/>
          <a:p>
            <a:r>
              <a:rPr lang="en-US"/>
              <a:t>Click to edit Master title style</a:t>
            </a:r>
            <a:endParaRPr lang="en-GB"/>
          </a:p>
        </p:txBody>
      </p:sp>
      <p:sp>
        <p:nvSpPr>
          <p:cNvPr id="4" name="Rectangle 3"/>
          <p:cNvSpPr/>
          <p:nvPr/>
        </p:nvSpPr>
        <p:spPr>
          <a:xfrm>
            <a:off x="555583"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GB" sz="1782">
              <a:solidFill>
                <a:schemeClr val="bg1"/>
              </a:solidFill>
            </a:endParaRPr>
          </a:p>
        </p:txBody>
      </p:sp>
      <p:sp>
        <p:nvSpPr>
          <p:cNvPr id="5" name="Rectangle 4"/>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GB" sz="1782">
              <a:solidFill>
                <a:schemeClr val="bg1"/>
              </a:solidFill>
            </a:endParaRPr>
          </a:p>
        </p:txBody>
      </p:sp>
      <p:sp>
        <p:nvSpPr>
          <p:cNvPr id="7" name="Picture Placeholder 29"/>
          <p:cNvSpPr>
            <a:spLocks noGrp="1"/>
          </p:cNvSpPr>
          <p:nvPr>
            <p:ph type="pic" sz="quarter" idx="20" hasCustomPrompt="1"/>
          </p:nvPr>
        </p:nvSpPr>
        <p:spPr>
          <a:xfrm>
            <a:off x="11491514" y="2047984"/>
            <a:ext cx="1371493" cy="605474"/>
          </a:xfrm>
        </p:spPr>
        <p:txBody>
          <a:bodyPr/>
          <a:lstStyle>
            <a:lvl1pPr marL="0" marR="0" indent="0" algn="l" defTabSz="1481485" rtl="0" eaLnBrk="1" fontAlgn="auto" latinLnBrk="0" hangingPunct="1">
              <a:lnSpc>
                <a:spcPct val="100000"/>
              </a:lnSpc>
              <a:spcBef>
                <a:spcPts val="0"/>
              </a:spcBef>
              <a:spcAft>
                <a:spcPts val="1620"/>
              </a:spcAft>
              <a:buClrTx/>
              <a:buSzTx/>
              <a:buFont typeface="Arial" panose="020B0604020202020204" pitchFamily="34" charset="0"/>
              <a:buNone/>
              <a:tabLst/>
              <a:defRPr sz="1458"/>
            </a:lvl1pPr>
          </a:lstStyle>
          <a:p>
            <a:pPr>
              <a:spcBef>
                <a:spcPct val="0"/>
              </a:spcBef>
            </a:pPr>
            <a:r>
              <a:rPr lang="en-US" sz="1945">
                <a:solidFill>
                  <a:schemeClr val="bg1"/>
                </a:solidFill>
              </a:rPr>
              <a:t>Co-brand</a:t>
            </a:r>
            <a:br>
              <a:rPr lang="en-US" sz="1945">
                <a:solidFill>
                  <a:schemeClr val="bg1"/>
                </a:solidFill>
              </a:rPr>
            </a:br>
            <a:r>
              <a:rPr lang="en-US" sz="1945">
                <a:solidFill>
                  <a:schemeClr val="bg1"/>
                </a:solidFill>
              </a:rPr>
              <a:t>Logo</a:t>
            </a:r>
          </a:p>
          <a:p>
            <a:endParaRPr lang="en-GB"/>
          </a:p>
        </p:txBody>
      </p:sp>
      <p:sp>
        <p:nvSpPr>
          <p:cNvPr id="10" name="Text Placeholder 8"/>
          <p:cNvSpPr>
            <a:spLocks noGrp="1"/>
          </p:cNvSpPr>
          <p:nvPr>
            <p:ph type="body" sz="quarter" idx="22"/>
          </p:nvPr>
        </p:nvSpPr>
        <p:spPr>
          <a:xfrm>
            <a:off x="552991" y="4684487"/>
            <a:ext cx="6026320" cy="1868920"/>
          </a:xfrm>
        </p:spPr>
        <p:txBody>
          <a:bodyPr/>
          <a:lstStyle>
            <a:lvl1pPr>
              <a:spcAft>
                <a:spcPts val="1620"/>
              </a:spcAft>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885456" y="4684487"/>
            <a:ext cx="6011034" cy="1868920"/>
          </a:xfrm>
        </p:spPr>
        <p:txBody>
          <a:bodyPr/>
          <a:lstStyle>
            <a:lvl1pPr>
              <a:spcAft>
                <a:spcPts val="1620"/>
              </a:spcAft>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55584" y="4523370"/>
            <a:ext cx="602865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GB" sz="1782">
              <a:solidFill>
                <a:schemeClr val="bg1"/>
              </a:solidFill>
            </a:endParaRPr>
          </a:p>
        </p:txBody>
      </p:sp>
      <p:sp>
        <p:nvSpPr>
          <p:cNvPr id="13" name="Rectangle 12"/>
          <p:cNvSpPr/>
          <p:nvPr/>
        </p:nvSpPr>
        <p:spPr>
          <a:xfrm>
            <a:off x="6885455" y="4523370"/>
            <a:ext cx="600194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GB" sz="1782">
              <a:solidFill>
                <a:schemeClr val="bg1"/>
              </a:solidFill>
            </a:endParaRPr>
          </a:p>
        </p:txBody>
      </p:sp>
      <p:sp>
        <p:nvSpPr>
          <p:cNvPr id="14" name="Picture Placeholder 29"/>
          <p:cNvSpPr>
            <a:spLocks noGrp="1"/>
          </p:cNvSpPr>
          <p:nvPr>
            <p:ph type="pic" sz="quarter" idx="24" hasCustomPrompt="1"/>
          </p:nvPr>
        </p:nvSpPr>
        <p:spPr>
          <a:xfrm>
            <a:off x="5241088" y="4691129"/>
            <a:ext cx="1366224" cy="605474"/>
          </a:xfrm>
        </p:spPr>
        <p:txBody>
          <a:bodyPr/>
          <a:lstStyle>
            <a:lvl1pPr marL="0" marR="0" indent="0" algn="l" defTabSz="1481485" rtl="0" eaLnBrk="1" fontAlgn="auto" latinLnBrk="0" hangingPunct="1">
              <a:lnSpc>
                <a:spcPct val="100000"/>
              </a:lnSpc>
              <a:spcBef>
                <a:spcPts val="0"/>
              </a:spcBef>
              <a:spcAft>
                <a:spcPts val="1620"/>
              </a:spcAft>
              <a:buClrTx/>
              <a:buSzTx/>
              <a:buFont typeface="Arial" panose="020B0604020202020204" pitchFamily="34" charset="0"/>
              <a:buNone/>
              <a:tabLst/>
              <a:defRPr sz="1458"/>
            </a:lvl1pPr>
          </a:lstStyle>
          <a:p>
            <a:pPr>
              <a:spcBef>
                <a:spcPct val="0"/>
              </a:spcBef>
            </a:pPr>
            <a:r>
              <a:rPr lang="en-US" sz="1945">
                <a:solidFill>
                  <a:schemeClr val="bg1"/>
                </a:solidFill>
              </a:rPr>
              <a:t>Co-brand</a:t>
            </a:r>
            <a:br>
              <a:rPr lang="en-US" sz="1945">
                <a:solidFill>
                  <a:schemeClr val="bg1"/>
                </a:solidFill>
              </a:rPr>
            </a:br>
            <a:r>
              <a:rPr lang="en-US" sz="1945">
                <a:solidFill>
                  <a:schemeClr val="bg1"/>
                </a:solidFill>
              </a:rPr>
              <a:t>Logo</a:t>
            </a:r>
          </a:p>
          <a:p>
            <a:endParaRPr lang="en-GB"/>
          </a:p>
        </p:txBody>
      </p:sp>
      <p:sp>
        <p:nvSpPr>
          <p:cNvPr id="15" name="Picture Placeholder 29"/>
          <p:cNvSpPr>
            <a:spLocks noGrp="1"/>
          </p:cNvSpPr>
          <p:nvPr>
            <p:ph type="pic" sz="quarter" idx="25" hasCustomPrompt="1"/>
          </p:nvPr>
        </p:nvSpPr>
        <p:spPr>
          <a:xfrm>
            <a:off x="11491512" y="4684489"/>
            <a:ext cx="1371492" cy="605474"/>
          </a:xfrm>
        </p:spPr>
        <p:txBody>
          <a:bodyPr/>
          <a:lstStyle>
            <a:lvl1pPr marL="0" marR="0" indent="0" algn="l" defTabSz="1481485" rtl="0" eaLnBrk="1" fontAlgn="auto" latinLnBrk="0" hangingPunct="1">
              <a:lnSpc>
                <a:spcPct val="100000"/>
              </a:lnSpc>
              <a:spcBef>
                <a:spcPts val="0"/>
              </a:spcBef>
              <a:spcAft>
                <a:spcPts val="1620"/>
              </a:spcAft>
              <a:buClrTx/>
              <a:buSzTx/>
              <a:buFont typeface="Arial" panose="020B0604020202020204" pitchFamily="34" charset="0"/>
              <a:buNone/>
              <a:tabLst/>
              <a:defRPr sz="1458"/>
            </a:lvl1pPr>
          </a:lstStyle>
          <a:p>
            <a:pPr>
              <a:spcBef>
                <a:spcPct val="0"/>
              </a:spcBef>
            </a:pPr>
            <a:r>
              <a:rPr lang="en-US" sz="1945">
                <a:solidFill>
                  <a:schemeClr val="bg1"/>
                </a:solidFill>
              </a:rPr>
              <a:t>Co-brand</a:t>
            </a:r>
            <a:br>
              <a:rPr lang="en-US" sz="1945">
                <a:solidFill>
                  <a:schemeClr val="bg1"/>
                </a:solidFill>
              </a:rPr>
            </a:br>
            <a:r>
              <a:rPr lang="en-US" sz="1945">
                <a:solidFill>
                  <a:schemeClr val="bg1"/>
                </a:solidFill>
              </a:rPr>
              <a:t>Logo</a:t>
            </a:r>
          </a:p>
          <a:p>
            <a:endParaRPr lang="en-GB"/>
          </a:p>
        </p:txBody>
      </p:sp>
      <p:sp>
        <p:nvSpPr>
          <p:cNvPr id="16" name="Text Placeholder 8"/>
          <p:cNvSpPr>
            <a:spLocks noGrp="1"/>
          </p:cNvSpPr>
          <p:nvPr>
            <p:ph type="body" sz="quarter" idx="13" hasCustomPrompt="1"/>
          </p:nvPr>
        </p:nvSpPr>
        <p:spPr>
          <a:xfrm>
            <a:off x="552990" y="649225"/>
            <a:ext cx="12343495" cy="834733"/>
          </a:xfrm>
          <a:prstGeom prst="rect">
            <a:avLst/>
          </a:prstGeom>
        </p:spPr>
        <p:txBody>
          <a:bodyPr lIns="0" tIns="0" rIns="0" bIns="0">
            <a:noAutofit/>
          </a:bodyPr>
          <a:lstStyle>
            <a:lvl1pPr marL="0" indent="0">
              <a:buNone/>
              <a:defRPr sz="2765"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5257620" y="2054624"/>
            <a:ext cx="1334064" cy="605474"/>
          </a:xfrm>
        </p:spPr>
        <p:txBody>
          <a:bodyPr/>
          <a:lstStyle>
            <a:lvl1pPr marL="0" marR="0" indent="0" algn="l" defTabSz="1481485" rtl="0" eaLnBrk="1" fontAlgn="auto" latinLnBrk="0" hangingPunct="1">
              <a:lnSpc>
                <a:spcPct val="100000"/>
              </a:lnSpc>
              <a:spcBef>
                <a:spcPts val="0"/>
              </a:spcBef>
              <a:spcAft>
                <a:spcPts val="1620"/>
              </a:spcAft>
              <a:buClrTx/>
              <a:buSzTx/>
              <a:buFont typeface="Arial" panose="020B0604020202020204" pitchFamily="34" charset="0"/>
              <a:buNone/>
              <a:tabLst/>
              <a:defRPr sz="1458"/>
            </a:lvl1pPr>
          </a:lstStyle>
          <a:p>
            <a:pPr>
              <a:spcBef>
                <a:spcPct val="0"/>
              </a:spcBef>
            </a:pPr>
            <a:r>
              <a:rPr lang="en-US" sz="1945">
                <a:solidFill>
                  <a:schemeClr val="bg1"/>
                </a:solidFill>
              </a:rPr>
              <a:t>Co-brand</a:t>
            </a:r>
            <a:br>
              <a:rPr lang="en-US" sz="1945">
                <a:solidFill>
                  <a:schemeClr val="bg1"/>
                </a:solidFill>
              </a:rPr>
            </a:br>
            <a:r>
              <a:rPr lang="en-US" sz="1945">
                <a:solidFill>
                  <a:schemeClr val="bg1"/>
                </a:solidFill>
              </a:rPr>
              <a:t>Logo</a:t>
            </a:r>
          </a:p>
          <a:p>
            <a:endParaRPr lang="en-GB"/>
          </a:p>
        </p:txBody>
      </p:sp>
      <p:sp>
        <p:nvSpPr>
          <p:cNvPr id="18" name="Rectangle 17">
            <a:extLst>
              <a:ext uri="{FF2B5EF4-FFF2-40B4-BE49-F238E27FC236}">
                <a16:creationId xmlns:a16="http://schemas.microsoft.com/office/drawing/2014/main" id="{EA85C88C-90C6-43DC-9A4C-58A4C0BA1F97}"/>
              </a:ext>
            </a:extLst>
          </p:cNvPr>
          <p:cNvSpPr/>
          <p:nvPr/>
        </p:nvSpPr>
        <p:spPr>
          <a:xfrm>
            <a:off x="552991" y="1879865"/>
            <a:ext cx="602632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19" name="Rectangle 18">
            <a:extLst>
              <a:ext uri="{FF2B5EF4-FFF2-40B4-BE49-F238E27FC236}">
                <a16:creationId xmlns:a16="http://schemas.microsoft.com/office/drawing/2014/main" id="{C93583D3-2ECA-4EAE-ABCB-5AE52087BD26}"/>
              </a:ext>
            </a:extLst>
          </p:cNvPr>
          <p:cNvSpPr/>
          <p:nvPr/>
        </p:nvSpPr>
        <p:spPr>
          <a:xfrm>
            <a:off x="6885454" y="1879865"/>
            <a:ext cx="6011033"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20" name="Rectangle 19">
            <a:extLst>
              <a:ext uri="{FF2B5EF4-FFF2-40B4-BE49-F238E27FC236}">
                <a16:creationId xmlns:a16="http://schemas.microsoft.com/office/drawing/2014/main" id="{8472F893-FB10-474A-AC95-BCC33ECE8AAB}"/>
              </a:ext>
            </a:extLst>
          </p:cNvPr>
          <p:cNvSpPr/>
          <p:nvPr/>
        </p:nvSpPr>
        <p:spPr>
          <a:xfrm>
            <a:off x="552991" y="4523370"/>
            <a:ext cx="602865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21" name="Rectangle 20">
            <a:extLst>
              <a:ext uri="{FF2B5EF4-FFF2-40B4-BE49-F238E27FC236}">
                <a16:creationId xmlns:a16="http://schemas.microsoft.com/office/drawing/2014/main" id="{9BD7F804-E5A5-48DB-81A1-D1AC213808D6}"/>
              </a:ext>
            </a:extLst>
          </p:cNvPr>
          <p:cNvSpPr/>
          <p:nvPr/>
        </p:nvSpPr>
        <p:spPr>
          <a:xfrm>
            <a:off x="6885455" y="4523370"/>
            <a:ext cx="600194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20"/>
              </a:spcAft>
            </a:pPr>
            <a:endParaRPr lang="en-US" sz="1782" noProof="0">
              <a:solidFill>
                <a:schemeClr val="bg1"/>
              </a:solidFill>
            </a:endParaRPr>
          </a:p>
        </p:txBody>
      </p:sp>
      <p:sp>
        <p:nvSpPr>
          <p:cNvPr id="25" name="Date Placeholder 7">
            <a:extLst>
              <a:ext uri="{FF2B5EF4-FFF2-40B4-BE49-F238E27FC236}">
                <a16:creationId xmlns:a16="http://schemas.microsoft.com/office/drawing/2014/main" id="{DCEDF1EA-9CD5-48DB-A1FD-614EB9405592}"/>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6" name="Footer Placeholder 8">
            <a:extLst>
              <a:ext uri="{FF2B5EF4-FFF2-40B4-BE49-F238E27FC236}">
                <a16:creationId xmlns:a16="http://schemas.microsoft.com/office/drawing/2014/main" id="{675D992B-DE0B-47B5-812A-B8D74F935A5A}"/>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27" name="Slide Number Placeholder 9">
            <a:extLst>
              <a:ext uri="{FF2B5EF4-FFF2-40B4-BE49-F238E27FC236}">
                <a16:creationId xmlns:a16="http://schemas.microsoft.com/office/drawing/2014/main" id="{8FC4EE35-2ED9-44D9-9B81-566E4332B07C}"/>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20498343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4525"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4525">
                <a:solidFill>
                  <a:schemeClr val="tx1"/>
                </a:solidFill>
                <a:latin typeface="+mn-lt"/>
                <a:cs typeface="Calibri" panose="020F0502020204030204" pitchFamily="34" charset="0"/>
              </a:defRPr>
            </a:lvl1pPr>
            <a:lvl2pPr marL="740743" indent="0">
              <a:buNone/>
              <a:defRPr sz="3241">
                <a:solidFill>
                  <a:schemeClr val="tx1">
                    <a:tint val="75000"/>
                  </a:schemeClr>
                </a:solidFill>
              </a:defRPr>
            </a:lvl2pPr>
            <a:lvl3pPr marL="1481485" indent="0">
              <a:buNone/>
              <a:defRPr sz="2916">
                <a:solidFill>
                  <a:schemeClr val="tx1">
                    <a:tint val="75000"/>
                  </a:schemeClr>
                </a:solidFill>
              </a:defRPr>
            </a:lvl3pPr>
            <a:lvl4pPr marL="2222228" indent="0">
              <a:buNone/>
              <a:defRPr sz="2592">
                <a:solidFill>
                  <a:schemeClr val="tx1">
                    <a:tint val="75000"/>
                  </a:schemeClr>
                </a:solidFill>
              </a:defRPr>
            </a:lvl4pPr>
            <a:lvl5pPr marL="2962970" indent="0">
              <a:buNone/>
              <a:defRPr sz="2592">
                <a:solidFill>
                  <a:schemeClr val="tx1">
                    <a:tint val="75000"/>
                  </a:schemeClr>
                </a:solidFill>
              </a:defRPr>
            </a:lvl5pPr>
            <a:lvl6pPr marL="3703713" indent="0">
              <a:buNone/>
              <a:defRPr sz="2592">
                <a:solidFill>
                  <a:schemeClr val="tx1">
                    <a:tint val="75000"/>
                  </a:schemeClr>
                </a:solidFill>
              </a:defRPr>
            </a:lvl6pPr>
            <a:lvl7pPr marL="4444455" indent="0">
              <a:buNone/>
              <a:defRPr sz="2592">
                <a:solidFill>
                  <a:schemeClr val="tx1">
                    <a:tint val="75000"/>
                  </a:schemeClr>
                </a:solidFill>
              </a:defRPr>
            </a:lvl7pPr>
            <a:lvl8pPr marL="5185198" indent="0">
              <a:buNone/>
              <a:defRPr sz="2592">
                <a:solidFill>
                  <a:schemeClr val="tx1">
                    <a:tint val="75000"/>
                  </a:schemeClr>
                </a:solidFill>
              </a:defRPr>
            </a:lvl8pPr>
            <a:lvl9pPr marL="5925940" indent="0">
              <a:buNone/>
              <a:defRPr sz="259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4106705948"/>
      </p:ext>
    </p:extLst>
  </p:cSld>
  <p:clrMapOvr>
    <a:masterClrMapping/>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425501"/>
          </a:xfrm>
        </p:spPr>
        <p:txBody>
          <a:bodyPr>
            <a:spAutoFit/>
          </a:bodyPr>
          <a:lstStyle/>
          <a:p>
            <a:r>
              <a:rPr lang="en-US" noProof="0"/>
              <a:t>Click to edit Master title style</a:t>
            </a:r>
          </a:p>
        </p:txBody>
      </p:sp>
      <p:sp>
        <p:nvSpPr>
          <p:cNvPr id="4" name="Rectangle 3"/>
          <p:cNvSpPr/>
          <p:nvPr/>
        </p:nvSpPr>
        <p:spPr>
          <a:xfrm>
            <a:off x="4762126" y="1880514"/>
            <a:ext cx="392006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5" name="Rectangle 4"/>
          <p:cNvSpPr/>
          <p:nvPr/>
        </p:nvSpPr>
        <p:spPr>
          <a:xfrm>
            <a:off x="555584" y="1874173"/>
            <a:ext cx="392434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6" name="Rectangle 5"/>
          <p:cNvSpPr/>
          <p:nvPr/>
        </p:nvSpPr>
        <p:spPr>
          <a:xfrm>
            <a:off x="8945850" y="1880514"/>
            <a:ext cx="395063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7" name="Text Placeholder 8"/>
          <p:cNvSpPr>
            <a:spLocks noGrp="1"/>
          </p:cNvSpPr>
          <p:nvPr>
            <p:ph type="body" sz="quarter" idx="17"/>
          </p:nvPr>
        </p:nvSpPr>
        <p:spPr>
          <a:xfrm>
            <a:off x="4795790" y="2040871"/>
            <a:ext cx="3902934" cy="4239232"/>
          </a:xfrm>
        </p:spPr>
        <p:txBody>
          <a:bodyPr/>
          <a:lstStyle>
            <a:lvl1pPr>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52991" y="2040871"/>
            <a:ext cx="3924343" cy="4239232"/>
          </a:xfrm>
        </p:spPr>
        <p:txBody>
          <a:bodyPr/>
          <a:lstStyle>
            <a:lvl1pPr>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959850" y="2040871"/>
            <a:ext cx="3936638" cy="4239232"/>
          </a:xfrm>
        </p:spPr>
        <p:txBody>
          <a:bodyPr/>
          <a:lstStyle>
            <a:lvl1pPr>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52990" y="649225"/>
            <a:ext cx="12304747" cy="834733"/>
          </a:xfrm>
          <a:prstGeom prst="rect">
            <a:avLst/>
          </a:prstGeom>
        </p:spPr>
        <p:txBody>
          <a:bodyPr lIns="0" tIns="0" rIns="0" bIns="0">
            <a:noAutofit/>
          </a:bodyPr>
          <a:lstStyle>
            <a:lvl1pPr marL="0" indent="0">
              <a:buNone/>
              <a:defRPr sz="2765"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A820A274-4ADB-4809-84D4-900FDD40E432}"/>
              </a:ext>
            </a:extLst>
          </p:cNvPr>
          <p:cNvSpPr/>
          <p:nvPr/>
        </p:nvSpPr>
        <p:spPr>
          <a:xfrm>
            <a:off x="4789493" y="1880514"/>
            <a:ext cx="392006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12" name="Rectangle 11">
            <a:extLst>
              <a:ext uri="{FF2B5EF4-FFF2-40B4-BE49-F238E27FC236}">
                <a16:creationId xmlns:a16="http://schemas.microsoft.com/office/drawing/2014/main" id="{92AE089E-4A0A-4EC7-9961-71221BF50F81}"/>
              </a:ext>
            </a:extLst>
          </p:cNvPr>
          <p:cNvSpPr/>
          <p:nvPr/>
        </p:nvSpPr>
        <p:spPr>
          <a:xfrm>
            <a:off x="552991" y="1874173"/>
            <a:ext cx="392434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13" name="Rectangle 12">
            <a:extLst>
              <a:ext uri="{FF2B5EF4-FFF2-40B4-BE49-F238E27FC236}">
                <a16:creationId xmlns:a16="http://schemas.microsoft.com/office/drawing/2014/main" id="{81F94FD0-40C2-4639-AF6C-A43126827B59}"/>
              </a:ext>
            </a:extLst>
          </p:cNvPr>
          <p:cNvSpPr/>
          <p:nvPr/>
        </p:nvSpPr>
        <p:spPr>
          <a:xfrm>
            <a:off x="8945850" y="1880514"/>
            <a:ext cx="395063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82" noProof="0">
              <a:solidFill>
                <a:schemeClr val="bg1"/>
              </a:solidFill>
            </a:endParaRPr>
          </a:p>
        </p:txBody>
      </p:sp>
      <p:sp>
        <p:nvSpPr>
          <p:cNvPr id="17" name="Date Placeholder 7">
            <a:extLst>
              <a:ext uri="{FF2B5EF4-FFF2-40B4-BE49-F238E27FC236}">
                <a16:creationId xmlns:a16="http://schemas.microsoft.com/office/drawing/2014/main" id="{DE6A0F71-6D0E-4A55-B047-B94C086A124B}"/>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8" name="Footer Placeholder 8">
            <a:extLst>
              <a:ext uri="{FF2B5EF4-FFF2-40B4-BE49-F238E27FC236}">
                <a16:creationId xmlns:a16="http://schemas.microsoft.com/office/drawing/2014/main" id="{FBDF4EDC-A7B2-4776-BF9A-72EF267B159B}"/>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9" name="Slide Number Placeholder 9">
            <a:extLst>
              <a:ext uri="{FF2B5EF4-FFF2-40B4-BE49-F238E27FC236}">
                <a16:creationId xmlns:a16="http://schemas.microsoft.com/office/drawing/2014/main" id="{CA4D96F2-B396-4810-8F75-DC976A3E60D7}"/>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51329474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52990" y="320040"/>
            <a:ext cx="12333794" cy="425501"/>
          </a:xfrm>
        </p:spPr>
        <p:txBody>
          <a:bodyPr>
            <a:spAutoFit/>
          </a:bodyPr>
          <a:lstStyle/>
          <a:p>
            <a:r>
              <a:rPr lang="en-US" noProof="0"/>
              <a:t>Click to edit Master title style</a:t>
            </a:r>
          </a:p>
        </p:txBody>
      </p:sp>
      <p:sp>
        <p:nvSpPr>
          <p:cNvPr id="4" name="Text Placeholder 8"/>
          <p:cNvSpPr>
            <a:spLocks noGrp="1"/>
          </p:cNvSpPr>
          <p:nvPr>
            <p:ph type="body" sz="quarter" idx="17"/>
          </p:nvPr>
        </p:nvSpPr>
        <p:spPr>
          <a:xfrm>
            <a:off x="552991" y="2817517"/>
            <a:ext cx="2857275" cy="3742138"/>
          </a:xfrm>
        </p:spPr>
        <p:txBody>
          <a:bodyPr/>
          <a:lstStyle>
            <a:lvl1pPr>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10027842" y="2817517"/>
            <a:ext cx="2857275" cy="3742138"/>
          </a:xfrm>
        </p:spPr>
        <p:txBody>
          <a:bodyPr/>
          <a:lstStyle>
            <a:lvl1pPr>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764067" y="2817517"/>
            <a:ext cx="2857275" cy="3742138"/>
          </a:xfrm>
        </p:spPr>
        <p:txBody>
          <a:bodyPr/>
          <a:lstStyle>
            <a:lvl1pPr>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895955" y="2817517"/>
            <a:ext cx="2857275" cy="3742138"/>
          </a:xfrm>
        </p:spPr>
        <p:txBody>
          <a:bodyPr/>
          <a:lstStyle>
            <a:lvl1pPr>
              <a:defRPr b="1">
                <a:solidFill>
                  <a:schemeClr val="accent1"/>
                </a:solidFill>
              </a:defRPr>
            </a:lvl1pPr>
            <a:lvl2pPr>
              <a:spcAft>
                <a:spcPts val="1620"/>
              </a:spcAft>
              <a:defRPr/>
            </a:lvl2pPr>
            <a:lvl3pPr marL="0" indent="0">
              <a:spcAft>
                <a:spcPts val="1620"/>
              </a:spcAft>
              <a:buNone/>
              <a:defRPr/>
            </a:lvl3pPr>
            <a:lvl4pPr marL="285799" indent="-285799">
              <a:spcAft>
                <a:spcPts val="1620"/>
              </a:spcAft>
              <a:buFont typeface="Arial" panose="020B0604020202020204" pitchFamily="34" charset="0"/>
              <a:buChar char="•"/>
              <a:defRPr/>
            </a:lvl4pPr>
            <a:lvl5pPr marL="577429" indent="-285799">
              <a:spcAft>
                <a:spcPts val="1620"/>
              </a:spcAft>
              <a:defRPr baseline="0"/>
            </a:lvl5pPr>
            <a:lvl6pPr marL="577429" indent="-285799">
              <a:spcAft>
                <a:spcPts val="1620"/>
              </a:spcAft>
              <a:buFont typeface="Verdana" panose="020B0604030504040204" pitchFamily="34" charset="0"/>
              <a:buChar char="−"/>
              <a:defRPr/>
            </a:lvl6pPr>
            <a:lvl7pPr marL="577429" indent="-285799">
              <a:spcAft>
                <a:spcPts val="1620"/>
              </a:spcAft>
              <a:defRPr/>
            </a:lvl7pPr>
            <a:lvl8pPr marL="577429" indent="-285799">
              <a:spcAft>
                <a:spcPts val="1620"/>
              </a:spcAft>
              <a:defRPr/>
            </a:lvl8pPr>
            <a:lvl9pPr marL="577429" indent="-285799">
              <a:spcAft>
                <a:spcPts val="162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52990" y="649225"/>
            <a:ext cx="12333794" cy="834733"/>
          </a:xfrm>
          <a:prstGeom prst="rect">
            <a:avLst/>
          </a:prstGeom>
        </p:spPr>
        <p:txBody>
          <a:bodyPr lIns="0" tIns="0" rIns="0" bIns="0">
            <a:noAutofit/>
          </a:bodyPr>
          <a:lstStyle>
            <a:lvl1pPr marL="0" indent="0">
              <a:buNone/>
              <a:defRPr sz="2765" b="0">
                <a:solidFill>
                  <a:srgbClr val="575757"/>
                </a:solidFill>
              </a:defRPr>
            </a:lvl1pPr>
          </a:lstStyle>
          <a:p>
            <a:pPr lvl="0"/>
            <a:r>
              <a:rPr lang="en-US" noProof="0"/>
              <a:t>Click to add subtitle</a:t>
            </a:r>
          </a:p>
        </p:txBody>
      </p:sp>
      <p:sp>
        <p:nvSpPr>
          <p:cNvPr id="12" name="Date Placeholder 7">
            <a:extLst>
              <a:ext uri="{FF2B5EF4-FFF2-40B4-BE49-F238E27FC236}">
                <a16:creationId xmlns:a16="http://schemas.microsoft.com/office/drawing/2014/main" id="{12C6383B-FF54-41B4-8FA9-C8A647495615}"/>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3" name="Footer Placeholder 8">
            <a:extLst>
              <a:ext uri="{FF2B5EF4-FFF2-40B4-BE49-F238E27FC236}">
                <a16:creationId xmlns:a16="http://schemas.microsoft.com/office/drawing/2014/main" id="{345A9F0B-5206-4F14-8A42-C81829804D4D}"/>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4" name="Slide Number Placeholder 9">
            <a:extLst>
              <a:ext uri="{FF2B5EF4-FFF2-40B4-BE49-F238E27FC236}">
                <a16:creationId xmlns:a16="http://schemas.microsoft.com/office/drawing/2014/main" id="{949A261E-323C-4BF4-8FC9-5721D05C3C73}"/>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13269679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a:xfrm>
            <a:off x="10329897" y="6633761"/>
            <a:ext cx="2556888" cy="400936"/>
          </a:xfrm>
        </p:spPr>
        <p:txBody>
          <a:bodyPr anchor="b" anchorCtr="0">
            <a:normAutofit/>
          </a:bodyPr>
          <a:lstStyle>
            <a:lvl1pPr>
              <a:lnSpc>
                <a:spcPct val="100000"/>
              </a:lnSpc>
              <a:defRPr sz="1131"/>
            </a:lvl1pPr>
          </a:lstStyle>
          <a:p>
            <a:pPr lvl="0"/>
            <a:r>
              <a:rPr lang="en-US"/>
              <a:t>Click to edit Master text styles</a:t>
            </a:r>
          </a:p>
        </p:txBody>
      </p:sp>
      <p:grpSp>
        <p:nvGrpSpPr>
          <p:cNvPr id="38" name="Group 37">
            <a:extLst>
              <a:ext uri="{FF2B5EF4-FFF2-40B4-BE49-F238E27FC236}">
                <a16:creationId xmlns:a16="http://schemas.microsoft.com/office/drawing/2014/main" id="{44EC6D8E-9CEE-4EB1-BEC9-6B84C8CE6166}"/>
              </a:ext>
            </a:extLst>
          </p:cNvPr>
          <p:cNvGrpSpPr>
            <a:grpSpLocks noChangeAspect="1"/>
          </p:cNvGrpSpPr>
          <p:nvPr/>
        </p:nvGrpSpPr>
        <p:grpSpPr>
          <a:xfrm>
            <a:off x="475141" y="377999"/>
            <a:ext cx="2528713" cy="382438"/>
            <a:chOff x="398463" y="404813"/>
            <a:chExt cx="1627187" cy="307976"/>
          </a:xfrm>
          <a:solidFill>
            <a:schemeClr val="tx1"/>
          </a:solidFill>
        </p:grpSpPr>
        <p:sp>
          <p:nvSpPr>
            <p:cNvPr id="39" name="Oval 5">
              <a:extLst>
                <a:ext uri="{FF2B5EF4-FFF2-40B4-BE49-F238E27FC236}">
                  <a16:creationId xmlns:a16="http://schemas.microsoft.com/office/drawing/2014/main" id="{0FDB96F3-ABDD-4C18-BECB-D5C606099392}"/>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0" name="Freeform 6">
              <a:extLst>
                <a:ext uri="{FF2B5EF4-FFF2-40B4-BE49-F238E27FC236}">
                  <a16:creationId xmlns:a16="http://schemas.microsoft.com/office/drawing/2014/main" id="{6B5272FE-0F6C-45C3-8C84-B054C8376D0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1" name="Rectangle 7">
              <a:extLst>
                <a:ext uri="{FF2B5EF4-FFF2-40B4-BE49-F238E27FC236}">
                  <a16:creationId xmlns:a16="http://schemas.microsoft.com/office/drawing/2014/main" id="{B7BAE4D7-A295-4DB9-8B55-91A8A2DD83CB}"/>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2" name="Freeform 8">
              <a:extLst>
                <a:ext uri="{FF2B5EF4-FFF2-40B4-BE49-F238E27FC236}">
                  <a16:creationId xmlns:a16="http://schemas.microsoft.com/office/drawing/2014/main" id="{52E562C0-3721-457F-822B-A0C0EA8E6BC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3" name="Rectangle 9">
              <a:extLst>
                <a:ext uri="{FF2B5EF4-FFF2-40B4-BE49-F238E27FC236}">
                  <a16:creationId xmlns:a16="http://schemas.microsoft.com/office/drawing/2014/main" id="{CB38A920-B980-4994-BE45-99697FE9FCA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4" name="Rectangle 10">
              <a:extLst>
                <a:ext uri="{FF2B5EF4-FFF2-40B4-BE49-F238E27FC236}">
                  <a16:creationId xmlns:a16="http://schemas.microsoft.com/office/drawing/2014/main" id="{B8AB7E81-2D45-4F79-82DF-302A4149E65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5" name="Freeform 11">
              <a:extLst>
                <a:ext uri="{FF2B5EF4-FFF2-40B4-BE49-F238E27FC236}">
                  <a16:creationId xmlns:a16="http://schemas.microsoft.com/office/drawing/2014/main" id="{01083FF4-5C95-472A-A37C-3FB3F3BF9C2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6" name="Freeform 12">
              <a:extLst>
                <a:ext uri="{FF2B5EF4-FFF2-40B4-BE49-F238E27FC236}">
                  <a16:creationId xmlns:a16="http://schemas.microsoft.com/office/drawing/2014/main" id="{10FEE41E-8814-490E-ACF5-D3FAE6F14C4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7" name="Freeform 13">
              <a:extLst>
                <a:ext uri="{FF2B5EF4-FFF2-40B4-BE49-F238E27FC236}">
                  <a16:creationId xmlns:a16="http://schemas.microsoft.com/office/drawing/2014/main" id="{0F5E528D-25B3-49EA-A0AA-812C63624D4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48" name="Freeform 14">
              <a:extLst>
                <a:ext uri="{FF2B5EF4-FFF2-40B4-BE49-F238E27FC236}">
                  <a16:creationId xmlns:a16="http://schemas.microsoft.com/office/drawing/2014/main" id="{29FF7858-9A6F-48F9-9245-62C7B5420D5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grpSp>
      <p:sp>
        <p:nvSpPr>
          <p:cNvPr id="4" name="Text Placeholder 3">
            <a:extLst>
              <a:ext uri="{FF2B5EF4-FFF2-40B4-BE49-F238E27FC236}">
                <a16:creationId xmlns:a16="http://schemas.microsoft.com/office/drawing/2014/main" id="{772863CF-CB32-4FCE-8025-C45C9C7EB499}"/>
              </a:ext>
            </a:extLst>
          </p:cNvPr>
          <p:cNvSpPr>
            <a:spLocks noGrp="1"/>
          </p:cNvSpPr>
          <p:nvPr>
            <p:ph type="body" sz="quarter" idx="16"/>
          </p:nvPr>
        </p:nvSpPr>
        <p:spPr>
          <a:xfrm>
            <a:off x="552996" y="4642901"/>
            <a:ext cx="9401819" cy="2391798"/>
          </a:xfrm>
        </p:spPr>
        <p:txBody>
          <a:bodyPr anchor="b">
            <a:normAutofit/>
          </a:bodyPr>
          <a:lstStyle>
            <a:lvl1pPr>
              <a:defRPr sz="1131"/>
            </a:lvl1pPr>
            <a:lvl2pPr>
              <a:defRPr sz="1131"/>
            </a:lvl2pPr>
            <a:lvl3pPr>
              <a:defRPr sz="1131"/>
            </a:lvl3pPr>
            <a:lvl4pPr>
              <a:defRPr sz="1131"/>
            </a:lvl4pPr>
            <a:lvl5pPr>
              <a:defRPr sz="113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688998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028BB-3946-4A78-A46E-126AC3DBEC21}"/>
              </a:ext>
            </a:extLst>
          </p:cNvPr>
          <p:cNvSpPr>
            <a:spLocks noGrp="1"/>
          </p:cNvSpPr>
          <p:nvPr>
            <p:ph type="title" idx="10" hasCustomPrompt="1"/>
          </p:nvPr>
        </p:nvSpPr>
        <p:spPr/>
        <p:txBody>
          <a:bodyPr/>
          <a:lstStyle/>
          <a:p>
            <a:r>
              <a:rPr lang="en-US"/>
              <a:t>Agenda</a:t>
            </a:r>
            <a:endParaRPr lang="fr-FR"/>
          </a:p>
        </p:txBody>
      </p:sp>
      <p:grpSp>
        <p:nvGrpSpPr>
          <p:cNvPr id="94" name="SP Agenda Section" hidden="1">
            <a:extLst>
              <a:ext uri="{FF2B5EF4-FFF2-40B4-BE49-F238E27FC236}">
                <a16:creationId xmlns:a16="http://schemas.microsoft.com/office/drawing/2014/main" id="{BEFAC56D-F5CD-42EA-8D01-D8FBA733AFCC}"/>
              </a:ext>
            </a:extLst>
          </p:cNvPr>
          <p:cNvGrpSpPr/>
          <p:nvPr/>
        </p:nvGrpSpPr>
        <p:grpSpPr>
          <a:xfrm>
            <a:off x="663957" y="1670773"/>
            <a:ext cx="12222827" cy="407120"/>
            <a:chOff x="528202" y="1750633"/>
            <a:chExt cx="8426968" cy="407120"/>
          </a:xfrm>
        </p:grpSpPr>
        <p:sp>
          <p:nvSpPr>
            <p:cNvPr id="95" name="Section Title" hidden="1">
              <a:extLst>
                <a:ext uri="{FF2B5EF4-FFF2-40B4-BE49-F238E27FC236}">
                  <a16:creationId xmlns:a16="http://schemas.microsoft.com/office/drawing/2014/main" id="{D01E59BC-E2B8-40E9-9F2C-DACF35D20F38}"/>
                </a:ext>
              </a:extLst>
            </p:cNvPr>
            <p:cNvSpPr txBox="1">
              <a:spLocks/>
            </p:cNvSpPr>
            <p:nvPr/>
          </p:nvSpPr>
          <p:spPr>
            <a:xfrm>
              <a:off x="939981" y="1757283"/>
              <a:ext cx="3370436" cy="387048"/>
            </a:xfrm>
            <a:prstGeom prst="rect">
              <a:avLst/>
            </a:prstGeom>
            <a:noFill/>
          </p:spPr>
          <p:txBody>
            <a:bodyPr wrap="square" rtlCol="0" anchor="ctr">
              <a:normAutofit lnSpcReduction="10000"/>
            </a:bodyPr>
            <a:lstStyle/>
            <a:p>
              <a:pPr defTabSz="10289993">
                <a:tabLst>
                  <a:tab pos="10485992" algn="l"/>
                </a:tabLst>
              </a:pPr>
              <a:r>
                <a:rPr lang="en-US" sz="2011" b="1">
                  <a:solidFill>
                    <a:schemeClr val="tx1"/>
                  </a:solidFill>
                </a:rPr>
                <a:t>&lt;TEXT&gt;</a:t>
              </a:r>
            </a:p>
          </p:txBody>
        </p:sp>
        <p:sp>
          <p:nvSpPr>
            <p:cNvPr id="96" name="Section Number" hidden="1">
              <a:extLst>
                <a:ext uri="{FF2B5EF4-FFF2-40B4-BE49-F238E27FC236}">
                  <a16:creationId xmlns:a16="http://schemas.microsoft.com/office/drawing/2014/main" id="{CB442904-0CE0-49A9-A203-75E91BFF1A2B}"/>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2011" b="1">
                  <a:solidFill>
                    <a:srgbClr val="00ABAB"/>
                  </a:solidFill>
                </a:rPr>
                <a:t>&lt;N&gt;</a:t>
              </a:r>
            </a:p>
          </p:txBody>
        </p:sp>
        <p:sp>
          <p:nvSpPr>
            <p:cNvPr id="97" name="Slide Number" hidden="1">
              <a:extLst>
                <a:ext uri="{FF2B5EF4-FFF2-40B4-BE49-F238E27FC236}">
                  <a16:creationId xmlns:a16="http://schemas.microsoft.com/office/drawing/2014/main" id="{031E3DA8-7910-44CE-BEC8-7314EA8293AE}"/>
                </a:ext>
              </a:extLst>
            </p:cNvPr>
            <p:cNvSpPr txBox="1">
              <a:spLocks/>
            </p:cNvSpPr>
            <p:nvPr/>
          </p:nvSpPr>
          <p:spPr>
            <a:xfrm>
              <a:off x="8548409" y="1750633"/>
              <a:ext cx="406761" cy="407120"/>
            </a:xfrm>
            <a:prstGeom prst="rect">
              <a:avLst/>
            </a:prstGeom>
            <a:noFill/>
          </p:spPr>
          <p:txBody>
            <a:bodyPr wrap="none" rtlCol="0" anchor="ctr">
              <a:noAutofit/>
            </a:bodyPr>
            <a:lstStyle/>
            <a:p>
              <a:pPr algn="r"/>
              <a:r>
                <a:rPr lang="en-US" sz="2011" b="1">
                  <a:solidFill>
                    <a:schemeClr val="tx1"/>
                  </a:solidFill>
                </a:rPr>
                <a:t>&lt;P&gt;</a:t>
              </a:r>
            </a:p>
          </p:txBody>
        </p:sp>
        <p:sp>
          <p:nvSpPr>
            <p:cNvPr id="98" name="Timeslot" hidden="1">
              <a:extLst>
                <a:ext uri="{FF2B5EF4-FFF2-40B4-BE49-F238E27FC236}">
                  <a16:creationId xmlns:a16="http://schemas.microsoft.com/office/drawing/2014/main" id="{F965ABA1-7FE0-4975-A5A2-6322FEBB916F}"/>
                </a:ext>
              </a:extLst>
            </p:cNvPr>
            <p:cNvSpPr txBox="1">
              <a:spLocks/>
            </p:cNvSpPr>
            <p:nvPr/>
          </p:nvSpPr>
          <p:spPr>
            <a:xfrm>
              <a:off x="5838971" y="1750633"/>
              <a:ext cx="1102384" cy="407120"/>
            </a:xfrm>
            <a:prstGeom prst="rect">
              <a:avLst/>
            </a:prstGeom>
            <a:noFill/>
          </p:spPr>
          <p:txBody>
            <a:bodyPr wrap="none" rtlCol="0" anchor="ctr">
              <a:noAutofit/>
            </a:bodyPr>
            <a:lstStyle/>
            <a:p>
              <a:pPr algn="l"/>
              <a:r>
                <a:rPr lang="en-US" sz="1508">
                  <a:solidFill>
                    <a:schemeClr val="tx1"/>
                  </a:solidFill>
                </a:rPr>
                <a:t>&lt;TIMESLOT&gt;</a:t>
              </a:r>
            </a:p>
          </p:txBody>
        </p:sp>
        <p:sp>
          <p:nvSpPr>
            <p:cNvPr id="99" name="Responsible" hidden="1">
              <a:extLst>
                <a:ext uri="{FF2B5EF4-FFF2-40B4-BE49-F238E27FC236}">
                  <a16:creationId xmlns:a16="http://schemas.microsoft.com/office/drawing/2014/main" id="{FCEB945F-85A0-42CA-8EFA-FB4A5F8D3824}"/>
                </a:ext>
              </a:extLst>
            </p:cNvPr>
            <p:cNvSpPr txBox="1">
              <a:spLocks/>
            </p:cNvSpPr>
            <p:nvPr/>
          </p:nvSpPr>
          <p:spPr>
            <a:xfrm>
              <a:off x="4300261" y="1750633"/>
              <a:ext cx="1217270" cy="407120"/>
            </a:xfrm>
            <a:prstGeom prst="rect">
              <a:avLst/>
            </a:prstGeom>
            <a:noFill/>
          </p:spPr>
          <p:txBody>
            <a:bodyPr wrap="none" rtlCol="0" anchor="ctr">
              <a:noAutofit/>
            </a:bodyPr>
            <a:lstStyle/>
            <a:p>
              <a:pPr algn="l"/>
              <a:r>
                <a:rPr lang="en-US" sz="1508">
                  <a:solidFill>
                    <a:schemeClr val="tx1"/>
                  </a:solidFill>
                </a:rPr>
                <a:t>&lt;RESPONSIBLE&gt;</a:t>
              </a:r>
            </a:p>
          </p:txBody>
        </p:sp>
        <p:sp>
          <p:nvSpPr>
            <p:cNvPr id="100" name="Duration" hidden="1">
              <a:extLst>
                <a:ext uri="{FF2B5EF4-FFF2-40B4-BE49-F238E27FC236}">
                  <a16:creationId xmlns:a16="http://schemas.microsoft.com/office/drawing/2014/main" id="{47A19C0B-5B1D-4166-8100-B020E7B3AB3C}"/>
                </a:ext>
              </a:extLst>
            </p:cNvPr>
            <p:cNvSpPr txBox="1">
              <a:spLocks/>
            </p:cNvSpPr>
            <p:nvPr/>
          </p:nvSpPr>
          <p:spPr>
            <a:xfrm>
              <a:off x="7262796" y="1750633"/>
              <a:ext cx="964172" cy="407120"/>
            </a:xfrm>
            <a:prstGeom prst="rect">
              <a:avLst/>
            </a:prstGeom>
            <a:noFill/>
          </p:spPr>
          <p:txBody>
            <a:bodyPr wrap="none" rtlCol="0" anchor="ctr">
              <a:noAutofit/>
            </a:bodyPr>
            <a:lstStyle/>
            <a:p>
              <a:pPr algn="l"/>
              <a:r>
                <a:rPr lang="en-US" sz="1508">
                  <a:solidFill>
                    <a:schemeClr val="tx1"/>
                  </a:solidFill>
                </a:rPr>
                <a:t>&lt;DURATION&gt;</a:t>
              </a:r>
            </a:p>
          </p:txBody>
        </p:sp>
        <p:cxnSp>
          <p:nvCxnSpPr>
            <p:cNvPr id="101" name="Straight Connector 100" hidden="1">
              <a:extLst>
                <a:ext uri="{FF2B5EF4-FFF2-40B4-BE49-F238E27FC236}">
                  <a16:creationId xmlns:a16="http://schemas.microsoft.com/office/drawing/2014/main" id="{9EA9F3C4-9123-472C-95EF-86C617106F08}"/>
                </a:ext>
              </a:extLst>
            </p:cNvPr>
            <p:cNvCxnSpPr>
              <a:cxnSpLocks/>
            </p:cNvCxnSpPr>
            <p:nvPr/>
          </p:nvCxnSpPr>
          <p:spPr>
            <a:xfrm>
              <a:off x="528202" y="1760159"/>
              <a:ext cx="8426968"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F79969A6-FCD8-4B83-8044-5CB302ACF456}"/>
                </a:ext>
              </a:extLst>
            </p:cNvPr>
            <p:cNvCxnSpPr>
              <a:cxnSpLocks/>
            </p:cNvCxnSpPr>
            <p:nvPr/>
          </p:nvCxnSpPr>
          <p:spPr>
            <a:xfrm>
              <a:off x="528202" y="2144333"/>
              <a:ext cx="8426968"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03" name="SP Agenda Subsection" hidden="1">
            <a:extLst>
              <a:ext uri="{FF2B5EF4-FFF2-40B4-BE49-F238E27FC236}">
                <a16:creationId xmlns:a16="http://schemas.microsoft.com/office/drawing/2014/main" id="{8711CA24-BB31-4174-A3C1-65B83536A0A2}"/>
              </a:ext>
            </a:extLst>
          </p:cNvPr>
          <p:cNvGrpSpPr/>
          <p:nvPr/>
        </p:nvGrpSpPr>
        <p:grpSpPr>
          <a:xfrm>
            <a:off x="663957" y="2062684"/>
            <a:ext cx="12229704" cy="407120"/>
            <a:chOff x="528202" y="1750633"/>
            <a:chExt cx="8431708" cy="407120"/>
          </a:xfrm>
        </p:grpSpPr>
        <p:sp>
          <p:nvSpPr>
            <p:cNvPr id="104" name="Section Title" hidden="1">
              <a:extLst>
                <a:ext uri="{FF2B5EF4-FFF2-40B4-BE49-F238E27FC236}">
                  <a16:creationId xmlns:a16="http://schemas.microsoft.com/office/drawing/2014/main" id="{9068A6AC-5DC5-4B91-9EFE-A2649A5ECA32}"/>
                </a:ext>
              </a:extLst>
            </p:cNvPr>
            <p:cNvSpPr txBox="1">
              <a:spLocks/>
            </p:cNvSpPr>
            <p:nvPr/>
          </p:nvSpPr>
          <p:spPr>
            <a:xfrm>
              <a:off x="939981" y="1757283"/>
              <a:ext cx="3370436" cy="387048"/>
            </a:xfrm>
            <a:prstGeom prst="rect">
              <a:avLst/>
            </a:prstGeom>
            <a:noFill/>
          </p:spPr>
          <p:txBody>
            <a:bodyPr wrap="square" rtlCol="0" anchor="ctr">
              <a:normAutofit/>
            </a:bodyPr>
            <a:lstStyle/>
            <a:p>
              <a:pPr defTabSz="10289993">
                <a:tabLst>
                  <a:tab pos="10485992" algn="l"/>
                </a:tabLst>
              </a:pPr>
              <a:r>
                <a:rPr lang="en-US" sz="1760" b="0">
                  <a:solidFill>
                    <a:schemeClr val="tx1"/>
                  </a:solidFill>
                </a:rPr>
                <a:t>&lt;TEXT&gt;</a:t>
              </a:r>
            </a:p>
          </p:txBody>
        </p:sp>
        <p:sp>
          <p:nvSpPr>
            <p:cNvPr id="105" name="Section Number" hidden="1">
              <a:extLst>
                <a:ext uri="{FF2B5EF4-FFF2-40B4-BE49-F238E27FC236}">
                  <a16:creationId xmlns:a16="http://schemas.microsoft.com/office/drawing/2014/main" id="{3E2DA2DE-7B41-4135-99A7-52C733520C18}"/>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1760" b="0">
                  <a:solidFill>
                    <a:schemeClr val="tx1"/>
                  </a:solidFill>
                </a:rPr>
                <a:t>&lt;N&gt;</a:t>
              </a:r>
            </a:p>
          </p:txBody>
        </p:sp>
        <p:sp>
          <p:nvSpPr>
            <p:cNvPr id="106" name="Slide Number" hidden="1">
              <a:extLst>
                <a:ext uri="{FF2B5EF4-FFF2-40B4-BE49-F238E27FC236}">
                  <a16:creationId xmlns:a16="http://schemas.microsoft.com/office/drawing/2014/main" id="{7CB68BAC-29B6-4EA7-BC19-1BF6CD7DEE38}"/>
                </a:ext>
              </a:extLst>
            </p:cNvPr>
            <p:cNvSpPr txBox="1">
              <a:spLocks/>
            </p:cNvSpPr>
            <p:nvPr/>
          </p:nvSpPr>
          <p:spPr>
            <a:xfrm>
              <a:off x="8553149" y="1750633"/>
              <a:ext cx="406761" cy="407120"/>
            </a:xfrm>
            <a:prstGeom prst="rect">
              <a:avLst/>
            </a:prstGeom>
            <a:noFill/>
          </p:spPr>
          <p:txBody>
            <a:bodyPr wrap="none" rtlCol="0" anchor="ctr">
              <a:noAutofit/>
            </a:bodyPr>
            <a:lstStyle/>
            <a:p>
              <a:pPr algn="r"/>
              <a:r>
                <a:rPr lang="en-US" sz="1760" b="0">
                  <a:solidFill>
                    <a:schemeClr val="tx1"/>
                  </a:solidFill>
                </a:rPr>
                <a:t>&lt;P&gt;</a:t>
              </a:r>
            </a:p>
          </p:txBody>
        </p:sp>
        <p:sp>
          <p:nvSpPr>
            <p:cNvPr id="107" name="Timeslot" hidden="1">
              <a:extLst>
                <a:ext uri="{FF2B5EF4-FFF2-40B4-BE49-F238E27FC236}">
                  <a16:creationId xmlns:a16="http://schemas.microsoft.com/office/drawing/2014/main" id="{F8A10B29-D375-4ECF-B2C9-E10EC3521DFB}"/>
                </a:ext>
              </a:extLst>
            </p:cNvPr>
            <p:cNvSpPr txBox="1">
              <a:spLocks/>
            </p:cNvSpPr>
            <p:nvPr/>
          </p:nvSpPr>
          <p:spPr>
            <a:xfrm>
              <a:off x="5843712" y="1750633"/>
              <a:ext cx="1102384" cy="407120"/>
            </a:xfrm>
            <a:prstGeom prst="rect">
              <a:avLst/>
            </a:prstGeom>
            <a:noFill/>
          </p:spPr>
          <p:txBody>
            <a:bodyPr wrap="none" rtlCol="0" anchor="ctr">
              <a:noAutofit/>
            </a:bodyPr>
            <a:lstStyle/>
            <a:p>
              <a:pPr algn="l"/>
              <a:r>
                <a:rPr lang="en-US" sz="1508">
                  <a:solidFill>
                    <a:schemeClr val="tx1"/>
                  </a:solidFill>
                </a:rPr>
                <a:t>&lt;TIMESLOT&gt;</a:t>
              </a:r>
            </a:p>
          </p:txBody>
        </p:sp>
        <p:sp>
          <p:nvSpPr>
            <p:cNvPr id="108" name="Responsible" hidden="1">
              <a:extLst>
                <a:ext uri="{FF2B5EF4-FFF2-40B4-BE49-F238E27FC236}">
                  <a16:creationId xmlns:a16="http://schemas.microsoft.com/office/drawing/2014/main" id="{B6900DE5-D2E8-4DA9-B7DE-A6B3C647E15A}"/>
                </a:ext>
              </a:extLst>
            </p:cNvPr>
            <p:cNvSpPr txBox="1">
              <a:spLocks/>
            </p:cNvSpPr>
            <p:nvPr/>
          </p:nvSpPr>
          <p:spPr>
            <a:xfrm>
              <a:off x="4305002" y="1750633"/>
              <a:ext cx="1217270" cy="407120"/>
            </a:xfrm>
            <a:prstGeom prst="rect">
              <a:avLst/>
            </a:prstGeom>
            <a:noFill/>
          </p:spPr>
          <p:txBody>
            <a:bodyPr wrap="none" rtlCol="0" anchor="ctr">
              <a:noAutofit/>
            </a:bodyPr>
            <a:lstStyle/>
            <a:p>
              <a:pPr algn="l"/>
              <a:r>
                <a:rPr lang="en-US" sz="1508">
                  <a:solidFill>
                    <a:schemeClr val="tx1"/>
                  </a:solidFill>
                </a:rPr>
                <a:t>&lt;RESPONSIBLE&gt;</a:t>
              </a:r>
            </a:p>
          </p:txBody>
        </p:sp>
        <p:sp>
          <p:nvSpPr>
            <p:cNvPr id="109" name="Duration" hidden="1">
              <a:extLst>
                <a:ext uri="{FF2B5EF4-FFF2-40B4-BE49-F238E27FC236}">
                  <a16:creationId xmlns:a16="http://schemas.microsoft.com/office/drawing/2014/main" id="{DC0BCCC1-78C0-476D-B136-A313C7AAEEA4}"/>
                </a:ext>
              </a:extLst>
            </p:cNvPr>
            <p:cNvSpPr txBox="1">
              <a:spLocks/>
            </p:cNvSpPr>
            <p:nvPr/>
          </p:nvSpPr>
          <p:spPr>
            <a:xfrm>
              <a:off x="7267537" y="1750633"/>
              <a:ext cx="964172" cy="407120"/>
            </a:xfrm>
            <a:prstGeom prst="rect">
              <a:avLst/>
            </a:prstGeom>
            <a:noFill/>
          </p:spPr>
          <p:txBody>
            <a:bodyPr wrap="none" rtlCol="0" anchor="ctr">
              <a:noAutofit/>
            </a:bodyPr>
            <a:lstStyle/>
            <a:p>
              <a:pPr algn="l"/>
              <a:r>
                <a:rPr lang="en-US" sz="1508">
                  <a:solidFill>
                    <a:schemeClr val="tx1"/>
                  </a:solidFill>
                </a:rPr>
                <a:t>&lt;DURATION&gt;</a:t>
              </a:r>
            </a:p>
          </p:txBody>
        </p:sp>
        <p:cxnSp>
          <p:nvCxnSpPr>
            <p:cNvPr id="110" name="Straight Connector 109" hidden="1">
              <a:extLst>
                <a:ext uri="{FF2B5EF4-FFF2-40B4-BE49-F238E27FC236}">
                  <a16:creationId xmlns:a16="http://schemas.microsoft.com/office/drawing/2014/main" id="{2412250E-5F65-4C28-8BA5-4FF5713E23F0}"/>
                </a:ext>
              </a:extLst>
            </p:cNvPr>
            <p:cNvCxnSpPr>
              <a:cxnSpLocks/>
            </p:cNvCxnSpPr>
            <p:nvPr/>
          </p:nvCxnSpPr>
          <p:spPr>
            <a:xfrm>
              <a:off x="528202" y="1750633"/>
              <a:ext cx="8314313"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BAE658F4-BE4F-4C2F-9142-860B22130D16}"/>
                </a:ext>
              </a:extLst>
            </p:cNvPr>
            <p:cNvCxnSpPr>
              <a:cxnSpLocks/>
            </p:cNvCxnSpPr>
            <p:nvPr/>
          </p:nvCxnSpPr>
          <p:spPr>
            <a:xfrm>
              <a:off x="528202" y="2144333"/>
              <a:ext cx="8426967"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 name="SP Agenda Section Highlight" hidden="1">
            <a:extLst>
              <a:ext uri="{FF2B5EF4-FFF2-40B4-BE49-F238E27FC236}">
                <a16:creationId xmlns:a16="http://schemas.microsoft.com/office/drawing/2014/main" id="{82C102B8-9C8E-4CC4-B7C5-AB5524A25E9A}"/>
              </a:ext>
            </a:extLst>
          </p:cNvPr>
          <p:cNvGrpSpPr/>
          <p:nvPr/>
        </p:nvGrpSpPr>
        <p:grpSpPr>
          <a:xfrm>
            <a:off x="663957" y="2833529"/>
            <a:ext cx="12222827" cy="407120"/>
            <a:chOff x="528201" y="2833529"/>
            <a:chExt cx="9723688" cy="407120"/>
          </a:xfrm>
        </p:grpSpPr>
        <p:sp>
          <p:nvSpPr>
            <p:cNvPr id="113" name="Rectangle 112" hidden="1">
              <a:extLst>
                <a:ext uri="{FF2B5EF4-FFF2-40B4-BE49-F238E27FC236}">
                  <a16:creationId xmlns:a16="http://schemas.microsoft.com/office/drawing/2014/main" id="{D47D4728-D30F-4812-ACC0-5F10FCB332FB}"/>
                </a:ext>
              </a:extLst>
            </p:cNvPr>
            <p:cNvSpPr/>
            <p:nvPr/>
          </p:nvSpPr>
          <p:spPr bwMode="gray">
            <a:xfrm>
              <a:off x="528201" y="2840179"/>
              <a:ext cx="9723688" cy="391907"/>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2011" b="1">
                <a:solidFill>
                  <a:schemeClr val="bg1"/>
                </a:solidFill>
              </a:endParaRPr>
            </a:p>
          </p:txBody>
        </p:sp>
        <p:sp>
          <p:nvSpPr>
            <p:cNvPr id="114" name="Section Title" hidden="1">
              <a:extLst>
                <a:ext uri="{FF2B5EF4-FFF2-40B4-BE49-F238E27FC236}">
                  <a16:creationId xmlns:a16="http://schemas.microsoft.com/office/drawing/2014/main" id="{7DF6D5A2-76A3-4BF6-8E80-DD88E640362F}"/>
                </a:ext>
              </a:extLst>
            </p:cNvPr>
            <p:cNvSpPr txBox="1">
              <a:spLocks/>
            </p:cNvSpPr>
            <p:nvPr/>
          </p:nvSpPr>
          <p:spPr>
            <a:xfrm>
              <a:off x="1003344" y="2840179"/>
              <a:ext cx="3889070" cy="387048"/>
            </a:xfrm>
            <a:prstGeom prst="rect">
              <a:avLst/>
            </a:prstGeom>
            <a:noFill/>
          </p:spPr>
          <p:txBody>
            <a:bodyPr wrap="square" rtlCol="0" anchor="ctr">
              <a:normAutofit lnSpcReduction="10000"/>
            </a:bodyPr>
            <a:lstStyle/>
            <a:p>
              <a:pPr defTabSz="10289993">
                <a:tabLst>
                  <a:tab pos="10485992" algn="l"/>
                </a:tabLst>
              </a:pPr>
              <a:r>
                <a:rPr lang="en-US" sz="2011" b="0">
                  <a:solidFill>
                    <a:schemeClr val="bg1"/>
                  </a:solidFill>
                </a:rPr>
                <a:t>&lt;TEXT&gt;</a:t>
              </a:r>
            </a:p>
          </p:txBody>
        </p:sp>
        <p:sp>
          <p:nvSpPr>
            <p:cNvPr id="115" name="Section Number" hidden="1">
              <a:extLst>
                <a:ext uri="{FF2B5EF4-FFF2-40B4-BE49-F238E27FC236}">
                  <a16:creationId xmlns:a16="http://schemas.microsoft.com/office/drawing/2014/main" id="{5E9EDE98-FF7E-4EDB-A02D-EAF9592565EE}"/>
                </a:ext>
              </a:extLst>
            </p:cNvPr>
            <p:cNvSpPr txBox="1">
              <a:spLocks/>
            </p:cNvSpPr>
            <p:nvPr/>
          </p:nvSpPr>
          <p:spPr>
            <a:xfrm>
              <a:off x="528201" y="2840179"/>
              <a:ext cx="384072" cy="387048"/>
            </a:xfrm>
            <a:prstGeom prst="rect">
              <a:avLst/>
            </a:prstGeom>
            <a:noFill/>
          </p:spPr>
          <p:txBody>
            <a:bodyPr wrap="none" rtlCol="0" anchor="ctr">
              <a:noAutofit/>
            </a:bodyPr>
            <a:lstStyle/>
            <a:p>
              <a:pPr algn="ctr"/>
              <a:r>
                <a:rPr lang="en-US" sz="2011" b="1">
                  <a:solidFill>
                    <a:schemeClr val="bg1"/>
                  </a:solidFill>
                </a:rPr>
                <a:t>&lt;N&gt;</a:t>
              </a:r>
            </a:p>
          </p:txBody>
        </p:sp>
        <p:sp>
          <p:nvSpPr>
            <p:cNvPr id="116" name="Slide Number" hidden="1">
              <a:extLst>
                <a:ext uri="{FF2B5EF4-FFF2-40B4-BE49-F238E27FC236}">
                  <a16:creationId xmlns:a16="http://schemas.microsoft.com/office/drawing/2014/main" id="{45882155-E319-4066-81D1-B82B5ABFB31B}"/>
                </a:ext>
              </a:extLst>
            </p:cNvPr>
            <p:cNvSpPr txBox="1">
              <a:spLocks/>
            </p:cNvSpPr>
            <p:nvPr/>
          </p:nvSpPr>
          <p:spPr>
            <a:xfrm>
              <a:off x="9782537" y="2833529"/>
              <a:ext cx="469352" cy="407120"/>
            </a:xfrm>
            <a:prstGeom prst="rect">
              <a:avLst/>
            </a:prstGeom>
            <a:noFill/>
          </p:spPr>
          <p:txBody>
            <a:bodyPr wrap="none" rtlCol="0" anchor="ctr">
              <a:noAutofit/>
            </a:bodyPr>
            <a:lstStyle/>
            <a:p>
              <a:pPr algn="r"/>
              <a:r>
                <a:rPr lang="en-US" sz="1544" b="1">
                  <a:solidFill>
                    <a:schemeClr val="bg1"/>
                  </a:solidFill>
                </a:rPr>
                <a:t>&lt;P&gt;</a:t>
              </a:r>
            </a:p>
          </p:txBody>
        </p:sp>
        <p:sp>
          <p:nvSpPr>
            <p:cNvPr id="117" name="Timeslot" hidden="1">
              <a:extLst>
                <a:ext uri="{FF2B5EF4-FFF2-40B4-BE49-F238E27FC236}">
                  <a16:creationId xmlns:a16="http://schemas.microsoft.com/office/drawing/2014/main" id="{BD474065-4D89-4CEC-894A-944E4B5602DD}"/>
                </a:ext>
              </a:extLst>
            </p:cNvPr>
            <p:cNvSpPr txBox="1">
              <a:spLocks/>
            </p:cNvSpPr>
            <p:nvPr/>
          </p:nvSpPr>
          <p:spPr>
            <a:xfrm>
              <a:off x="6656178" y="2833529"/>
              <a:ext cx="1272016" cy="407120"/>
            </a:xfrm>
            <a:prstGeom prst="rect">
              <a:avLst/>
            </a:prstGeom>
            <a:noFill/>
          </p:spPr>
          <p:txBody>
            <a:bodyPr wrap="none" rtlCol="0" anchor="ctr">
              <a:noAutofit/>
            </a:bodyPr>
            <a:lstStyle/>
            <a:p>
              <a:pPr algn="l"/>
              <a:r>
                <a:rPr lang="en-US" sz="1544" b="0">
                  <a:solidFill>
                    <a:schemeClr val="bg1"/>
                  </a:solidFill>
                </a:rPr>
                <a:t>&lt;TIMESLOT&gt;</a:t>
              </a:r>
            </a:p>
          </p:txBody>
        </p:sp>
        <p:sp>
          <p:nvSpPr>
            <p:cNvPr id="118" name="Responsible" hidden="1">
              <a:extLst>
                <a:ext uri="{FF2B5EF4-FFF2-40B4-BE49-F238E27FC236}">
                  <a16:creationId xmlns:a16="http://schemas.microsoft.com/office/drawing/2014/main" id="{3D68FAEE-1093-4874-8425-C00373944551}"/>
                </a:ext>
              </a:extLst>
            </p:cNvPr>
            <p:cNvSpPr txBox="1">
              <a:spLocks/>
            </p:cNvSpPr>
            <p:nvPr/>
          </p:nvSpPr>
          <p:spPr>
            <a:xfrm>
              <a:off x="4880695" y="2833529"/>
              <a:ext cx="1404580" cy="407120"/>
            </a:xfrm>
            <a:prstGeom prst="rect">
              <a:avLst/>
            </a:prstGeom>
            <a:noFill/>
          </p:spPr>
          <p:txBody>
            <a:bodyPr wrap="none" rtlCol="0" anchor="ctr">
              <a:noAutofit/>
            </a:bodyPr>
            <a:lstStyle/>
            <a:p>
              <a:pPr algn="l"/>
              <a:r>
                <a:rPr lang="en-US" sz="1544" b="0">
                  <a:solidFill>
                    <a:schemeClr val="bg1"/>
                  </a:solidFill>
                </a:rPr>
                <a:t>&lt;RESPONSIBLE&gt;</a:t>
              </a:r>
            </a:p>
          </p:txBody>
        </p:sp>
        <p:sp>
          <p:nvSpPr>
            <p:cNvPr id="119" name="Duration" hidden="1">
              <a:extLst>
                <a:ext uri="{FF2B5EF4-FFF2-40B4-BE49-F238E27FC236}">
                  <a16:creationId xmlns:a16="http://schemas.microsoft.com/office/drawing/2014/main" id="{AED3B511-DB9D-4DDF-A726-4D125551B95F}"/>
                </a:ext>
              </a:extLst>
            </p:cNvPr>
            <p:cNvSpPr txBox="1">
              <a:spLocks/>
            </p:cNvSpPr>
            <p:nvPr/>
          </p:nvSpPr>
          <p:spPr>
            <a:xfrm>
              <a:off x="8299098" y="2833529"/>
              <a:ext cx="1112536" cy="407120"/>
            </a:xfrm>
            <a:prstGeom prst="rect">
              <a:avLst/>
            </a:prstGeom>
            <a:noFill/>
          </p:spPr>
          <p:txBody>
            <a:bodyPr wrap="none" rtlCol="0" anchor="ctr">
              <a:noAutofit/>
            </a:bodyPr>
            <a:lstStyle/>
            <a:p>
              <a:pPr algn="l"/>
              <a:r>
                <a:rPr lang="en-US" sz="1544" b="1">
                  <a:solidFill>
                    <a:schemeClr val="bg1"/>
                  </a:solidFill>
                </a:rPr>
                <a:t>&lt;</a:t>
              </a:r>
              <a:r>
                <a:rPr lang="en-US" sz="1544" b="0">
                  <a:solidFill>
                    <a:schemeClr val="bg1"/>
                  </a:solidFill>
                </a:rPr>
                <a:t>DURATION</a:t>
              </a:r>
              <a:r>
                <a:rPr lang="en-US" sz="1544" b="1">
                  <a:solidFill>
                    <a:schemeClr val="bg1"/>
                  </a:solidFill>
                </a:rPr>
                <a:t>&gt;</a:t>
              </a:r>
            </a:p>
          </p:txBody>
        </p:sp>
        <p:cxnSp>
          <p:nvCxnSpPr>
            <p:cNvPr id="120" name="Straight Connector 119" hidden="1">
              <a:extLst>
                <a:ext uri="{FF2B5EF4-FFF2-40B4-BE49-F238E27FC236}">
                  <a16:creationId xmlns:a16="http://schemas.microsoft.com/office/drawing/2014/main" id="{B691B760-838E-42BC-86E5-7E48C1DCC2FD}"/>
                </a:ext>
              </a:extLst>
            </p:cNvPr>
            <p:cNvCxnSpPr>
              <a:cxnSpLocks/>
            </p:cNvCxnSpPr>
            <p:nvPr/>
          </p:nvCxnSpPr>
          <p:spPr>
            <a:xfrm>
              <a:off x="528201" y="2843055"/>
              <a:ext cx="9676249"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SP Agenda Subsection Highlight" hidden="1">
            <a:extLst>
              <a:ext uri="{FF2B5EF4-FFF2-40B4-BE49-F238E27FC236}">
                <a16:creationId xmlns:a16="http://schemas.microsoft.com/office/drawing/2014/main" id="{22DF9E13-06DA-450C-A1D1-2D8378C7754E}"/>
              </a:ext>
            </a:extLst>
          </p:cNvPr>
          <p:cNvGrpSpPr/>
          <p:nvPr/>
        </p:nvGrpSpPr>
        <p:grpSpPr>
          <a:xfrm>
            <a:off x="663957" y="3225440"/>
            <a:ext cx="12233137" cy="407120"/>
            <a:chOff x="528201" y="3225440"/>
            <a:chExt cx="9731890" cy="407120"/>
          </a:xfrm>
        </p:grpSpPr>
        <p:sp>
          <p:nvSpPr>
            <p:cNvPr id="122" name="Rectangle 121" hidden="1">
              <a:extLst>
                <a:ext uri="{FF2B5EF4-FFF2-40B4-BE49-F238E27FC236}">
                  <a16:creationId xmlns:a16="http://schemas.microsoft.com/office/drawing/2014/main" id="{185BBFE0-180B-4CAD-AB63-D44403F0E476}"/>
                </a:ext>
              </a:extLst>
            </p:cNvPr>
            <p:cNvSpPr/>
            <p:nvPr/>
          </p:nvSpPr>
          <p:spPr bwMode="gray">
            <a:xfrm>
              <a:off x="528201" y="3232086"/>
              <a:ext cx="9723688" cy="385262"/>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2011" b="1">
                <a:solidFill>
                  <a:schemeClr val="bg1"/>
                </a:solidFill>
              </a:endParaRPr>
            </a:p>
          </p:txBody>
        </p:sp>
        <p:sp>
          <p:nvSpPr>
            <p:cNvPr id="123" name="Section Title" hidden="1">
              <a:extLst>
                <a:ext uri="{FF2B5EF4-FFF2-40B4-BE49-F238E27FC236}">
                  <a16:creationId xmlns:a16="http://schemas.microsoft.com/office/drawing/2014/main" id="{F52C74C9-54DF-4B08-8543-2F3D0B590057}"/>
                </a:ext>
              </a:extLst>
            </p:cNvPr>
            <p:cNvSpPr txBox="1">
              <a:spLocks/>
            </p:cNvSpPr>
            <p:nvPr/>
          </p:nvSpPr>
          <p:spPr>
            <a:xfrm>
              <a:off x="1003344" y="3232090"/>
              <a:ext cx="3889070" cy="387048"/>
            </a:xfrm>
            <a:prstGeom prst="rect">
              <a:avLst/>
            </a:prstGeom>
            <a:noFill/>
          </p:spPr>
          <p:txBody>
            <a:bodyPr wrap="square" rtlCol="0" anchor="ctr">
              <a:normAutofit lnSpcReduction="10000"/>
            </a:bodyPr>
            <a:lstStyle/>
            <a:p>
              <a:pPr defTabSz="10289993">
                <a:tabLst>
                  <a:tab pos="10485992" algn="l"/>
                </a:tabLst>
              </a:pPr>
              <a:r>
                <a:rPr lang="en-US" sz="2011" b="0">
                  <a:solidFill>
                    <a:schemeClr val="tx1"/>
                  </a:solidFill>
                </a:rPr>
                <a:t>&lt;TEXT&gt;</a:t>
              </a:r>
            </a:p>
          </p:txBody>
        </p:sp>
        <p:sp>
          <p:nvSpPr>
            <p:cNvPr id="124" name="Section Number" hidden="1">
              <a:extLst>
                <a:ext uri="{FF2B5EF4-FFF2-40B4-BE49-F238E27FC236}">
                  <a16:creationId xmlns:a16="http://schemas.microsoft.com/office/drawing/2014/main" id="{9423A6B0-6101-40AB-8AC6-7FA487363504}"/>
                </a:ext>
              </a:extLst>
            </p:cNvPr>
            <p:cNvSpPr txBox="1">
              <a:spLocks/>
            </p:cNvSpPr>
            <p:nvPr/>
          </p:nvSpPr>
          <p:spPr>
            <a:xfrm>
              <a:off x="528201" y="3232090"/>
              <a:ext cx="384072" cy="387048"/>
            </a:xfrm>
            <a:prstGeom prst="rect">
              <a:avLst/>
            </a:prstGeom>
            <a:noFill/>
          </p:spPr>
          <p:txBody>
            <a:bodyPr wrap="none" rtlCol="0" anchor="ctr">
              <a:noAutofit/>
            </a:bodyPr>
            <a:lstStyle/>
            <a:p>
              <a:pPr algn="ctr"/>
              <a:r>
                <a:rPr lang="en-US" sz="2011" b="1">
                  <a:solidFill>
                    <a:schemeClr val="tx1"/>
                  </a:solidFill>
                </a:rPr>
                <a:t>&lt;N&gt;</a:t>
              </a:r>
            </a:p>
          </p:txBody>
        </p:sp>
        <p:sp>
          <p:nvSpPr>
            <p:cNvPr id="125" name="Slide Number" hidden="1">
              <a:extLst>
                <a:ext uri="{FF2B5EF4-FFF2-40B4-BE49-F238E27FC236}">
                  <a16:creationId xmlns:a16="http://schemas.microsoft.com/office/drawing/2014/main" id="{413888E6-856F-4DDE-85A9-662A8F255AF8}"/>
                </a:ext>
              </a:extLst>
            </p:cNvPr>
            <p:cNvSpPr txBox="1">
              <a:spLocks/>
            </p:cNvSpPr>
            <p:nvPr/>
          </p:nvSpPr>
          <p:spPr>
            <a:xfrm>
              <a:off x="9790739" y="3225440"/>
              <a:ext cx="469352" cy="407120"/>
            </a:xfrm>
            <a:prstGeom prst="rect">
              <a:avLst/>
            </a:prstGeom>
            <a:noFill/>
          </p:spPr>
          <p:txBody>
            <a:bodyPr wrap="none" rtlCol="0" anchor="ctr">
              <a:noAutofit/>
            </a:bodyPr>
            <a:lstStyle/>
            <a:p>
              <a:pPr algn="r"/>
              <a:r>
                <a:rPr lang="en-US" sz="1544" b="1">
                  <a:solidFill>
                    <a:schemeClr val="tx1"/>
                  </a:solidFill>
                </a:rPr>
                <a:t>&lt;P&gt;</a:t>
              </a:r>
            </a:p>
          </p:txBody>
        </p:sp>
        <p:sp>
          <p:nvSpPr>
            <p:cNvPr id="126" name="Timeslot" hidden="1">
              <a:extLst>
                <a:ext uri="{FF2B5EF4-FFF2-40B4-BE49-F238E27FC236}">
                  <a16:creationId xmlns:a16="http://schemas.microsoft.com/office/drawing/2014/main" id="{D112A16C-E0E5-4266-8462-2D688E3DDCA4}"/>
                </a:ext>
              </a:extLst>
            </p:cNvPr>
            <p:cNvSpPr txBox="1">
              <a:spLocks/>
            </p:cNvSpPr>
            <p:nvPr/>
          </p:nvSpPr>
          <p:spPr>
            <a:xfrm>
              <a:off x="6667896" y="3225440"/>
              <a:ext cx="1272016" cy="407120"/>
            </a:xfrm>
            <a:prstGeom prst="rect">
              <a:avLst/>
            </a:prstGeom>
            <a:noFill/>
          </p:spPr>
          <p:txBody>
            <a:bodyPr wrap="none" rtlCol="0" anchor="ctr">
              <a:noAutofit/>
            </a:bodyPr>
            <a:lstStyle/>
            <a:p>
              <a:pPr algn="l"/>
              <a:r>
                <a:rPr lang="en-US" sz="1544">
                  <a:solidFill>
                    <a:schemeClr val="tx1"/>
                  </a:solidFill>
                </a:rPr>
                <a:t>&lt;TIMESLOT&gt;</a:t>
              </a:r>
            </a:p>
          </p:txBody>
        </p:sp>
        <p:sp>
          <p:nvSpPr>
            <p:cNvPr id="127" name="Responsible" hidden="1">
              <a:extLst>
                <a:ext uri="{FF2B5EF4-FFF2-40B4-BE49-F238E27FC236}">
                  <a16:creationId xmlns:a16="http://schemas.microsoft.com/office/drawing/2014/main" id="{9FB5169A-C25A-4901-BBBE-3CC4833D1192}"/>
                </a:ext>
              </a:extLst>
            </p:cNvPr>
            <p:cNvSpPr txBox="1">
              <a:spLocks/>
            </p:cNvSpPr>
            <p:nvPr/>
          </p:nvSpPr>
          <p:spPr>
            <a:xfrm>
              <a:off x="4892413" y="3225440"/>
              <a:ext cx="1404580" cy="407120"/>
            </a:xfrm>
            <a:prstGeom prst="rect">
              <a:avLst/>
            </a:prstGeom>
            <a:noFill/>
          </p:spPr>
          <p:txBody>
            <a:bodyPr wrap="none" rtlCol="0" anchor="ctr">
              <a:noAutofit/>
            </a:bodyPr>
            <a:lstStyle/>
            <a:p>
              <a:pPr algn="l"/>
              <a:r>
                <a:rPr lang="en-US" sz="1544">
                  <a:solidFill>
                    <a:schemeClr val="tx1"/>
                  </a:solidFill>
                </a:rPr>
                <a:t>&lt;RESPONSIBLE&gt;</a:t>
              </a:r>
            </a:p>
          </p:txBody>
        </p:sp>
        <p:sp>
          <p:nvSpPr>
            <p:cNvPr id="128" name="Duration" hidden="1">
              <a:extLst>
                <a:ext uri="{FF2B5EF4-FFF2-40B4-BE49-F238E27FC236}">
                  <a16:creationId xmlns:a16="http://schemas.microsoft.com/office/drawing/2014/main" id="{FD1E3C5D-6353-49A6-BE35-2CE758C72039}"/>
                </a:ext>
              </a:extLst>
            </p:cNvPr>
            <p:cNvSpPr txBox="1">
              <a:spLocks/>
            </p:cNvSpPr>
            <p:nvPr/>
          </p:nvSpPr>
          <p:spPr>
            <a:xfrm>
              <a:off x="8310816" y="3225440"/>
              <a:ext cx="1112536" cy="407120"/>
            </a:xfrm>
            <a:prstGeom prst="rect">
              <a:avLst/>
            </a:prstGeom>
            <a:noFill/>
          </p:spPr>
          <p:txBody>
            <a:bodyPr wrap="none" rtlCol="0" anchor="ctr">
              <a:noAutofit/>
            </a:bodyPr>
            <a:lstStyle/>
            <a:p>
              <a:pPr algn="l"/>
              <a:r>
                <a:rPr lang="en-US" sz="1544">
                  <a:solidFill>
                    <a:schemeClr val="tx1"/>
                  </a:solidFill>
                </a:rPr>
                <a:t>&lt;DURATION&gt;</a:t>
              </a:r>
            </a:p>
          </p:txBody>
        </p:sp>
      </p:grpSp>
      <p:sp>
        <p:nvSpPr>
          <p:cNvPr id="38" name="Date Placeholder 7">
            <a:extLst>
              <a:ext uri="{FF2B5EF4-FFF2-40B4-BE49-F238E27FC236}">
                <a16:creationId xmlns:a16="http://schemas.microsoft.com/office/drawing/2014/main" id="{32444945-3CA4-4523-A529-3C13115D5A54}"/>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39" name="Footer Placeholder 8">
            <a:extLst>
              <a:ext uri="{FF2B5EF4-FFF2-40B4-BE49-F238E27FC236}">
                <a16:creationId xmlns:a16="http://schemas.microsoft.com/office/drawing/2014/main" id="{9452F1A9-83A5-43BE-B9A6-E3105098605C}"/>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40" name="Slide Number Placeholder 9">
            <a:extLst>
              <a:ext uri="{FF2B5EF4-FFF2-40B4-BE49-F238E27FC236}">
                <a16:creationId xmlns:a16="http://schemas.microsoft.com/office/drawing/2014/main" id="{FC39B9F2-43A5-42CE-A29B-07D4274319D3}"/>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594791750"/>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1463"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 Divider 1">
    <p:bg>
      <p:bgPr>
        <a:solidFill>
          <a:srgbClr val="9DD4CF"/>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7C26124-1E8D-4391-A090-AE4AD9A76F9D}"/>
              </a:ext>
            </a:extLst>
          </p:cNvPr>
          <p:cNvSpPr>
            <a:spLocks/>
          </p:cNvSpPr>
          <p:nvPr/>
        </p:nvSpPr>
        <p:spPr bwMode="gray">
          <a:xfrm>
            <a:off x="0" y="1681719"/>
            <a:ext cx="937321" cy="1491344"/>
          </a:xfrm>
          <a:custGeom>
            <a:avLst/>
            <a:gdLst>
              <a:gd name="connsiteX0" fmla="*/ 0 w 745672"/>
              <a:gd name="connsiteY0" fmla="*/ 0 h 1491344"/>
              <a:gd name="connsiteX1" fmla="*/ 745672 w 745672"/>
              <a:gd name="connsiteY1" fmla="*/ 745672 h 1491344"/>
              <a:gd name="connsiteX2" fmla="*/ 0 w 745672"/>
              <a:gd name="connsiteY2" fmla="*/ 1491344 h 1491344"/>
              <a:gd name="connsiteX3" fmla="*/ 0 w 745672"/>
              <a:gd name="connsiteY3" fmla="*/ 0 h 1491344"/>
            </a:gdLst>
            <a:ahLst/>
            <a:cxnLst>
              <a:cxn ang="0">
                <a:pos x="connsiteX0" y="connsiteY0"/>
              </a:cxn>
              <a:cxn ang="0">
                <a:pos x="connsiteX1" y="connsiteY1"/>
              </a:cxn>
              <a:cxn ang="0">
                <a:pos x="connsiteX2" y="connsiteY2"/>
              </a:cxn>
              <a:cxn ang="0">
                <a:pos x="connsiteX3" y="connsiteY3"/>
              </a:cxn>
            </a:cxnLst>
            <a:rect l="l" t="t" r="r" b="b"/>
            <a:pathLst>
              <a:path w="745672" h="1491344">
                <a:moveTo>
                  <a:pt x="0" y="0"/>
                </a:moveTo>
                <a:cubicBezTo>
                  <a:pt x="411823" y="0"/>
                  <a:pt x="745672" y="333849"/>
                  <a:pt x="745672" y="745672"/>
                </a:cubicBezTo>
                <a:cubicBezTo>
                  <a:pt x="745672" y="1157495"/>
                  <a:pt x="411823" y="1491344"/>
                  <a:pt x="0" y="1491344"/>
                </a:cubicBezTo>
                <a:lnTo>
                  <a:pt x="0" y="0"/>
                </a:lnTo>
                <a:close/>
              </a:path>
            </a:pathLst>
          </a:custGeom>
          <a:solidFill>
            <a:srgbClr val="0097A9"/>
          </a:solidFill>
          <a:ln w="19050" algn="ctr">
            <a:noFill/>
            <a:miter lim="800000"/>
            <a:headEnd/>
            <a:tailEnd/>
          </a:ln>
        </p:spPr>
        <p:txBody>
          <a:bodyPr wrap="square" lIns="111749" tIns="111749" rIns="111749" bIns="111749" rtlCol="0" anchor="ctr">
            <a:noAutofit/>
          </a:bodyPr>
          <a:lstStyle/>
          <a:p>
            <a:pPr algn="ctr">
              <a:lnSpc>
                <a:spcPct val="106000"/>
              </a:lnSpc>
              <a:buFont typeface="Wingdings 2" pitchFamily="18" charset="2"/>
              <a:buNone/>
            </a:pPr>
            <a:endParaRPr lang="fr-FR" sz="2011" b="1">
              <a:solidFill>
                <a:srgbClr val="26890D"/>
              </a:solidFill>
            </a:endParaRPr>
          </a:p>
        </p:txBody>
      </p:sp>
      <p:grpSp>
        <p:nvGrpSpPr>
          <p:cNvPr id="27" name="SP Agenda Subsection" hidden="1">
            <a:extLst>
              <a:ext uri="{FF2B5EF4-FFF2-40B4-BE49-F238E27FC236}">
                <a16:creationId xmlns:a16="http://schemas.microsoft.com/office/drawing/2014/main" id="{2F3399A0-C135-4DCC-9192-16A6B77C0B73}"/>
              </a:ext>
            </a:extLst>
          </p:cNvPr>
          <p:cNvGrpSpPr/>
          <p:nvPr/>
        </p:nvGrpSpPr>
        <p:grpSpPr>
          <a:xfrm>
            <a:off x="1012581" y="4098563"/>
            <a:ext cx="11503272" cy="485186"/>
            <a:chOff x="805543" y="3360517"/>
            <a:chExt cx="10468172" cy="485186"/>
          </a:xfrm>
        </p:grpSpPr>
        <p:sp>
          <p:nvSpPr>
            <p:cNvPr id="28" name="Rectangle: Rounded Corners 27" hidden="1">
              <a:extLst>
                <a:ext uri="{FF2B5EF4-FFF2-40B4-BE49-F238E27FC236}">
                  <a16:creationId xmlns:a16="http://schemas.microsoft.com/office/drawing/2014/main" id="{5484F5E1-936F-4A6E-A9D4-5F4CF6C425BC}"/>
                </a:ext>
              </a:extLst>
            </p:cNvPr>
            <p:cNvSpPr/>
            <p:nvPr/>
          </p:nvSpPr>
          <p:spPr bwMode="gray">
            <a:xfrm>
              <a:off x="805543" y="3360517"/>
              <a:ext cx="9985459" cy="485186"/>
            </a:xfrm>
            <a:prstGeom prst="roundRect">
              <a:avLst>
                <a:gd name="adj" fmla="val 5000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508" b="1">
                <a:solidFill>
                  <a:schemeClr val="bg1"/>
                </a:solidFill>
              </a:endParaRPr>
            </a:p>
          </p:txBody>
        </p:sp>
        <p:sp>
          <p:nvSpPr>
            <p:cNvPr id="29" name="Rectangle: Rounded Corners 28" hidden="1">
              <a:extLst>
                <a:ext uri="{FF2B5EF4-FFF2-40B4-BE49-F238E27FC236}">
                  <a16:creationId xmlns:a16="http://schemas.microsoft.com/office/drawing/2014/main" id="{C3F9EB79-0516-4C7A-B567-64E277542F4C}"/>
                </a:ext>
              </a:extLst>
            </p:cNvPr>
            <p:cNvSpPr/>
            <p:nvPr/>
          </p:nvSpPr>
          <p:spPr bwMode="gray">
            <a:xfrm>
              <a:off x="10308289" y="3360517"/>
              <a:ext cx="965426" cy="485186"/>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508" b="1">
                <a:solidFill>
                  <a:schemeClr val="bg1"/>
                </a:solidFill>
              </a:endParaRPr>
            </a:p>
          </p:txBody>
        </p:sp>
        <p:sp>
          <p:nvSpPr>
            <p:cNvPr id="30" name="Section Title" hidden="1">
              <a:extLst>
                <a:ext uri="{FF2B5EF4-FFF2-40B4-BE49-F238E27FC236}">
                  <a16:creationId xmlns:a16="http://schemas.microsoft.com/office/drawing/2014/main" id="{E7997F8B-79E9-4ADF-BC52-1643663A4BCE}"/>
                </a:ext>
              </a:extLst>
            </p:cNvPr>
            <p:cNvSpPr txBox="1">
              <a:spLocks/>
            </p:cNvSpPr>
            <p:nvPr/>
          </p:nvSpPr>
          <p:spPr>
            <a:xfrm>
              <a:off x="1660309" y="3394787"/>
              <a:ext cx="8330263" cy="407120"/>
            </a:xfrm>
            <a:prstGeom prst="rect">
              <a:avLst/>
            </a:prstGeom>
            <a:noFill/>
          </p:spPr>
          <p:txBody>
            <a:bodyPr wrap="square" lIns="0" rtlCol="0" anchor="ctr">
              <a:noAutofit/>
            </a:bodyPr>
            <a:lstStyle/>
            <a:p>
              <a:pPr defTabSz="10289993">
                <a:tabLst>
                  <a:tab pos="10485992" algn="l"/>
                </a:tabLst>
              </a:pPr>
              <a:r>
                <a:rPr lang="en-US" sz="2514" b="0">
                  <a:solidFill>
                    <a:schemeClr val="tx1"/>
                  </a:solidFill>
                </a:rPr>
                <a:t>&lt;TEXT&gt;</a:t>
              </a:r>
            </a:p>
          </p:txBody>
        </p:sp>
        <p:sp>
          <p:nvSpPr>
            <p:cNvPr id="31" name="Slide Number" hidden="1">
              <a:extLst>
                <a:ext uri="{FF2B5EF4-FFF2-40B4-BE49-F238E27FC236}">
                  <a16:creationId xmlns:a16="http://schemas.microsoft.com/office/drawing/2014/main" id="{82043C9A-CCFB-4571-A382-24BCE828DCC2}"/>
                </a:ext>
              </a:extLst>
            </p:cNvPr>
            <p:cNvSpPr txBox="1">
              <a:spLocks/>
            </p:cNvSpPr>
            <p:nvPr/>
          </p:nvSpPr>
          <p:spPr>
            <a:xfrm flipH="1">
              <a:off x="10438543" y="3426104"/>
              <a:ext cx="672049" cy="344487"/>
            </a:xfrm>
            <a:prstGeom prst="rect">
              <a:avLst/>
            </a:prstGeom>
            <a:noFill/>
          </p:spPr>
          <p:txBody>
            <a:bodyPr wrap="none" lIns="0" tIns="0" rIns="0" bIns="0" rtlCol="0" anchor="ctr">
              <a:noAutofit/>
            </a:bodyPr>
            <a:lstStyle/>
            <a:p>
              <a:pPr algn="r"/>
              <a:r>
                <a:rPr lang="en-US" sz="3017" b="0">
                  <a:solidFill>
                    <a:schemeClr val="tx1"/>
                  </a:solidFill>
                </a:rPr>
                <a:t>&lt;P&gt;</a:t>
              </a:r>
            </a:p>
          </p:txBody>
        </p:sp>
        <p:sp>
          <p:nvSpPr>
            <p:cNvPr id="32" name="Graphic 9" hidden="1">
              <a:extLst>
                <a:ext uri="{FF2B5EF4-FFF2-40B4-BE49-F238E27FC236}">
                  <a16:creationId xmlns:a16="http://schemas.microsoft.com/office/drawing/2014/main" id="{215B09D0-38EE-42A4-98E8-5C378FE317C6}"/>
                </a:ext>
              </a:extLst>
            </p:cNvPr>
            <p:cNvSpPr>
              <a:spLocks/>
            </p:cNvSpPr>
            <p:nvPr/>
          </p:nvSpPr>
          <p:spPr>
            <a:xfrm>
              <a:off x="1081407" y="3502339"/>
              <a:ext cx="270711" cy="192017"/>
            </a:xfrm>
            <a:custGeom>
              <a:avLst/>
              <a:gdLst>
                <a:gd name="connsiteX0" fmla="*/ 736516 w 857147"/>
                <a:gd name="connsiteY0" fmla="*/ 152031 h 607980"/>
                <a:gd name="connsiteX1" fmla="*/ 594974 w 857147"/>
                <a:gd name="connsiteY1" fmla="*/ 25444 h 607980"/>
                <a:gd name="connsiteX2" fmla="*/ 527251 w 857147"/>
                <a:gd name="connsiteY2" fmla="*/ -274 h 607980"/>
                <a:gd name="connsiteX3" fmla="*/ 101103 w 857147"/>
                <a:gd name="connsiteY3" fmla="*/ -274 h 607980"/>
                <a:gd name="connsiteX4" fmla="*/ -624 w 857147"/>
                <a:gd name="connsiteY4" fmla="*/ 101453 h 607980"/>
                <a:gd name="connsiteX5" fmla="*/ -624 w 857147"/>
                <a:gd name="connsiteY5" fmla="*/ 101644 h 607980"/>
                <a:gd name="connsiteX6" fmla="*/ -624 w 857147"/>
                <a:gd name="connsiteY6" fmla="*/ 505980 h 607980"/>
                <a:gd name="connsiteX7" fmla="*/ 101103 w 857147"/>
                <a:gd name="connsiteY7" fmla="*/ 607707 h 607980"/>
                <a:gd name="connsiteX8" fmla="*/ 527251 w 857147"/>
                <a:gd name="connsiteY8" fmla="*/ 607707 h 607980"/>
                <a:gd name="connsiteX9" fmla="*/ 594974 w 857147"/>
                <a:gd name="connsiteY9" fmla="*/ 581894 h 607980"/>
                <a:gd name="connsiteX10" fmla="*/ 736516 w 857147"/>
                <a:gd name="connsiteY10" fmla="*/ 455783 h 607980"/>
                <a:gd name="connsiteX11" fmla="*/ 822241 w 857147"/>
                <a:gd name="connsiteY11" fmla="*/ 379583 h 607980"/>
                <a:gd name="connsiteX12" fmla="*/ 830899 w 857147"/>
                <a:gd name="connsiteY12" fmla="*/ 235841 h 607980"/>
                <a:gd name="connsiteX13" fmla="*/ 822241 w 857147"/>
                <a:gd name="connsiteY13" fmla="*/ 227183 h 60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147" h="607980">
                  <a:moveTo>
                    <a:pt x="736516" y="152031"/>
                  </a:moveTo>
                  <a:lnTo>
                    <a:pt x="594974" y="25444"/>
                  </a:lnTo>
                  <a:cubicBezTo>
                    <a:pt x="576305" y="8870"/>
                    <a:pt x="552216" y="-274"/>
                    <a:pt x="527251" y="-274"/>
                  </a:cubicBezTo>
                  <a:lnTo>
                    <a:pt x="101103" y="-274"/>
                  </a:lnTo>
                  <a:cubicBezTo>
                    <a:pt x="44924" y="-274"/>
                    <a:pt x="-624" y="45275"/>
                    <a:pt x="-624" y="101453"/>
                  </a:cubicBezTo>
                  <a:cubicBezTo>
                    <a:pt x="-624" y="101520"/>
                    <a:pt x="-624" y="101577"/>
                    <a:pt x="-624" y="101644"/>
                  </a:cubicBezTo>
                  <a:lnTo>
                    <a:pt x="-624" y="505980"/>
                  </a:lnTo>
                  <a:cubicBezTo>
                    <a:pt x="-624" y="562158"/>
                    <a:pt x="44924" y="607707"/>
                    <a:pt x="101103" y="607707"/>
                  </a:cubicBezTo>
                  <a:lnTo>
                    <a:pt x="527251" y="607707"/>
                  </a:lnTo>
                  <a:cubicBezTo>
                    <a:pt x="552226" y="607669"/>
                    <a:pt x="576314" y="598487"/>
                    <a:pt x="594974" y="581894"/>
                  </a:cubicBezTo>
                  <a:lnTo>
                    <a:pt x="736516" y="455783"/>
                  </a:lnTo>
                  <a:lnTo>
                    <a:pt x="822241" y="379583"/>
                  </a:lnTo>
                  <a:cubicBezTo>
                    <a:pt x="864322" y="342283"/>
                    <a:pt x="868199" y="277932"/>
                    <a:pt x="830899" y="235841"/>
                  </a:cubicBezTo>
                  <a:cubicBezTo>
                    <a:pt x="828194" y="232784"/>
                    <a:pt x="825298" y="229898"/>
                    <a:pt x="822241" y="227183"/>
                  </a:cubicBezTo>
                  <a:close/>
                </a:path>
              </a:pathLst>
            </a:custGeom>
            <a:solidFill>
              <a:schemeClr val="bg1"/>
            </a:solidFill>
            <a:ln w="19050" cap="flat">
              <a:noFill/>
              <a:prstDash val="solid"/>
              <a:miter/>
            </a:ln>
          </p:spPr>
          <p:txBody>
            <a:bodyPr rtlCol="0" anchor="ctr"/>
            <a:lstStyle/>
            <a:p>
              <a:endParaRPr lang="fr-FR" sz="1760"/>
            </a:p>
          </p:txBody>
        </p:sp>
      </p:grpSp>
      <p:grpSp>
        <p:nvGrpSpPr>
          <p:cNvPr id="33" name="SP Agenda Section" hidden="1">
            <a:extLst>
              <a:ext uri="{FF2B5EF4-FFF2-40B4-BE49-F238E27FC236}">
                <a16:creationId xmlns:a16="http://schemas.microsoft.com/office/drawing/2014/main" id="{837AF3CA-B8B3-4F43-A3EE-5C584C78E219}"/>
              </a:ext>
            </a:extLst>
          </p:cNvPr>
          <p:cNvGrpSpPr>
            <a:grpSpLocks/>
          </p:cNvGrpSpPr>
          <p:nvPr/>
        </p:nvGrpSpPr>
        <p:grpSpPr>
          <a:xfrm>
            <a:off x="1347374" y="1705461"/>
            <a:ext cx="11168481" cy="2150603"/>
            <a:chOff x="1788139" y="1105382"/>
            <a:chExt cx="9824128" cy="2150603"/>
          </a:xfrm>
        </p:grpSpPr>
        <p:sp>
          <p:nvSpPr>
            <p:cNvPr id="34" name="Section Title" hidden="1">
              <a:extLst>
                <a:ext uri="{FF2B5EF4-FFF2-40B4-BE49-F238E27FC236}">
                  <a16:creationId xmlns:a16="http://schemas.microsoft.com/office/drawing/2014/main" id="{DFD63EB6-3C4D-4BA8-8A21-4013E774113F}"/>
                </a:ext>
              </a:extLst>
            </p:cNvPr>
            <p:cNvSpPr txBox="1">
              <a:spLocks/>
            </p:cNvSpPr>
            <p:nvPr/>
          </p:nvSpPr>
          <p:spPr>
            <a:xfrm>
              <a:off x="1797664" y="2085631"/>
              <a:ext cx="9814603" cy="1170354"/>
            </a:xfrm>
            <a:prstGeom prst="rect">
              <a:avLst/>
            </a:prstGeom>
            <a:noFill/>
          </p:spPr>
          <p:txBody>
            <a:bodyPr wrap="square" lIns="0" rtlCol="0" anchor="t">
              <a:normAutofit/>
            </a:bodyPr>
            <a:lstStyle/>
            <a:p>
              <a:pPr defTabSz="10289993">
                <a:tabLst>
                  <a:tab pos="10485992" algn="l"/>
                </a:tabLst>
              </a:pPr>
              <a:r>
                <a:rPr lang="en-US" sz="4022" b="1">
                  <a:solidFill>
                    <a:schemeClr val="tx1"/>
                  </a:solidFill>
                </a:rPr>
                <a:t>&lt;TEXT&gt;</a:t>
              </a:r>
            </a:p>
          </p:txBody>
        </p:sp>
        <p:sp>
          <p:nvSpPr>
            <p:cNvPr id="35" name="Section Number" hidden="1">
              <a:extLst>
                <a:ext uri="{FF2B5EF4-FFF2-40B4-BE49-F238E27FC236}">
                  <a16:creationId xmlns:a16="http://schemas.microsoft.com/office/drawing/2014/main" id="{48144A82-D0DA-48BF-93AB-FFE954612912}"/>
                </a:ext>
              </a:extLst>
            </p:cNvPr>
            <p:cNvSpPr txBox="1">
              <a:spLocks/>
            </p:cNvSpPr>
            <p:nvPr/>
          </p:nvSpPr>
          <p:spPr>
            <a:xfrm>
              <a:off x="1788139" y="1105382"/>
              <a:ext cx="1614536" cy="687643"/>
            </a:xfrm>
            <a:prstGeom prst="rect">
              <a:avLst/>
            </a:prstGeom>
            <a:noFill/>
          </p:spPr>
          <p:txBody>
            <a:bodyPr wrap="none" lIns="0" rtlCol="0" anchor="ctr">
              <a:noAutofit/>
            </a:bodyPr>
            <a:lstStyle/>
            <a:p>
              <a:pPr algn="l"/>
              <a:r>
                <a:rPr lang="en-US" sz="7542" b="1">
                  <a:solidFill>
                    <a:schemeClr val="tx1"/>
                  </a:solidFill>
                </a:rPr>
                <a:t>&lt;N&gt;</a:t>
              </a:r>
            </a:p>
          </p:txBody>
        </p:sp>
      </p:grpSp>
      <p:sp>
        <p:nvSpPr>
          <p:cNvPr id="12" name="Date Placeholder 7">
            <a:extLst>
              <a:ext uri="{FF2B5EF4-FFF2-40B4-BE49-F238E27FC236}">
                <a16:creationId xmlns:a16="http://schemas.microsoft.com/office/drawing/2014/main" id="{7F7262BE-0046-498F-9B30-790E290A18E0}"/>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13" name="Footer Placeholder 8">
            <a:extLst>
              <a:ext uri="{FF2B5EF4-FFF2-40B4-BE49-F238E27FC236}">
                <a16:creationId xmlns:a16="http://schemas.microsoft.com/office/drawing/2014/main" id="{83A1E229-E799-412F-A5A2-4E28081D5971}"/>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4" name="Slide Number Placeholder 9">
            <a:extLst>
              <a:ext uri="{FF2B5EF4-FFF2-40B4-BE49-F238E27FC236}">
                <a16:creationId xmlns:a16="http://schemas.microsoft.com/office/drawing/2014/main" id="{4D763B76-7921-419A-8DF2-9D54C5FBF03A}"/>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73060916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1463"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510710" y="381393"/>
            <a:ext cx="12431792" cy="368282"/>
          </a:xfrm>
          <a:prstGeom prst="rect">
            <a:avLst/>
          </a:prstGeom>
        </p:spPr>
        <p:txBody>
          <a:bodyPr vert="horz" lIns="0" tIns="0" rIns="0" bIns="0" rtlCol="0" anchor="t" anchorCtr="0">
            <a:noAutofit/>
          </a:bodyPr>
          <a:lstStyle>
            <a:lvl1pPr>
              <a:defRPr sz="2315">
                <a:latin typeface="+mj-lt"/>
              </a:defRPr>
            </a:lvl1pPr>
          </a:lstStyle>
          <a:p>
            <a:r>
              <a:rPr lang="en-US"/>
              <a:t>Click to add title</a:t>
            </a:r>
          </a:p>
        </p:txBody>
      </p:sp>
    </p:spTree>
    <p:extLst>
      <p:ext uri="{BB962C8B-B14F-4D97-AF65-F5344CB8AC3E}">
        <p14:creationId xmlns:p14="http://schemas.microsoft.com/office/powerpoint/2010/main" val="3635050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Divider - Deloitte white">
    <p:bg bwMode="gray">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FEED857-63BB-4D9D-B816-999B7FF0BA3F}"/>
              </a:ext>
            </a:extLst>
          </p:cNvPr>
          <p:cNvSpPr>
            <a:spLocks noGrp="1"/>
          </p:cNvSpPr>
          <p:nvPr>
            <p:ph type="pic" sz="quarter" idx="10"/>
          </p:nvPr>
        </p:nvSpPr>
        <p:spPr>
          <a:xfrm>
            <a:off x="1" y="1"/>
            <a:ext cx="13439775" cy="7559675"/>
          </a:xfrm>
        </p:spPr>
        <p:txBody>
          <a:bodyPr/>
          <a:lstStyle/>
          <a:p>
            <a:r>
              <a:rPr lang="en-US"/>
              <a:t>Click icon to add picture</a:t>
            </a:r>
            <a:endParaRPr lang="fr-FR"/>
          </a:p>
        </p:txBody>
      </p:sp>
      <p:sp>
        <p:nvSpPr>
          <p:cNvPr id="2" name="Title 1"/>
          <p:cNvSpPr>
            <a:spLocks noGrp="1"/>
          </p:cNvSpPr>
          <p:nvPr>
            <p:ph type="title"/>
          </p:nvPr>
        </p:nvSpPr>
        <p:spPr bwMode="gray">
          <a:xfrm>
            <a:off x="552991" y="280398"/>
            <a:ext cx="11619805" cy="729574"/>
          </a:xfrm>
        </p:spPr>
        <p:txBody>
          <a:bodyPr anchor="b"/>
          <a:lstStyle>
            <a:lvl1pPr>
              <a:lnSpc>
                <a:spcPct val="95000"/>
              </a:lnSpc>
              <a:defRPr sz="4022"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52991" y="1090550"/>
            <a:ext cx="11619805" cy="1726811"/>
          </a:xfrm>
        </p:spPr>
        <p:txBody>
          <a:bodyPr lIns="0" tIns="0" rIns="0" bIns="0">
            <a:noAutofit/>
          </a:bodyPr>
          <a:lstStyle>
            <a:lvl1pPr marL="0" indent="0">
              <a:lnSpc>
                <a:spcPct val="95000"/>
              </a:lnSpc>
              <a:spcAft>
                <a:spcPts val="0"/>
              </a:spcAft>
              <a:buNone/>
              <a:defRPr sz="4022">
                <a:solidFill>
                  <a:schemeClr val="tx1"/>
                </a:solidFill>
                <a:latin typeface="+mn-lt"/>
                <a:cs typeface="Calibri" panose="020F0502020204030204" pitchFamily="34" charset="0"/>
              </a:defRPr>
            </a:lvl1pPr>
            <a:lvl2pPr marL="740743" indent="0">
              <a:buNone/>
              <a:defRPr sz="3241">
                <a:solidFill>
                  <a:schemeClr val="tx1">
                    <a:tint val="75000"/>
                  </a:schemeClr>
                </a:solidFill>
              </a:defRPr>
            </a:lvl2pPr>
            <a:lvl3pPr marL="1481485" indent="0">
              <a:buNone/>
              <a:defRPr sz="2916">
                <a:solidFill>
                  <a:schemeClr val="tx1">
                    <a:tint val="75000"/>
                  </a:schemeClr>
                </a:solidFill>
              </a:defRPr>
            </a:lvl3pPr>
            <a:lvl4pPr marL="2222228" indent="0">
              <a:buNone/>
              <a:defRPr sz="2592">
                <a:solidFill>
                  <a:schemeClr val="tx1">
                    <a:tint val="75000"/>
                  </a:schemeClr>
                </a:solidFill>
              </a:defRPr>
            </a:lvl4pPr>
            <a:lvl5pPr marL="2962970" indent="0">
              <a:buNone/>
              <a:defRPr sz="2592">
                <a:solidFill>
                  <a:schemeClr val="tx1">
                    <a:tint val="75000"/>
                  </a:schemeClr>
                </a:solidFill>
              </a:defRPr>
            </a:lvl5pPr>
            <a:lvl6pPr marL="3703713" indent="0">
              <a:buNone/>
              <a:defRPr sz="2592">
                <a:solidFill>
                  <a:schemeClr val="tx1">
                    <a:tint val="75000"/>
                  </a:schemeClr>
                </a:solidFill>
              </a:defRPr>
            </a:lvl6pPr>
            <a:lvl7pPr marL="4444455" indent="0">
              <a:buNone/>
              <a:defRPr sz="2592">
                <a:solidFill>
                  <a:schemeClr val="tx1">
                    <a:tint val="75000"/>
                  </a:schemeClr>
                </a:solidFill>
              </a:defRPr>
            </a:lvl7pPr>
            <a:lvl8pPr marL="5185198" indent="0">
              <a:buNone/>
              <a:defRPr sz="2592">
                <a:solidFill>
                  <a:schemeClr val="tx1">
                    <a:tint val="75000"/>
                  </a:schemeClr>
                </a:solidFill>
              </a:defRPr>
            </a:lvl8pPr>
            <a:lvl9pPr marL="5925940" indent="0">
              <a:buNone/>
              <a:defRPr sz="259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366252748"/>
      </p:ext>
    </p:extLst>
  </p:cSld>
  <p:clrMapOvr>
    <a:masterClrMapping/>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Divider - Deloitte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4525"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4525">
                <a:solidFill>
                  <a:schemeClr val="tx1"/>
                </a:solidFill>
                <a:latin typeface="+mn-lt"/>
                <a:cs typeface="Calibri" panose="020F0502020204030204" pitchFamily="34" charset="0"/>
              </a:defRPr>
            </a:lvl1pPr>
            <a:lvl2pPr marL="740743" indent="0">
              <a:buNone/>
              <a:defRPr sz="3241">
                <a:solidFill>
                  <a:schemeClr val="tx1">
                    <a:tint val="75000"/>
                  </a:schemeClr>
                </a:solidFill>
              </a:defRPr>
            </a:lvl2pPr>
            <a:lvl3pPr marL="1481485" indent="0">
              <a:buNone/>
              <a:defRPr sz="2916">
                <a:solidFill>
                  <a:schemeClr val="tx1">
                    <a:tint val="75000"/>
                  </a:schemeClr>
                </a:solidFill>
              </a:defRPr>
            </a:lvl3pPr>
            <a:lvl4pPr marL="2222228" indent="0">
              <a:buNone/>
              <a:defRPr sz="2592">
                <a:solidFill>
                  <a:schemeClr val="tx1">
                    <a:tint val="75000"/>
                  </a:schemeClr>
                </a:solidFill>
              </a:defRPr>
            </a:lvl4pPr>
            <a:lvl5pPr marL="2962970" indent="0">
              <a:buNone/>
              <a:defRPr sz="2592">
                <a:solidFill>
                  <a:schemeClr val="tx1">
                    <a:tint val="75000"/>
                  </a:schemeClr>
                </a:solidFill>
              </a:defRPr>
            </a:lvl5pPr>
            <a:lvl6pPr marL="3703713" indent="0">
              <a:buNone/>
              <a:defRPr sz="2592">
                <a:solidFill>
                  <a:schemeClr val="tx1">
                    <a:tint val="75000"/>
                  </a:schemeClr>
                </a:solidFill>
              </a:defRPr>
            </a:lvl6pPr>
            <a:lvl7pPr marL="4444455" indent="0">
              <a:buNone/>
              <a:defRPr sz="2592">
                <a:solidFill>
                  <a:schemeClr val="tx1">
                    <a:tint val="75000"/>
                  </a:schemeClr>
                </a:solidFill>
              </a:defRPr>
            </a:lvl7pPr>
            <a:lvl8pPr marL="5185198" indent="0">
              <a:buNone/>
              <a:defRPr sz="2592">
                <a:solidFill>
                  <a:schemeClr val="tx1">
                    <a:tint val="75000"/>
                  </a:schemeClr>
                </a:solidFill>
              </a:defRPr>
            </a:lvl8pPr>
            <a:lvl9pPr marL="5925940" indent="0">
              <a:buNone/>
              <a:defRPr sz="259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A5DC8085-AD7E-4F96-8518-6DFA931B2397}"/>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4334B87F-AD2E-4CF0-AA69-D6E93B02558A}"/>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F35CBCED-A830-464E-9593-CD13F02FAD51}"/>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9311646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Divider - Deloitte white">
    <p:bg bwMode="gray">
      <p:bgPr>
        <a:solidFill>
          <a:srgbClr val="00ABA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4525"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4525">
                <a:solidFill>
                  <a:schemeClr val="tx1"/>
                </a:solidFill>
                <a:latin typeface="+mn-lt"/>
                <a:cs typeface="Calibri" panose="020F0502020204030204" pitchFamily="34" charset="0"/>
              </a:defRPr>
            </a:lvl1pPr>
            <a:lvl2pPr marL="740743" indent="0">
              <a:buNone/>
              <a:defRPr sz="3241">
                <a:solidFill>
                  <a:schemeClr val="tx1">
                    <a:tint val="75000"/>
                  </a:schemeClr>
                </a:solidFill>
              </a:defRPr>
            </a:lvl2pPr>
            <a:lvl3pPr marL="1481485" indent="0">
              <a:buNone/>
              <a:defRPr sz="2916">
                <a:solidFill>
                  <a:schemeClr val="tx1">
                    <a:tint val="75000"/>
                  </a:schemeClr>
                </a:solidFill>
              </a:defRPr>
            </a:lvl3pPr>
            <a:lvl4pPr marL="2222228" indent="0">
              <a:buNone/>
              <a:defRPr sz="2592">
                <a:solidFill>
                  <a:schemeClr val="tx1">
                    <a:tint val="75000"/>
                  </a:schemeClr>
                </a:solidFill>
              </a:defRPr>
            </a:lvl4pPr>
            <a:lvl5pPr marL="2962970" indent="0">
              <a:buNone/>
              <a:defRPr sz="2592">
                <a:solidFill>
                  <a:schemeClr val="tx1">
                    <a:tint val="75000"/>
                  </a:schemeClr>
                </a:solidFill>
              </a:defRPr>
            </a:lvl5pPr>
            <a:lvl6pPr marL="3703713" indent="0">
              <a:buNone/>
              <a:defRPr sz="2592">
                <a:solidFill>
                  <a:schemeClr val="tx1">
                    <a:tint val="75000"/>
                  </a:schemeClr>
                </a:solidFill>
              </a:defRPr>
            </a:lvl6pPr>
            <a:lvl7pPr marL="4444455" indent="0">
              <a:buNone/>
              <a:defRPr sz="2592">
                <a:solidFill>
                  <a:schemeClr val="tx1">
                    <a:tint val="75000"/>
                  </a:schemeClr>
                </a:solidFill>
              </a:defRPr>
            </a:lvl7pPr>
            <a:lvl8pPr marL="5185198" indent="0">
              <a:buNone/>
              <a:defRPr sz="2592">
                <a:solidFill>
                  <a:schemeClr val="tx1">
                    <a:tint val="75000"/>
                  </a:schemeClr>
                </a:solidFill>
              </a:defRPr>
            </a:lvl8pPr>
            <a:lvl9pPr marL="5925940" indent="0">
              <a:buNone/>
              <a:defRPr sz="259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12B2C9AA-2955-451E-BD3B-D359DD5E535F}"/>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E9524602-F893-4843-9ED2-DDCD10CF9305}"/>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6B3340F5-01B8-4F20-B9BB-59132F36331D}"/>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3917740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Divider - Deloitte whit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52991" y="1880187"/>
            <a:ext cx="11619805" cy="1755329"/>
          </a:xfrm>
        </p:spPr>
        <p:txBody>
          <a:bodyPr anchor="b"/>
          <a:lstStyle>
            <a:lvl1pPr>
              <a:lnSpc>
                <a:spcPct val="95000"/>
              </a:lnSpc>
              <a:defRPr sz="4525"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52991" y="3779839"/>
            <a:ext cx="11619805" cy="1726811"/>
          </a:xfrm>
        </p:spPr>
        <p:txBody>
          <a:bodyPr lIns="0" tIns="0" rIns="0" bIns="0">
            <a:noAutofit/>
          </a:bodyPr>
          <a:lstStyle>
            <a:lvl1pPr marL="0" indent="0">
              <a:lnSpc>
                <a:spcPct val="95000"/>
              </a:lnSpc>
              <a:spcAft>
                <a:spcPts val="0"/>
              </a:spcAft>
              <a:buNone/>
              <a:defRPr sz="4525">
                <a:solidFill>
                  <a:schemeClr val="tx1"/>
                </a:solidFill>
                <a:latin typeface="+mn-lt"/>
                <a:cs typeface="Calibri" panose="020F0502020204030204" pitchFamily="34" charset="0"/>
              </a:defRPr>
            </a:lvl1pPr>
            <a:lvl2pPr marL="740743" indent="0">
              <a:buNone/>
              <a:defRPr sz="3241">
                <a:solidFill>
                  <a:schemeClr val="tx1">
                    <a:tint val="75000"/>
                  </a:schemeClr>
                </a:solidFill>
              </a:defRPr>
            </a:lvl2pPr>
            <a:lvl3pPr marL="1481485" indent="0">
              <a:buNone/>
              <a:defRPr sz="2916">
                <a:solidFill>
                  <a:schemeClr val="tx1">
                    <a:tint val="75000"/>
                  </a:schemeClr>
                </a:solidFill>
              </a:defRPr>
            </a:lvl3pPr>
            <a:lvl4pPr marL="2222228" indent="0">
              <a:buNone/>
              <a:defRPr sz="2592">
                <a:solidFill>
                  <a:schemeClr val="tx1">
                    <a:tint val="75000"/>
                  </a:schemeClr>
                </a:solidFill>
              </a:defRPr>
            </a:lvl4pPr>
            <a:lvl5pPr marL="2962970" indent="0">
              <a:buNone/>
              <a:defRPr sz="2592">
                <a:solidFill>
                  <a:schemeClr val="tx1">
                    <a:tint val="75000"/>
                  </a:schemeClr>
                </a:solidFill>
              </a:defRPr>
            </a:lvl5pPr>
            <a:lvl6pPr marL="3703713" indent="0">
              <a:buNone/>
              <a:defRPr sz="2592">
                <a:solidFill>
                  <a:schemeClr val="tx1">
                    <a:tint val="75000"/>
                  </a:schemeClr>
                </a:solidFill>
              </a:defRPr>
            </a:lvl6pPr>
            <a:lvl7pPr marL="4444455" indent="0">
              <a:buNone/>
              <a:defRPr sz="2592">
                <a:solidFill>
                  <a:schemeClr val="tx1">
                    <a:tint val="75000"/>
                  </a:schemeClr>
                </a:solidFill>
              </a:defRPr>
            </a:lvl7pPr>
            <a:lvl8pPr marL="5185198" indent="0">
              <a:buNone/>
              <a:defRPr sz="2592">
                <a:solidFill>
                  <a:schemeClr val="tx1">
                    <a:tint val="75000"/>
                  </a:schemeClr>
                </a:solidFill>
              </a:defRPr>
            </a:lvl8pPr>
            <a:lvl9pPr marL="5925940" indent="0">
              <a:buNone/>
              <a:defRPr sz="2592">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25D396C3-8E52-46B1-8AE0-76470C6F10BC}"/>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DD08C36C-A583-41A8-9C2A-71522C66BB3E}"/>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EFB51428-15F0-4F94-A324-10306BF049F8}"/>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2150356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52993" y="1795424"/>
            <a:ext cx="10226828" cy="5239275"/>
          </a:xfrm>
          <a:prstGeom prst="rect">
            <a:avLst/>
          </a:prstGeom>
        </p:spPr>
        <p:txBody>
          <a:bodyPr>
            <a:normAutofit/>
          </a:bodyPr>
          <a:lstStyle>
            <a:lvl1pPr>
              <a:spcBef>
                <a:spcPts val="5832"/>
              </a:spcBef>
              <a:defRPr sz="4525">
                <a:solidFill>
                  <a:schemeClr val="tx1"/>
                </a:solidFill>
              </a:defRPr>
            </a:lvl1pPr>
            <a:lvl2pPr marL="740743" indent="-740743">
              <a:defRPr sz="4861">
                <a:solidFill>
                  <a:schemeClr val="bg2"/>
                </a:solidFill>
              </a:defRPr>
            </a:lvl2pPr>
            <a:lvl3pPr>
              <a:defRPr sz="4861">
                <a:solidFill>
                  <a:schemeClr val="bg2"/>
                </a:solidFill>
              </a:defRPr>
            </a:lvl3pPr>
            <a:lvl4pPr>
              <a:defRPr sz="4861">
                <a:solidFill>
                  <a:schemeClr val="bg2"/>
                </a:solidFill>
              </a:defRPr>
            </a:lvl4pPr>
            <a:lvl5pPr>
              <a:defRPr sz="4861">
                <a:solidFill>
                  <a:schemeClr val="bg2"/>
                </a:solidFill>
              </a:defRPr>
            </a:lvl5pPr>
          </a:lstStyle>
          <a:p>
            <a:pPr lvl="0"/>
            <a:r>
              <a:rPr lang="en-US" noProof="0"/>
              <a:t>Click to edit Master text styles</a:t>
            </a:r>
          </a:p>
        </p:txBody>
      </p:sp>
      <p:sp>
        <p:nvSpPr>
          <p:cNvPr id="7" name="Date Placeholder 7">
            <a:extLst>
              <a:ext uri="{FF2B5EF4-FFF2-40B4-BE49-F238E27FC236}">
                <a16:creationId xmlns:a16="http://schemas.microsoft.com/office/drawing/2014/main" id="{89B43755-E2AA-4294-8D6C-0D72941FFD70}"/>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8" name="Footer Placeholder 8">
            <a:extLst>
              <a:ext uri="{FF2B5EF4-FFF2-40B4-BE49-F238E27FC236}">
                <a16:creationId xmlns:a16="http://schemas.microsoft.com/office/drawing/2014/main" id="{E98FE35F-A961-47AA-9433-EE84B82B89FE}"/>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9" name="Slide Number Placeholder 9">
            <a:extLst>
              <a:ext uri="{FF2B5EF4-FFF2-40B4-BE49-F238E27FC236}">
                <a16:creationId xmlns:a16="http://schemas.microsoft.com/office/drawing/2014/main" id="{CB3379E0-B07E-420A-A7C0-9388479070E4}"/>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1642391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9769254" y="447463"/>
            <a:ext cx="3091148" cy="1132915"/>
          </a:xfrm>
        </p:spPr>
        <p:txBody>
          <a:bodyPr>
            <a:normAutofit/>
          </a:bodyPr>
          <a:lstStyle>
            <a:lvl1pPr>
              <a:spcBef>
                <a:spcPts val="299"/>
              </a:spcBef>
              <a:defRPr sz="1508">
                <a:solidFill>
                  <a:schemeClr val="tx1"/>
                </a:solidFill>
              </a:defRPr>
            </a:lvl1pPr>
            <a:lvl2pPr>
              <a:defRPr sz="1570">
                <a:solidFill>
                  <a:schemeClr val="tx2"/>
                </a:solidFill>
              </a:defRPr>
            </a:lvl2pPr>
            <a:lvl3pPr>
              <a:defRPr sz="1570">
                <a:solidFill>
                  <a:schemeClr val="tx2"/>
                </a:solidFill>
              </a:defRPr>
            </a:lvl3pPr>
            <a:lvl4pPr>
              <a:defRPr sz="1495">
                <a:solidFill>
                  <a:schemeClr val="tx2"/>
                </a:solidFill>
              </a:defRPr>
            </a:lvl4pPr>
            <a:lvl5pPr>
              <a:defRPr sz="1495">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52990" y="1874172"/>
            <a:ext cx="3049364" cy="5133298"/>
          </a:xfrm>
        </p:spPr>
        <p:txBody>
          <a:bodyPr>
            <a:normAutofit/>
          </a:bodyPr>
          <a:lstStyle>
            <a:lvl1pPr>
              <a:spcBef>
                <a:spcPts val="0"/>
              </a:spcBef>
              <a:spcAft>
                <a:spcPts val="897"/>
              </a:spcAft>
              <a:defRPr sz="1508"/>
            </a:lvl1pPr>
            <a:lvl2pPr>
              <a:spcBef>
                <a:spcPts val="449"/>
              </a:spcBef>
              <a:defRPr/>
            </a:lvl2pPr>
            <a:lvl3pPr>
              <a:spcBef>
                <a:spcPts val="449"/>
              </a:spcBef>
              <a:defRPr/>
            </a:lvl3pPr>
            <a:lvl4pPr>
              <a:spcBef>
                <a:spcPts val="449"/>
              </a:spcBef>
              <a:defRPr/>
            </a:lvl4pPr>
            <a:lvl5pPr>
              <a:spcBef>
                <a:spcPts val="449"/>
              </a:spcBef>
              <a:defRPr/>
            </a:lvl5pPr>
          </a:lstStyle>
          <a:p>
            <a:pPr lvl="0"/>
            <a:r>
              <a:rPr lang="en-US"/>
              <a:t>Click to edit Master text styles</a:t>
            </a:r>
          </a:p>
        </p:txBody>
      </p:sp>
      <p:sp>
        <p:nvSpPr>
          <p:cNvPr id="9" name="Text Placeholder 8"/>
          <p:cNvSpPr>
            <a:spLocks noGrp="1"/>
          </p:cNvSpPr>
          <p:nvPr>
            <p:ph type="body" sz="quarter" idx="12"/>
          </p:nvPr>
        </p:nvSpPr>
        <p:spPr>
          <a:xfrm>
            <a:off x="4167266" y="1874169"/>
            <a:ext cx="8693137" cy="5134280"/>
          </a:xfrm>
        </p:spPr>
        <p:txBody>
          <a:bodyPr>
            <a:normAutofit/>
          </a:bodyPr>
          <a:lstStyle>
            <a:lvl1pPr>
              <a:spcBef>
                <a:spcPts val="0"/>
              </a:spcBef>
              <a:spcAft>
                <a:spcPts val="1508"/>
              </a:spcAft>
              <a:defRPr sz="1508"/>
            </a:lvl1pPr>
            <a:lvl2pPr>
              <a:spcBef>
                <a:spcPts val="0"/>
              </a:spcBef>
              <a:spcAft>
                <a:spcPts val="1508"/>
              </a:spcAft>
              <a:defRPr sz="1508"/>
            </a:lvl2pPr>
            <a:lvl3pPr>
              <a:spcBef>
                <a:spcPts val="0"/>
              </a:spcBef>
              <a:spcAft>
                <a:spcPts val="1508"/>
              </a:spcAft>
              <a:defRPr sz="1508"/>
            </a:lvl3pPr>
            <a:lvl4pPr>
              <a:spcBef>
                <a:spcPts val="0"/>
              </a:spcBef>
              <a:spcAft>
                <a:spcPts val="1508"/>
              </a:spcAft>
              <a:defRPr sz="1508"/>
            </a:lvl4pPr>
            <a:lvl5pPr>
              <a:spcBef>
                <a:spcPts val="0"/>
              </a:spcBef>
              <a:spcAft>
                <a:spcPts val="1508"/>
              </a:spcAft>
              <a:defRPr sz="150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5">
            <a:extLst>
              <a:ext uri="{FF2B5EF4-FFF2-40B4-BE49-F238E27FC236}">
                <a16:creationId xmlns:a16="http://schemas.microsoft.com/office/drawing/2014/main" id="{72BEB744-5149-417C-BD34-E606A7432724}"/>
              </a:ext>
            </a:extLst>
          </p:cNvPr>
          <p:cNvGrpSpPr>
            <a:grpSpLocks noChangeAspect="1"/>
          </p:cNvGrpSpPr>
          <p:nvPr/>
        </p:nvGrpSpPr>
        <p:grpSpPr>
          <a:xfrm>
            <a:off x="475141" y="377999"/>
            <a:ext cx="2528713" cy="382438"/>
            <a:chOff x="398463" y="404813"/>
            <a:chExt cx="1627187" cy="307976"/>
          </a:xfrm>
          <a:solidFill>
            <a:schemeClr val="tx1"/>
          </a:solidFill>
        </p:grpSpPr>
        <p:sp>
          <p:nvSpPr>
            <p:cNvPr id="17" name="Oval 5">
              <a:extLst>
                <a:ext uri="{FF2B5EF4-FFF2-40B4-BE49-F238E27FC236}">
                  <a16:creationId xmlns:a16="http://schemas.microsoft.com/office/drawing/2014/main" id="{8E059066-77C8-4F52-87EE-27DC3A5C59D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18" name="Freeform 6">
              <a:extLst>
                <a:ext uri="{FF2B5EF4-FFF2-40B4-BE49-F238E27FC236}">
                  <a16:creationId xmlns:a16="http://schemas.microsoft.com/office/drawing/2014/main" id="{0AE66270-8066-46EA-BB67-FD911F284AA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19" name="Rectangle 7">
              <a:extLst>
                <a:ext uri="{FF2B5EF4-FFF2-40B4-BE49-F238E27FC236}">
                  <a16:creationId xmlns:a16="http://schemas.microsoft.com/office/drawing/2014/main" id="{863FE964-DEE5-4A91-9BDC-3D851F67D77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1" name="Freeform 8">
              <a:extLst>
                <a:ext uri="{FF2B5EF4-FFF2-40B4-BE49-F238E27FC236}">
                  <a16:creationId xmlns:a16="http://schemas.microsoft.com/office/drawing/2014/main" id="{D379331D-0D61-47A2-B269-FBB652C6A0B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2" name="Rectangle 9">
              <a:extLst>
                <a:ext uri="{FF2B5EF4-FFF2-40B4-BE49-F238E27FC236}">
                  <a16:creationId xmlns:a16="http://schemas.microsoft.com/office/drawing/2014/main" id="{78E62A42-9DAE-4274-B918-3B076B708BF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3" name="Rectangle 10">
              <a:extLst>
                <a:ext uri="{FF2B5EF4-FFF2-40B4-BE49-F238E27FC236}">
                  <a16:creationId xmlns:a16="http://schemas.microsoft.com/office/drawing/2014/main" id="{B404A3E9-9E29-4ABC-AA21-378637C653C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4" name="Freeform 11">
              <a:extLst>
                <a:ext uri="{FF2B5EF4-FFF2-40B4-BE49-F238E27FC236}">
                  <a16:creationId xmlns:a16="http://schemas.microsoft.com/office/drawing/2014/main" id="{3711DE3C-E7AE-4B9E-8F76-549C58F552B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5" name="Freeform 12">
              <a:extLst>
                <a:ext uri="{FF2B5EF4-FFF2-40B4-BE49-F238E27FC236}">
                  <a16:creationId xmlns:a16="http://schemas.microsoft.com/office/drawing/2014/main" id="{8E205525-08D8-4A2D-AA9A-731AAA948A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6" name="Freeform 13">
              <a:extLst>
                <a:ext uri="{FF2B5EF4-FFF2-40B4-BE49-F238E27FC236}">
                  <a16:creationId xmlns:a16="http://schemas.microsoft.com/office/drawing/2014/main" id="{DD47C0C3-2523-4927-9D2D-1561AB52A1A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sp>
          <p:nvSpPr>
            <p:cNvPr id="37" name="Freeform 14">
              <a:extLst>
                <a:ext uri="{FF2B5EF4-FFF2-40B4-BE49-F238E27FC236}">
                  <a16:creationId xmlns:a16="http://schemas.microsoft.com/office/drawing/2014/main" id="{F5F5D726-C114-4AC4-B1B2-08ED48139B0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63" noProof="0">
                <a:solidFill>
                  <a:schemeClr val="bg1"/>
                </a:solidFill>
              </a:endParaRPr>
            </a:p>
          </p:txBody>
        </p:sp>
      </p:grpSp>
      <p:sp>
        <p:nvSpPr>
          <p:cNvPr id="23" name="Date Placeholder 7">
            <a:extLst>
              <a:ext uri="{FF2B5EF4-FFF2-40B4-BE49-F238E27FC236}">
                <a16:creationId xmlns:a16="http://schemas.microsoft.com/office/drawing/2014/main" id="{F31A6CCF-CE6B-4550-87D8-8CFD9B062DEB}"/>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24" name="Footer Placeholder 8">
            <a:extLst>
              <a:ext uri="{FF2B5EF4-FFF2-40B4-BE49-F238E27FC236}">
                <a16:creationId xmlns:a16="http://schemas.microsoft.com/office/drawing/2014/main" id="{5396BDF3-15E8-4984-B49C-BE940EADFAAE}"/>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25" name="Slide Number Placeholder 9">
            <a:extLst>
              <a:ext uri="{FF2B5EF4-FFF2-40B4-BE49-F238E27FC236}">
                <a16:creationId xmlns:a16="http://schemas.microsoft.com/office/drawing/2014/main" id="{0F0BCC92-97A7-4D6D-BA76-AD6CA47D0E6A}"/>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18414082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2208982150"/>
              </p:ext>
            </p:extLst>
          </p:nvPr>
        </p:nvGraphicFramePr>
        <p:xfrm>
          <a:off x="2334" y="1753"/>
          <a:ext cx="2333" cy="1749"/>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4" name="Object 3" hidden="1"/>
                      <p:cNvPicPr/>
                      <p:nvPr/>
                    </p:nvPicPr>
                    <p:blipFill>
                      <a:blip r:embed="rId39"/>
                      <a:stretch>
                        <a:fillRect/>
                      </a:stretch>
                    </p:blipFill>
                    <p:spPr>
                      <a:xfrm>
                        <a:off x="2334" y="1753"/>
                        <a:ext cx="2333" cy="1749"/>
                      </a:xfrm>
                      <a:prstGeom prst="rect">
                        <a:avLst/>
                      </a:prstGeom>
                    </p:spPr>
                  </p:pic>
                </p:oleObj>
              </mc:Fallback>
            </mc:AlternateContent>
          </a:graphicData>
        </a:graphic>
      </p:graphicFrame>
      <p:sp>
        <p:nvSpPr>
          <p:cNvPr id="2" name="Title Placeholder 1"/>
          <p:cNvSpPr>
            <a:spLocks noGrp="1"/>
          </p:cNvSpPr>
          <p:nvPr>
            <p:ph type="title"/>
          </p:nvPr>
        </p:nvSpPr>
        <p:spPr bwMode="gray">
          <a:xfrm>
            <a:off x="552992" y="349987"/>
            <a:ext cx="12333794" cy="341519"/>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52991" y="1835673"/>
            <a:ext cx="12333794" cy="519902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Date Placeholder 7">
            <a:extLst>
              <a:ext uri="{FF2B5EF4-FFF2-40B4-BE49-F238E27FC236}">
                <a16:creationId xmlns:a16="http://schemas.microsoft.com/office/drawing/2014/main" id="{6873F673-CCD8-4174-9958-C48EBAB3703A}"/>
              </a:ext>
            </a:extLst>
          </p:cNvPr>
          <p:cNvSpPr>
            <a:spLocks noGrp="1"/>
          </p:cNvSpPr>
          <p:nvPr>
            <p:ph type="dt" sz="half" idx="2"/>
          </p:nvPr>
        </p:nvSpPr>
        <p:spPr>
          <a:xfrm>
            <a:off x="6983551" y="7140779"/>
            <a:ext cx="53976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buSzPct val="100000"/>
              <a:buFont typeface="Arial"/>
              <a:buNone/>
            </a:pPr>
            <a:endParaRPr lang="fr-FR"/>
          </a:p>
        </p:txBody>
      </p:sp>
      <p:sp>
        <p:nvSpPr>
          <p:cNvPr id="9" name="Footer Placeholder 8">
            <a:extLst>
              <a:ext uri="{FF2B5EF4-FFF2-40B4-BE49-F238E27FC236}">
                <a16:creationId xmlns:a16="http://schemas.microsoft.com/office/drawing/2014/main" id="{931BFF00-B7A8-477C-8B70-815B9A5636C7}"/>
              </a:ext>
            </a:extLst>
          </p:cNvPr>
          <p:cNvSpPr>
            <a:spLocks noGrp="1"/>
          </p:cNvSpPr>
          <p:nvPr>
            <p:ph type="ftr" sz="quarter" idx="3"/>
          </p:nvPr>
        </p:nvSpPr>
        <p:spPr>
          <a:xfrm>
            <a:off x="552990" y="7140778"/>
            <a:ext cx="5903237" cy="174022"/>
          </a:xfrm>
          <a:prstGeom prst="rect">
            <a:avLst/>
          </a:prstGeom>
          <a:noFill/>
        </p:spPr>
        <p:txBody>
          <a:bodyPr wrap="square" lIns="0" tIns="0" rIns="0" bIns="0" rtlCol="0">
            <a:spAutoFit/>
          </a:bodyPr>
          <a:lstStyle>
            <a:lvl1pPr>
              <a:defRPr lang="fr-FR" sz="1131">
                <a:latin typeface="Calibri" panose="020F0502020204030204" pitchFamily="34" charset="0"/>
                <a:cs typeface="Calibri" panose="020F0502020204030204" pitchFamily="34" charset="0"/>
              </a:defRPr>
            </a:lvl1pPr>
          </a:lstStyle>
          <a:p>
            <a:pPr>
              <a:spcBef>
                <a:spcPts val="973"/>
              </a:spcBef>
              <a:buSzPct val="100000"/>
            </a:pPr>
            <a:r>
              <a:rPr lang="pt-BR"/>
              <a:t>© 2023 Deloitte SAS - Confidential Document</a:t>
            </a:r>
          </a:p>
        </p:txBody>
      </p:sp>
      <p:sp>
        <p:nvSpPr>
          <p:cNvPr id="10" name="Slide Number Placeholder 9">
            <a:extLst>
              <a:ext uri="{FF2B5EF4-FFF2-40B4-BE49-F238E27FC236}">
                <a16:creationId xmlns:a16="http://schemas.microsoft.com/office/drawing/2014/main" id="{52FCEA60-5AF3-4A1A-9D78-B7DB55C6E245}"/>
              </a:ext>
            </a:extLst>
          </p:cNvPr>
          <p:cNvSpPr>
            <a:spLocks noGrp="1"/>
          </p:cNvSpPr>
          <p:nvPr>
            <p:ph type="sldNum" sz="quarter" idx="4"/>
          </p:nvPr>
        </p:nvSpPr>
        <p:spPr>
          <a:xfrm>
            <a:off x="12547294" y="7140778"/>
            <a:ext cx="339493" cy="174022"/>
          </a:xfrm>
          <a:prstGeom prst="rect">
            <a:avLst/>
          </a:prstGeom>
          <a:noFill/>
        </p:spPr>
        <p:txBody>
          <a:bodyPr wrap="square" lIns="0" tIns="0" rIns="0" bIns="0" rtlCol="0">
            <a:spAutoFit/>
          </a:bodyPr>
          <a:lstStyle>
            <a:lvl1pPr algn="r">
              <a:defRPr lang="fr-FR" sz="1131" smtClean="0">
                <a:latin typeface="Calibri" panose="020F0502020204030204" pitchFamily="34" charset="0"/>
                <a:cs typeface="Calibri" panose="020F0502020204030204" pitchFamily="34" charset="0"/>
              </a:defRPr>
            </a:lvl1pPr>
          </a:lstStyle>
          <a:p>
            <a:pPr>
              <a:spcBef>
                <a:spcPts val="973"/>
              </a:spcBef>
              <a:buSzPct val="100000"/>
            </a:pPr>
            <a:fld id="{8CEAD05E-2714-4B34-B50B-B68BE1D7F5D9}" type="slidenum">
              <a:rPr lang="fr-FR" smtClean="0"/>
              <a:pPr>
                <a:spcBef>
                  <a:spcPts val="973"/>
                </a:spcBef>
                <a:buSzPct val="100000"/>
              </a:pPr>
              <a:t>‹#›</a:t>
            </a:fld>
            <a:endParaRPr lang="fr-FR"/>
          </a:p>
        </p:txBody>
      </p:sp>
    </p:spTree>
    <p:extLst>
      <p:ext uri="{BB962C8B-B14F-4D97-AF65-F5344CB8AC3E}">
        <p14:creationId xmlns:p14="http://schemas.microsoft.com/office/powerpoint/2010/main" val="793854995"/>
      </p:ext>
    </p:extLst>
  </p:cSld>
  <p:clrMap bg1="lt1" tx1="dk1" bg2="lt2" tx2="dk2" accent1="accent1" accent2="accent2" accent3="accent3" accent4="accent4" accent5="accent5" accent6="accent6" hlink="hlink" folHlink="folHlink"/>
  <p:sldLayoutIdLst>
    <p:sldLayoutId id="2147483801" r:id="rId1"/>
    <p:sldLayoutId id="2147483809" r:id="rId2"/>
    <p:sldLayoutId id="2147483761" r:id="rId3"/>
    <p:sldLayoutId id="2147483808" r:id="rId4"/>
    <p:sldLayoutId id="2147483805" r:id="rId5"/>
    <p:sldLayoutId id="2147483806" r:id="rId6"/>
    <p:sldLayoutId id="2147483807"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810" r:id="rId27"/>
    <p:sldLayoutId id="2147483781" r:id="rId28"/>
    <p:sldLayoutId id="2147483782" r:id="rId29"/>
    <p:sldLayoutId id="2147483783" r:id="rId30"/>
    <p:sldLayoutId id="2147483784" r:id="rId31"/>
    <p:sldLayoutId id="2147483811" r:id="rId32"/>
    <p:sldLayoutId id="2147483812" r:id="rId33"/>
    <p:sldLayoutId id="2147483813" r:id="rId34"/>
    <p:sldLayoutId id="2147483814" r:id="rId35"/>
  </p:sldLayoutIdLst>
  <p:transition>
    <p:fade/>
  </p:transition>
  <p:hf sldNum="0" hdr="0" dt="0"/>
  <p:txStyles>
    <p:titleStyle>
      <a:lvl1pPr algn="l" defTabSz="1481485" rtl="0" eaLnBrk="1" latinLnBrk="0" hangingPunct="1">
        <a:spcBef>
          <a:spcPct val="0"/>
        </a:spcBef>
        <a:buNone/>
        <a:defRPr sz="2765" b="0" kern="1200">
          <a:solidFill>
            <a:schemeClr val="tx1"/>
          </a:solidFill>
          <a:latin typeface="+mn-lt"/>
          <a:ea typeface="+mj-ea"/>
          <a:cs typeface="Calibri Light" panose="020F0302020204030204" pitchFamily="34" charset="0"/>
        </a:defRPr>
      </a:lvl1pPr>
    </p:titleStyle>
    <p:bodyStyle>
      <a:lvl1pPr marL="0" indent="0" algn="l" defTabSz="1481485" rtl="0" eaLnBrk="1" latinLnBrk="0" hangingPunct="1">
        <a:spcBef>
          <a:spcPts val="0"/>
        </a:spcBef>
        <a:spcAft>
          <a:spcPts val="1620"/>
        </a:spcAft>
        <a:buSzPct val="100000"/>
        <a:buFont typeface="Arial" panose="020B0604020202020204" pitchFamily="34" charset="0"/>
        <a:buNone/>
        <a:defRPr sz="1760" b="0" kern="1200">
          <a:solidFill>
            <a:schemeClr val="tx1"/>
          </a:solidFill>
          <a:latin typeface="+mn-lt"/>
          <a:ea typeface="+mn-ea"/>
          <a:cs typeface="Calibri Light" panose="020F0302020204030204" pitchFamily="34" charset="0"/>
        </a:defRPr>
      </a:lvl1pPr>
      <a:lvl2pPr marL="0" indent="0" algn="l" defTabSz="1481485" rtl="0" eaLnBrk="1" latinLnBrk="0" hangingPunct="1">
        <a:spcBef>
          <a:spcPts val="0"/>
        </a:spcBef>
        <a:spcAft>
          <a:spcPts val="1620"/>
        </a:spcAft>
        <a:buClrTx/>
        <a:buSzPct val="100000"/>
        <a:buFont typeface="Arial"/>
        <a:buNone/>
        <a:defRPr lang="en-US" sz="1760" b="1" kern="1200" dirty="0" smtClean="0">
          <a:solidFill>
            <a:schemeClr val="tx1"/>
          </a:solidFill>
          <a:latin typeface="+mj-lt"/>
          <a:ea typeface="+mn-ea"/>
          <a:cs typeface="Calibri Light" panose="020F0302020204030204" pitchFamily="34" charset="0"/>
        </a:defRPr>
      </a:lvl2pPr>
      <a:lvl3pPr marL="285799" indent="-285799" algn="l" defTabSz="1481485" rtl="0" eaLnBrk="1" latinLnBrk="0" hangingPunct="1">
        <a:spcBef>
          <a:spcPts val="0"/>
        </a:spcBef>
        <a:spcAft>
          <a:spcPts val="1620"/>
        </a:spcAft>
        <a:buClrTx/>
        <a:buSzPct val="100000"/>
        <a:buFont typeface="Arial" panose="020B0604020202020204" pitchFamily="34" charset="0"/>
        <a:buChar char="•"/>
        <a:defRPr lang="en-US" sz="1760" kern="1200" dirty="0" smtClean="0">
          <a:solidFill>
            <a:schemeClr val="tx1"/>
          </a:solidFill>
          <a:latin typeface="+mn-lt"/>
          <a:ea typeface="+mn-ea"/>
          <a:cs typeface="Calibri Light" panose="020F0302020204030204" pitchFamily="34" charset="0"/>
        </a:defRPr>
      </a:lvl3pPr>
      <a:lvl4pPr marL="577429" indent="-285799" algn="l" defTabSz="1481485" rtl="0" eaLnBrk="1" latinLnBrk="0" hangingPunct="1">
        <a:spcBef>
          <a:spcPts val="0"/>
        </a:spcBef>
        <a:spcAft>
          <a:spcPts val="1620"/>
        </a:spcAft>
        <a:buClrTx/>
        <a:buSzPct val="100000"/>
        <a:buFont typeface="Verdana" panose="020B0604030504040204" pitchFamily="34" charset="0"/>
        <a:buChar char="−"/>
        <a:defRPr lang="en-US" sz="1760" kern="1200" baseline="0" dirty="0" smtClean="0">
          <a:solidFill>
            <a:schemeClr val="tx1"/>
          </a:solidFill>
          <a:latin typeface="+mn-lt"/>
          <a:ea typeface="+mn-ea"/>
          <a:cs typeface="Calibri Light" panose="020F0302020204030204" pitchFamily="34" charset="0"/>
        </a:defRPr>
      </a:lvl4pPr>
      <a:lvl5pPr marL="863227" indent="-285799" algn="l" defTabSz="1293728" rtl="0" eaLnBrk="1" latinLnBrk="0" hangingPunct="1">
        <a:spcBef>
          <a:spcPts val="0"/>
        </a:spcBef>
        <a:spcAft>
          <a:spcPts val="1620"/>
        </a:spcAft>
        <a:buClrTx/>
        <a:buSzPct val="100000"/>
        <a:buFont typeface="Verdana" panose="020B0604030504040204" pitchFamily="34" charset="0"/>
        <a:buChar char="−"/>
        <a:tabLst/>
        <a:defRPr lang="en-US" sz="1760" kern="1200" baseline="0" dirty="0" smtClean="0">
          <a:solidFill>
            <a:schemeClr val="tx1"/>
          </a:solidFill>
          <a:latin typeface="+mn-lt"/>
          <a:ea typeface="+mn-ea"/>
          <a:cs typeface="Calibri Light" panose="020F0302020204030204" pitchFamily="34" charset="0"/>
        </a:defRPr>
      </a:lvl5pPr>
      <a:lvl6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6pPr>
      <a:lvl7pPr marL="863227" indent="-285799" algn="l" defTabSz="1481485" rtl="0" eaLnBrk="1" latinLnBrk="0" hangingPunct="1">
        <a:spcBef>
          <a:spcPts val="0"/>
        </a:spcBef>
        <a:spcAft>
          <a:spcPts val="1620"/>
        </a:spcAft>
        <a:buFont typeface="Verdana" panose="020B0604030504040204" pitchFamily="34" charset="0"/>
        <a:buChar char="−"/>
        <a:defRPr sz="1945" kern="1200">
          <a:solidFill>
            <a:schemeClr val="tx1"/>
          </a:solidFill>
          <a:latin typeface="+mn-lt"/>
          <a:ea typeface="+mn-ea"/>
          <a:cs typeface="+mn-cs"/>
        </a:defRPr>
      </a:lvl7pPr>
      <a:lvl8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8pPr>
      <a:lvl9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9pPr>
    </p:bodyStyle>
    <p:otherStyle>
      <a:defPPr>
        <a:defRPr lang="en-US"/>
      </a:defPPr>
      <a:lvl1pPr marL="0" algn="l" defTabSz="1481485" rtl="0" eaLnBrk="1" latinLnBrk="0" hangingPunct="1">
        <a:defRPr sz="2916" kern="1200">
          <a:solidFill>
            <a:schemeClr val="tx1"/>
          </a:solidFill>
          <a:latin typeface="+mn-lt"/>
          <a:ea typeface="+mn-ea"/>
          <a:cs typeface="+mn-cs"/>
        </a:defRPr>
      </a:lvl1pPr>
      <a:lvl2pPr marL="740743" algn="l" defTabSz="1481485" rtl="0" eaLnBrk="1" latinLnBrk="0" hangingPunct="1">
        <a:defRPr sz="2916" kern="1200">
          <a:solidFill>
            <a:schemeClr val="tx1"/>
          </a:solidFill>
          <a:latin typeface="+mn-lt"/>
          <a:ea typeface="+mn-ea"/>
          <a:cs typeface="+mn-cs"/>
        </a:defRPr>
      </a:lvl2pPr>
      <a:lvl3pPr marL="1481485" algn="l" defTabSz="1481485" rtl="0" eaLnBrk="1" latinLnBrk="0" hangingPunct="1">
        <a:defRPr sz="2916" kern="1200">
          <a:solidFill>
            <a:schemeClr val="tx1"/>
          </a:solidFill>
          <a:latin typeface="+mn-lt"/>
          <a:ea typeface="+mn-ea"/>
          <a:cs typeface="+mn-cs"/>
        </a:defRPr>
      </a:lvl3pPr>
      <a:lvl4pPr marL="2222228" algn="l" defTabSz="1481485" rtl="0" eaLnBrk="1" latinLnBrk="0" hangingPunct="1">
        <a:defRPr sz="2916" kern="1200">
          <a:solidFill>
            <a:schemeClr val="tx1"/>
          </a:solidFill>
          <a:latin typeface="+mn-lt"/>
          <a:ea typeface="+mn-ea"/>
          <a:cs typeface="+mn-cs"/>
        </a:defRPr>
      </a:lvl4pPr>
      <a:lvl5pPr marL="2962970" algn="l" defTabSz="1481485" rtl="0" eaLnBrk="1" latinLnBrk="0" hangingPunct="1">
        <a:defRPr sz="2916" kern="1200">
          <a:solidFill>
            <a:schemeClr val="tx1"/>
          </a:solidFill>
          <a:latin typeface="+mn-lt"/>
          <a:ea typeface="+mn-ea"/>
          <a:cs typeface="+mn-cs"/>
        </a:defRPr>
      </a:lvl5pPr>
      <a:lvl6pPr marL="3703713" algn="l" defTabSz="1481485" rtl="0" eaLnBrk="1" latinLnBrk="0" hangingPunct="1">
        <a:defRPr sz="2916" kern="1200">
          <a:solidFill>
            <a:schemeClr val="tx1"/>
          </a:solidFill>
          <a:latin typeface="+mn-lt"/>
          <a:ea typeface="+mn-ea"/>
          <a:cs typeface="+mn-cs"/>
        </a:defRPr>
      </a:lvl6pPr>
      <a:lvl7pPr marL="4444455" algn="l" defTabSz="1481485" rtl="0" eaLnBrk="1" latinLnBrk="0" hangingPunct="1">
        <a:defRPr sz="2916" kern="1200">
          <a:solidFill>
            <a:schemeClr val="tx1"/>
          </a:solidFill>
          <a:latin typeface="+mn-lt"/>
          <a:ea typeface="+mn-ea"/>
          <a:cs typeface="+mn-cs"/>
        </a:defRPr>
      </a:lvl7pPr>
      <a:lvl8pPr marL="5185198" algn="l" defTabSz="1481485" rtl="0" eaLnBrk="1" latinLnBrk="0" hangingPunct="1">
        <a:defRPr sz="2916" kern="1200">
          <a:solidFill>
            <a:schemeClr val="tx1"/>
          </a:solidFill>
          <a:latin typeface="+mn-lt"/>
          <a:ea typeface="+mn-ea"/>
          <a:cs typeface="+mn-cs"/>
        </a:defRPr>
      </a:lvl8pPr>
      <a:lvl9pPr marL="5925940" algn="l" defTabSz="1481485" rtl="0" eaLnBrk="1" latinLnBrk="0" hangingPunct="1">
        <a:defRPr sz="2916"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5635" userDrawn="1">
          <p15:clr>
            <a:srgbClr val="F26B43"/>
          </p15:clr>
        </p15:guide>
        <p15:guide id="24" orient="horz" pos="2381" userDrawn="1">
          <p15:clr>
            <a:srgbClr val="F26B43"/>
          </p15:clr>
        </p15:guide>
        <p15:guide id="25" orient="horz" pos="4431" userDrawn="1">
          <p15:clr>
            <a:srgbClr val="F26B43"/>
          </p15:clr>
        </p15:guide>
        <p15:guide id="26" pos="348" userDrawn="1">
          <p15:clr>
            <a:srgbClr val="F26B43"/>
          </p15:clr>
        </p15:guide>
        <p15:guide id="27" pos="8118" userDrawn="1">
          <p15:clr>
            <a:srgbClr val="F26B43"/>
          </p15:clr>
        </p15:guide>
        <p15:guide id="28" orient="horz" pos="1181" userDrawn="1">
          <p15:clr>
            <a:srgbClr val="F26B43"/>
          </p15:clr>
        </p15:guide>
        <p15:guide id="29" orient="horz" pos="220" userDrawn="1">
          <p15:clr>
            <a:srgbClr val="F26B43"/>
          </p15:clr>
        </p15:guide>
        <p15:guide id="30" orient="horz" pos="4497" userDrawn="1">
          <p15:clr>
            <a:srgbClr val="F26B43"/>
          </p15:clr>
        </p15:guide>
        <p15:guide id="31" pos="5469" userDrawn="1">
          <p15:clr>
            <a:srgbClr val="F26B43"/>
          </p15:clr>
        </p15:guide>
        <p15:guide id="32" orient="horz" pos="260" userDrawn="1">
          <p15:clr>
            <a:srgbClr val="F26B43"/>
          </p15:clr>
        </p15:guide>
        <p15:guide id="33" pos="1502" userDrawn="1">
          <p15:clr>
            <a:srgbClr val="F26B43"/>
          </p15:clr>
        </p15:guide>
        <p15:guide id="34" pos="1671" userDrawn="1">
          <p15:clr>
            <a:srgbClr val="F26B43"/>
          </p15:clr>
        </p15:guide>
        <p15:guide id="35" pos="2822" userDrawn="1">
          <p15:clr>
            <a:srgbClr val="F26B43"/>
          </p15:clr>
        </p15:guide>
        <p15:guide id="36" pos="2988" userDrawn="1">
          <p15:clr>
            <a:srgbClr val="F26B43"/>
          </p15:clr>
        </p15:guide>
        <p15:guide id="37" pos="6790" userDrawn="1">
          <p15:clr>
            <a:srgbClr val="F26B43"/>
          </p15:clr>
        </p15:guide>
        <p15:guide id="38" pos="4149" userDrawn="1">
          <p15:clr>
            <a:srgbClr val="F26B43"/>
          </p15:clr>
        </p15:guide>
        <p15:guide id="39" pos="4317" userDrawn="1">
          <p15:clr>
            <a:srgbClr val="F26B43"/>
          </p15:clr>
        </p15:guide>
        <p15:guide id="40" pos="4234" userDrawn="1">
          <p15:clr>
            <a:srgbClr val="F26B43"/>
          </p15:clr>
        </p15:guide>
        <p15:guide id="41" pos="6958" userDrawn="1">
          <p15:clr>
            <a:srgbClr val="F26B43"/>
          </p15:clr>
        </p15:guide>
        <p15:guide id="42" orient="horz" pos="1156" userDrawn="1">
          <p15:clr>
            <a:srgbClr val="F26B43"/>
          </p15:clr>
        </p15:guide>
        <p15:guide id="43" orient="horz" pos="70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hyperlink" Target="https://en.wikipedia.org/wiki/Deloitte"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3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3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5.xml"/><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40.sv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43.png"/><Relationship Id="rId5" Type="http://schemas.microsoft.com/office/2007/relationships/hdphoto" Target="../media/hdphoto1.wdp"/><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1.png"/><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4.png"/><Relationship Id="rId7"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34.png"/><Relationship Id="rId7"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8.png"/></Relationships>
</file>

<file path=ppt/slides/_rels/slide2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4.png"/><Relationship Id="rId7"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34.png"/><Relationship Id="rId9" Type="http://schemas.openxmlformats.org/officeDocument/2006/relationships/image" Target="../media/image45.png"/></Relationships>
</file>

<file path=ppt/slides/_rels/slide2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34.png"/><Relationship Id="rId7"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0.png"/></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34.png"/><Relationship Id="rId7"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49.png"/><Relationship Id="rId4" Type="http://schemas.openxmlformats.org/officeDocument/2006/relationships/image" Target="../media/image47.png"/><Relationship Id="rId9" Type="http://schemas.openxmlformats.org/officeDocument/2006/relationships/image" Target="../media/image46.png"/></Relationships>
</file>

<file path=ppt/slides/_rels/slide2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4.svg"/><Relationship Id="rId18" Type="http://schemas.openxmlformats.org/officeDocument/2006/relationships/image" Target="../media/image59.png"/><Relationship Id="rId3" Type="http://schemas.openxmlformats.org/officeDocument/2006/relationships/image" Target="../media/image34.png"/><Relationship Id="rId21" Type="http://schemas.openxmlformats.org/officeDocument/2006/relationships/image" Target="../media/image62.svg"/><Relationship Id="rId7" Type="http://schemas.openxmlformats.org/officeDocument/2006/relationships/image" Target="../media/image45.png"/><Relationship Id="rId12" Type="http://schemas.openxmlformats.org/officeDocument/2006/relationships/image" Target="../media/image53.png"/><Relationship Id="rId17" Type="http://schemas.openxmlformats.org/officeDocument/2006/relationships/image" Target="../media/image58.svg"/><Relationship Id="rId2" Type="http://schemas.openxmlformats.org/officeDocument/2006/relationships/notesSlide" Target="../notesSlides/notesSlide25.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slideLayout" Target="../slideLayouts/slideLayout3.xml"/><Relationship Id="rId6" Type="http://schemas.openxmlformats.org/officeDocument/2006/relationships/image" Target="../media/image48.png"/><Relationship Id="rId11" Type="http://schemas.openxmlformats.org/officeDocument/2006/relationships/image" Target="../media/image52.svg"/><Relationship Id="rId5" Type="http://schemas.openxmlformats.org/officeDocument/2006/relationships/image" Target="../media/image49.png"/><Relationship Id="rId15" Type="http://schemas.openxmlformats.org/officeDocument/2006/relationships/image" Target="../media/image56.svg"/><Relationship Id="rId23" Type="http://schemas.openxmlformats.org/officeDocument/2006/relationships/image" Target="../media/image64.sv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image" Target="../media/image47.png"/><Relationship Id="rId9" Type="http://schemas.openxmlformats.org/officeDocument/2006/relationships/image" Target="../media/image46.png"/><Relationship Id="rId14" Type="http://schemas.openxmlformats.org/officeDocument/2006/relationships/image" Target="../media/image55.png"/><Relationship Id="rId22" Type="http://schemas.openxmlformats.org/officeDocument/2006/relationships/image" Target="../media/image63.png"/></Relationships>
</file>

<file path=ppt/slides/_rels/slide2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34.png"/><Relationship Id="rId7"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8.png"/><Relationship Id="rId4" Type="http://schemas.openxmlformats.org/officeDocument/2006/relationships/image" Target="../media/image49.png"/><Relationship Id="rId9" Type="http://schemas.openxmlformats.org/officeDocument/2006/relationships/image" Target="../media/image47.png"/></Relationships>
</file>

<file path=ppt/slides/_rels/slide2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4.png"/><Relationship Id="rId7"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50.png"/><Relationship Id="rId4" Type="http://schemas.openxmlformats.org/officeDocument/2006/relationships/image" Target="../media/image45.png"/><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4.png"/><Relationship Id="rId7"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50.png"/><Relationship Id="rId4" Type="http://schemas.openxmlformats.org/officeDocument/2006/relationships/image" Target="../media/image45.png"/><Relationship Id="rId9"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32.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svg"/><Relationship Id="rId3" Type="http://schemas.openxmlformats.org/officeDocument/2006/relationships/image" Target="../media/image34.png"/><Relationship Id="rId7" Type="http://schemas.openxmlformats.org/officeDocument/2006/relationships/hyperlink" Target="https://en.wikipedia.org/wiki/Deloitte" TargetMode="External"/><Relationship Id="rId12" Type="http://schemas.openxmlformats.org/officeDocument/2006/relationships/image" Target="../media/image71.png"/><Relationship Id="rId17" Type="http://schemas.openxmlformats.org/officeDocument/2006/relationships/image" Target="../media/image76.svg"/><Relationship Id="rId2" Type="http://schemas.openxmlformats.org/officeDocument/2006/relationships/notesSlide" Target="../notesSlides/notesSlide29.xml"/><Relationship Id="rId16" Type="http://schemas.openxmlformats.org/officeDocument/2006/relationships/image" Target="../media/image75.png"/><Relationship Id="rId1" Type="http://schemas.openxmlformats.org/officeDocument/2006/relationships/slideLayout" Target="../slideLayouts/slideLayout3.xml"/><Relationship Id="rId6" Type="http://schemas.openxmlformats.org/officeDocument/2006/relationships/image" Target="../media/image6.png"/><Relationship Id="rId11" Type="http://schemas.openxmlformats.org/officeDocument/2006/relationships/image" Target="../media/image70.svg"/><Relationship Id="rId5" Type="http://schemas.openxmlformats.org/officeDocument/2006/relationships/image" Target="../media/image66.svg"/><Relationship Id="rId15" Type="http://schemas.openxmlformats.org/officeDocument/2006/relationships/image" Target="../media/image74.svg"/><Relationship Id="rId10" Type="http://schemas.openxmlformats.org/officeDocument/2006/relationships/image" Target="../media/image69.png"/><Relationship Id="rId4" Type="http://schemas.openxmlformats.org/officeDocument/2006/relationships/image" Target="../media/image65.png"/><Relationship Id="rId9" Type="http://schemas.openxmlformats.org/officeDocument/2006/relationships/image" Target="../media/image68.svg"/><Relationship Id="rId14" Type="http://schemas.openxmlformats.org/officeDocument/2006/relationships/image" Target="../media/image73.png"/></Relationships>
</file>

<file path=ppt/slides/_rels/slide33.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73.png"/><Relationship Id="rId3" Type="http://schemas.openxmlformats.org/officeDocument/2006/relationships/image" Target="../media/image65.png"/><Relationship Id="rId7" Type="http://schemas.openxmlformats.org/officeDocument/2006/relationships/image" Target="../media/image77.png"/><Relationship Id="rId12" Type="http://schemas.openxmlformats.org/officeDocument/2006/relationships/image" Target="../media/image82.svg"/><Relationship Id="rId2" Type="http://schemas.openxmlformats.org/officeDocument/2006/relationships/notesSlide" Target="../notesSlides/notesSlide30.xml"/><Relationship Id="rId16" Type="http://schemas.openxmlformats.org/officeDocument/2006/relationships/image" Target="../media/image76.svg"/><Relationship Id="rId1" Type="http://schemas.openxmlformats.org/officeDocument/2006/relationships/slideLayout" Target="../slideLayouts/slideLayout3.xml"/><Relationship Id="rId6" Type="http://schemas.openxmlformats.org/officeDocument/2006/relationships/hyperlink" Target="https://en.wikipedia.org/wiki/Deloitte" TargetMode="External"/><Relationship Id="rId11" Type="http://schemas.openxmlformats.org/officeDocument/2006/relationships/image" Target="../media/image81.png"/><Relationship Id="rId5" Type="http://schemas.openxmlformats.org/officeDocument/2006/relationships/image" Target="../media/image6.png"/><Relationship Id="rId15" Type="http://schemas.openxmlformats.org/officeDocument/2006/relationships/image" Target="../media/image75.png"/><Relationship Id="rId10" Type="http://schemas.openxmlformats.org/officeDocument/2006/relationships/image" Target="../media/image80.svg"/><Relationship Id="rId4" Type="http://schemas.openxmlformats.org/officeDocument/2006/relationships/image" Target="../media/image66.svg"/><Relationship Id="rId9" Type="http://schemas.openxmlformats.org/officeDocument/2006/relationships/image" Target="../media/image79.png"/><Relationship Id="rId14" Type="http://schemas.openxmlformats.org/officeDocument/2006/relationships/image" Target="../media/image74.svg"/></Relationships>
</file>

<file path=ppt/slides/_rels/slide34.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34.png"/><Relationship Id="rId7" Type="http://schemas.openxmlformats.org/officeDocument/2006/relationships/image" Target="../media/image86.sv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85.png"/><Relationship Id="rId5" Type="http://schemas.openxmlformats.org/officeDocument/2006/relationships/image" Target="../media/image84.svg"/><Relationship Id="rId4" Type="http://schemas.openxmlformats.org/officeDocument/2006/relationships/image" Target="../media/image83.png"/><Relationship Id="rId9" Type="http://schemas.openxmlformats.org/officeDocument/2006/relationships/image" Target="../media/image88.svg"/></Relationships>
</file>

<file path=ppt/slides/_rels/slide35.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3" Type="http://schemas.openxmlformats.org/officeDocument/2006/relationships/image" Target="../media/image34.png"/><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svg"/></Relationships>
</file>

<file path=ppt/slides/_rels/slide36.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3" Type="http://schemas.openxmlformats.org/officeDocument/2006/relationships/image" Target="../media/image34.png"/><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svg"/></Relationships>
</file>

<file path=ppt/slides/_rels/slide37.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3" Type="http://schemas.openxmlformats.org/officeDocument/2006/relationships/image" Target="../media/image34.png"/><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svg"/></Relationships>
</file>

<file path=ppt/slides/_rels/slide38.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3" Type="http://schemas.openxmlformats.org/officeDocument/2006/relationships/image" Target="../media/image34.png"/><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svg"/></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0.png"/><Relationship Id="rId18" Type="http://schemas.openxmlformats.org/officeDocument/2006/relationships/image" Target="../media/image15.svg"/><Relationship Id="rId3" Type="http://schemas.openxmlformats.org/officeDocument/2006/relationships/tags" Target="../tags/tag5.xml"/><Relationship Id="rId21" Type="http://schemas.openxmlformats.org/officeDocument/2006/relationships/image" Target="../media/image18.png"/><Relationship Id="rId7" Type="http://schemas.openxmlformats.org/officeDocument/2006/relationships/slideLayout" Target="../slideLayouts/slideLayout3.xml"/><Relationship Id="rId12" Type="http://schemas.openxmlformats.org/officeDocument/2006/relationships/image" Target="../media/image9.svg"/><Relationship Id="rId17" Type="http://schemas.openxmlformats.org/officeDocument/2006/relationships/image" Target="../media/image14.png"/><Relationship Id="rId2" Type="http://schemas.openxmlformats.org/officeDocument/2006/relationships/tags" Target="../tags/tag4.xml"/><Relationship Id="rId16" Type="http://schemas.openxmlformats.org/officeDocument/2006/relationships/image" Target="../media/image13.svg"/><Relationship Id="rId20" Type="http://schemas.openxmlformats.org/officeDocument/2006/relationships/image" Target="../media/image17.sv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8.png"/><Relationship Id="rId5" Type="http://schemas.openxmlformats.org/officeDocument/2006/relationships/tags" Target="../tags/tag7.xml"/><Relationship Id="rId15" Type="http://schemas.openxmlformats.org/officeDocument/2006/relationships/image" Target="../media/image12.png"/><Relationship Id="rId10" Type="http://schemas.openxmlformats.org/officeDocument/2006/relationships/hyperlink" Target="https://universityinnovation.org/wiki/Organization:Drishti_Foundation" TargetMode="External"/><Relationship Id="rId19" Type="http://schemas.openxmlformats.org/officeDocument/2006/relationships/image" Target="../media/image16.png"/><Relationship Id="rId4" Type="http://schemas.openxmlformats.org/officeDocument/2006/relationships/tags" Target="../tags/tag6.xml"/><Relationship Id="rId9" Type="http://schemas.openxmlformats.org/officeDocument/2006/relationships/image" Target="../media/image7.png"/><Relationship Id="rId14" Type="http://schemas.openxmlformats.org/officeDocument/2006/relationships/image" Target="../media/image11.svg"/><Relationship Id="rId22" Type="http://schemas.openxmlformats.org/officeDocument/2006/relationships/image" Target="../media/image19.svg"/></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1.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34.png"/><Relationship Id="rId7" Type="http://schemas.openxmlformats.org/officeDocument/2006/relationships/image" Target="../media/image103.png"/><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2.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34.png"/><Relationship Id="rId7" Type="http://schemas.openxmlformats.org/officeDocument/2006/relationships/image" Target="../media/image104.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3.png"/></Relationships>
</file>

<file path=ppt/slides/_rels/slide43.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34.png"/><Relationship Id="rId7"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4.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7.png"/><Relationship Id="rId7" Type="http://schemas.openxmlformats.org/officeDocument/2006/relationships/image" Target="../media/image101.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34.png"/></Relationships>
</file>

<file path=ppt/slides/_rels/slide4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34.png"/><Relationship Id="rId7" Type="http://schemas.openxmlformats.org/officeDocument/2006/relationships/image" Target="../media/image108.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108.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7.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3" Type="http://schemas.openxmlformats.org/officeDocument/2006/relationships/image" Target="../media/image34.png"/><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notesSlide" Target="../notesSlides/notesSlide44.xml"/><Relationship Id="rId1" Type="http://schemas.openxmlformats.org/officeDocument/2006/relationships/slideLayout" Target="../slideLayouts/slideLayout3.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svg"/></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5.xml"/><Relationship Id="rId1" Type="http://schemas.openxmlformats.org/officeDocument/2006/relationships/slideLayout" Target="../slideLayouts/slideLayout3.xml"/><Relationship Id="rId5" Type="http://schemas.openxmlformats.org/officeDocument/2006/relationships/image" Target="../media/image110.svg"/><Relationship Id="rId4" Type="http://schemas.openxmlformats.org/officeDocument/2006/relationships/image" Target="../media/image109.png"/></Relationships>
</file>

<file path=ppt/slides/_rels/slide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112.svg"/><Relationship Id="rId4" Type="http://schemas.openxmlformats.org/officeDocument/2006/relationships/image" Target="../media/image11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5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34.png"/><Relationship Id="rId7" Type="http://schemas.openxmlformats.org/officeDocument/2006/relationships/image" Target="../media/image116.sv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115.png"/><Relationship Id="rId5" Type="http://schemas.openxmlformats.org/officeDocument/2006/relationships/image" Target="../media/image114.svg"/><Relationship Id="rId4" Type="http://schemas.openxmlformats.org/officeDocument/2006/relationships/image" Target="../media/image113.png"/><Relationship Id="rId9" Type="http://schemas.openxmlformats.org/officeDocument/2006/relationships/image" Target="../media/image118.svg"/></Relationships>
</file>

<file path=ppt/slides/_rels/slide5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120.sv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3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3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4" name="Picture 4" descr="Abstract green and blue painting">
            <a:extLst>
              <a:ext uri="{FF2B5EF4-FFF2-40B4-BE49-F238E27FC236}">
                <a16:creationId xmlns:a16="http://schemas.microsoft.com/office/drawing/2014/main" id="{531A5536-85EC-41A4-B11B-391EBF7A1CDF}"/>
              </a:ext>
            </a:extLst>
          </p:cNvPr>
          <p:cNvPicPr>
            <a:picLocks noChangeAspect="1"/>
          </p:cNvPicPr>
          <p:nvPr/>
        </p:nvPicPr>
        <p:blipFill>
          <a:blip r:embed="rId3"/>
          <a:stretch>
            <a:fillRect/>
          </a:stretch>
        </p:blipFill>
        <p:spPr>
          <a:xfrm>
            <a:off x="-1" y="2256208"/>
            <a:ext cx="13439776" cy="1683359"/>
          </a:xfrm>
          <a:prstGeom prst="rect">
            <a:avLst/>
          </a:prstGeom>
        </p:spPr>
      </p:pic>
      <p:pic>
        <p:nvPicPr>
          <p:cNvPr id="533" name="Image 532" descr="Une image contenant obscurité, noir, écriture manuscrite, nuit&#10;&#10;Description générée automatiquement">
            <a:extLst>
              <a:ext uri="{FF2B5EF4-FFF2-40B4-BE49-F238E27FC236}">
                <a16:creationId xmlns:a16="http://schemas.microsoft.com/office/drawing/2014/main" id="{FEC6066D-A841-4649-8AE8-38984FA2C313}"/>
              </a:ext>
            </a:extLst>
          </p:cNvPr>
          <p:cNvPicPr>
            <a:picLocks noChangeAspect="1"/>
          </p:cNvPicPr>
          <p:nvPr/>
        </p:nvPicPr>
        <p:blipFill rotWithShape="1">
          <a:blip r:embed="rId4"/>
          <a:srcRect t="27565" b="21991"/>
          <a:stretch/>
        </p:blipFill>
        <p:spPr>
          <a:xfrm>
            <a:off x="149018" y="255379"/>
            <a:ext cx="2877183" cy="1088531"/>
          </a:xfrm>
          <a:prstGeom prst="rect">
            <a:avLst/>
          </a:prstGeom>
        </p:spPr>
      </p:pic>
      <p:pic>
        <p:nvPicPr>
          <p:cNvPr id="535" name="Image 534" descr="Une image contenant capture d’écran, Graphique&#10;&#10;Description générée automatiquement">
            <a:extLst>
              <a:ext uri="{FF2B5EF4-FFF2-40B4-BE49-F238E27FC236}">
                <a16:creationId xmlns:a16="http://schemas.microsoft.com/office/drawing/2014/main" id="{A4CF98CF-D3F2-48AD-9A5E-D873D37730E0}"/>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10507712" y="443510"/>
            <a:ext cx="2713199" cy="591971"/>
          </a:xfrm>
          <a:prstGeom prst="rect">
            <a:avLst/>
          </a:prstGeom>
        </p:spPr>
      </p:pic>
      <p:sp>
        <p:nvSpPr>
          <p:cNvPr id="539" name="Rectangle 538">
            <a:extLst>
              <a:ext uri="{FF2B5EF4-FFF2-40B4-BE49-F238E27FC236}">
                <a16:creationId xmlns:a16="http://schemas.microsoft.com/office/drawing/2014/main" id="{44B9B90A-FD72-406B-AF2E-6316E8EB8D0D}"/>
              </a:ext>
            </a:extLst>
          </p:cNvPr>
          <p:cNvSpPr/>
          <p:nvPr/>
        </p:nvSpPr>
        <p:spPr bwMode="gray">
          <a:xfrm>
            <a:off x="-1" y="2256208"/>
            <a:ext cx="13439775" cy="1683359"/>
          </a:xfrm>
          <a:prstGeom prst="rect">
            <a:avLst/>
          </a:prstGeom>
          <a:noFill/>
          <a:ln w="28575" algn="ctr">
            <a:noFill/>
            <a:miter lim="800000"/>
            <a:headEnd/>
            <a:tailEnd/>
          </a:ln>
        </p:spPr>
        <p:txBody>
          <a:bodyPr wrap="square" lIns="88900" tIns="88900" rIns="88900" bIns="88900" rtlCol="0" anchor="ctr"/>
          <a:lstStyle/>
          <a:p>
            <a:pPr algn="ctr">
              <a:lnSpc>
                <a:spcPct val="115000"/>
              </a:lnSpc>
              <a:spcBef>
                <a:spcPts val="1200"/>
              </a:spcBef>
              <a:spcAft>
                <a:spcPts val="600"/>
              </a:spcAft>
            </a:pPr>
            <a:r>
              <a:rPr lang="fr-FR" sz="2800" b="1" dirty="0">
                <a:effectLst/>
                <a:latin typeface="Calibri" panose="020F0502020204030204" pitchFamily="34" charset="0"/>
                <a:ea typeface="Calibri" panose="020F0502020204030204" pitchFamily="34" charset="0"/>
                <a:cs typeface="Times New Roman" panose="02020603050405020304" pitchFamily="18" charset="0"/>
              </a:rPr>
              <a:t>Mise en place d'un Toolkit complet CISOaaS dédié à la Sécurité des Systèmes d’Information</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41" name="ZoneTexte 540">
            <a:extLst>
              <a:ext uri="{FF2B5EF4-FFF2-40B4-BE49-F238E27FC236}">
                <a16:creationId xmlns:a16="http://schemas.microsoft.com/office/drawing/2014/main" id="{AA18DAA0-8C65-4BD6-ACB3-03B4EABA5260}"/>
              </a:ext>
            </a:extLst>
          </p:cNvPr>
          <p:cNvSpPr txBox="1"/>
          <p:nvPr/>
        </p:nvSpPr>
        <p:spPr>
          <a:xfrm>
            <a:off x="4774488" y="848251"/>
            <a:ext cx="3984937" cy="307777"/>
          </a:xfrm>
          <a:prstGeom prst="rect">
            <a:avLst/>
          </a:prstGeom>
          <a:noFill/>
        </p:spPr>
        <p:txBody>
          <a:bodyPr wrap="none" lIns="0" tIns="0" rIns="0" bIns="0" rtlCol="0">
            <a:spAutoFit/>
          </a:bodyPr>
          <a:lstStyle/>
          <a:p>
            <a:pPr>
              <a:spcBef>
                <a:spcPts val="600"/>
              </a:spcBef>
              <a:buSzPct val="100000"/>
            </a:pPr>
            <a:r>
              <a:rPr lang="fr-FR" sz="2000" b="1" dirty="0">
                <a:solidFill>
                  <a:srgbClr val="313131"/>
                </a:solidFill>
              </a:rPr>
              <a:t>Présentation du projet de fin d’étude </a:t>
            </a:r>
          </a:p>
        </p:txBody>
      </p:sp>
      <p:sp>
        <p:nvSpPr>
          <p:cNvPr id="542" name="ZoneTexte 541">
            <a:extLst>
              <a:ext uri="{FF2B5EF4-FFF2-40B4-BE49-F238E27FC236}">
                <a16:creationId xmlns:a16="http://schemas.microsoft.com/office/drawing/2014/main" id="{58E6583D-E74D-4619-BEE5-D7726463025D}"/>
              </a:ext>
            </a:extLst>
          </p:cNvPr>
          <p:cNvSpPr txBox="1"/>
          <p:nvPr/>
        </p:nvSpPr>
        <p:spPr>
          <a:xfrm>
            <a:off x="652369" y="4788069"/>
            <a:ext cx="3638290" cy="2292935"/>
          </a:xfrm>
          <a:prstGeom prst="rect">
            <a:avLst/>
          </a:prstGeom>
          <a:noFill/>
        </p:spPr>
        <p:txBody>
          <a:bodyPr wrap="square" lIns="0" tIns="0" rIns="0" bIns="0" rtlCol="0">
            <a:spAutoFit/>
          </a:bodyPr>
          <a:lstStyle/>
          <a:p>
            <a:pPr>
              <a:lnSpc>
                <a:spcPct val="150000"/>
              </a:lnSpc>
              <a:spcAft>
                <a:spcPts val="600"/>
              </a:spcAft>
            </a:pPr>
            <a:r>
              <a:rPr lang="fr-FR" sz="1400" u="sng" dirty="0">
                <a:effectLst/>
                <a:latin typeface="Calibri" panose="020F0502020204030204" pitchFamily="34" charset="0"/>
                <a:ea typeface="Calibri" panose="020F0502020204030204" pitchFamily="34" charset="0"/>
                <a:cs typeface="Times New Roman" panose="02020603050405020304" pitchFamily="18" charset="0"/>
              </a:rPr>
              <a:t>Encadré par :</a:t>
            </a:r>
          </a:p>
          <a:p>
            <a:pPr>
              <a:lnSpc>
                <a:spcPct val="150000"/>
              </a:lnSpc>
              <a:spcAft>
                <a:spcPts val="600"/>
              </a:spcAft>
            </a:pPr>
            <a:r>
              <a:rPr lang="fr-FR" sz="1400" dirty="0">
                <a:effectLst/>
                <a:latin typeface="Calibri" panose="020F0502020204030204" pitchFamily="34" charset="0"/>
                <a:ea typeface="Calibri" panose="020F0502020204030204" pitchFamily="34" charset="0"/>
                <a:cs typeface="Times New Roman" panose="02020603050405020304" pitchFamily="18" charset="0"/>
              </a:rPr>
              <a:t>Mme.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IDRISSI Imane</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600"/>
              </a:spcAft>
            </a:pPr>
            <a:r>
              <a:rPr lang="fr-FR" sz="1400" dirty="0">
                <a:effectLst/>
                <a:latin typeface="Calibri" panose="020F0502020204030204" pitchFamily="34" charset="0"/>
                <a:ea typeface="Calibri" panose="020F0502020204030204" pitchFamily="34" charset="0"/>
                <a:cs typeface="Times New Roman" panose="02020603050405020304" pitchFamily="18" charset="0"/>
              </a:rPr>
              <a:t>M.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AIT MBAREK Mohamed Amine</a:t>
            </a:r>
            <a:r>
              <a:rPr lang="fr-FR" sz="1400" i="1"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50000"/>
              </a:lnSpc>
              <a:spcAft>
                <a:spcPts val="600"/>
              </a:spcAft>
            </a:pPr>
            <a:r>
              <a:rPr lang="fr-FR" sz="1400" dirty="0">
                <a:effectLst/>
                <a:latin typeface="Calibri" panose="020F0502020204030204" pitchFamily="34" charset="0"/>
                <a:ea typeface="Calibri" panose="020F0502020204030204" pitchFamily="34" charset="0"/>
                <a:cs typeface="Times New Roman" panose="02020603050405020304" pitchFamily="18" charset="0"/>
              </a:rPr>
              <a:t>M.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Abdessalam AIT MADI </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600"/>
              </a:spcAft>
            </a:pPr>
            <a:r>
              <a:rPr lang="fr-FR" sz="1400" dirty="0">
                <a:effectLst/>
                <a:latin typeface="Calibri" panose="020F0502020204030204" pitchFamily="34" charset="0"/>
                <a:ea typeface="Calibri" panose="020F0502020204030204" pitchFamily="34" charset="0"/>
                <a:cs typeface="Times New Roman" panose="02020603050405020304" pitchFamily="18" charset="0"/>
              </a:rPr>
              <a:t>Mme.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Lalla Amina CHARAF</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a:spcBef>
                <a:spcPts val="600"/>
              </a:spcBef>
              <a:buSzPct val="100000"/>
            </a:pPr>
            <a:endParaRPr lang="fr-FR" sz="1400" dirty="0">
              <a:solidFill>
                <a:srgbClr val="313131"/>
              </a:solidFill>
            </a:endParaRPr>
          </a:p>
        </p:txBody>
      </p:sp>
      <p:sp>
        <p:nvSpPr>
          <p:cNvPr id="2" name="ZoneTexte 1">
            <a:extLst>
              <a:ext uri="{FF2B5EF4-FFF2-40B4-BE49-F238E27FC236}">
                <a16:creationId xmlns:a16="http://schemas.microsoft.com/office/drawing/2014/main" id="{9EEF47B3-7457-4DEB-B01C-DA060CD67828}"/>
              </a:ext>
            </a:extLst>
          </p:cNvPr>
          <p:cNvSpPr txBox="1"/>
          <p:nvPr/>
        </p:nvSpPr>
        <p:spPr>
          <a:xfrm>
            <a:off x="6831118" y="4788069"/>
            <a:ext cx="5904886" cy="2014398"/>
          </a:xfrm>
          <a:prstGeom prst="rect">
            <a:avLst/>
          </a:prstGeom>
          <a:noFill/>
        </p:spPr>
        <p:txBody>
          <a:bodyPr wrap="none" lIns="0" tIns="0" rIns="0" bIns="0" rtlCol="0">
            <a:spAutoFit/>
          </a:bodyPr>
          <a:lstStyle/>
          <a:p>
            <a:pPr>
              <a:lnSpc>
                <a:spcPct val="150000"/>
              </a:lnSpc>
              <a:spcBef>
                <a:spcPts val="600"/>
              </a:spcBef>
              <a:buSzPct val="100000"/>
            </a:pPr>
            <a:r>
              <a:rPr lang="fr-FR" sz="1400" u="sng" dirty="0">
                <a:solidFill>
                  <a:srgbClr val="313131"/>
                </a:solidFill>
              </a:rPr>
              <a:t>Soutenu devant:</a:t>
            </a:r>
          </a:p>
          <a:p>
            <a:pPr algn="just">
              <a:lnSpc>
                <a:spcPct val="150000"/>
              </a:lnSpc>
              <a:spcAft>
                <a:spcPts val="600"/>
              </a:spcAft>
            </a:pPr>
            <a:r>
              <a:rPr lang="fr-FR" sz="1400" b="1" dirty="0">
                <a:effectLst/>
                <a:latin typeface="Calibri" panose="020F0502020204030204" pitchFamily="34" charset="0"/>
                <a:ea typeface="Calibri" panose="020F0502020204030204" pitchFamily="34" charset="0"/>
                <a:cs typeface="Times New Roman" panose="02020603050405020304" pitchFamily="18" charset="0"/>
              </a:rPr>
              <a:t>M. AIT MADI Abdessalam</a:t>
            </a:r>
            <a:r>
              <a:rPr lang="fr-FR" sz="1400" dirty="0">
                <a:effectLst/>
                <a:latin typeface="Calibri" panose="020F0502020204030204" pitchFamily="34" charset="0"/>
                <a:ea typeface="Calibri" panose="020F0502020204030204" pitchFamily="34" charset="0"/>
                <a:cs typeface="Times New Roman" panose="02020603050405020304" pitchFamily="18" charset="0"/>
              </a:rPr>
              <a:t>: </a:t>
            </a:r>
            <a:r>
              <a:rPr lang="fr-FR" sz="1400" dirty="0">
                <a:solidFill>
                  <a:srgbClr val="333333"/>
                </a:solidFill>
                <a:effectLst/>
                <a:latin typeface="Calibri" panose="020F0502020204030204" pitchFamily="34" charset="0"/>
                <a:ea typeface="Calibri" panose="020F0502020204030204" pitchFamily="34" charset="0"/>
                <a:cs typeface="Times New Roman" panose="02020603050405020304" pitchFamily="18" charset="0"/>
              </a:rPr>
              <a:t>Professeur de l’enseignement supérieur, ENSA Kénitra</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600"/>
              </a:spcAft>
            </a:pPr>
            <a:r>
              <a:rPr lang="fr-FR" sz="1400" b="1" dirty="0">
                <a:effectLst/>
                <a:latin typeface="Calibri" panose="020F0502020204030204" pitchFamily="34" charset="0"/>
                <a:ea typeface="Calibri" panose="020F0502020204030204" pitchFamily="34" charset="0"/>
                <a:cs typeface="Times New Roman" panose="02020603050405020304" pitchFamily="18" charset="0"/>
              </a:rPr>
              <a:t>M. BAJJIT Abderrahim	</a:t>
            </a:r>
            <a:r>
              <a:rPr lang="fr-FR" sz="1400" dirty="0">
                <a:effectLst/>
                <a:latin typeface="Calibri" panose="020F0502020204030204" pitchFamily="34" charset="0"/>
                <a:ea typeface="Calibri" panose="020F0502020204030204" pitchFamily="34" charset="0"/>
                <a:cs typeface="Times New Roman" panose="02020603050405020304" pitchFamily="18" charset="0"/>
              </a:rPr>
              <a:t>: </a:t>
            </a:r>
            <a:r>
              <a:rPr lang="fr-FR" sz="1400" dirty="0">
                <a:solidFill>
                  <a:srgbClr val="333333"/>
                </a:solidFill>
                <a:effectLst/>
                <a:latin typeface="Calibri" panose="020F0502020204030204" pitchFamily="34" charset="0"/>
                <a:ea typeface="Calibri" panose="020F0502020204030204" pitchFamily="34" charset="0"/>
                <a:cs typeface="Times New Roman" panose="02020603050405020304" pitchFamily="18" charset="0"/>
              </a:rPr>
              <a:t>Professeur de l’enseignement supérieur, ENSA Kénitra</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600"/>
              </a:spcAft>
            </a:pPr>
            <a:r>
              <a:rPr lang="fr-FR" sz="1400" b="1" dirty="0">
                <a:effectLst/>
                <a:latin typeface="Calibri" panose="020F0502020204030204" pitchFamily="34" charset="0"/>
                <a:ea typeface="Calibri" panose="020F0502020204030204" pitchFamily="34" charset="0"/>
                <a:cs typeface="Times New Roman" panose="02020603050405020304" pitchFamily="18" charset="0"/>
              </a:rPr>
              <a:t>M. BOUJIHA Tarik</a:t>
            </a:r>
            <a:r>
              <a:rPr lang="fr-FR" sz="1400" dirty="0">
                <a:effectLst/>
                <a:latin typeface="Calibri" panose="020F0502020204030204" pitchFamily="34" charset="0"/>
                <a:ea typeface="Calibri" panose="020F0502020204030204" pitchFamily="34" charset="0"/>
                <a:cs typeface="Times New Roman" panose="02020603050405020304" pitchFamily="18" charset="0"/>
              </a:rPr>
              <a:t>	:</a:t>
            </a:r>
            <a:r>
              <a:rPr lang="fr-FR" sz="1400" dirty="0">
                <a:solidFill>
                  <a:srgbClr val="333333"/>
                </a:solidFill>
                <a:effectLst/>
                <a:latin typeface="Calibri" panose="020F0502020204030204" pitchFamily="34" charset="0"/>
                <a:ea typeface="Calibri" panose="020F0502020204030204" pitchFamily="34" charset="0"/>
                <a:cs typeface="Times New Roman" panose="02020603050405020304" pitchFamily="18" charset="0"/>
              </a:rPr>
              <a:t> Professeur de l’enseignement supérieur, ENSA Kénitra</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Bef>
                <a:spcPts val="600"/>
              </a:spcBef>
              <a:buSzPct val="100000"/>
            </a:pPr>
            <a:endParaRPr lang="fr-FR" sz="2000" dirty="0">
              <a:solidFill>
                <a:srgbClr val="313131"/>
              </a:solidFill>
            </a:endParaRPr>
          </a:p>
        </p:txBody>
      </p:sp>
    </p:spTree>
    <p:extLst>
      <p:ext uri="{BB962C8B-B14F-4D97-AF65-F5344CB8AC3E}">
        <p14:creationId xmlns:p14="http://schemas.microsoft.com/office/powerpoint/2010/main" val="144378947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AC24E6CE-6CB0-483D-B9DE-49369F158678}"/>
              </a:ext>
            </a:extLst>
          </p:cNvPr>
          <p:cNvGrpSpPr/>
          <p:nvPr/>
        </p:nvGrpSpPr>
        <p:grpSpPr>
          <a:xfrm>
            <a:off x="3356994" y="5939019"/>
            <a:ext cx="8342669" cy="795338"/>
            <a:chOff x="3414757" y="6049971"/>
            <a:chExt cx="8342669" cy="795338"/>
          </a:xfrm>
        </p:grpSpPr>
        <p:sp>
          <p:nvSpPr>
            <p:cNvPr id="125" name="Rectangle 14">
              <a:extLst>
                <a:ext uri="{FF2B5EF4-FFF2-40B4-BE49-F238E27FC236}">
                  <a16:creationId xmlns:a16="http://schemas.microsoft.com/office/drawing/2014/main" id="{2DAC146E-9949-4F3C-AB58-D525CB78D374}"/>
                </a:ext>
              </a:extLst>
            </p:cNvPr>
            <p:cNvSpPr>
              <a:spLocks noChangeArrowheads="1"/>
            </p:cNvSpPr>
            <p:nvPr/>
          </p:nvSpPr>
          <p:spPr bwMode="auto">
            <a:xfrm>
              <a:off x="3414757" y="6049971"/>
              <a:ext cx="3715260"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5">
              <a:extLst>
                <a:ext uri="{FF2B5EF4-FFF2-40B4-BE49-F238E27FC236}">
                  <a16:creationId xmlns:a16="http://schemas.microsoft.com/office/drawing/2014/main" id="{77FC47C5-7F1B-4A3B-82CB-2BCBDE2864E8}"/>
                </a:ext>
              </a:extLst>
            </p:cNvPr>
            <p:cNvSpPr>
              <a:spLocks noChangeArrowheads="1"/>
            </p:cNvSpPr>
            <p:nvPr/>
          </p:nvSpPr>
          <p:spPr bwMode="auto">
            <a:xfrm>
              <a:off x="3554458" y="6049971"/>
              <a:ext cx="8202968"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文本框 106">
              <a:extLst>
                <a:ext uri="{FF2B5EF4-FFF2-40B4-BE49-F238E27FC236}">
                  <a16:creationId xmlns:a16="http://schemas.microsoft.com/office/drawing/2014/main" id="{43090170-9E86-4302-B872-1EFF239B40FB}"/>
                </a:ext>
              </a:extLst>
            </p:cNvPr>
            <p:cNvSpPr txBox="1"/>
            <p:nvPr/>
          </p:nvSpPr>
          <p:spPr>
            <a:xfrm>
              <a:off x="5511830" y="6102234"/>
              <a:ext cx="1464564" cy="646331"/>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Accès à des ressources avancées</a:t>
              </a:r>
              <a:endParaRPr lang="en-US" sz="1400" b="1" dirty="0">
                <a:solidFill>
                  <a:schemeClr val="bg1"/>
                </a:solidFill>
              </a:endParaRPr>
            </a:p>
          </p:txBody>
        </p:sp>
        <p:sp>
          <p:nvSpPr>
            <p:cNvPr id="165" name="文本框 106">
              <a:extLst>
                <a:ext uri="{FF2B5EF4-FFF2-40B4-BE49-F238E27FC236}">
                  <a16:creationId xmlns:a16="http://schemas.microsoft.com/office/drawing/2014/main" id="{F413437A-2C06-42B3-A5EE-895BD0130AE9}"/>
                </a:ext>
              </a:extLst>
            </p:cNvPr>
            <p:cNvSpPr txBox="1"/>
            <p:nvPr/>
          </p:nvSpPr>
          <p:spPr>
            <a:xfrm>
              <a:off x="7435733" y="6144668"/>
              <a:ext cx="4209381" cy="430887"/>
            </a:xfrm>
            <a:prstGeom prst="rect">
              <a:avLst/>
            </a:prstGeom>
            <a:noFill/>
          </p:spPr>
          <p:txBody>
            <a:bodyPr vert="horz" wrap="square" lIns="0" tIns="0" rIns="0" bIns="0" rtlCol="0">
              <a:spAutoFit/>
            </a:bodyPr>
            <a:lstStyle/>
            <a:p>
              <a:pPr>
                <a:spcBef>
                  <a:spcPts val="200"/>
                </a:spcBef>
                <a:buSzPct val="100000"/>
              </a:pPr>
              <a:r>
                <a:rPr lang="fr-FR" altLang="zh-CN" sz="1400" dirty="0"/>
                <a:t>Utilisation des meilleures pratiques, outils et technologies de pointe pour renforcer la sécurité de l'information.</a:t>
              </a:r>
              <a:endParaRPr lang="en-US" sz="1400" dirty="0"/>
            </a:p>
          </p:txBody>
        </p:sp>
      </p:grpSp>
      <p:grpSp>
        <p:nvGrpSpPr>
          <p:cNvPr id="6" name="Groupe 5">
            <a:extLst>
              <a:ext uri="{FF2B5EF4-FFF2-40B4-BE49-F238E27FC236}">
                <a16:creationId xmlns:a16="http://schemas.microsoft.com/office/drawing/2014/main" id="{878D30EE-6415-4F2B-997F-462A6E9F98E7}"/>
              </a:ext>
            </a:extLst>
          </p:cNvPr>
          <p:cNvGrpSpPr/>
          <p:nvPr/>
        </p:nvGrpSpPr>
        <p:grpSpPr>
          <a:xfrm>
            <a:off x="4111413" y="2633571"/>
            <a:ext cx="7682540" cy="806451"/>
            <a:chOff x="3938632" y="2290771"/>
            <a:chExt cx="7682540" cy="806451"/>
          </a:xfrm>
        </p:grpSpPr>
        <p:sp>
          <p:nvSpPr>
            <p:cNvPr id="117" name="Rectangle 6">
              <a:extLst>
                <a:ext uri="{FF2B5EF4-FFF2-40B4-BE49-F238E27FC236}">
                  <a16:creationId xmlns:a16="http://schemas.microsoft.com/office/drawing/2014/main" id="{106CD99C-D06C-4500-8C85-1DF22392E543}"/>
                </a:ext>
              </a:extLst>
            </p:cNvPr>
            <p:cNvSpPr>
              <a:spLocks noChangeArrowheads="1"/>
            </p:cNvSpPr>
            <p:nvPr/>
          </p:nvSpPr>
          <p:spPr bwMode="auto">
            <a:xfrm>
              <a:off x="3938632" y="2290771"/>
              <a:ext cx="2912586"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7">
              <a:extLst>
                <a:ext uri="{FF2B5EF4-FFF2-40B4-BE49-F238E27FC236}">
                  <a16:creationId xmlns:a16="http://schemas.microsoft.com/office/drawing/2014/main" id="{D6230F0A-3089-4FE2-8CA2-9F4872ED312A}"/>
                </a:ext>
              </a:extLst>
            </p:cNvPr>
            <p:cNvSpPr>
              <a:spLocks noChangeArrowheads="1"/>
            </p:cNvSpPr>
            <p:nvPr/>
          </p:nvSpPr>
          <p:spPr bwMode="auto">
            <a:xfrm>
              <a:off x="4489494" y="2301884"/>
              <a:ext cx="7037388"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文本框 106">
              <a:extLst>
                <a:ext uri="{FF2B5EF4-FFF2-40B4-BE49-F238E27FC236}">
                  <a16:creationId xmlns:a16="http://schemas.microsoft.com/office/drawing/2014/main" id="{F304A6DC-172E-4ABC-80E5-27A0DFC66EA2}"/>
                </a:ext>
              </a:extLst>
            </p:cNvPr>
            <p:cNvSpPr txBox="1"/>
            <p:nvPr/>
          </p:nvSpPr>
          <p:spPr>
            <a:xfrm>
              <a:off x="5271197" y="2449556"/>
              <a:ext cx="1236946" cy="430887"/>
            </a:xfrm>
            <a:prstGeom prst="rect">
              <a:avLst/>
            </a:prstGeom>
            <a:noFill/>
          </p:spPr>
          <p:txBody>
            <a:bodyPr vert="horz" wrap="square" lIns="0" tIns="0" rIns="0" bIns="0" rtlCol="0">
              <a:spAutoFit/>
            </a:bodyPr>
            <a:lstStyle/>
            <a:p>
              <a:pPr algn="ctr">
                <a:spcBef>
                  <a:spcPts val="200"/>
                </a:spcBef>
                <a:buSzPct val="100000"/>
              </a:pPr>
              <a:r>
                <a:rPr lang="fr-FR" sz="1400" b="1" i="0" dirty="0">
                  <a:solidFill>
                    <a:schemeClr val="bg1"/>
                  </a:solidFill>
                  <a:effectLst/>
                </a:rPr>
                <a:t>Expertise spécialisée </a:t>
              </a:r>
              <a:endParaRPr lang="en-US" sz="1400" b="1" dirty="0">
                <a:solidFill>
                  <a:schemeClr val="bg1"/>
                </a:solidFill>
              </a:endParaRPr>
            </a:p>
          </p:txBody>
        </p:sp>
        <p:sp>
          <p:nvSpPr>
            <p:cNvPr id="163" name="文本框 106">
              <a:extLst>
                <a:ext uri="{FF2B5EF4-FFF2-40B4-BE49-F238E27FC236}">
                  <a16:creationId xmlns:a16="http://schemas.microsoft.com/office/drawing/2014/main" id="{85611E3E-9EA2-439F-A0D8-419697612AD8}"/>
                </a:ext>
              </a:extLst>
            </p:cNvPr>
            <p:cNvSpPr txBox="1"/>
            <p:nvPr/>
          </p:nvSpPr>
          <p:spPr>
            <a:xfrm>
              <a:off x="7007066" y="2474009"/>
              <a:ext cx="4614106" cy="430887"/>
            </a:xfrm>
            <a:prstGeom prst="rect">
              <a:avLst/>
            </a:prstGeom>
            <a:noFill/>
          </p:spPr>
          <p:txBody>
            <a:bodyPr vert="horz" wrap="square" lIns="0" tIns="0" rIns="0" bIns="0" rtlCol="0">
              <a:spAutoFit/>
            </a:bodyPr>
            <a:lstStyle/>
            <a:p>
              <a:pPr>
                <a:spcBef>
                  <a:spcPts val="200"/>
                </a:spcBef>
                <a:buSzPct val="100000"/>
              </a:pPr>
              <a:r>
                <a:rPr lang="fr-FR" altLang="zh-CN" sz="1400" dirty="0"/>
                <a:t>Accès à une expertise hautement qualifiée en matière de cybersécurité pour faire face aux menaces sophistiquées.</a:t>
              </a:r>
              <a:endParaRPr lang="en-US" sz="1400" dirty="0"/>
            </a:p>
          </p:txBody>
        </p:sp>
      </p:grpSp>
      <p:grpSp>
        <p:nvGrpSpPr>
          <p:cNvPr id="5" name="Groupe 4">
            <a:extLst>
              <a:ext uri="{FF2B5EF4-FFF2-40B4-BE49-F238E27FC236}">
                <a16:creationId xmlns:a16="http://schemas.microsoft.com/office/drawing/2014/main" id="{B99FB03A-A3A4-48C5-9FA8-4AD4DBF1946D}"/>
              </a:ext>
            </a:extLst>
          </p:cNvPr>
          <p:cNvGrpSpPr/>
          <p:nvPr/>
        </p:nvGrpSpPr>
        <p:grpSpPr>
          <a:xfrm>
            <a:off x="5260763" y="3741746"/>
            <a:ext cx="6438900" cy="795338"/>
            <a:chOff x="5087982" y="3238509"/>
            <a:chExt cx="6438900" cy="795338"/>
          </a:xfrm>
        </p:grpSpPr>
        <p:sp>
          <p:nvSpPr>
            <p:cNvPr id="119" name="Rectangle 8">
              <a:extLst>
                <a:ext uri="{FF2B5EF4-FFF2-40B4-BE49-F238E27FC236}">
                  <a16:creationId xmlns:a16="http://schemas.microsoft.com/office/drawing/2014/main" id="{8BB3E113-DBDC-4943-BC20-08A1D8647163}"/>
                </a:ext>
              </a:extLst>
            </p:cNvPr>
            <p:cNvSpPr>
              <a:spLocks noChangeArrowheads="1"/>
            </p:cNvSpPr>
            <p:nvPr/>
          </p:nvSpPr>
          <p:spPr bwMode="auto">
            <a:xfrm>
              <a:off x="5087982" y="3238509"/>
              <a:ext cx="1811491"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9">
              <a:extLst>
                <a:ext uri="{FF2B5EF4-FFF2-40B4-BE49-F238E27FC236}">
                  <a16:creationId xmlns:a16="http://schemas.microsoft.com/office/drawing/2014/main" id="{DBA511E5-8029-4BAF-B020-F9BACBA7C36A}"/>
                </a:ext>
              </a:extLst>
            </p:cNvPr>
            <p:cNvSpPr>
              <a:spLocks noChangeArrowheads="1"/>
            </p:cNvSpPr>
            <p:nvPr/>
          </p:nvSpPr>
          <p:spPr bwMode="auto">
            <a:xfrm>
              <a:off x="5087982" y="3238509"/>
              <a:ext cx="6438900"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文本框 106">
              <a:extLst>
                <a:ext uri="{FF2B5EF4-FFF2-40B4-BE49-F238E27FC236}">
                  <a16:creationId xmlns:a16="http://schemas.microsoft.com/office/drawing/2014/main" id="{D27B26C8-C13D-464F-B11A-DE828B22FFC3}"/>
                </a:ext>
              </a:extLst>
            </p:cNvPr>
            <p:cNvSpPr txBox="1"/>
            <p:nvPr/>
          </p:nvSpPr>
          <p:spPr>
            <a:xfrm>
              <a:off x="5549945" y="3435562"/>
              <a:ext cx="1236946" cy="215444"/>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Coûts réduits</a:t>
              </a:r>
            </a:p>
          </p:txBody>
        </p:sp>
        <p:sp>
          <p:nvSpPr>
            <p:cNvPr id="167" name="文本框 106">
              <a:extLst>
                <a:ext uri="{FF2B5EF4-FFF2-40B4-BE49-F238E27FC236}">
                  <a16:creationId xmlns:a16="http://schemas.microsoft.com/office/drawing/2014/main" id="{3DDDC167-0805-4D3B-AE2C-251C02306ACE}"/>
                </a:ext>
              </a:extLst>
            </p:cNvPr>
            <p:cNvSpPr txBox="1"/>
            <p:nvPr/>
          </p:nvSpPr>
          <p:spPr>
            <a:xfrm>
              <a:off x="7091004" y="3420734"/>
              <a:ext cx="3727266" cy="430887"/>
            </a:xfrm>
            <a:prstGeom prst="rect">
              <a:avLst/>
            </a:prstGeom>
            <a:noFill/>
          </p:spPr>
          <p:txBody>
            <a:bodyPr vert="horz" wrap="square" lIns="0" tIns="0" rIns="0" bIns="0" rtlCol="0">
              <a:spAutoFit/>
            </a:bodyPr>
            <a:lstStyle/>
            <a:p>
              <a:pPr>
                <a:spcBef>
                  <a:spcPts val="200"/>
                </a:spcBef>
                <a:buSzPct val="100000"/>
              </a:pPr>
              <a:r>
                <a:rPr lang="fr-FR" altLang="zh-CN" sz="1400" dirty="0"/>
                <a:t>Économies financières par rapport à l'embauche d'un CISO permanent.</a:t>
              </a:r>
              <a:endParaRPr lang="en-US" sz="1400" dirty="0"/>
            </a:p>
          </p:txBody>
        </p:sp>
      </p:grpSp>
      <p:grpSp>
        <p:nvGrpSpPr>
          <p:cNvPr id="4" name="Groupe 3">
            <a:extLst>
              <a:ext uri="{FF2B5EF4-FFF2-40B4-BE49-F238E27FC236}">
                <a16:creationId xmlns:a16="http://schemas.microsoft.com/office/drawing/2014/main" id="{66284D0F-7842-438C-9D29-AC16148EE6A5}"/>
              </a:ext>
            </a:extLst>
          </p:cNvPr>
          <p:cNvGrpSpPr/>
          <p:nvPr/>
        </p:nvGrpSpPr>
        <p:grpSpPr>
          <a:xfrm>
            <a:off x="5181388" y="4839236"/>
            <a:ext cx="6794500" cy="803918"/>
            <a:chOff x="5181388" y="4839236"/>
            <a:chExt cx="6794500" cy="803918"/>
          </a:xfrm>
        </p:grpSpPr>
        <p:sp>
          <p:nvSpPr>
            <p:cNvPr id="121" name="Rectangle 10">
              <a:extLst>
                <a:ext uri="{FF2B5EF4-FFF2-40B4-BE49-F238E27FC236}">
                  <a16:creationId xmlns:a16="http://schemas.microsoft.com/office/drawing/2014/main" id="{EECC24BB-F3E3-4694-B71D-CFCCEB9DDADC}"/>
                </a:ext>
              </a:extLst>
            </p:cNvPr>
            <p:cNvSpPr>
              <a:spLocks noChangeArrowheads="1"/>
            </p:cNvSpPr>
            <p:nvPr/>
          </p:nvSpPr>
          <p:spPr bwMode="auto">
            <a:xfrm>
              <a:off x="5181388" y="4839237"/>
              <a:ext cx="1890866" cy="803917"/>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1">
              <a:extLst>
                <a:ext uri="{FF2B5EF4-FFF2-40B4-BE49-F238E27FC236}">
                  <a16:creationId xmlns:a16="http://schemas.microsoft.com/office/drawing/2014/main" id="{4799DAD5-7EDB-4FB6-9D0D-6E4A79685091}"/>
                </a:ext>
              </a:extLst>
            </p:cNvPr>
            <p:cNvSpPr>
              <a:spLocks noChangeArrowheads="1"/>
            </p:cNvSpPr>
            <p:nvPr/>
          </p:nvSpPr>
          <p:spPr bwMode="auto">
            <a:xfrm>
              <a:off x="5536988" y="4839236"/>
              <a:ext cx="6438900"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文本框 106">
              <a:extLst>
                <a:ext uri="{FF2B5EF4-FFF2-40B4-BE49-F238E27FC236}">
                  <a16:creationId xmlns:a16="http://schemas.microsoft.com/office/drawing/2014/main" id="{19781465-D084-42C0-8F11-EA8A6B40B50B}"/>
                </a:ext>
              </a:extLst>
            </p:cNvPr>
            <p:cNvSpPr txBox="1"/>
            <p:nvPr/>
          </p:nvSpPr>
          <p:spPr>
            <a:xfrm>
              <a:off x="5992601" y="5016113"/>
              <a:ext cx="935037" cy="430887"/>
            </a:xfrm>
            <a:prstGeom prst="rect">
              <a:avLst/>
            </a:prstGeom>
            <a:noFill/>
          </p:spPr>
          <p:txBody>
            <a:bodyPr vert="horz" wrap="square" lIns="0" tIns="0" rIns="0" bIns="0" rtlCol="0">
              <a:spAutoFit/>
            </a:bodyPr>
            <a:lstStyle/>
            <a:p>
              <a:pPr>
                <a:spcBef>
                  <a:spcPts val="200"/>
                </a:spcBef>
                <a:buSzPct val="100000"/>
              </a:pPr>
              <a:r>
                <a:rPr lang="fr-FR" sz="1400" b="1" dirty="0">
                  <a:solidFill>
                    <a:schemeClr val="bg1"/>
                  </a:solidFill>
                </a:rPr>
                <a:t>Flexibilité et scalabilité</a:t>
              </a:r>
            </a:p>
          </p:txBody>
        </p:sp>
        <p:sp>
          <p:nvSpPr>
            <p:cNvPr id="171" name="文本框 106">
              <a:extLst>
                <a:ext uri="{FF2B5EF4-FFF2-40B4-BE49-F238E27FC236}">
                  <a16:creationId xmlns:a16="http://schemas.microsoft.com/office/drawing/2014/main" id="{D628E6C3-A266-430E-8C58-90D97AB26078}"/>
                </a:ext>
              </a:extLst>
            </p:cNvPr>
            <p:cNvSpPr txBox="1"/>
            <p:nvPr/>
          </p:nvSpPr>
          <p:spPr>
            <a:xfrm>
              <a:off x="7364691" y="4932898"/>
              <a:ext cx="4222660" cy="646331"/>
            </a:xfrm>
            <a:prstGeom prst="rect">
              <a:avLst/>
            </a:prstGeom>
            <a:noFill/>
          </p:spPr>
          <p:txBody>
            <a:bodyPr vert="horz" wrap="square" lIns="0" tIns="0" rIns="0" bIns="0" rtlCol="0">
              <a:spAutoFit/>
            </a:bodyPr>
            <a:lstStyle/>
            <a:p>
              <a:pPr>
                <a:spcBef>
                  <a:spcPts val="200"/>
                </a:spcBef>
                <a:buSzPct val="100000"/>
              </a:pPr>
              <a:r>
                <a:rPr lang="fr-FR" altLang="zh-CN" sz="1400" b="1" dirty="0"/>
                <a:t>Adaptabilité aux besoins changeants de l'entreprise, en permettant une augmentation ou une diminution de la portée des services.</a:t>
              </a:r>
              <a:endParaRPr lang="en-US" sz="1400" b="1" dirty="0"/>
            </a:p>
          </p:txBody>
        </p:sp>
      </p:grpSp>
      <p:sp>
        <p:nvSpPr>
          <p:cNvPr id="61" name="TextBox 60">
            <a:extLst>
              <a:ext uri="{FF2B5EF4-FFF2-40B4-BE49-F238E27FC236}">
                <a16:creationId xmlns:a16="http://schemas.microsoft.com/office/drawing/2014/main" id="{7106FA92-EF01-4191-90E3-6759EF0B7553}"/>
              </a:ext>
            </a:extLst>
          </p:cNvPr>
          <p:cNvSpPr txBox="1"/>
          <p:nvPr/>
        </p:nvSpPr>
        <p:spPr>
          <a:xfrm>
            <a:off x="565980" y="1428403"/>
            <a:ext cx="12247049" cy="342210"/>
          </a:xfrm>
          <a:prstGeom prst="rect">
            <a:avLst/>
          </a:prstGeom>
          <a:noFill/>
          <a:ln>
            <a:noFill/>
            <a:prstDash val="dash"/>
          </a:ln>
        </p:spPr>
        <p:txBody>
          <a:bodyPr wrap="square">
            <a:spAutoFit/>
          </a:bodyPr>
          <a:lstStyle/>
          <a:p>
            <a:pPr marL="0" lvl="1" algn="just" fontAlgn="base">
              <a:lnSpc>
                <a:spcPct val="106000"/>
              </a:lnSpc>
              <a:spcAft>
                <a:spcPts val="364"/>
              </a:spcAft>
              <a:buClr>
                <a:srgbClr val="000000"/>
              </a:buClr>
            </a:pPr>
            <a:r>
              <a:rPr lang="fr-FR" sz="1600"/>
              <a:t>L'intérêt du CISO en tant que service réside dans plusieurs aspects clés :</a:t>
            </a:r>
            <a:endParaRPr lang="fr-FR" sz="1200">
              <a:cs typeface="Times New Roman" panose="02020603050405020304" pitchFamily="18" charset="0"/>
            </a:endParaRPr>
          </a:p>
        </p:txBody>
      </p:sp>
      <p:sp>
        <p:nvSpPr>
          <p:cNvPr id="127" name="Oval 16">
            <a:extLst>
              <a:ext uri="{FF2B5EF4-FFF2-40B4-BE49-F238E27FC236}">
                <a16:creationId xmlns:a16="http://schemas.microsoft.com/office/drawing/2014/main" id="{36D2A68F-A686-4C36-B5F1-3B7F8C1B8339}"/>
              </a:ext>
            </a:extLst>
          </p:cNvPr>
          <p:cNvSpPr>
            <a:spLocks noChangeArrowheads="1"/>
          </p:cNvSpPr>
          <p:nvPr/>
        </p:nvSpPr>
        <p:spPr bwMode="auto">
          <a:xfrm>
            <a:off x="1132725" y="2211067"/>
            <a:ext cx="4564063" cy="4735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ZoneTexte 64">
            <a:extLst>
              <a:ext uri="{FF2B5EF4-FFF2-40B4-BE49-F238E27FC236}">
                <a16:creationId xmlns:a16="http://schemas.microsoft.com/office/drawing/2014/main" id="{734D484A-4F6E-4414-ADCA-F3C326F314EE}"/>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5</a:t>
            </a:r>
          </a:p>
        </p:txBody>
      </p:sp>
      <p:sp>
        <p:nvSpPr>
          <p:cNvPr id="128" name="Freeform 17">
            <a:extLst>
              <a:ext uri="{FF2B5EF4-FFF2-40B4-BE49-F238E27FC236}">
                <a16:creationId xmlns:a16="http://schemas.microsoft.com/office/drawing/2014/main" id="{E24EA950-C290-4C89-9F1C-40F15363E3BF}"/>
              </a:ext>
            </a:extLst>
          </p:cNvPr>
          <p:cNvSpPr>
            <a:spLocks/>
          </p:cNvSpPr>
          <p:nvPr/>
        </p:nvSpPr>
        <p:spPr bwMode="auto">
          <a:xfrm>
            <a:off x="4185486" y="6033716"/>
            <a:ext cx="207963" cy="207963"/>
          </a:xfrm>
          <a:custGeom>
            <a:avLst/>
            <a:gdLst>
              <a:gd name="T0" fmla="*/ 34 w 37"/>
              <a:gd name="T1" fmla="*/ 14 h 37"/>
              <a:gd name="T2" fmla="*/ 24 w 37"/>
              <a:gd name="T3" fmla="*/ 34 h 37"/>
              <a:gd name="T4" fmla="*/ 3 w 37"/>
              <a:gd name="T5" fmla="*/ 24 h 37"/>
              <a:gd name="T6" fmla="*/ 14 w 37"/>
              <a:gd name="T7" fmla="*/ 3 h 37"/>
              <a:gd name="T8" fmla="*/ 34 w 37"/>
              <a:gd name="T9" fmla="*/ 14 h 37"/>
            </a:gdLst>
            <a:ahLst/>
            <a:cxnLst>
              <a:cxn ang="0">
                <a:pos x="T0" y="T1"/>
              </a:cxn>
              <a:cxn ang="0">
                <a:pos x="T2" y="T3"/>
              </a:cxn>
              <a:cxn ang="0">
                <a:pos x="T4" y="T5"/>
              </a:cxn>
              <a:cxn ang="0">
                <a:pos x="T6" y="T7"/>
              </a:cxn>
              <a:cxn ang="0">
                <a:pos x="T8" y="T9"/>
              </a:cxn>
            </a:cxnLst>
            <a:rect l="0" t="0" r="r" b="b"/>
            <a:pathLst>
              <a:path w="37" h="37">
                <a:moveTo>
                  <a:pt x="34" y="14"/>
                </a:moveTo>
                <a:cubicBezTo>
                  <a:pt x="37" y="22"/>
                  <a:pt x="32" y="32"/>
                  <a:pt x="24" y="34"/>
                </a:cubicBezTo>
                <a:cubicBezTo>
                  <a:pt x="15" y="37"/>
                  <a:pt x="6" y="32"/>
                  <a:pt x="3" y="24"/>
                </a:cubicBezTo>
                <a:cubicBezTo>
                  <a:pt x="0" y="15"/>
                  <a:pt x="5" y="6"/>
                  <a:pt x="14" y="3"/>
                </a:cubicBezTo>
                <a:cubicBezTo>
                  <a:pt x="22" y="0"/>
                  <a:pt x="31" y="5"/>
                  <a:pt x="34" y="1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9009F0D8-05B2-4A33-9FA3-73A1B1C17DD4}"/>
              </a:ext>
            </a:extLst>
          </p:cNvPr>
          <p:cNvSpPr>
            <a:spLocks/>
          </p:cNvSpPr>
          <p:nvPr/>
        </p:nvSpPr>
        <p:spPr bwMode="auto">
          <a:xfrm rot="20992730">
            <a:off x="4374762" y="5399223"/>
            <a:ext cx="845930" cy="664291"/>
          </a:xfrm>
          <a:custGeom>
            <a:avLst/>
            <a:gdLst>
              <a:gd name="T0" fmla="*/ 4 w 127"/>
              <a:gd name="T1" fmla="*/ 95 h 95"/>
              <a:gd name="T2" fmla="*/ 0 w 127"/>
              <a:gd name="T3" fmla="*/ 87 h 95"/>
              <a:gd name="T4" fmla="*/ 121 w 127"/>
              <a:gd name="T5" fmla="*/ 0 h 95"/>
              <a:gd name="T6" fmla="*/ 127 w 127"/>
              <a:gd name="T7" fmla="*/ 6 h 95"/>
              <a:gd name="T8" fmla="*/ 4 w 127"/>
              <a:gd name="T9" fmla="*/ 95 h 95"/>
            </a:gdLst>
            <a:ahLst/>
            <a:cxnLst>
              <a:cxn ang="0">
                <a:pos x="T0" y="T1"/>
              </a:cxn>
              <a:cxn ang="0">
                <a:pos x="T2" y="T3"/>
              </a:cxn>
              <a:cxn ang="0">
                <a:pos x="T4" y="T5"/>
              </a:cxn>
              <a:cxn ang="0">
                <a:pos x="T6" y="T7"/>
              </a:cxn>
              <a:cxn ang="0">
                <a:pos x="T8" y="T9"/>
              </a:cxn>
            </a:cxnLst>
            <a:rect l="0" t="0" r="r" b="b"/>
            <a:pathLst>
              <a:path w="127" h="95">
                <a:moveTo>
                  <a:pt x="4" y="95"/>
                </a:moveTo>
                <a:cubicBezTo>
                  <a:pt x="0" y="87"/>
                  <a:pt x="0" y="87"/>
                  <a:pt x="0" y="87"/>
                </a:cubicBezTo>
                <a:cubicBezTo>
                  <a:pt x="46" y="67"/>
                  <a:pt x="88" y="37"/>
                  <a:pt x="121" y="0"/>
                </a:cubicBezTo>
                <a:cubicBezTo>
                  <a:pt x="127" y="6"/>
                  <a:pt x="127" y="6"/>
                  <a:pt x="127" y="6"/>
                </a:cubicBezTo>
                <a:cubicBezTo>
                  <a:pt x="94" y="44"/>
                  <a:pt x="51" y="75"/>
                  <a:pt x="4" y="95"/>
                </a:cubicBezTo>
                <a:close/>
              </a:path>
            </a:pathLst>
          </a:custGeom>
          <a:solidFill>
            <a:srgbClr val="7FBE2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3">
            <a:extLst>
              <a:ext uri="{FF2B5EF4-FFF2-40B4-BE49-F238E27FC236}">
                <a16:creationId xmlns:a16="http://schemas.microsoft.com/office/drawing/2014/main" id="{96D4CE5B-DE4E-4185-8E77-7765B2AD0DDE}"/>
              </a:ext>
            </a:extLst>
          </p:cNvPr>
          <p:cNvSpPr>
            <a:spLocks/>
          </p:cNvSpPr>
          <p:nvPr/>
        </p:nvSpPr>
        <p:spPr bwMode="auto">
          <a:xfrm rot="20331017">
            <a:off x="5144973" y="4226899"/>
            <a:ext cx="326538" cy="785740"/>
          </a:xfrm>
          <a:custGeom>
            <a:avLst/>
            <a:gdLst>
              <a:gd name="T0" fmla="*/ 8 w 55"/>
              <a:gd name="T1" fmla="*/ 146 h 146"/>
              <a:gd name="T2" fmla="*/ 0 w 55"/>
              <a:gd name="T3" fmla="*/ 141 h 146"/>
              <a:gd name="T4" fmla="*/ 46 w 55"/>
              <a:gd name="T5" fmla="*/ 0 h 146"/>
              <a:gd name="T6" fmla="*/ 55 w 55"/>
              <a:gd name="T7" fmla="*/ 1 h 146"/>
              <a:gd name="T8" fmla="*/ 8 w 55"/>
              <a:gd name="T9" fmla="*/ 146 h 146"/>
            </a:gdLst>
            <a:ahLst/>
            <a:cxnLst>
              <a:cxn ang="0">
                <a:pos x="T0" y="T1"/>
              </a:cxn>
              <a:cxn ang="0">
                <a:pos x="T2" y="T3"/>
              </a:cxn>
              <a:cxn ang="0">
                <a:pos x="T4" y="T5"/>
              </a:cxn>
              <a:cxn ang="0">
                <a:pos x="T6" y="T7"/>
              </a:cxn>
              <a:cxn ang="0">
                <a:pos x="T8" y="T9"/>
              </a:cxn>
            </a:cxnLst>
            <a:rect l="0" t="0" r="r" b="b"/>
            <a:pathLst>
              <a:path w="55" h="146">
                <a:moveTo>
                  <a:pt x="8" y="146"/>
                </a:moveTo>
                <a:cubicBezTo>
                  <a:pt x="0" y="141"/>
                  <a:pt x="0" y="141"/>
                  <a:pt x="0" y="141"/>
                </a:cubicBezTo>
                <a:cubicBezTo>
                  <a:pt x="25" y="98"/>
                  <a:pt x="41" y="49"/>
                  <a:pt x="46" y="0"/>
                </a:cubicBezTo>
                <a:cubicBezTo>
                  <a:pt x="55" y="1"/>
                  <a:pt x="55" y="1"/>
                  <a:pt x="55" y="1"/>
                </a:cubicBezTo>
                <a:cubicBezTo>
                  <a:pt x="50" y="52"/>
                  <a:pt x="34" y="102"/>
                  <a:pt x="8" y="146"/>
                </a:cubicBezTo>
                <a:close/>
              </a:path>
            </a:pathLst>
          </a:custGeom>
          <a:solidFill>
            <a:srgbClr val="9AD3CE"/>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CD998AF5-EB20-47BD-9416-32F2C36292B6}"/>
              </a:ext>
            </a:extLst>
          </p:cNvPr>
          <p:cNvSpPr>
            <a:spLocks/>
          </p:cNvSpPr>
          <p:nvPr/>
        </p:nvSpPr>
        <p:spPr bwMode="auto">
          <a:xfrm>
            <a:off x="4451189" y="3069942"/>
            <a:ext cx="685160" cy="835026"/>
          </a:xfrm>
          <a:custGeom>
            <a:avLst/>
            <a:gdLst>
              <a:gd name="T0" fmla="*/ 121 w 127"/>
              <a:gd name="T1" fmla="*/ 96 h 96"/>
              <a:gd name="T2" fmla="*/ 0 w 127"/>
              <a:gd name="T3" fmla="*/ 9 h 96"/>
              <a:gd name="T4" fmla="*/ 4 w 127"/>
              <a:gd name="T5" fmla="*/ 0 h 96"/>
              <a:gd name="T6" fmla="*/ 127 w 127"/>
              <a:gd name="T7" fmla="*/ 90 h 96"/>
              <a:gd name="T8" fmla="*/ 121 w 127"/>
              <a:gd name="T9" fmla="*/ 96 h 96"/>
            </a:gdLst>
            <a:ahLst/>
            <a:cxnLst>
              <a:cxn ang="0">
                <a:pos x="T0" y="T1"/>
              </a:cxn>
              <a:cxn ang="0">
                <a:pos x="T2" y="T3"/>
              </a:cxn>
              <a:cxn ang="0">
                <a:pos x="T4" y="T5"/>
              </a:cxn>
              <a:cxn ang="0">
                <a:pos x="T6" y="T7"/>
              </a:cxn>
              <a:cxn ang="0">
                <a:pos x="T8" y="T9"/>
              </a:cxn>
            </a:cxnLst>
            <a:rect l="0" t="0" r="r" b="b"/>
            <a:pathLst>
              <a:path w="127" h="96">
                <a:moveTo>
                  <a:pt x="121" y="96"/>
                </a:moveTo>
                <a:cubicBezTo>
                  <a:pt x="88" y="58"/>
                  <a:pt x="46" y="28"/>
                  <a:pt x="0" y="9"/>
                </a:cubicBezTo>
                <a:cubicBezTo>
                  <a:pt x="4" y="0"/>
                  <a:pt x="4" y="0"/>
                  <a:pt x="4" y="0"/>
                </a:cubicBezTo>
                <a:cubicBezTo>
                  <a:pt x="51" y="20"/>
                  <a:pt x="94" y="52"/>
                  <a:pt x="127" y="90"/>
                </a:cubicBezTo>
                <a:lnTo>
                  <a:pt x="121" y="96"/>
                </a:lnTo>
                <a:close/>
              </a:path>
            </a:pathLst>
          </a:custGeom>
          <a:solidFill>
            <a:srgbClr val="696B7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26">
            <a:extLst>
              <a:ext uri="{FF2B5EF4-FFF2-40B4-BE49-F238E27FC236}">
                <a16:creationId xmlns:a16="http://schemas.microsoft.com/office/drawing/2014/main" id="{CCDF4F6F-D84D-4041-B1F9-1A4E99D3B08C}"/>
              </a:ext>
            </a:extLst>
          </p:cNvPr>
          <p:cNvSpPr>
            <a:spLocks/>
          </p:cNvSpPr>
          <p:nvPr/>
        </p:nvSpPr>
        <p:spPr bwMode="auto">
          <a:xfrm>
            <a:off x="2451144" y="5829309"/>
            <a:ext cx="912813" cy="333375"/>
          </a:xfrm>
          <a:custGeom>
            <a:avLst/>
            <a:gdLst>
              <a:gd name="T0" fmla="*/ 162 w 162"/>
              <a:gd name="T1" fmla="*/ 59 h 59"/>
              <a:gd name="T2" fmla="*/ 0 w 162"/>
              <a:gd name="T3" fmla="*/ 7 h 59"/>
              <a:gd name="T4" fmla="*/ 5 w 162"/>
              <a:gd name="T5" fmla="*/ 0 h 59"/>
              <a:gd name="T6" fmla="*/ 162 w 162"/>
              <a:gd name="T7" fmla="*/ 50 h 59"/>
              <a:gd name="T8" fmla="*/ 162 w 162"/>
              <a:gd name="T9" fmla="*/ 59 h 59"/>
            </a:gdLst>
            <a:ahLst/>
            <a:cxnLst>
              <a:cxn ang="0">
                <a:pos x="T0" y="T1"/>
              </a:cxn>
              <a:cxn ang="0">
                <a:pos x="T2" y="T3"/>
              </a:cxn>
              <a:cxn ang="0">
                <a:pos x="T4" y="T5"/>
              </a:cxn>
              <a:cxn ang="0">
                <a:pos x="T6" y="T7"/>
              </a:cxn>
              <a:cxn ang="0">
                <a:pos x="T8" y="T9"/>
              </a:cxn>
            </a:cxnLst>
            <a:rect l="0" t="0" r="r" b="b"/>
            <a:pathLst>
              <a:path w="162" h="59">
                <a:moveTo>
                  <a:pt x="162" y="59"/>
                </a:moveTo>
                <a:cubicBezTo>
                  <a:pt x="104" y="59"/>
                  <a:pt x="48" y="41"/>
                  <a:pt x="0" y="7"/>
                </a:cubicBezTo>
                <a:cubicBezTo>
                  <a:pt x="5" y="0"/>
                  <a:pt x="5" y="0"/>
                  <a:pt x="5" y="0"/>
                </a:cubicBezTo>
                <a:cubicBezTo>
                  <a:pt x="52" y="32"/>
                  <a:pt x="106" y="50"/>
                  <a:pt x="162" y="50"/>
                </a:cubicBezTo>
                <a:lnTo>
                  <a:pt x="162" y="59"/>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C4279C18-DBD1-47DD-B06A-CBD3B382187D}"/>
              </a:ext>
            </a:extLst>
          </p:cNvPr>
          <p:cNvSpPr>
            <a:spLocks/>
          </p:cNvSpPr>
          <p:nvPr/>
        </p:nvSpPr>
        <p:spPr bwMode="auto">
          <a:xfrm>
            <a:off x="1841544" y="5045084"/>
            <a:ext cx="598488" cy="795338"/>
          </a:xfrm>
          <a:custGeom>
            <a:avLst/>
            <a:gdLst>
              <a:gd name="T0" fmla="*/ 101 w 106"/>
              <a:gd name="T1" fmla="*/ 141 h 141"/>
              <a:gd name="T2" fmla="*/ 0 w 106"/>
              <a:gd name="T3" fmla="*/ 3 h 141"/>
              <a:gd name="T4" fmla="*/ 9 w 106"/>
              <a:gd name="T5" fmla="*/ 0 h 141"/>
              <a:gd name="T6" fmla="*/ 106 w 106"/>
              <a:gd name="T7" fmla="*/ 134 h 141"/>
              <a:gd name="T8" fmla="*/ 101 w 106"/>
              <a:gd name="T9" fmla="*/ 141 h 141"/>
            </a:gdLst>
            <a:ahLst/>
            <a:cxnLst>
              <a:cxn ang="0">
                <a:pos x="T0" y="T1"/>
              </a:cxn>
              <a:cxn ang="0">
                <a:pos x="T2" y="T3"/>
              </a:cxn>
              <a:cxn ang="0">
                <a:pos x="T4" y="T5"/>
              </a:cxn>
              <a:cxn ang="0">
                <a:pos x="T6" y="T7"/>
              </a:cxn>
              <a:cxn ang="0">
                <a:pos x="T8" y="T9"/>
              </a:cxn>
            </a:cxnLst>
            <a:rect l="0" t="0" r="r" b="b"/>
            <a:pathLst>
              <a:path w="106" h="141">
                <a:moveTo>
                  <a:pt x="101" y="141"/>
                </a:moveTo>
                <a:cubicBezTo>
                  <a:pt x="54" y="106"/>
                  <a:pt x="19" y="58"/>
                  <a:pt x="0" y="3"/>
                </a:cubicBezTo>
                <a:cubicBezTo>
                  <a:pt x="9" y="0"/>
                  <a:pt x="9" y="0"/>
                  <a:pt x="9" y="0"/>
                </a:cubicBezTo>
                <a:cubicBezTo>
                  <a:pt x="27" y="54"/>
                  <a:pt x="61" y="100"/>
                  <a:pt x="106" y="134"/>
                </a:cubicBezTo>
                <a:lnTo>
                  <a:pt x="101" y="141"/>
                </a:ln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A8359647-0C46-4769-9E91-6B7A18890B2B}"/>
              </a:ext>
            </a:extLst>
          </p:cNvPr>
          <p:cNvSpPr>
            <a:spLocks/>
          </p:cNvSpPr>
          <p:nvPr/>
        </p:nvSpPr>
        <p:spPr bwMode="auto">
          <a:xfrm>
            <a:off x="1728832" y="4051309"/>
            <a:ext cx="147638" cy="965200"/>
          </a:xfrm>
          <a:custGeom>
            <a:avLst/>
            <a:gdLst>
              <a:gd name="T0" fmla="*/ 17 w 26"/>
              <a:gd name="T1" fmla="*/ 171 h 171"/>
              <a:gd name="T2" fmla="*/ 17 w 26"/>
              <a:gd name="T3" fmla="*/ 0 h 171"/>
              <a:gd name="T4" fmla="*/ 26 w 26"/>
              <a:gd name="T5" fmla="*/ 3 h 171"/>
              <a:gd name="T6" fmla="*/ 26 w 26"/>
              <a:gd name="T7" fmla="*/ 168 h 171"/>
              <a:gd name="T8" fmla="*/ 17 w 26"/>
              <a:gd name="T9" fmla="*/ 171 h 171"/>
            </a:gdLst>
            <a:ahLst/>
            <a:cxnLst>
              <a:cxn ang="0">
                <a:pos x="T0" y="T1"/>
              </a:cxn>
              <a:cxn ang="0">
                <a:pos x="T2" y="T3"/>
              </a:cxn>
              <a:cxn ang="0">
                <a:pos x="T4" y="T5"/>
              </a:cxn>
              <a:cxn ang="0">
                <a:pos x="T6" y="T7"/>
              </a:cxn>
              <a:cxn ang="0">
                <a:pos x="T8" y="T9"/>
              </a:cxn>
            </a:cxnLst>
            <a:rect l="0" t="0" r="r" b="b"/>
            <a:pathLst>
              <a:path w="26" h="171">
                <a:moveTo>
                  <a:pt x="17" y="171"/>
                </a:moveTo>
                <a:cubicBezTo>
                  <a:pt x="0" y="115"/>
                  <a:pt x="0" y="56"/>
                  <a:pt x="17" y="0"/>
                </a:cubicBezTo>
                <a:cubicBezTo>
                  <a:pt x="26" y="3"/>
                  <a:pt x="26" y="3"/>
                  <a:pt x="26" y="3"/>
                </a:cubicBezTo>
                <a:cubicBezTo>
                  <a:pt x="9" y="57"/>
                  <a:pt x="9" y="114"/>
                  <a:pt x="26" y="168"/>
                </a:cubicBezTo>
                <a:lnTo>
                  <a:pt x="17" y="17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CAA7ACED-407E-44A1-8A1A-69800FADEE5F}"/>
              </a:ext>
            </a:extLst>
          </p:cNvPr>
          <p:cNvSpPr>
            <a:spLocks/>
          </p:cNvSpPr>
          <p:nvPr/>
        </p:nvSpPr>
        <p:spPr bwMode="auto">
          <a:xfrm>
            <a:off x="1841544" y="3227396"/>
            <a:ext cx="592138" cy="795338"/>
          </a:xfrm>
          <a:custGeom>
            <a:avLst/>
            <a:gdLst>
              <a:gd name="T0" fmla="*/ 8 w 105"/>
              <a:gd name="T1" fmla="*/ 141 h 141"/>
              <a:gd name="T2" fmla="*/ 0 w 105"/>
              <a:gd name="T3" fmla="*/ 138 h 141"/>
              <a:gd name="T4" fmla="*/ 100 w 105"/>
              <a:gd name="T5" fmla="*/ 0 h 141"/>
              <a:gd name="T6" fmla="*/ 105 w 105"/>
              <a:gd name="T7" fmla="*/ 7 h 141"/>
              <a:gd name="T8" fmla="*/ 8 w 105"/>
              <a:gd name="T9" fmla="*/ 141 h 141"/>
            </a:gdLst>
            <a:ahLst/>
            <a:cxnLst>
              <a:cxn ang="0">
                <a:pos x="T0" y="T1"/>
              </a:cxn>
              <a:cxn ang="0">
                <a:pos x="T2" y="T3"/>
              </a:cxn>
              <a:cxn ang="0">
                <a:pos x="T4" y="T5"/>
              </a:cxn>
              <a:cxn ang="0">
                <a:pos x="T6" y="T7"/>
              </a:cxn>
              <a:cxn ang="0">
                <a:pos x="T8" y="T9"/>
              </a:cxn>
            </a:cxnLst>
            <a:rect l="0" t="0" r="r" b="b"/>
            <a:pathLst>
              <a:path w="105" h="141">
                <a:moveTo>
                  <a:pt x="8" y="141"/>
                </a:moveTo>
                <a:cubicBezTo>
                  <a:pt x="0" y="138"/>
                  <a:pt x="0" y="138"/>
                  <a:pt x="0" y="138"/>
                </a:cubicBezTo>
                <a:cubicBezTo>
                  <a:pt x="19" y="83"/>
                  <a:pt x="53" y="35"/>
                  <a:pt x="100" y="0"/>
                </a:cubicBezTo>
                <a:cubicBezTo>
                  <a:pt x="105" y="7"/>
                  <a:pt x="105" y="7"/>
                  <a:pt x="105" y="7"/>
                </a:cubicBezTo>
                <a:cubicBezTo>
                  <a:pt x="60" y="41"/>
                  <a:pt x="26" y="87"/>
                  <a:pt x="8" y="141"/>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40F701DE-DC13-42E5-A750-9D2B7638CAA3}"/>
              </a:ext>
            </a:extLst>
          </p:cNvPr>
          <p:cNvSpPr>
            <a:spLocks/>
          </p:cNvSpPr>
          <p:nvPr/>
        </p:nvSpPr>
        <p:spPr bwMode="auto">
          <a:xfrm>
            <a:off x="2444794" y="2894021"/>
            <a:ext cx="912813" cy="344488"/>
          </a:xfrm>
          <a:custGeom>
            <a:avLst/>
            <a:gdLst>
              <a:gd name="T0" fmla="*/ 5 w 162"/>
              <a:gd name="T1" fmla="*/ 61 h 61"/>
              <a:gd name="T2" fmla="*/ 0 w 162"/>
              <a:gd name="T3" fmla="*/ 53 h 61"/>
              <a:gd name="T4" fmla="*/ 162 w 162"/>
              <a:gd name="T5" fmla="*/ 0 h 61"/>
              <a:gd name="T6" fmla="*/ 162 w 162"/>
              <a:gd name="T7" fmla="*/ 9 h 61"/>
              <a:gd name="T8" fmla="*/ 5 w 162"/>
              <a:gd name="T9" fmla="*/ 61 h 61"/>
            </a:gdLst>
            <a:ahLst/>
            <a:cxnLst>
              <a:cxn ang="0">
                <a:pos x="T0" y="T1"/>
              </a:cxn>
              <a:cxn ang="0">
                <a:pos x="T2" y="T3"/>
              </a:cxn>
              <a:cxn ang="0">
                <a:pos x="T4" y="T5"/>
              </a:cxn>
              <a:cxn ang="0">
                <a:pos x="T6" y="T7"/>
              </a:cxn>
              <a:cxn ang="0">
                <a:pos x="T8" y="T9"/>
              </a:cxn>
            </a:cxnLst>
            <a:rect l="0" t="0" r="r" b="b"/>
            <a:pathLst>
              <a:path w="162" h="61">
                <a:moveTo>
                  <a:pt x="5" y="61"/>
                </a:moveTo>
                <a:cubicBezTo>
                  <a:pt x="0" y="53"/>
                  <a:pt x="0" y="53"/>
                  <a:pt x="0" y="53"/>
                </a:cubicBezTo>
                <a:cubicBezTo>
                  <a:pt x="47" y="20"/>
                  <a:pt x="103" y="1"/>
                  <a:pt x="162" y="0"/>
                </a:cubicBezTo>
                <a:cubicBezTo>
                  <a:pt x="162" y="9"/>
                  <a:pt x="162" y="9"/>
                  <a:pt x="162" y="9"/>
                </a:cubicBezTo>
                <a:cubicBezTo>
                  <a:pt x="105" y="10"/>
                  <a:pt x="51" y="28"/>
                  <a:pt x="5" y="61"/>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E8725292-D9C8-45A1-BC87-5A1F18FC783A}"/>
              </a:ext>
            </a:extLst>
          </p:cNvPr>
          <p:cNvSpPr>
            <a:spLocks noEditPoints="1"/>
          </p:cNvSpPr>
          <p:nvPr/>
        </p:nvSpPr>
        <p:spPr bwMode="auto">
          <a:xfrm>
            <a:off x="4083886" y="5943228"/>
            <a:ext cx="411163" cy="395288"/>
          </a:xfrm>
          <a:custGeom>
            <a:avLst/>
            <a:gdLst>
              <a:gd name="T0" fmla="*/ 37 w 73"/>
              <a:gd name="T1" fmla="*/ 70 h 70"/>
              <a:gd name="T2" fmla="*/ 3 w 73"/>
              <a:gd name="T3" fmla="*/ 46 h 70"/>
              <a:gd name="T4" fmla="*/ 5 w 73"/>
              <a:gd name="T5" fmla="*/ 19 h 70"/>
              <a:gd name="T6" fmla="*/ 26 w 73"/>
              <a:gd name="T7" fmla="*/ 2 h 70"/>
              <a:gd name="T8" fmla="*/ 37 w 73"/>
              <a:gd name="T9" fmla="*/ 0 h 70"/>
              <a:gd name="T10" fmla="*/ 70 w 73"/>
              <a:gd name="T11" fmla="*/ 24 h 70"/>
              <a:gd name="T12" fmla="*/ 68 w 73"/>
              <a:gd name="T13" fmla="*/ 51 h 70"/>
              <a:gd name="T14" fmla="*/ 47 w 73"/>
              <a:gd name="T15" fmla="*/ 68 h 70"/>
              <a:gd name="T16" fmla="*/ 37 w 73"/>
              <a:gd name="T17" fmla="*/ 70 h 70"/>
              <a:gd name="T18" fmla="*/ 37 w 73"/>
              <a:gd name="T19" fmla="*/ 9 h 70"/>
              <a:gd name="T20" fmla="*/ 29 w 73"/>
              <a:gd name="T21" fmla="*/ 10 h 70"/>
              <a:gd name="T22" fmla="*/ 13 w 73"/>
              <a:gd name="T23" fmla="*/ 23 h 70"/>
              <a:gd name="T24" fmla="*/ 12 w 73"/>
              <a:gd name="T25" fmla="*/ 43 h 70"/>
              <a:gd name="T26" fmla="*/ 37 w 73"/>
              <a:gd name="T27" fmla="*/ 61 h 70"/>
              <a:gd name="T28" fmla="*/ 45 w 73"/>
              <a:gd name="T29" fmla="*/ 59 h 70"/>
              <a:gd name="T30" fmla="*/ 60 w 73"/>
              <a:gd name="T31" fmla="*/ 47 h 70"/>
              <a:gd name="T32" fmla="*/ 61 w 73"/>
              <a:gd name="T33" fmla="*/ 27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21" y="70"/>
                  <a:pt x="8" y="60"/>
                  <a:pt x="3" y="46"/>
                </a:cubicBezTo>
                <a:cubicBezTo>
                  <a:pt x="0" y="37"/>
                  <a:pt x="1" y="27"/>
                  <a:pt x="5" y="19"/>
                </a:cubicBezTo>
                <a:cubicBezTo>
                  <a:pt x="10" y="11"/>
                  <a:pt x="17" y="4"/>
                  <a:pt x="26" y="2"/>
                </a:cubicBezTo>
                <a:cubicBezTo>
                  <a:pt x="29" y="0"/>
                  <a:pt x="33" y="0"/>
                  <a:pt x="37" y="0"/>
                </a:cubicBezTo>
                <a:cubicBezTo>
                  <a:pt x="52" y="0"/>
                  <a:pt x="65" y="10"/>
                  <a:pt x="70" y="24"/>
                </a:cubicBezTo>
                <a:cubicBezTo>
                  <a:pt x="73" y="33"/>
                  <a:pt x="72" y="42"/>
                  <a:pt x="68" y="51"/>
                </a:cubicBezTo>
                <a:cubicBezTo>
                  <a:pt x="64" y="59"/>
                  <a:pt x="56" y="65"/>
                  <a:pt x="47" y="68"/>
                </a:cubicBezTo>
                <a:cubicBezTo>
                  <a:pt x="44" y="69"/>
                  <a:pt x="40" y="70"/>
                  <a:pt x="37" y="70"/>
                </a:cubicBezTo>
                <a:close/>
                <a:moveTo>
                  <a:pt x="37" y="9"/>
                </a:moveTo>
                <a:cubicBezTo>
                  <a:pt x="34" y="9"/>
                  <a:pt x="31" y="9"/>
                  <a:pt x="29" y="10"/>
                </a:cubicBezTo>
                <a:cubicBezTo>
                  <a:pt x="22" y="12"/>
                  <a:pt x="17" y="17"/>
                  <a:pt x="13" y="23"/>
                </a:cubicBezTo>
                <a:cubicBezTo>
                  <a:pt x="10" y="29"/>
                  <a:pt x="10" y="36"/>
                  <a:pt x="12" y="43"/>
                </a:cubicBezTo>
                <a:cubicBezTo>
                  <a:pt x="15" y="54"/>
                  <a:pt x="25" y="61"/>
                  <a:pt x="37" y="61"/>
                </a:cubicBezTo>
                <a:cubicBezTo>
                  <a:pt x="39" y="61"/>
                  <a:pt x="42" y="60"/>
                  <a:pt x="45" y="59"/>
                </a:cubicBezTo>
                <a:cubicBezTo>
                  <a:pt x="51" y="57"/>
                  <a:pt x="57" y="53"/>
                  <a:pt x="60" y="47"/>
                </a:cubicBezTo>
                <a:cubicBezTo>
                  <a:pt x="63" y="40"/>
                  <a:pt x="63" y="33"/>
                  <a:pt x="61" y="27"/>
                </a:cubicBezTo>
                <a:cubicBezTo>
                  <a:pt x="58" y="16"/>
                  <a:pt x="48" y="9"/>
                  <a:pt x="37" y="9"/>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e 7">
            <a:extLst>
              <a:ext uri="{FF2B5EF4-FFF2-40B4-BE49-F238E27FC236}">
                <a16:creationId xmlns:a16="http://schemas.microsoft.com/office/drawing/2014/main" id="{588710C3-C70A-4830-9BFD-DFFE69E4778E}"/>
              </a:ext>
            </a:extLst>
          </p:cNvPr>
          <p:cNvGrpSpPr/>
          <p:nvPr/>
        </p:nvGrpSpPr>
        <p:grpSpPr>
          <a:xfrm>
            <a:off x="5034749" y="4986518"/>
            <a:ext cx="388938" cy="395288"/>
            <a:chOff x="4954397" y="5103340"/>
            <a:chExt cx="388938" cy="395288"/>
          </a:xfrm>
        </p:grpSpPr>
        <p:sp>
          <p:nvSpPr>
            <p:cNvPr id="130" name="Oval 19">
              <a:extLst>
                <a:ext uri="{FF2B5EF4-FFF2-40B4-BE49-F238E27FC236}">
                  <a16:creationId xmlns:a16="http://schemas.microsoft.com/office/drawing/2014/main" id="{1EEF6D97-684A-411E-8440-BB5DD08116AC}"/>
                </a:ext>
              </a:extLst>
            </p:cNvPr>
            <p:cNvSpPr>
              <a:spLocks noChangeArrowheads="1"/>
            </p:cNvSpPr>
            <p:nvPr/>
          </p:nvSpPr>
          <p:spPr bwMode="auto">
            <a:xfrm>
              <a:off x="5055997" y="5204940"/>
              <a:ext cx="185738" cy="18573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4570C6EC-9734-4697-872B-9382D48F1655}"/>
                </a:ext>
              </a:extLst>
            </p:cNvPr>
            <p:cNvSpPr>
              <a:spLocks noEditPoints="1"/>
            </p:cNvSpPr>
            <p:nvPr/>
          </p:nvSpPr>
          <p:spPr bwMode="auto">
            <a:xfrm>
              <a:off x="4954397" y="5103340"/>
              <a:ext cx="388938" cy="395288"/>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9 h 70"/>
                <a:gd name="T12" fmla="*/ 9 w 69"/>
                <a:gd name="T13" fmla="*/ 35 h 70"/>
                <a:gd name="T14" fmla="*/ 35 w 69"/>
                <a:gd name="T15" fmla="*/ 61 h 70"/>
                <a:gd name="T16" fmla="*/ 60 w 69"/>
                <a:gd name="T17" fmla="*/ 35 h 70"/>
                <a:gd name="T18" fmla="*/ 35 w 69"/>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9"/>
                  </a:moveTo>
                  <a:cubicBezTo>
                    <a:pt x="20" y="9"/>
                    <a:pt x="9" y="21"/>
                    <a:pt x="9" y="35"/>
                  </a:cubicBezTo>
                  <a:cubicBezTo>
                    <a:pt x="9" y="49"/>
                    <a:pt x="20" y="61"/>
                    <a:pt x="35" y="61"/>
                  </a:cubicBezTo>
                  <a:cubicBezTo>
                    <a:pt x="49" y="61"/>
                    <a:pt x="60" y="49"/>
                    <a:pt x="60" y="35"/>
                  </a:cubicBezTo>
                  <a:cubicBezTo>
                    <a:pt x="60" y="21"/>
                    <a:pt x="49" y="9"/>
                    <a:pt x="35" y="9"/>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e 6">
            <a:extLst>
              <a:ext uri="{FF2B5EF4-FFF2-40B4-BE49-F238E27FC236}">
                <a16:creationId xmlns:a16="http://schemas.microsoft.com/office/drawing/2014/main" id="{52FF8857-F7B0-4176-828A-3136C527472B}"/>
              </a:ext>
            </a:extLst>
          </p:cNvPr>
          <p:cNvGrpSpPr/>
          <p:nvPr/>
        </p:nvGrpSpPr>
        <p:grpSpPr>
          <a:xfrm>
            <a:off x="4976467" y="3876393"/>
            <a:ext cx="406400" cy="395288"/>
            <a:chOff x="4726032" y="3209934"/>
            <a:chExt cx="406400" cy="395288"/>
          </a:xfrm>
        </p:grpSpPr>
        <p:sp>
          <p:nvSpPr>
            <p:cNvPr id="131" name="Freeform 20">
              <a:extLst>
                <a:ext uri="{FF2B5EF4-FFF2-40B4-BE49-F238E27FC236}">
                  <a16:creationId xmlns:a16="http://schemas.microsoft.com/office/drawing/2014/main" id="{DF8200B6-512E-499F-952E-96B34C74C71D}"/>
                </a:ext>
              </a:extLst>
            </p:cNvPr>
            <p:cNvSpPr>
              <a:spLocks/>
            </p:cNvSpPr>
            <p:nvPr/>
          </p:nvSpPr>
          <p:spPr bwMode="auto">
            <a:xfrm>
              <a:off x="4822869" y="3300421"/>
              <a:ext cx="214313" cy="209550"/>
            </a:xfrm>
            <a:custGeom>
              <a:avLst/>
              <a:gdLst>
                <a:gd name="T0" fmla="*/ 9 w 38"/>
                <a:gd name="T1" fmla="*/ 6 h 37"/>
                <a:gd name="T2" fmla="*/ 32 w 38"/>
                <a:gd name="T3" fmla="*/ 9 h 37"/>
                <a:gd name="T4" fmla="*/ 29 w 38"/>
                <a:gd name="T5" fmla="*/ 32 h 37"/>
                <a:gd name="T6" fmla="*/ 6 w 38"/>
                <a:gd name="T7" fmla="*/ 29 h 37"/>
                <a:gd name="T8" fmla="*/ 9 w 38"/>
                <a:gd name="T9" fmla="*/ 6 h 37"/>
              </a:gdLst>
              <a:ahLst/>
              <a:cxnLst>
                <a:cxn ang="0">
                  <a:pos x="T0" y="T1"/>
                </a:cxn>
                <a:cxn ang="0">
                  <a:pos x="T2" y="T3"/>
                </a:cxn>
                <a:cxn ang="0">
                  <a:pos x="T4" y="T5"/>
                </a:cxn>
                <a:cxn ang="0">
                  <a:pos x="T6" y="T7"/>
                </a:cxn>
                <a:cxn ang="0">
                  <a:pos x="T8" y="T9"/>
                </a:cxn>
              </a:cxnLst>
              <a:rect l="0" t="0" r="r" b="b"/>
              <a:pathLst>
                <a:path w="38" h="37">
                  <a:moveTo>
                    <a:pt x="9" y="6"/>
                  </a:moveTo>
                  <a:cubicBezTo>
                    <a:pt x="17" y="0"/>
                    <a:pt x="27" y="2"/>
                    <a:pt x="32" y="9"/>
                  </a:cubicBezTo>
                  <a:cubicBezTo>
                    <a:pt x="38" y="17"/>
                    <a:pt x="36" y="27"/>
                    <a:pt x="29" y="32"/>
                  </a:cubicBezTo>
                  <a:cubicBezTo>
                    <a:pt x="21" y="37"/>
                    <a:pt x="11" y="36"/>
                    <a:pt x="6" y="29"/>
                  </a:cubicBezTo>
                  <a:cubicBezTo>
                    <a:pt x="0" y="21"/>
                    <a:pt x="2" y="11"/>
                    <a:pt x="9" y="6"/>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8F7A0821-82ED-46D1-A15B-A284B2A9C669}"/>
                </a:ext>
              </a:extLst>
            </p:cNvPr>
            <p:cNvSpPr>
              <a:spLocks noEditPoints="1"/>
            </p:cNvSpPr>
            <p:nvPr/>
          </p:nvSpPr>
          <p:spPr bwMode="auto">
            <a:xfrm>
              <a:off x="4726032" y="3209934"/>
              <a:ext cx="406400" cy="395288"/>
            </a:xfrm>
            <a:custGeom>
              <a:avLst/>
              <a:gdLst>
                <a:gd name="T0" fmla="*/ 36 w 72"/>
                <a:gd name="T1" fmla="*/ 70 h 70"/>
                <a:gd name="T2" fmla="*/ 8 w 72"/>
                <a:gd name="T3" fmla="*/ 55 h 70"/>
                <a:gd name="T4" fmla="*/ 1 w 72"/>
                <a:gd name="T5" fmla="*/ 29 h 70"/>
                <a:gd name="T6" fmla="*/ 15 w 72"/>
                <a:gd name="T7" fmla="*/ 7 h 70"/>
                <a:gd name="T8" fmla="*/ 36 w 72"/>
                <a:gd name="T9" fmla="*/ 0 h 70"/>
                <a:gd name="T10" fmla="*/ 64 w 72"/>
                <a:gd name="T11" fmla="*/ 14 h 70"/>
                <a:gd name="T12" fmla="*/ 70 w 72"/>
                <a:gd name="T13" fmla="*/ 40 h 70"/>
                <a:gd name="T14" fmla="*/ 56 w 72"/>
                <a:gd name="T15" fmla="*/ 63 h 70"/>
                <a:gd name="T16" fmla="*/ 36 w 72"/>
                <a:gd name="T17" fmla="*/ 70 h 70"/>
                <a:gd name="T18" fmla="*/ 36 w 72"/>
                <a:gd name="T19" fmla="*/ 9 h 70"/>
                <a:gd name="T20" fmla="*/ 21 w 72"/>
                <a:gd name="T21" fmla="*/ 14 h 70"/>
                <a:gd name="T22" fmla="*/ 10 w 72"/>
                <a:gd name="T23" fmla="*/ 31 h 70"/>
                <a:gd name="T24" fmla="*/ 15 w 72"/>
                <a:gd name="T25" fmla="*/ 50 h 70"/>
                <a:gd name="T26" fmla="*/ 36 w 72"/>
                <a:gd name="T27" fmla="*/ 61 h 70"/>
                <a:gd name="T28" fmla="*/ 51 w 72"/>
                <a:gd name="T29" fmla="*/ 56 h 70"/>
                <a:gd name="T30" fmla="*/ 62 w 72"/>
                <a:gd name="T31" fmla="*/ 39 h 70"/>
                <a:gd name="T32" fmla="*/ 57 w 72"/>
                <a:gd name="T33" fmla="*/ 20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5" y="70"/>
                    <a:pt x="14" y="64"/>
                    <a:pt x="8" y="55"/>
                  </a:cubicBezTo>
                  <a:cubicBezTo>
                    <a:pt x="2" y="48"/>
                    <a:pt x="0" y="39"/>
                    <a:pt x="1" y="29"/>
                  </a:cubicBezTo>
                  <a:cubicBezTo>
                    <a:pt x="3" y="20"/>
                    <a:pt x="8" y="12"/>
                    <a:pt x="15" y="7"/>
                  </a:cubicBezTo>
                  <a:cubicBezTo>
                    <a:pt x="21" y="2"/>
                    <a:pt x="28" y="0"/>
                    <a:pt x="36" y="0"/>
                  </a:cubicBezTo>
                  <a:cubicBezTo>
                    <a:pt x="47" y="0"/>
                    <a:pt x="58" y="5"/>
                    <a:pt x="64" y="14"/>
                  </a:cubicBezTo>
                  <a:cubicBezTo>
                    <a:pt x="70" y="22"/>
                    <a:pt x="72" y="31"/>
                    <a:pt x="70" y="40"/>
                  </a:cubicBezTo>
                  <a:cubicBezTo>
                    <a:pt x="69" y="50"/>
                    <a:pt x="64" y="58"/>
                    <a:pt x="56" y="63"/>
                  </a:cubicBezTo>
                  <a:cubicBezTo>
                    <a:pt x="50" y="68"/>
                    <a:pt x="43" y="70"/>
                    <a:pt x="36" y="70"/>
                  </a:cubicBezTo>
                  <a:close/>
                  <a:moveTo>
                    <a:pt x="36" y="9"/>
                  </a:moveTo>
                  <a:cubicBezTo>
                    <a:pt x="30" y="9"/>
                    <a:pt x="25" y="11"/>
                    <a:pt x="21" y="14"/>
                  </a:cubicBezTo>
                  <a:cubicBezTo>
                    <a:pt x="15" y="18"/>
                    <a:pt x="11" y="24"/>
                    <a:pt x="10" y="31"/>
                  </a:cubicBezTo>
                  <a:cubicBezTo>
                    <a:pt x="9" y="38"/>
                    <a:pt x="11" y="45"/>
                    <a:pt x="15" y="50"/>
                  </a:cubicBezTo>
                  <a:cubicBezTo>
                    <a:pt x="20" y="57"/>
                    <a:pt x="28" y="61"/>
                    <a:pt x="36" y="61"/>
                  </a:cubicBezTo>
                  <a:cubicBezTo>
                    <a:pt x="41" y="61"/>
                    <a:pt x="47" y="59"/>
                    <a:pt x="51" y="56"/>
                  </a:cubicBezTo>
                  <a:cubicBezTo>
                    <a:pt x="57" y="52"/>
                    <a:pt x="60" y="46"/>
                    <a:pt x="62" y="39"/>
                  </a:cubicBezTo>
                  <a:cubicBezTo>
                    <a:pt x="63" y="32"/>
                    <a:pt x="61" y="25"/>
                    <a:pt x="57" y="20"/>
                  </a:cubicBezTo>
                  <a:cubicBezTo>
                    <a:pt x="52" y="13"/>
                    <a:pt x="44" y="9"/>
                    <a:pt x="36" y="9"/>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e 8">
            <a:extLst>
              <a:ext uri="{FF2B5EF4-FFF2-40B4-BE49-F238E27FC236}">
                <a16:creationId xmlns:a16="http://schemas.microsoft.com/office/drawing/2014/main" id="{1494306F-4324-4EF8-9B0F-A5BCCFEBCBEC}"/>
              </a:ext>
            </a:extLst>
          </p:cNvPr>
          <p:cNvGrpSpPr/>
          <p:nvPr/>
        </p:nvGrpSpPr>
        <p:grpSpPr>
          <a:xfrm>
            <a:off x="4094267" y="2868621"/>
            <a:ext cx="411163" cy="395288"/>
            <a:chOff x="3768769" y="2516196"/>
            <a:chExt cx="411163" cy="395288"/>
          </a:xfrm>
        </p:grpSpPr>
        <p:sp>
          <p:nvSpPr>
            <p:cNvPr id="132" name="Freeform 21">
              <a:extLst>
                <a:ext uri="{FF2B5EF4-FFF2-40B4-BE49-F238E27FC236}">
                  <a16:creationId xmlns:a16="http://schemas.microsoft.com/office/drawing/2014/main" id="{4562122B-A6A5-47CA-B6C1-375FC34CF071}"/>
                </a:ext>
              </a:extLst>
            </p:cNvPr>
            <p:cNvSpPr>
              <a:spLocks/>
            </p:cNvSpPr>
            <p:nvPr/>
          </p:nvSpPr>
          <p:spPr bwMode="auto">
            <a:xfrm>
              <a:off x="3870369" y="2606684"/>
              <a:ext cx="207963" cy="207963"/>
            </a:xfrm>
            <a:custGeom>
              <a:avLst/>
              <a:gdLst>
                <a:gd name="T0" fmla="*/ 3 w 37"/>
                <a:gd name="T1" fmla="*/ 14 h 37"/>
                <a:gd name="T2" fmla="*/ 24 w 37"/>
                <a:gd name="T3" fmla="*/ 3 h 37"/>
                <a:gd name="T4" fmla="*/ 34 w 37"/>
                <a:gd name="T5" fmla="*/ 24 h 37"/>
                <a:gd name="T6" fmla="*/ 14 w 37"/>
                <a:gd name="T7" fmla="*/ 35 h 37"/>
                <a:gd name="T8" fmla="*/ 3 w 37"/>
                <a:gd name="T9" fmla="*/ 14 h 37"/>
              </a:gdLst>
              <a:ahLst/>
              <a:cxnLst>
                <a:cxn ang="0">
                  <a:pos x="T0" y="T1"/>
                </a:cxn>
                <a:cxn ang="0">
                  <a:pos x="T2" y="T3"/>
                </a:cxn>
                <a:cxn ang="0">
                  <a:pos x="T4" y="T5"/>
                </a:cxn>
                <a:cxn ang="0">
                  <a:pos x="T6" y="T7"/>
                </a:cxn>
                <a:cxn ang="0">
                  <a:pos x="T8" y="T9"/>
                </a:cxn>
              </a:cxnLst>
              <a:rect l="0" t="0" r="r" b="b"/>
              <a:pathLst>
                <a:path w="37" h="37">
                  <a:moveTo>
                    <a:pt x="3" y="14"/>
                  </a:moveTo>
                  <a:cubicBezTo>
                    <a:pt x="6" y="5"/>
                    <a:pt x="15" y="0"/>
                    <a:pt x="24" y="3"/>
                  </a:cubicBezTo>
                  <a:cubicBezTo>
                    <a:pt x="32" y="6"/>
                    <a:pt x="37" y="15"/>
                    <a:pt x="34" y="24"/>
                  </a:cubicBezTo>
                  <a:cubicBezTo>
                    <a:pt x="31" y="33"/>
                    <a:pt x="22" y="37"/>
                    <a:pt x="14" y="35"/>
                  </a:cubicBezTo>
                  <a:cubicBezTo>
                    <a:pt x="5" y="32"/>
                    <a:pt x="0" y="22"/>
                    <a:pt x="3" y="14"/>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320A3C98-E4C7-48B6-ABCC-EB3CB87CFA10}"/>
                </a:ext>
              </a:extLst>
            </p:cNvPr>
            <p:cNvSpPr>
              <a:spLocks noEditPoints="1"/>
            </p:cNvSpPr>
            <p:nvPr/>
          </p:nvSpPr>
          <p:spPr bwMode="auto">
            <a:xfrm>
              <a:off x="3768769" y="2516196"/>
              <a:ext cx="411163" cy="395288"/>
            </a:xfrm>
            <a:custGeom>
              <a:avLst/>
              <a:gdLst>
                <a:gd name="T0" fmla="*/ 37 w 73"/>
                <a:gd name="T1" fmla="*/ 70 h 70"/>
                <a:gd name="T2" fmla="*/ 26 w 73"/>
                <a:gd name="T3" fmla="*/ 68 h 70"/>
                <a:gd name="T4" fmla="*/ 5 w 73"/>
                <a:gd name="T5" fmla="*/ 51 h 70"/>
                <a:gd name="T6" fmla="*/ 3 w 73"/>
                <a:gd name="T7" fmla="*/ 24 h 70"/>
                <a:gd name="T8" fmla="*/ 37 w 73"/>
                <a:gd name="T9" fmla="*/ 0 h 70"/>
                <a:gd name="T10" fmla="*/ 47 w 73"/>
                <a:gd name="T11" fmla="*/ 2 h 70"/>
                <a:gd name="T12" fmla="*/ 68 w 73"/>
                <a:gd name="T13" fmla="*/ 19 h 70"/>
                <a:gd name="T14" fmla="*/ 70 w 73"/>
                <a:gd name="T15" fmla="*/ 46 h 70"/>
                <a:gd name="T16" fmla="*/ 37 w 73"/>
                <a:gd name="T17" fmla="*/ 70 h 70"/>
                <a:gd name="T18" fmla="*/ 37 w 73"/>
                <a:gd name="T19" fmla="*/ 9 h 70"/>
                <a:gd name="T20" fmla="*/ 12 w 73"/>
                <a:gd name="T21" fmla="*/ 27 h 70"/>
                <a:gd name="T22" fmla="*/ 13 w 73"/>
                <a:gd name="T23" fmla="*/ 47 h 70"/>
                <a:gd name="T24" fmla="*/ 29 w 73"/>
                <a:gd name="T25" fmla="*/ 60 h 70"/>
                <a:gd name="T26" fmla="*/ 37 w 73"/>
                <a:gd name="T27" fmla="*/ 61 h 70"/>
                <a:gd name="T28" fmla="*/ 61 w 73"/>
                <a:gd name="T29" fmla="*/ 43 h 70"/>
                <a:gd name="T30" fmla="*/ 60 w 73"/>
                <a:gd name="T31" fmla="*/ 23 h 70"/>
                <a:gd name="T32" fmla="*/ 45 w 73"/>
                <a:gd name="T33" fmla="*/ 10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33" y="70"/>
                    <a:pt x="29" y="69"/>
                    <a:pt x="26" y="68"/>
                  </a:cubicBezTo>
                  <a:cubicBezTo>
                    <a:pt x="17" y="65"/>
                    <a:pt x="10" y="59"/>
                    <a:pt x="5" y="51"/>
                  </a:cubicBezTo>
                  <a:cubicBezTo>
                    <a:pt x="1" y="42"/>
                    <a:pt x="0" y="33"/>
                    <a:pt x="3" y="24"/>
                  </a:cubicBezTo>
                  <a:cubicBezTo>
                    <a:pt x="8" y="10"/>
                    <a:pt x="21" y="0"/>
                    <a:pt x="37" y="0"/>
                  </a:cubicBezTo>
                  <a:cubicBezTo>
                    <a:pt x="40" y="0"/>
                    <a:pt x="44" y="1"/>
                    <a:pt x="47" y="2"/>
                  </a:cubicBezTo>
                  <a:cubicBezTo>
                    <a:pt x="56" y="5"/>
                    <a:pt x="64" y="11"/>
                    <a:pt x="68" y="19"/>
                  </a:cubicBezTo>
                  <a:cubicBezTo>
                    <a:pt x="72" y="27"/>
                    <a:pt x="73" y="37"/>
                    <a:pt x="70" y="46"/>
                  </a:cubicBezTo>
                  <a:cubicBezTo>
                    <a:pt x="65" y="60"/>
                    <a:pt x="52" y="70"/>
                    <a:pt x="37" y="70"/>
                  </a:cubicBezTo>
                  <a:close/>
                  <a:moveTo>
                    <a:pt x="37" y="9"/>
                  </a:moveTo>
                  <a:cubicBezTo>
                    <a:pt x="25" y="9"/>
                    <a:pt x="15" y="16"/>
                    <a:pt x="12" y="27"/>
                  </a:cubicBezTo>
                  <a:cubicBezTo>
                    <a:pt x="10" y="33"/>
                    <a:pt x="10" y="41"/>
                    <a:pt x="13" y="47"/>
                  </a:cubicBezTo>
                  <a:cubicBezTo>
                    <a:pt x="17" y="53"/>
                    <a:pt x="22" y="57"/>
                    <a:pt x="29" y="60"/>
                  </a:cubicBezTo>
                  <a:cubicBezTo>
                    <a:pt x="31" y="60"/>
                    <a:pt x="34" y="61"/>
                    <a:pt x="37" y="61"/>
                  </a:cubicBezTo>
                  <a:cubicBezTo>
                    <a:pt x="48" y="61"/>
                    <a:pt x="58" y="54"/>
                    <a:pt x="61" y="43"/>
                  </a:cubicBezTo>
                  <a:cubicBezTo>
                    <a:pt x="63" y="36"/>
                    <a:pt x="63" y="29"/>
                    <a:pt x="60" y="23"/>
                  </a:cubicBezTo>
                  <a:cubicBezTo>
                    <a:pt x="57" y="17"/>
                    <a:pt x="51" y="12"/>
                    <a:pt x="45" y="10"/>
                  </a:cubicBezTo>
                  <a:cubicBezTo>
                    <a:pt x="42" y="9"/>
                    <a:pt x="39" y="9"/>
                    <a:pt x="37" y="9"/>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47" name="Picture 36">
            <a:extLst>
              <a:ext uri="{FF2B5EF4-FFF2-40B4-BE49-F238E27FC236}">
                <a16:creationId xmlns:a16="http://schemas.microsoft.com/office/drawing/2014/main" id="{2694479C-5DC3-4DF5-8ECA-2878CAC996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1744" y="3640146"/>
            <a:ext cx="10477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37">
            <a:extLst>
              <a:ext uri="{FF2B5EF4-FFF2-40B4-BE49-F238E27FC236}">
                <a16:creationId xmlns:a16="http://schemas.microsoft.com/office/drawing/2014/main" id="{E5352050-802F-4283-8975-B73A209FF6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3519" y="3335346"/>
            <a:ext cx="35401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38">
            <a:extLst>
              <a:ext uri="{FF2B5EF4-FFF2-40B4-BE49-F238E27FC236}">
                <a16:creationId xmlns:a16="http://schemas.microsoft.com/office/drawing/2014/main" id="{5022A6F0-FCD1-4CC4-A4A6-8D2655B265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1744" y="4203709"/>
            <a:ext cx="89693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Picture 39">
            <a:extLst>
              <a:ext uri="{FF2B5EF4-FFF2-40B4-BE49-F238E27FC236}">
                <a16:creationId xmlns:a16="http://schemas.microsoft.com/office/drawing/2014/main" id="{54F94781-CB97-41A8-AB23-4482B30B94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73519" y="4610109"/>
            <a:ext cx="996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40">
            <a:extLst>
              <a:ext uri="{FF2B5EF4-FFF2-40B4-BE49-F238E27FC236}">
                <a16:creationId xmlns:a16="http://schemas.microsoft.com/office/drawing/2014/main" id="{1717FCCE-BE4C-413A-82B6-8EA46A261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1744" y="5191134"/>
            <a:ext cx="96361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41">
            <a:extLst>
              <a:ext uri="{FF2B5EF4-FFF2-40B4-BE49-F238E27FC236}">
                <a16:creationId xmlns:a16="http://schemas.microsoft.com/office/drawing/2014/main" id="{E8B9C698-6FF6-4BBB-A46D-3CE7B84BCC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4769" y="5191134"/>
            <a:ext cx="457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 name="Freeform 42">
            <a:extLst>
              <a:ext uri="{FF2B5EF4-FFF2-40B4-BE49-F238E27FC236}">
                <a16:creationId xmlns:a16="http://schemas.microsoft.com/office/drawing/2014/main" id="{77E05EB0-F0EF-4138-A873-30DD08732090}"/>
              </a:ext>
            </a:extLst>
          </p:cNvPr>
          <p:cNvSpPr>
            <a:spLocks/>
          </p:cNvSpPr>
          <p:nvPr/>
        </p:nvSpPr>
        <p:spPr bwMode="auto">
          <a:xfrm>
            <a:off x="2197144" y="3194059"/>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43">
            <a:extLst>
              <a:ext uri="{FF2B5EF4-FFF2-40B4-BE49-F238E27FC236}">
                <a16:creationId xmlns:a16="http://schemas.microsoft.com/office/drawing/2014/main" id="{1D6803C8-99D6-4C22-84D9-493018A41570}"/>
              </a:ext>
            </a:extLst>
          </p:cNvPr>
          <p:cNvSpPr>
            <a:spLocks noChangeArrowheads="1"/>
          </p:cNvSpPr>
          <p:nvPr/>
        </p:nvSpPr>
        <p:spPr bwMode="auto">
          <a:xfrm>
            <a:off x="3887832" y="3271846"/>
            <a:ext cx="174625" cy="1809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9A3E178D-2130-453B-9553-ED59069037D0}"/>
              </a:ext>
            </a:extLst>
          </p:cNvPr>
          <p:cNvSpPr>
            <a:spLocks/>
          </p:cNvSpPr>
          <p:nvPr/>
        </p:nvSpPr>
        <p:spPr bwMode="auto">
          <a:xfrm>
            <a:off x="4140244" y="4090996"/>
            <a:ext cx="311150" cy="355600"/>
          </a:xfrm>
          <a:custGeom>
            <a:avLst/>
            <a:gdLst>
              <a:gd name="T0" fmla="*/ 23 w 55"/>
              <a:gd name="T1" fmla="*/ 4 h 63"/>
              <a:gd name="T2" fmla="*/ 12 w 55"/>
              <a:gd name="T3" fmla="*/ 47 h 63"/>
              <a:gd name="T4" fmla="*/ 55 w 55"/>
              <a:gd name="T5" fmla="*/ 29 h 63"/>
              <a:gd name="T6" fmla="*/ 23 w 55"/>
              <a:gd name="T7" fmla="*/ 4 h 63"/>
            </a:gdLst>
            <a:ahLst/>
            <a:cxnLst>
              <a:cxn ang="0">
                <a:pos x="T0" y="T1"/>
              </a:cxn>
              <a:cxn ang="0">
                <a:pos x="T2" y="T3"/>
              </a:cxn>
              <a:cxn ang="0">
                <a:pos x="T4" y="T5"/>
              </a:cxn>
              <a:cxn ang="0">
                <a:pos x="T6" y="T7"/>
              </a:cxn>
            </a:cxnLst>
            <a:rect l="0" t="0" r="r" b="b"/>
            <a:pathLst>
              <a:path w="55" h="63">
                <a:moveTo>
                  <a:pt x="23" y="4"/>
                </a:moveTo>
                <a:cubicBezTo>
                  <a:pt x="4" y="10"/>
                  <a:pt x="0" y="33"/>
                  <a:pt x="12" y="47"/>
                </a:cubicBezTo>
                <a:cubicBezTo>
                  <a:pt x="27" y="63"/>
                  <a:pt x="55" y="50"/>
                  <a:pt x="55" y="29"/>
                </a:cubicBezTo>
                <a:cubicBezTo>
                  <a:pt x="55" y="12"/>
                  <a:pt x="39" y="0"/>
                  <a:pt x="23" y="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9F83DFC8-7281-4EAB-A8B4-A862926D4BC8}"/>
              </a:ext>
            </a:extLst>
          </p:cNvPr>
          <p:cNvSpPr>
            <a:spLocks/>
          </p:cNvSpPr>
          <p:nvPr/>
        </p:nvSpPr>
        <p:spPr bwMode="auto">
          <a:xfrm>
            <a:off x="3594144" y="4537084"/>
            <a:ext cx="293688" cy="254000"/>
          </a:xfrm>
          <a:custGeom>
            <a:avLst/>
            <a:gdLst>
              <a:gd name="T0" fmla="*/ 39 w 52"/>
              <a:gd name="T1" fmla="*/ 8 h 45"/>
              <a:gd name="T2" fmla="*/ 13 w 52"/>
              <a:gd name="T3" fmla="*/ 5 h 45"/>
              <a:gd name="T4" fmla="*/ 3 w 52"/>
              <a:gd name="T5" fmla="*/ 29 h 45"/>
              <a:gd name="T6" fmla="*/ 5 w 52"/>
              <a:gd name="T7" fmla="*/ 32 h 45"/>
              <a:gd name="T8" fmla="*/ 20 w 52"/>
              <a:gd name="T9" fmla="*/ 44 h 45"/>
              <a:gd name="T10" fmla="*/ 24 w 52"/>
              <a:gd name="T11" fmla="*/ 44 h 45"/>
              <a:gd name="T12" fmla="*/ 39 w 52"/>
              <a:gd name="T13" fmla="*/ 8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39" y="8"/>
                </a:moveTo>
                <a:cubicBezTo>
                  <a:pt x="32" y="1"/>
                  <a:pt x="21" y="0"/>
                  <a:pt x="13" y="5"/>
                </a:cubicBezTo>
                <a:cubicBezTo>
                  <a:pt x="5" y="9"/>
                  <a:pt x="0" y="20"/>
                  <a:pt x="3" y="29"/>
                </a:cubicBezTo>
                <a:cubicBezTo>
                  <a:pt x="4" y="30"/>
                  <a:pt x="4" y="31"/>
                  <a:pt x="5" y="32"/>
                </a:cubicBezTo>
                <a:cubicBezTo>
                  <a:pt x="7" y="39"/>
                  <a:pt x="13" y="45"/>
                  <a:pt x="20" y="44"/>
                </a:cubicBezTo>
                <a:cubicBezTo>
                  <a:pt x="22" y="44"/>
                  <a:pt x="23" y="44"/>
                  <a:pt x="24" y="44"/>
                </a:cubicBezTo>
                <a:cubicBezTo>
                  <a:pt x="42" y="44"/>
                  <a:pt x="52" y="21"/>
                  <a:pt x="39"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46">
            <a:extLst>
              <a:ext uri="{FF2B5EF4-FFF2-40B4-BE49-F238E27FC236}">
                <a16:creationId xmlns:a16="http://schemas.microsoft.com/office/drawing/2014/main" id="{F130C76A-AED5-4242-A5C8-E47C73884E78}"/>
              </a:ext>
            </a:extLst>
          </p:cNvPr>
          <p:cNvSpPr>
            <a:spLocks noChangeArrowheads="1"/>
          </p:cNvSpPr>
          <p:nvPr/>
        </p:nvSpPr>
        <p:spPr bwMode="auto">
          <a:xfrm>
            <a:off x="4248194" y="5129221"/>
            <a:ext cx="230188" cy="2317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AE783DF8-9A92-4299-8115-E0412D7F2F95}"/>
              </a:ext>
            </a:extLst>
          </p:cNvPr>
          <p:cNvSpPr>
            <a:spLocks/>
          </p:cNvSpPr>
          <p:nvPr/>
        </p:nvSpPr>
        <p:spPr bwMode="auto">
          <a:xfrm>
            <a:off x="3790994" y="3876684"/>
            <a:ext cx="236538" cy="207963"/>
          </a:xfrm>
          <a:custGeom>
            <a:avLst/>
            <a:gdLst>
              <a:gd name="T0" fmla="*/ 21 w 42"/>
              <a:gd name="T1" fmla="*/ 0 h 37"/>
              <a:gd name="T2" fmla="*/ 3 w 42"/>
              <a:gd name="T3" fmla="*/ 23 h 37"/>
              <a:gd name="T4" fmla="*/ 3 w 42"/>
              <a:gd name="T5" fmla="*/ 24 h 37"/>
              <a:gd name="T6" fmla="*/ 21 w 42"/>
              <a:gd name="T7" fmla="*/ 37 h 37"/>
              <a:gd name="T8" fmla="*/ 38 w 42"/>
              <a:gd name="T9" fmla="*/ 24 h 37"/>
              <a:gd name="T10" fmla="*/ 38 w 42"/>
              <a:gd name="T11" fmla="*/ 23 h 37"/>
              <a:gd name="T12" fmla="*/ 21 w 42"/>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2" h="37">
                <a:moveTo>
                  <a:pt x="21" y="0"/>
                </a:moveTo>
                <a:cubicBezTo>
                  <a:pt x="9" y="0"/>
                  <a:pt x="0" y="12"/>
                  <a:pt x="3" y="23"/>
                </a:cubicBezTo>
                <a:cubicBezTo>
                  <a:pt x="3" y="24"/>
                  <a:pt x="3" y="24"/>
                  <a:pt x="3" y="24"/>
                </a:cubicBezTo>
                <a:cubicBezTo>
                  <a:pt x="6" y="32"/>
                  <a:pt x="13" y="37"/>
                  <a:pt x="21" y="37"/>
                </a:cubicBezTo>
                <a:cubicBezTo>
                  <a:pt x="29" y="37"/>
                  <a:pt x="36" y="32"/>
                  <a:pt x="38" y="24"/>
                </a:cubicBezTo>
                <a:cubicBezTo>
                  <a:pt x="38" y="24"/>
                  <a:pt x="38" y="24"/>
                  <a:pt x="38" y="23"/>
                </a:cubicBezTo>
                <a:cubicBezTo>
                  <a:pt x="42" y="12"/>
                  <a:pt x="32" y="0"/>
                  <a:pt x="21"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9F7B9A85-30FF-4FCE-AB0B-7E182D779B47}"/>
              </a:ext>
            </a:extLst>
          </p:cNvPr>
          <p:cNvSpPr>
            <a:spLocks/>
          </p:cNvSpPr>
          <p:nvPr/>
        </p:nvSpPr>
        <p:spPr bwMode="auto">
          <a:xfrm>
            <a:off x="4349794" y="3611571"/>
            <a:ext cx="190500" cy="192088"/>
          </a:xfrm>
          <a:custGeom>
            <a:avLst/>
            <a:gdLst>
              <a:gd name="T0" fmla="*/ 32 w 34"/>
              <a:gd name="T1" fmla="*/ 13 h 34"/>
              <a:gd name="T2" fmla="*/ 32 w 34"/>
              <a:gd name="T3" fmla="*/ 12 h 34"/>
              <a:gd name="T4" fmla="*/ 11 w 34"/>
              <a:gd name="T5" fmla="*/ 3 h 34"/>
              <a:gd name="T6" fmla="*/ 9 w 34"/>
              <a:gd name="T7" fmla="*/ 4 h 34"/>
              <a:gd name="T8" fmla="*/ 2 w 34"/>
              <a:gd name="T9" fmla="*/ 22 h 34"/>
              <a:gd name="T10" fmla="*/ 4 w 34"/>
              <a:gd name="T11" fmla="*/ 27 h 34"/>
              <a:gd name="T12" fmla="*/ 19 w 34"/>
              <a:gd name="T13" fmla="*/ 33 h 34"/>
              <a:gd name="T14" fmla="*/ 21 w 34"/>
              <a:gd name="T15" fmla="*/ 33 h 34"/>
              <a:gd name="T16" fmla="*/ 32 w 34"/>
              <a:gd name="T1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32" y="13"/>
                </a:moveTo>
                <a:cubicBezTo>
                  <a:pt x="32" y="13"/>
                  <a:pt x="32" y="13"/>
                  <a:pt x="32" y="12"/>
                </a:cubicBezTo>
                <a:cubicBezTo>
                  <a:pt x="30" y="2"/>
                  <a:pt x="19" y="0"/>
                  <a:pt x="11" y="3"/>
                </a:cubicBezTo>
                <a:cubicBezTo>
                  <a:pt x="9" y="4"/>
                  <a:pt x="9" y="4"/>
                  <a:pt x="9" y="4"/>
                </a:cubicBezTo>
                <a:cubicBezTo>
                  <a:pt x="3" y="7"/>
                  <a:pt x="0" y="15"/>
                  <a:pt x="2" y="22"/>
                </a:cubicBezTo>
                <a:cubicBezTo>
                  <a:pt x="3" y="24"/>
                  <a:pt x="3" y="25"/>
                  <a:pt x="4" y="27"/>
                </a:cubicBezTo>
                <a:cubicBezTo>
                  <a:pt x="7" y="33"/>
                  <a:pt x="14" y="34"/>
                  <a:pt x="19" y="33"/>
                </a:cubicBezTo>
                <a:cubicBezTo>
                  <a:pt x="20" y="33"/>
                  <a:pt x="21" y="33"/>
                  <a:pt x="21" y="33"/>
                </a:cubicBezTo>
                <a:cubicBezTo>
                  <a:pt x="30" y="30"/>
                  <a:pt x="34" y="22"/>
                  <a:pt x="32" y="13"/>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49">
            <a:extLst>
              <a:ext uri="{FF2B5EF4-FFF2-40B4-BE49-F238E27FC236}">
                <a16:creationId xmlns:a16="http://schemas.microsoft.com/office/drawing/2014/main" id="{D228FAF3-16FC-44B0-A7D3-6508C4275095}"/>
              </a:ext>
            </a:extLst>
          </p:cNvPr>
          <p:cNvSpPr>
            <a:spLocks noChangeArrowheads="1"/>
          </p:cNvSpPr>
          <p:nvPr/>
        </p:nvSpPr>
        <p:spPr bwMode="auto">
          <a:xfrm>
            <a:off x="4502194" y="4808546"/>
            <a:ext cx="223838" cy="225425"/>
          </a:xfrm>
          <a:prstGeom prst="ellipse">
            <a:avLst/>
          </a:pr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50">
            <a:extLst>
              <a:ext uri="{FF2B5EF4-FFF2-40B4-BE49-F238E27FC236}">
                <a16:creationId xmlns:a16="http://schemas.microsoft.com/office/drawing/2014/main" id="{F13B4A82-773E-4C38-B4BC-9FC2D1B9181A}"/>
              </a:ext>
            </a:extLst>
          </p:cNvPr>
          <p:cNvSpPr>
            <a:spLocks/>
          </p:cNvSpPr>
          <p:nvPr/>
        </p:nvSpPr>
        <p:spPr bwMode="auto">
          <a:xfrm>
            <a:off x="3786232" y="5440371"/>
            <a:ext cx="292100" cy="225425"/>
          </a:xfrm>
          <a:custGeom>
            <a:avLst/>
            <a:gdLst>
              <a:gd name="T0" fmla="*/ 26 w 52"/>
              <a:gd name="T1" fmla="*/ 0 h 40"/>
              <a:gd name="T2" fmla="*/ 26 w 52"/>
              <a:gd name="T3" fmla="*/ 40 h 40"/>
              <a:gd name="T4" fmla="*/ 26 w 52"/>
              <a:gd name="T5" fmla="*/ 0 h 40"/>
            </a:gdLst>
            <a:ahLst/>
            <a:cxnLst>
              <a:cxn ang="0">
                <a:pos x="T0" y="T1"/>
              </a:cxn>
              <a:cxn ang="0">
                <a:pos x="T2" y="T3"/>
              </a:cxn>
              <a:cxn ang="0">
                <a:pos x="T4" y="T5"/>
              </a:cxn>
            </a:cxnLst>
            <a:rect l="0" t="0" r="r" b="b"/>
            <a:pathLst>
              <a:path w="52" h="40">
                <a:moveTo>
                  <a:pt x="26" y="0"/>
                </a:moveTo>
                <a:cubicBezTo>
                  <a:pt x="0" y="0"/>
                  <a:pt x="0" y="40"/>
                  <a:pt x="26" y="40"/>
                </a:cubicBezTo>
                <a:cubicBezTo>
                  <a:pt x="52" y="40"/>
                  <a:pt x="52" y="0"/>
                  <a:pt x="26"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926">
            <a:extLst>
              <a:ext uri="{FF2B5EF4-FFF2-40B4-BE49-F238E27FC236}">
                <a16:creationId xmlns:a16="http://schemas.microsoft.com/office/drawing/2014/main" id="{2D04F9D0-F26F-4AAC-A5FD-478D8EF2C410}"/>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926">
            <a:extLst>
              <a:ext uri="{FF2B5EF4-FFF2-40B4-BE49-F238E27FC236}">
                <a16:creationId xmlns:a16="http://schemas.microsoft.com/office/drawing/2014/main" id="{7A4D752C-2D33-4598-B255-557B36905987}"/>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TextBox 219">
            <a:extLst>
              <a:ext uri="{FF2B5EF4-FFF2-40B4-BE49-F238E27FC236}">
                <a16:creationId xmlns:a16="http://schemas.microsoft.com/office/drawing/2014/main" id="{C4473FE3-2BA5-40DE-9E55-BC34246C165A}"/>
              </a:ext>
            </a:extLst>
          </p:cNvPr>
          <p:cNvSpPr txBox="1"/>
          <p:nvPr/>
        </p:nvSpPr>
        <p:spPr>
          <a:xfrm>
            <a:off x="2126176" y="469879"/>
            <a:ext cx="2535625" cy="307777"/>
          </a:xfrm>
          <a:prstGeom prst="rect">
            <a:avLst/>
          </a:prstGeom>
          <a:noFill/>
        </p:spPr>
        <p:txBody>
          <a:bodyPr wrap="square">
            <a:spAutoFit/>
          </a:bodyPr>
          <a:lstStyle/>
          <a:p>
            <a:pPr>
              <a:spcAft>
                <a:spcPts val="0"/>
              </a:spcAft>
            </a:pPr>
            <a:r>
              <a:rPr lang="fr-FR" altLang="zh-CN" sz="1400" dirty="0">
                <a:solidFill>
                  <a:schemeClr val="tx2"/>
                </a:solidFill>
              </a:rPr>
              <a:t>Organisme d’accueil</a:t>
            </a:r>
          </a:p>
        </p:txBody>
      </p:sp>
      <p:sp>
        <p:nvSpPr>
          <p:cNvPr id="77" name="TextBox 220">
            <a:extLst>
              <a:ext uri="{FF2B5EF4-FFF2-40B4-BE49-F238E27FC236}">
                <a16:creationId xmlns:a16="http://schemas.microsoft.com/office/drawing/2014/main" id="{DAB0F768-902C-4F34-9154-339DEFF92890}"/>
              </a:ext>
            </a:extLst>
          </p:cNvPr>
          <p:cNvSpPr txBox="1"/>
          <p:nvPr/>
        </p:nvSpPr>
        <p:spPr>
          <a:xfrm>
            <a:off x="5819704" y="469879"/>
            <a:ext cx="253562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82" name="TextBox 38">
            <a:extLst>
              <a:ext uri="{FF2B5EF4-FFF2-40B4-BE49-F238E27FC236}">
                <a16:creationId xmlns:a16="http://schemas.microsoft.com/office/drawing/2014/main" id="{29CA3D67-72F4-4098-931D-84C2DE7EF8BE}"/>
              </a:ext>
            </a:extLst>
          </p:cNvPr>
          <p:cNvSpPr txBox="1"/>
          <p:nvPr/>
        </p:nvSpPr>
        <p:spPr>
          <a:xfrm>
            <a:off x="9513234" y="500490"/>
            <a:ext cx="2420555"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83" name="Freeform 926">
            <a:extLst>
              <a:ext uri="{FF2B5EF4-FFF2-40B4-BE49-F238E27FC236}">
                <a16:creationId xmlns:a16="http://schemas.microsoft.com/office/drawing/2014/main" id="{21C3ABF8-CA10-441B-91FD-251805B1AC46}"/>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Rectangle 83">
            <a:extLst>
              <a:ext uri="{FF2B5EF4-FFF2-40B4-BE49-F238E27FC236}">
                <a16:creationId xmlns:a16="http://schemas.microsoft.com/office/drawing/2014/main" id="{C25BAA96-FF32-4162-A47E-49713C9E1AF6}"/>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85" name="Rectangle 84">
            <a:extLst>
              <a:ext uri="{FF2B5EF4-FFF2-40B4-BE49-F238E27FC236}">
                <a16:creationId xmlns:a16="http://schemas.microsoft.com/office/drawing/2014/main" id="{3B5C6774-1DB8-43C3-9A7E-75BCA42D5B3E}"/>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6" name="Rectangle 85">
            <a:extLst>
              <a:ext uri="{FF2B5EF4-FFF2-40B4-BE49-F238E27FC236}">
                <a16:creationId xmlns:a16="http://schemas.microsoft.com/office/drawing/2014/main" id="{5F14010E-40EE-49F9-9E32-34DCF8D77355}"/>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87" name="Rectangle 86">
            <a:extLst>
              <a:ext uri="{FF2B5EF4-FFF2-40B4-BE49-F238E27FC236}">
                <a16:creationId xmlns:a16="http://schemas.microsoft.com/office/drawing/2014/main" id="{4B410605-D3CC-4552-A17F-6B163C1084A3}"/>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49880770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4">
            <a:extLst>
              <a:ext uri="{FF2B5EF4-FFF2-40B4-BE49-F238E27FC236}">
                <a16:creationId xmlns:a16="http://schemas.microsoft.com/office/drawing/2014/main" id="{2DAC146E-9949-4F3C-AB58-D525CB78D374}"/>
              </a:ext>
            </a:extLst>
          </p:cNvPr>
          <p:cNvSpPr>
            <a:spLocks noChangeArrowheads="1"/>
          </p:cNvSpPr>
          <p:nvPr/>
        </p:nvSpPr>
        <p:spPr bwMode="auto">
          <a:xfrm>
            <a:off x="3356994" y="5939019"/>
            <a:ext cx="3715260"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5">
            <a:extLst>
              <a:ext uri="{FF2B5EF4-FFF2-40B4-BE49-F238E27FC236}">
                <a16:creationId xmlns:a16="http://schemas.microsoft.com/office/drawing/2014/main" id="{77FC47C5-7F1B-4A3B-82CB-2BCBDE2864E8}"/>
              </a:ext>
            </a:extLst>
          </p:cNvPr>
          <p:cNvSpPr>
            <a:spLocks noChangeArrowheads="1"/>
          </p:cNvSpPr>
          <p:nvPr/>
        </p:nvSpPr>
        <p:spPr bwMode="auto">
          <a:xfrm>
            <a:off x="3496695" y="5939019"/>
            <a:ext cx="8442756"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文本框 106">
            <a:extLst>
              <a:ext uri="{FF2B5EF4-FFF2-40B4-BE49-F238E27FC236}">
                <a16:creationId xmlns:a16="http://schemas.microsoft.com/office/drawing/2014/main" id="{43090170-9E86-4302-B872-1EFF239B40FB}"/>
              </a:ext>
            </a:extLst>
          </p:cNvPr>
          <p:cNvSpPr txBox="1"/>
          <p:nvPr/>
        </p:nvSpPr>
        <p:spPr>
          <a:xfrm>
            <a:off x="5454067" y="5991282"/>
            <a:ext cx="1464564" cy="646331"/>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Accès à des ressources avancées</a:t>
            </a:r>
            <a:endParaRPr lang="en-US" sz="1400" b="1" dirty="0">
              <a:solidFill>
                <a:schemeClr val="bg1"/>
              </a:solidFill>
            </a:endParaRPr>
          </a:p>
        </p:txBody>
      </p:sp>
      <p:sp>
        <p:nvSpPr>
          <p:cNvPr id="165" name="文本框 106">
            <a:extLst>
              <a:ext uri="{FF2B5EF4-FFF2-40B4-BE49-F238E27FC236}">
                <a16:creationId xmlns:a16="http://schemas.microsoft.com/office/drawing/2014/main" id="{F413437A-2C06-42B3-A5EE-895BD0130AE9}"/>
              </a:ext>
            </a:extLst>
          </p:cNvPr>
          <p:cNvSpPr txBox="1"/>
          <p:nvPr/>
        </p:nvSpPr>
        <p:spPr>
          <a:xfrm>
            <a:off x="7377970" y="6033716"/>
            <a:ext cx="4209381" cy="646331"/>
          </a:xfrm>
          <a:prstGeom prst="rect">
            <a:avLst/>
          </a:prstGeom>
          <a:noFill/>
        </p:spPr>
        <p:txBody>
          <a:bodyPr vert="horz" wrap="square" lIns="0" tIns="0" rIns="0" bIns="0" rtlCol="0">
            <a:spAutoFit/>
          </a:bodyPr>
          <a:lstStyle/>
          <a:p>
            <a:pPr>
              <a:spcBef>
                <a:spcPts val="200"/>
              </a:spcBef>
              <a:buSzPct val="100000"/>
            </a:pPr>
            <a:r>
              <a:rPr lang="fr-FR" altLang="zh-CN" sz="1400" b="1" dirty="0"/>
              <a:t>Utilisation des meilleures pratiques, outils et technologies de pointe pour renforcer la sécurité de l'information.</a:t>
            </a:r>
            <a:endParaRPr lang="en-US" sz="1400" b="1" dirty="0"/>
          </a:p>
        </p:txBody>
      </p:sp>
      <p:grpSp>
        <p:nvGrpSpPr>
          <p:cNvPr id="6" name="Groupe 5">
            <a:extLst>
              <a:ext uri="{FF2B5EF4-FFF2-40B4-BE49-F238E27FC236}">
                <a16:creationId xmlns:a16="http://schemas.microsoft.com/office/drawing/2014/main" id="{878D30EE-6415-4F2B-997F-462A6E9F98E7}"/>
              </a:ext>
            </a:extLst>
          </p:cNvPr>
          <p:cNvGrpSpPr/>
          <p:nvPr/>
        </p:nvGrpSpPr>
        <p:grpSpPr>
          <a:xfrm>
            <a:off x="4111413" y="2633571"/>
            <a:ext cx="7682540" cy="806451"/>
            <a:chOff x="3938632" y="2290771"/>
            <a:chExt cx="7682540" cy="806451"/>
          </a:xfrm>
        </p:grpSpPr>
        <p:sp>
          <p:nvSpPr>
            <p:cNvPr id="117" name="Rectangle 6">
              <a:extLst>
                <a:ext uri="{FF2B5EF4-FFF2-40B4-BE49-F238E27FC236}">
                  <a16:creationId xmlns:a16="http://schemas.microsoft.com/office/drawing/2014/main" id="{106CD99C-D06C-4500-8C85-1DF22392E543}"/>
                </a:ext>
              </a:extLst>
            </p:cNvPr>
            <p:cNvSpPr>
              <a:spLocks noChangeArrowheads="1"/>
            </p:cNvSpPr>
            <p:nvPr/>
          </p:nvSpPr>
          <p:spPr bwMode="auto">
            <a:xfrm>
              <a:off x="3938632" y="2290771"/>
              <a:ext cx="2912586"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7">
              <a:extLst>
                <a:ext uri="{FF2B5EF4-FFF2-40B4-BE49-F238E27FC236}">
                  <a16:creationId xmlns:a16="http://schemas.microsoft.com/office/drawing/2014/main" id="{D6230F0A-3089-4FE2-8CA2-9F4872ED312A}"/>
                </a:ext>
              </a:extLst>
            </p:cNvPr>
            <p:cNvSpPr>
              <a:spLocks noChangeArrowheads="1"/>
            </p:cNvSpPr>
            <p:nvPr/>
          </p:nvSpPr>
          <p:spPr bwMode="auto">
            <a:xfrm>
              <a:off x="4489494" y="2301884"/>
              <a:ext cx="7037388"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文本框 106">
              <a:extLst>
                <a:ext uri="{FF2B5EF4-FFF2-40B4-BE49-F238E27FC236}">
                  <a16:creationId xmlns:a16="http://schemas.microsoft.com/office/drawing/2014/main" id="{F304A6DC-172E-4ABC-80E5-27A0DFC66EA2}"/>
                </a:ext>
              </a:extLst>
            </p:cNvPr>
            <p:cNvSpPr txBox="1"/>
            <p:nvPr/>
          </p:nvSpPr>
          <p:spPr>
            <a:xfrm>
              <a:off x="5271197" y="2449556"/>
              <a:ext cx="1236946" cy="430887"/>
            </a:xfrm>
            <a:prstGeom prst="rect">
              <a:avLst/>
            </a:prstGeom>
            <a:noFill/>
          </p:spPr>
          <p:txBody>
            <a:bodyPr vert="horz" wrap="square" lIns="0" tIns="0" rIns="0" bIns="0" rtlCol="0">
              <a:spAutoFit/>
            </a:bodyPr>
            <a:lstStyle/>
            <a:p>
              <a:pPr algn="ctr">
                <a:spcBef>
                  <a:spcPts val="200"/>
                </a:spcBef>
                <a:buSzPct val="100000"/>
              </a:pPr>
              <a:r>
                <a:rPr lang="fr-FR" sz="1400" b="1" i="0" dirty="0">
                  <a:solidFill>
                    <a:schemeClr val="bg1"/>
                  </a:solidFill>
                  <a:effectLst/>
                </a:rPr>
                <a:t>Expertise spécialisée </a:t>
              </a:r>
              <a:endParaRPr lang="en-US" sz="1400" b="1" dirty="0">
                <a:solidFill>
                  <a:schemeClr val="bg1"/>
                </a:solidFill>
              </a:endParaRPr>
            </a:p>
          </p:txBody>
        </p:sp>
        <p:sp>
          <p:nvSpPr>
            <p:cNvPr id="163" name="文本框 106">
              <a:extLst>
                <a:ext uri="{FF2B5EF4-FFF2-40B4-BE49-F238E27FC236}">
                  <a16:creationId xmlns:a16="http://schemas.microsoft.com/office/drawing/2014/main" id="{85611E3E-9EA2-439F-A0D8-419697612AD8}"/>
                </a:ext>
              </a:extLst>
            </p:cNvPr>
            <p:cNvSpPr txBox="1"/>
            <p:nvPr/>
          </p:nvSpPr>
          <p:spPr>
            <a:xfrm>
              <a:off x="7007066" y="2474009"/>
              <a:ext cx="4614106" cy="430887"/>
            </a:xfrm>
            <a:prstGeom prst="rect">
              <a:avLst/>
            </a:prstGeom>
            <a:noFill/>
          </p:spPr>
          <p:txBody>
            <a:bodyPr vert="horz" wrap="square" lIns="0" tIns="0" rIns="0" bIns="0" rtlCol="0">
              <a:spAutoFit/>
            </a:bodyPr>
            <a:lstStyle/>
            <a:p>
              <a:pPr>
                <a:spcBef>
                  <a:spcPts val="200"/>
                </a:spcBef>
                <a:buSzPct val="100000"/>
              </a:pPr>
              <a:r>
                <a:rPr lang="fr-FR" altLang="zh-CN" sz="1400" dirty="0"/>
                <a:t>Accès à une expertise hautement qualifiée en matière de cybersécurité pour faire face aux menaces sophistiquées.</a:t>
              </a:r>
              <a:endParaRPr lang="en-US" sz="1400" dirty="0"/>
            </a:p>
          </p:txBody>
        </p:sp>
      </p:grpSp>
      <p:grpSp>
        <p:nvGrpSpPr>
          <p:cNvPr id="5" name="Groupe 4">
            <a:extLst>
              <a:ext uri="{FF2B5EF4-FFF2-40B4-BE49-F238E27FC236}">
                <a16:creationId xmlns:a16="http://schemas.microsoft.com/office/drawing/2014/main" id="{B99FB03A-A3A4-48C5-9FA8-4AD4DBF1946D}"/>
              </a:ext>
            </a:extLst>
          </p:cNvPr>
          <p:cNvGrpSpPr/>
          <p:nvPr/>
        </p:nvGrpSpPr>
        <p:grpSpPr>
          <a:xfrm>
            <a:off x="5260763" y="3741746"/>
            <a:ext cx="6438900" cy="795338"/>
            <a:chOff x="5087982" y="3238509"/>
            <a:chExt cx="6438900" cy="795338"/>
          </a:xfrm>
        </p:grpSpPr>
        <p:sp>
          <p:nvSpPr>
            <p:cNvPr id="119" name="Rectangle 8">
              <a:extLst>
                <a:ext uri="{FF2B5EF4-FFF2-40B4-BE49-F238E27FC236}">
                  <a16:creationId xmlns:a16="http://schemas.microsoft.com/office/drawing/2014/main" id="{8BB3E113-DBDC-4943-BC20-08A1D8647163}"/>
                </a:ext>
              </a:extLst>
            </p:cNvPr>
            <p:cNvSpPr>
              <a:spLocks noChangeArrowheads="1"/>
            </p:cNvSpPr>
            <p:nvPr/>
          </p:nvSpPr>
          <p:spPr bwMode="auto">
            <a:xfrm>
              <a:off x="5087982" y="3238509"/>
              <a:ext cx="1811491"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9">
              <a:extLst>
                <a:ext uri="{FF2B5EF4-FFF2-40B4-BE49-F238E27FC236}">
                  <a16:creationId xmlns:a16="http://schemas.microsoft.com/office/drawing/2014/main" id="{DBA511E5-8029-4BAF-B020-F9BACBA7C36A}"/>
                </a:ext>
              </a:extLst>
            </p:cNvPr>
            <p:cNvSpPr>
              <a:spLocks noChangeArrowheads="1"/>
            </p:cNvSpPr>
            <p:nvPr/>
          </p:nvSpPr>
          <p:spPr bwMode="auto">
            <a:xfrm>
              <a:off x="5087982" y="3238509"/>
              <a:ext cx="6438900"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文本框 106">
              <a:extLst>
                <a:ext uri="{FF2B5EF4-FFF2-40B4-BE49-F238E27FC236}">
                  <a16:creationId xmlns:a16="http://schemas.microsoft.com/office/drawing/2014/main" id="{D27B26C8-C13D-464F-B11A-DE828B22FFC3}"/>
                </a:ext>
              </a:extLst>
            </p:cNvPr>
            <p:cNvSpPr txBox="1"/>
            <p:nvPr/>
          </p:nvSpPr>
          <p:spPr>
            <a:xfrm>
              <a:off x="5549945" y="3435562"/>
              <a:ext cx="1236946" cy="215444"/>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Coûts réduits</a:t>
              </a:r>
            </a:p>
          </p:txBody>
        </p:sp>
        <p:sp>
          <p:nvSpPr>
            <p:cNvPr id="167" name="文本框 106">
              <a:extLst>
                <a:ext uri="{FF2B5EF4-FFF2-40B4-BE49-F238E27FC236}">
                  <a16:creationId xmlns:a16="http://schemas.microsoft.com/office/drawing/2014/main" id="{3DDDC167-0805-4D3B-AE2C-251C02306ACE}"/>
                </a:ext>
              </a:extLst>
            </p:cNvPr>
            <p:cNvSpPr txBox="1"/>
            <p:nvPr/>
          </p:nvSpPr>
          <p:spPr>
            <a:xfrm>
              <a:off x="7091004" y="3420734"/>
              <a:ext cx="3727266" cy="430887"/>
            </a:xfrm>
            <a:prstGeom prst="rect">
              <a:avLst/>
            </a:prstGeom>
            <a:noFill/>
          </p:spPr>
          <p:txBody>
            <a:bodyPr vert="horz" wrap="square" lIns="0" tIns="0" rIns="0" bIns="0" rtlCol="0">
              <a:spAutoFit/>
            </a:bodyPr>
            <a:lstStyle/>
            <a:p>
              <a:pPr>
                <a:spcBef>
                  <a:spcPts val="200"/>
                </a:spcBef>
                <a:buSzPct val="100000"/>
              </a:pPr>
              <a:r>
                <a:rPr lang="fr-FR" altLang="zh-CN" sz="1400" dirty="0"/>
                <a:t>Économies financières par rapport à l'embauche d'un CISO permanent.</a:t>
              </a:r>
              <a:endParaRPr lang="en-US" sz="1400" dirty="0"/>
            </a:p>
          </p:txBody>
        </p:sp>
      </p:grpSp>
      <p:sp>
        <p:nvSpPr>
          <p:cNvPr id="121" name="Rectangle 10">
            <a:extLst>
              <a:ext uri="{FF2B5EF4-FFF2-40B4-BE49-F238E27FC236}">
                <a16:creationId xmlns:a16="http://schemas.microsoft.com/office/drawing/2014/main" id="{EECC24BB-F3E3-4694-B71D-CFCCEB9DDADC}"/>
              </a:ext>
            </a:extLst>
          </p:cNvPr>
          <p:cNvSpPr>
            <a:spLocks noChangeArrowheads="1"/>
          </p:cNvSpPr>
          <p:nvPr/>
        </p:nvSpPr>
        <p:spPr bwMode="auto">
          <a:xfrm>
            <a:off x="5181388" y="4839237"/>
            <a:ext cx="1890866" cy="803917"/>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1">
            <a:extLst>
              <a:ext uri="{FF2B5EF4-FFF2-40B4-BE49-F238E27FC236}">
                <a16:creationId xmlns:a16="http://schemas.microsoft.com/office/drawing/2014/main" id="{4799DAD5-7EDB-4FB6-9D0D-6E4A79685091}"/>
              </a:ext>
            </a:extLst>
          </p:cNvPr>
          <p:cNvSpPr>
            <a:spLocks noChangeArrowheads="1"/>
          </p:cNvSpPr>
          <p:nvPr/>
        </p:nvSpPr>
        <p:spPr bwMode="auto">
          <a:xfrm>
            <a:off x="5536988" y="4839236"/>
            <a:ext cx="6162675"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文本框 106">
            <a:extLst>
              <a:ext uri="{FF2B5EF4-FFF2-40B4-BE49-F238E27FC236}">
                <a16:creationId xmlns:a16="http://schemas.microsoft.com/office/drawing/2014/main" id="{19781465-D084-42C0-8F11-EA8A6B40B50B}"/>
              </a:ext>
            </a:extLst>
          </p:cNvPr>
          <p:cNvSpPr txBox="1"/>
          <p:nvPr/>
        </p:nvSpPr>
        <p:spPr>
          <a:xfrm>
            <a:off x="5992601" y="5016113"/>
            <a:ext cx="935037" cy="430887"/>
          </a:xfrm>
          <a:prstGeom prst="rect">
            <a:avLst/>
          </a:prstGeom>
          <a:noFill/>
        </p:spPr>
        <p:txBody>
          <a:bodyPr vert="horz" wrap="square" lIns="0" tIns="0" rIns="0" bIns="0" rtlCol="0">
            <a:spAutoFit/>
          </a:bodyPr>
          <a:lstStyle/>
          <a:p>
            <a:pPr>
              <a:spcBef>
                <a:spcPts val="200"/>
              </a:spcBef>
              <a:buSzPct val="100000"/>
            </a:pPr>
            <a:r>
              <a:rPr lang="fr-FR" sz="1400" b="1" dirty="0">
                <a:solidFill>
                  <a:schemeClr val="bg1"/>
                </a:solidFill>
              </a:rPr>
              <a:t>Flexibilité et scalabilité</a:t>
            </a:r>
          </a:p>
        </p:txBody>
      </p:sp>
      <p:sp>
        <p:nvSpPr>
          <p:cNvPr id="171" name="文本框 106">
            <a:extLst>
              <a:ext uri="{FF2B5EF4-FFF2-40B4-BE49-F238E27FC236}">
                <a16:creationId xmlns:a16="http://schemas.microsoft.com/office/drawing/2014/main" id="{D628E6C3-A266-430E-8C58-90D97AB26078}"/>
              </a:ext>
            </a:extLst>
          </p:cNvPr>
          <p:cNvSpPr txBox="1"/>
          <p:nvPr/>
        </p:nvSpPr>
        <p:spPr>
          <a:xfrm>
            <a:off x="7364691" y="4932898"/>
            <a:ext cx="4222660" cy="646331"/>
          </a:xfrm>
          <a:prstGeom prst="rect">
            <a:avLst/>
          </a:prstGeom>
          <a:noFill/>
        </p:spPr>
        <p:txBody>
          <a:bodyPr vert="horz" wrap="square" lIns="0" tIns="0" rIns="0" bIns="0" rtlCol="0">
            <a:spAutoFit/>
          </a:bodyPr>
          <a:lstStyle/>
          <a:p>
            <a:pPr>
              <a:spcBef>
                <a:spcPts val="200"/>
              </a:spcBef>
              <a:buSzPct val="100000"/>
            </a:pPr>
            <a:r>
              <a:rPr lang="fr-FR" altLang="zh-CN" sz="1400" dirty="0"/>
              <a:t>Adaptabilité aux besoins changeants de l'entreprise, en permettant une augmentation ou une diminution de la portée des services.</a:t>
            </a:r>
            <a:endParaRPr lang="en-US" sz="1400" dirty="0"/>
          </a:p>
        </p:txBody>
      </p:sp>
      <p:sp>
        <p:nvSpPr>
          <p:cNvPr id="61" name="TextBox 60">
            <a:extLst>
              <a:ext uri="{FF2B5EF4-FFF2-40B4-BE49-F238E27FC236}">
                <a16:creationId xmlns:a16="http://schemas.microsoft.com/office/drawing/2014/main" id="{7106FA92-EF01-4191-90E3-6759EF0B7553}"/>
              </a:ext>
            </a:extLst>
          </p:cNvPr>
          <p:cNvSpPr txBox="1"/>
          <p:nvPr/>
        </p:nvSpPr>
        <p:spPr>
          <a:xfrm>
            <a:off x="565980" y="1428403"/>
            <a:ext cx="12247049" cy="342210"/>
          </a:xfrm>
          <a:prstGeom prst="rect">
            <a:avLst/>
          </a:prstGeom>
          <a:noFill/>
          <a:ln>
            <a:noFill/>
            <a:prstDash val="dash"/>
          </a:ln>
        </p:spPr>
        <p:txBody>
          <a:bodyPr wrap="square">
            <a:spAutoFit/>
          </a:bodyPr>
          <a:lstStyle/>
          <a:p>
            <a:pPr marL="0" lvl="1" algn="just" fontAlgn="base">
              <a:lnSpc>
                <a:spcPct val="106000"/>
              </a:lnSpc>
              <a:spcAft>
                <a:spcPts val="364"/>
              </a:spcAft>
              <a:buClr>
                <a:srgbClr val="000000"/>
              </a:buClr>
            </a:pPr>
            <a:r>
              <a:rPr lang="fr-FR" sz="1600"/>
              <a:t>L'intérêt du CISO en tant que service réside dans plusieurs aspects clés :</a:t>
            </a:r>
            <a:endParaRPr lang="fr-FR" sz="1200">
              <a:cs typeface="Times New Roman" panose="02020603050405020304" pitchFamily="18" charset="0"/>
            </a:endParaRPr>
          </a:p>
        </p:txBody>
      </p:sp>
      <p:sp>
        <p:nvSpPr>
          <p:cNvPr id="127" name="Oval 16">
            <a:extLst>
              <a:ext uri="{FF2B5EF4-FFF2-40B4-BE49-F238E27FC236}">
                <a16:creationId xmlns:a16="http://schemas.microsoft.com/office/drawing/2014/main" id="{36D2A68F-A686-4C36-B5F1-3B7F8C1B8339}"/>
              </a:ext>
            </a:extLst>
          </p:cNvPr>
          <p:cNvSpPr>
            <a:spLocks noChangeArrowheads="1"/>
          </p:cNvSpPr>
          <p:nvPr/>
        </p:nvSpPr>
        <p:spPr bwMode="auto">
          <a:xfrm>
            <a:off x="1132725" y="2211067"/>
            <a:ext cx="4564063" cy="4735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ZoneTexte 64">
            <a:extLst>
              <a:ext uri="{FF2B5EF4-FFF2-40B4-BE49-F238E27FC236}">
                <a16:creationId xmlns:a16="http://schemas.microsoft.com/office/drawing/2014/main" id="{734D484A-4F6E-4414-ADCA-F3C326F314EE}"/>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5</a:t>
            </a:r>
          </a:p>
        </p:txBody>
      </p:sp>
      <p:sp>
        <p:nvSpPr>
          <p:cNvPr id="128" name="Freeform 17">
            <a:extLst>
              <a:ext uri="{FF2B5EF4-FFF2-40B4-BE49-F238E27FC236}">
                <a16:creationId xmlns:a16="http://schemas.microsoft.com/office/drawing/2014/main" id="{E24EA950-C290-4C89-9F1C-40F15363E3BF}"/>
              </a:ext>
            </a:extLst>
          </p:cNvPr>
          <p:cNvSpPr>
            <a:spLocks/>
          </p:cNvSpPr>
          <p:nvPr/>
        </p:nvSpPr>
        <p:spPr bwMode="auto">
          <a:xfrm>
            <a:off x="4185486" y="6033716"/>
            <a:ext cx="207963" cy="207963"/>
          </a:xfrm>
          <a:custGeom>
            <a:avLst/>
            <a:gdLst>
              <a:gd name="T0" fmla="*/ 34 w 37"/>
              <a:gd name="T1" fmla="*/ 14 h 37"/>
              <a:gd name="T2" fmla="*/ 24 w 37"/>
              <a:gd name="T3" fmla="*/ 34 h 37"/>
              <a:gd name="T4" fmla="*/ 3 w 37"/>
              <a:gd name="T5" fmla="*/ 24 h 37"/>
              <a:gd name="T6" fmla="*/ 14 w 37"/>
              <a:gd name="T7" fmla="*/ 3 h 37"/>
              <a:gd name="T8" fmla="*/ 34 w 37"/>
              <a:gd name="T9" fmla="*/ 14 h 37"/>
            </a:gdLst>
            <a:ahLst/>
            <a:cxnLst>
              <a:cxn ang="0">
                <a:pos x="T0" y="T1"/>
              </a:cxn>
              <a:cxn ang="0">
                <a:pos x="T2" y="T3"/>
              </a:cxn>
              <a:cxn ang="0">
                <a:pos x="T4" y="T5"/>
              </a:cxn>
              <a:cxn ang="0">
                <a:pos x="T6" y="T7"/>
              </a:cxn>
              <a:cxn ang="0">
                <a:pos x="T8" y="T9"/>
              </a:cxn>
            </a:cxnLst>
            <a:rect l="0" t="0" r="r" b="b"/>
            <a:pathLst>
              <a:path w="37" h="37">
                <a:moveTo>
                  <a:pt x="34" y="14"/>
                </a:moveTo>
                <a:cubicBezTo>
                  <a:pt x="37" y="22"/>
                  <a:pt x="32" y="32"/>
                  <a:pt x="24" y="34"/>
                </a:cubicBezTo>
                <a:cubicBezTo>
                  <a:pt x="15" y="37"/>
                  <a:pt x="6" y="32"/>
                  <a:pt x="3" y="24"/>
                </a:cubicBezTo>
                <a:cubicBezTo>
                  <a:pt x="0" y="15"/>
                  <a:pt x="5" y="6"/>
                  <a:pt x="14" y="3"/>
                </a:cubicBezTo>
                <a:cubicBezTo>
                  <a:pt x="22" y="0"/>
                  <a:pt x="31" y="5"/>
                  <a:pt x="34" y="1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9009F0D8-05B2-4A33-9FA3-73A1B1C17DD4}"/>
              </a:ext>
            </a:extLst>
          </p:cNvPr>
          <p:cNvSpPr>
            <a:spLocks/>
          </p:cNvSpPr>
          <p:nvPr/>
        </p:nvSpPr>
        <p:spPr bwMode="auto">
          <a:xfrm rot="20992730">
            <a:off x="4374762" y="5399223"/>
            <a:ext cx="845930" cy="664291"/>
          </a:xfrm>
          <a:custGeom>
            <a:avLst/>
            <a:gdLst>
              <a:gd name="T0" fmla="*/ 4 w 127"/>
              <a:gd name="T1" fmla="*/ 95 h 95"/>
              <a:gd name="T2" fmla="*/ 0 w 127"/>
              <a:gd name="T3" fmla="*/ 87 h 95"/>
              <a:gd name="T4" fmla="*/ 121 w 127"/>
              <a:gd name="T5" fmla="*/ 0 h 95"/>
              <a:gd name="T6" fmla="*/ 127 w 127"/>
              <a:gd name="T7" fmla="*/ 6 h 95"/>
              <a:gd name="T8" fmla="*/ 4 w 127"/>
              <a:gd name="T9" fmla="*/ 95 h 95"/>
            </a:gdLst>
            <a:ahLst/>
            <a:cxnLst>
              <a:cxn ang="0">
                <a:pos x="T0" y="T1"/>
              </a:cxn>
              <a:cxn ang="0">
                <a:pos x="T2" y="T3"/>
              </a:cxn>
              <a:cxn ang="0">
                <a:pos x="T4" y="T5"/>
              </a:cxn>
              <a:cxn ang="0">
                <a:pos x="T6" y="T7"/>
              </a:cxn>
              <a:cxn ang="0">
                <a:pos x="T8" y="T9"/>
              </a:cxn>
            </a:cxnLst>
            <a:rect l="0" t="0" r="r" b="b"/>
            <a:pathLst>
              <a:path w="127" h="95">
                <a:moveTo>
                  <a:pt x="4" y="95"/>
                </a:moveTo>
                <a:cubicBezTo>
                  <a:pt x="0" y="87"/>
                  <a:pt x="0" y="87"/>
                  <a:pt x="0" y="87"/>
                </a:cubicBezTo>
                <a:cubicBezTo>
                  <a:pt x="46" y="67"/>
                  <a:pt x="88" y="37"/>
                  <a:pt x="121" y="0"/>
                </a:cubicBezTo>
                <a:cubicBezTo>
                  <a:pt x="127" y="6"/>
                  <a:pt x="127" y="6"/>
                  <a:pt x="127" y="6"/>
                </a:cubicBezTo>
                <a:cubicBezTo>
                  <a:pt x="94" y="44"/>
                  <a:pt x="51" y="75"/>
                  <a:pt x="4" y="95"/>
                </a:cubicBezTo>
                <a:close/>
              </a:path>
            </a:pathLst>
          </a:custGeom>
          <a:solidFill>
            <a:srgbClr val="7FBE2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3">
            <a:extLst>
              <a:ext uri="{FF2B5EF4-FFF2-40B4-BE49-F238E27FC236}">
                <a16:creationId xmlns:a16="http://schemas.microsoft.com/office/drawing/2014/main" id="{96D4CE5B-DE4E-4185-8E77-7765B2AD0DDE}"/>
              </a:ext>
            </a:extLst>
          </p:cNvPr>
          <p:cNvSpPr>
            <a:spLocks/>
          </p:cNvSpPr>
          <p:nvPr/>
        </p:nvSpPr>
        <p:spPr bwMode="auto">
          <a:xfrm rot="20331017">
            <a:off x="5144973" y="4226899"/>
            <a:ext cx="326538" cy="785740"/>
          </a:xfrm>
          <a:custGeom>
            <a:avLst/>
            <a:gdLst>
              <a:gd name="T0" fmla="*/ 8 w 55"/>
              <a:gd name="T1" fmla="*/ 146 h 146"/>
              <a:gd name="T2" fmla="*/ 0 w 55"/>
              <a:gd name="T3" fmla="*/ 141 h 146"/>
              <a:gd name="T4" fmla="*/ 46 w 55"/>
              <a:gd name="T5" fmla="*/ 0 h 146"/>
              <a:gd name="T6" fmla="*/ 55 w 55"/>
              <a:gd name="T7" fmla="*/ 1 h 146"/>
              <a:gd name="T8" fmla="*/ 8 w 55"/>
              <a:gd name="T9" fmla="*/ 146 h 146"/>
            </a:gdLst>
            <a:ahLst/>
            <a:cxnLst>
              <a:cxn ang="0">
                <a:pos x="T0" y="T1"/>
              </a:cxn>
              <a:cxn ang="0">
                <a:pos x="T2" y="T3"/>
              </a:cxn>
              <a:cxn ang="0">
                <a:pos x="T4" y="T5"/>
              </a:cxn>
              <a:cxn ang="0">
                <a:pos x="T6" y="T7"/>
              </a:cxn>
              <a:cxn ang="0">
                <a:pos x="T8" y="T9"/>
              </a:cxn>
            </a:cxnLst>
            <a:rect l="0" t="0" r="r" b="b"/>
            <a:pathLst>
              <a:path w="55" h="146">
                <a:moveTo>
                  <a:pt x="8" y="146"/>
                </a:moveTo>
                <a:cubicBezTo>
                  <a:pt x="0" y="141"/>
                  <a:pt x="0" y="141"/>
                  <a:pt x="0" y="141"/>
                </a:cubicBezTo>
                <a:cubicBezTo>
                  <a:pt x="25" y="98"/>
                  <a:pt x="41" y="49"/>
                  <a:pt x="46" y="0"/>
                </a:cubicBezTo>
                <a:cubicBezTo>
                  <a:pt x="55" y="1"/>
                  <a:pt x="55" y="1"/>
                  <a:pt x="55" y="1"/>
                </a:cubicBezTo>
                <a:cubicBezTo>
                  <a:pt x="50" y="52"/>
                  <a:pt x="34" y="102"/>
                  <a:pt x="8" y="146"/>
                </a:cubicBezTo>
                <a:close/>
              </a:path>
            </a:pathLst>
          </a:custGeom>
          <a:solidFill>
            <a:srgbClr val="9AD3CE"/>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CD998AF5-EB20-47BD-9416-32F2C36292B6}"/>
              </a:ext>
            </a:extLst>
          </p:cNvPr>
          <p:cNvSpPr>
            <a:spLocks/>
          </p:cNvSpPr>
          <p:nvPr/>
        </p:nvSpPr>
        <p:spPr bwMode="auto">
          <a:xfrm>
            <a:off x="4451189" y="3069942"/>
            <a:ext cx="685160" cy="835026"/>
          </a:xfrm>
          <a:custGeom>
            <a:avLst/>
            <a:gdLst>
              <a:gd name="T0" fmla="*/ 121 w 127"/>
              <a:gd name="T1" fmla="*/ 96 h 96"/>
              <a:gd name="T2" fmla="*/ 0 w 127"/>
              <a:gd name="T3" fmla="*/ 9 h 96"/>
              <a:gd name="T4" fmla="*/ 4 w 127"/>
              <a:gd name="T5" fmla="*/ 0 h 96"/>
              <a:gd name="T6" fmla="*/ 127 w 127"/>
              <a:gd name="T7" fmla="*/ 90 h 96"/>
              <a:gd name="T8" fmla="*/ 121 w 127"/>
              <a:gd name="T9" fmla="*/ 96 h 96"/>
            </a:gdLst>
            <a:ahLst/>
            <a:cxnLst>
              <a:cxn ang="0">
                <a:pos x="T0" y="T1"/>
              </a:cxn>
              <a:cxn ang="0">
                <a:pos x="T2" y="T3"/>
              </a:cxn>
              <a:cxn ang="0">
                <a:pos x="T4" y="T5"/>
              </a:cxn>
              <a:cxn ang="0">
                <a:pos x="T6" y="T7"/>
              </a:cxn>
              <a:cxn ang="0">
                <a:pos x="T8" y="T9"/>
              </a:cxn>
            </a:cxnLst>
            <a:rect l="0" t="0" r="r" b="b"/>
            <a:pathLst>
              <a:path w="127" h="96">
                <a:moveTo>
                  <a:pt x="121" y="96"/>
                </a:moveTo>
                <a:cubicBezTo>
                  <a:pt x="88" y="58"/>
                  <a:pt x="46" y="28"/>
                  <a:pt x="0" y="9"/>
                </a:cubicBezTo>
                <a:cubicBezTo>
                  <a:pt x="4" y="0"/>
                  <a:pt x="4" y="0"/>
                  <a:pt x="4" y="0"/>
                </a:cubicBezTo>
                <a:cubicBezTo>
                  <a:pt x="51" y="20"/>
                  <a:pt x="94" y="52"/>
                  <a:pt x="127" y="90"/>
                </a:cubicBezTo>
                <a:lnTo>
                  <a:pt x="121" y="96"/>
                </a:lnTo>
                <a:close/>
              </a:path>
            </a:pathLst>
          </a:custGeom>
          <a:solidFill>
            <a:srgbClr val="696B7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26">
            <a:extLst>
              <a:ext uri="{FF2B5EF4-FFF2-40B4-BE49-F238E27FC236}">
                <a16:creationId xmlns:a16="http://schemas.microsoft.com/office/drawing/2014/main" id="{CCDF4F6F-D84D-4041-B1F9-1A4E99D3B08C}"/>
              </a:ext>
            </a:extLst>
          </p:cNvPr>
          <p:cNvSpPr>
            <a:spLocks/>
          </p:cNvSpPr>
          <p:nvPr/>
        </p:nvSpPr>
        <p:spPr bwMode="auto">
          <a:xfrm>
            <a:off x="2451144" y="5829309"/>
            <a:ext cx="912813" cy="333375"/>
          </a:xfrm>
          <a:custGeom>
            <a:avLst/>
            <a:gdLst>
              <a:gd name="T0" fmla="*/ 162 w 162"/>
              <a:gd name="T1" fmla="*/ 59 h 59"/>
              <a:gd name="T2" fmla="*/ 0 w 162"/>
              <a:gd name="T3" fmla="*/ 7 h 59"/>
              <a:gd name="T4" fmla="*/ 5 w 162"/>
              <a:gd name="T5" fmla="*/ 0 h 59"/>
              <a:gd name="T6" fmla="*/ 162 w 162"/>
              <a:gd name="T7" fmla="*/ 50 h 59"/>
              <a:gd name="T8" fmla="*/ 162 w 162"/>
              <a:gd name="T9" fmla="*/ 59 h 59"/>
            </a:gdLst>
            <a:ahLst/>
            <a:cxnLst>
              <a:cxn ang="0">
                <a:pos x="T0" y="T1"/>
              </a:cxn>
              <a:cxn ang="0">
                <a:pos x="T2" y="T3"/>
              </a:cxn>
              <a:cxn ang="0">
                <a:pos x="T4" y="T5"/>
              </a:cxn>
              <a:cxn ang="0">
                <a:pos x="T6" y="T7"/>
              </a:cxn>
              <a:cxn ang="0">
                <a:pos x="T8" y="T9"/>
              </a:cxn>
            </a:cxnLst>
            <a:rect l="0" t="0" r="r" b="b"/>
            <a:pathLst>
              <a:path w="162" h="59">
                <a:moveTo>
                  <a:pt x="162" y="59"/>
                </a:moveTo>
                <a:cubicBezTo>
                  <a:pt x="104" y="59"/>
                  <a:pt x="48" y="41"/>
                  <a:pt x="0" y="7"/>
                </a:cubicBezTo>
                <a:cubicBezTo>
                  <a:pt x="5" y="0"/>
                  <a:pt x="5" y="0"/>
                  <a:pt x="5" y="0"/>
                </a:cubicBezTo>
                <a:cubicBezTo>
                  <a:pt x="52" y="32"/>
                  <a:pt x="106" y="50"/>
                  <a:pt x="162" y="50"/>
                </a:cubicBezTo>
                <a:lnTo>
                  <a:pt x="162" y="59"/>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C4279C18-DBD1-47DD-B06A-CBD3B382187D}"/>
              </a:ext>
            </a:extLst>
          </p:cNvPr>
          <p:cNvSpPr>
            <a:spLocks/>
          </p:cNvSpPr>
          <p:nvPr/>
        </p:nvSpPr>
        <p:spPr bwMode="auto">
          <a:xfrm>
            <a:off x="1841544" y="5045084"/>
            <a:ext cx="598488" cy="795338"/>
          </a:xfrm>
          <a:custGeom>
            <a:avLst/>
            <a:gdLst>
              <a:gd name="T0" fmla="*/ 101 w 106"/>
              <a:gd name="T1" fmla="*/ 141 h 141"/>
              <a:gd name="T2" fmla="*/ 0 w 106"/>
              <a:gd name="T3" fmla="*/ 3 h 141"/>
              <a:gd name="T4" fmla="*/ 9 w 106"/>
              <a:gd name="T5" fmla="*/ 0 h 141"/>
              <a:gd name="T6" fmla="*/ 106 w 106"/>
              <a:gd name="T7" fmla="*/ 134 h 141"/>
              <a:gd name="T8" fmla="*/ 101 w 106"/>
              <a:gd name="T9" fmla="*/ 141 h 141"/>
            </a:gdLst>
            <a:ahLst/>
            <a:cxnLst>
              <a:cxn ang="0">
                <a:pos x="T0" y="T1"/>
              </a:cxn>
              <a:cxn ang="0">
                <a:pos x="T2" y="T3"/>
              </a:cxn>
              <a:cxn ang="0">
                <a:pos x="T4" y="T5"/>
              </a:cxn>
              <a:cxn ang="0">
                <a:pos x="T6" y="T7"/>
              </a:cxn>
              <a:cxn ang="0">
                <a:pos x="T8" y="T9"/>
              </a:cxn>
            </a:cxnLst>
            <a:rect l="0" t="0" r="r" b="b"/>
            <a:pathLst>
              <a:path w="106" h="141">
                <a:moveTo>
                  <a:pt x="101" y="141"/>
                </a:moveTo>
                <a:cubicBezTo>
                  <a:pt x="54" y="106"/>
                  <a:pt x="19" y="58"/>
                  <a:pt x="0" y="3"/>
                </a:cubicBezTo>
                <a:cubicBezTo>
                  <a:pt x="9" y="0"/>
                  <a:pt x="9" y="0"/>
                  <a:pt x="9" y="0"/>
                </a:cubicBezTo>
                <a:cubicBezTo>
                  <a:pt x="27" y="54"/>
                  <a:pt x="61" y="100"/>
                  <a:pt x="106" y="134"/>
                </a:cubicBezTo>
                <a:lnTo>
                  <a:pt x="101" y="141"/>
                </a:ln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A8359647-0C46-4769-9E91-6B7A18890B2B}"/>
              </a:ext>
            </a:extLst>
          </p:cNvPr>
          <p:cNvSpPr>
            <a:spLocks/>
          </p:cNvSpPr>
          <p:nvPr/>
        </p:nvSpPr>
        <p:spPr bwMode="auto">
          <a:xfrm>
            <a:off x="1728832" y="4051309"/>
            <a:ext cx="147638" cy="965200"/>
          </a:xfrm>
          <a:custGeom>
            <a:avLst/>
            <a:gdLst>
              <a:gd name="T0" fmla="*/ 17 w 26"/>
              <a:gd name="T1" fmla="*/ 171 h 171"/>
              <a:gd name="T2" fmla="*/ 17 w 26"/>
              <a:gd name="T3" fmla="*/ 0 h 171"/>
              <a:gd name="T4" fmla="*/ 26 w 26"/>
              <a:gd name="T5" fmla="*/ 3 h 171"/>
              <a:gd name="T6" fmla="*/ 26 w 26"/>
              <a:gd name="T7" fmla="*/ 168 h 171"/>
              <a:gd name="T8" fmla="*/ 17 w 26"/>
              <a:gd name="T9" fmla="*/ 171 h 171"/>
            </a:gdLst>
            <a:ahLst/>
            <a:cxnLst>
              <a:cxn ang="0">
                <a:pos x="T0" y="T1"/>
              </a:cxn>
              <a:cxn ang="0">
                <a:pos x="T2" y="T3"/>
              </a:cxn>
              <a:cxn ang="0">
                <a:pos x="T4" y="T5"/>
              </a:cxn>
              <a:cxn ang="0">
                <a:pos x="T6" y="T7"/>
              </a:cxn>
              <a:cxn ang="0">
                <a:pos x="T8" y="T9"/>
              </a:cxn>
            </a:cxnLst>
            <a:rect l="0" t="0" r="r" b="b"/>
            <a:pathLst>
              <a:path w="26" h="171">
                <a:moveTo>
                  <a:pt x="17" y="171"/>
                </a:moveTo>
                <a:cubicBezTo>
                  <a:pt x="0" y="115"/>
                  <a:pt x="0" y="56"/>
                  <a:pt x="17" y="0"/>
                </a:cubicBezTo>
                <a:cubicBezTo>
                  <a:pt x="26" y="3"/>
                  <a:pt x="26" y="3"/>
                  <a:pt x="26" y="3"/>
                </a:cubicBezTo>
                <a:cubicBezTo>
                  <a:pt x="9" y="57"/>
                  <a:pt x="9" y="114"/>
                  <a:pt x="26" y="168"/>
                </a:cubicBezTo>
                <a:lnTo>
                  <a:pt x="17" y="17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CAA7ACED-407E-44A1-8A1A-69800FADEE5F}"/>
              </a:ext>
            </a:extLst>
          </p:cNvPr>
          <p:cNvSpPr>
            <a:spLocks/>
          </p:cNvSpPr>
          <p:nvPr/>
        </p:nvSpPr>
        <p:spPr bwMode="auto">
          <a:xfrm>
            <a:off x="1841544" y="3227396"/>
            <a:ext cx="592138" cy="795338"/>
          </a:xfrm>
          <a:custGeom>
            <a:avLst/>
            <a:gdLst>
              <a:gd name="T0" fmla="*/ 8 w 105"/>
              <a:gd name="T1" fmla="*/ 141 h 141"/>
              <a:gd name="T2" fmla="*/ 0 w 105"/>
              <a:gd name="T3" fmla="*/ 138 h 141"/>
              <a:gd name="T4" fmla="*/ 100 w 105"/>
              <a:gd name="T5" fmla="*/ 0 h 141"/>
              <a:gd name="T6" fmla="*/ 105 w 105"/>
              <a:gd name="T7" fmla="*/ 7 h 141"/>
              <a:gd name="T8" fmla="*/ 8 w 105"/>
              <a:gd name="T9" fmla="*/ 141 h 141"/>
            </a:gdLst>
            <a:ahLst/>
            <a:cxnLst>
              <a:cxn ang="0">
                <a:pos x="T0" y="T1"/>
              </a:cxn>
              <a:cxn ang="0">
                <a:pos x="T2" y="T3"/>
              </a:cxn>
              <a:cxn ang="0">
                <a:pos x="T4" y="T5"/>
              </a:cxn>
              <a:cxn ang="0">
                <a:pos x="T6" y="T7"/>
              </a:cxn>
              <a:cxn ang="0">
                <a:pos x="T8" y="T9"/>
              </a:cxn>
            </a:cxnLst>
            <a:rect l="0" t="0" r="r" b="b"/>
            <a:pathLst>
              <a:path w="105" h="141">
                <a:moveTo>
                  <a:pt x="8" y="141"/>
                </a:moveTo>
                <a:cubicBezTo>
                  <a:pt x="0" y="138"/>
                  <a:pt x="0" y="138"/>
                  <a:pt x="0" y="138"/>
                </a:cubicBezTo>
                <a:cubicBezTo>
                  <a:pt x="19" y="83"/>
                  <a:pt x="53" y="35"/>
                  <a:pt x="100" y="0"/>
                </a:cubicBezTo>
                <a:cubicBezTo>
                  <a:pt x="105" y="7"/>
                  <a:pt x="105" y="7"/>
                  <a:pt x="105" y="7"/>
                </a:cubicBezTo>
                <a:cubicBezTo>
                  <a:pt x="60" y="41"/>
                  <a:pt x="26" y="87"/>
                  <a:pt x="8" y="141"/>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40F701DE-DC13-42E5-A750-9D2B7638CAA3}"/>
              </a:ext>
            </a:extLst>
          </p:cNvPr>
          <p:cNvSpPr>
            <a:spLocks/>
          </p:cNvSpPr>
          <p:nvPr/>
        </p:nvSpPr>
        <p:spPr bwMode="auto">
          <a:xfrm>
            <a:off x="2444794" y="2894021"/>
            <a:ext cx="912813" cy="344488"/>
          </a:xfrm>
          <a:custGeom>
            <a:avLst/>
            <a:gdLst>
              <a:gd name="T0" fmla="*/ 5 w 162"/>
              <a:gd name="T1" fmla="*/ 61 h 61"/>
              <a:gd name="T2" fmla="*/ 0 w 162"/>
              <a:gd name="T3" fmla="*/ 53 h 61"/>
              <a:gd name="T4" fmla="*/ 162 w 162"/>
              <a:gd name="T5" fmla="*/ 0 h 61"/>
              <a:gd name="T6" fmla="*/ 162 w 162"/>
              <a:gd name="T7" fmla="*/ 9 h 61"/>
              <a:gd name="T8" fmla="*/ 5 w 162"/>
              <a:gd name="T9" fmla="*/ 61 h 61"/>
            </a:gdLst>
            <a:ahLst/>
            <a:cxnLst>
              <a:cxn ang="0">
                <a:pos x="T0" y="T1"/>
              </a:cxn>
              <a:cxn ang="0">
                <a:pos x="T2" y="T3"/>
              </a:cxn>
              <a:cxn ang="0">
                <a:pos x="T4" y="T5"/>
              </a:cxn>
              <a:cxn ang="0">
                <a:pos x="T6" y="T7"/>
              </a:cxn>
              <a:cxn ang="0">
                <a:pos x="T8" y="T9"/>
              </a:cxn>
            </a:cxnLst>
            <a:rect l="0" t="0" r="r" b="b"/>
            <a:pathLst>
              <a:path w="162" h="61">
                <a:moveTo>
                  <a:pt x="5" y="61"/>
                </a:moveTo>
                <a:cubicBezTo>
                  <a:pt x="0" y="53"/>
                  <a:pt x="0" y="53"/>
                  <a:pt x="0" y="53"/>
                </a:cubicBezTo>
                <a:cubicBezTo>
                  <a:pt x="47" y="20"/>
                  <a:pt x="103" y="1"/>
                  <a:pt x="162" y="0"/>
                </a:cubicBezTo>
                <a:cubicBezTo>
                  <a:pt x="162" y="9"/>
                  <a:pt x="162" y="9"/>
                  <a:pt x="162" y="9"/>
                </a:cubicBezTo>
                <a:cubicBezTo>
                  <a:pt x="105" y="10"/>
                  <a:pt x="51" y="28"/>
                  <a:pt x="5" y="61"/>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E8725292-D9C8-45A1-BC87-5A1F18FC783A}"/>
              </a:ext>
            </a:extLst>
          </p:cNvPr>
          <p:cNvSpPr>
            <a:spLocks noEditPoints="1"/>
          </p:cNvSpPr>
          <p:nvPr/>
        </p:nvSpPr>
        <p:spPr bwMode="auto">
          <a:xfrm>
            <a:off x="4083886" y="5943228"/>
            <a:ext cx="411163" cy="395288"/>
          </a:xfrm>
          <a:custGeom>
            <a:avLst/>
            <a:gdLst>
              <a:gd name="T0" fmla="*/ 37 w 73"/>
              <a:gd name="T1" fmla="*/ 70 h 70"/>
              <a:gd name="T2" fmla="*/ 3 w 73"/>
              <a:gd name="T3" fmla="*/ 46 h 70"/>
              <a:gd name="T4" fmla="*/ 5 w 73"/>
              <a:gd name="T5" fmla="*/ 19 h 70"/>
              <a:gd name="T6" fmla="*/ 26 w 73"/>
              <a:gd name="T7" fmla="*/ 2 h 70"/>
              <a:gd name="T8" fmla="*/ 37 w 73"/>
              <a:gd name="T9" fmla="*/ 0 h 70"/>
              <a:gd name="T10" fmla="*/ 70 w 73"/>
              <a:gd name="T11" fmla="*/ 24 h 70"/>
              <a:gd name="T12" fmla="*/ 68 w 73"/>
              <a:gd name="T13" fmla="*/ 51 h 70"/>
              <a:gd name="T14" fmla="*/ 47 w 73"/>
              <a:gd name="T15" fmla="*/ 68 h 70"/>
              <a:gd name="T16" fmla="*/ 37 w 73"/>
              <a:gd name="T17" fmla="*/ 70 h 70"/>
              <a:gd name="T18" fmla="*/ 37 w 73"/>
              <a:gd name="T19" fmla="*/ 9 h 70"/>
              <a:gd name="T20" fmla="*/ 29 w 73"/>
              <a:gd name="T21" fmla="*/ 10 h 70"/>
              <a:gd name="T22" fmla="*/ 13 w 73"/>
              <a:gd name="T23" fmla="*/ 23 h 70"/>
              <a:gd name="T24" fmla="*/ 12 w 73"/>
              <a:gd name="T25" fmla="*/ 43 h 70"/>
              <a:gd name="T26" fmla="*/ 37 w 73"/>
              <a:gd name="T27" fmla="*/ 61 h 70"/>
              <a:gd name="T28" fmla="*/ 45 w 73"/>
              <a:gd name="T29" fmla="*/ 59 h 70"/>
              <a:gd name="T30" fmla="*/ 60 w 73"/>
              <a:gd name="T31" fmla="*/ 47 h 70"/>
              <a:gd name="T32" fmla="*/ 61 w 73"/>
              <a:gd name="T33" fmla="*/ 27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21" y="70"/>
                  <a:pt x="8" y="60"/>
                  <a:pt x="3" y="46"/>
                </a:cubicBezTo>
                <a:cubicBezTo>
                  <a:pt x="0" y="37"/>
                  <a:pt x="1" y="27"/>
                  <a:pt x="5" y="19"/>
                </a:cubicBezTo>
                <a:cubicBezTo>
                  <a:pt x="10" y="11"/>
                  <a:pt x="17" y="4"/>
                  <a:pt x="26" y="2"/>
                </a:cubicBezTo>
                <a:cubicBezTo>
                  <a:pt x="29" y="0"/>
                  <a:pt x="33" y="0"/>
                  <a:pt x="37" y="0"/>
                </a:cubicBezTo>
                <a:cubicBezTo>
                  <a:pt x="52" y="0"/>
                  <a:pt x="65" y="10"/>
                  <a:pt x="70" y="24"/>
                </a:cubicBezTo>
                <a:cubicBezTo>
                  <a:pt x="73" y="33"/>
                  <a:pt x="72" y="42"/>
                  <a:pt x="68" y="51"/>
                </a:cubicBezTo>
                <a:cubicBezTo>
                  <a:pt x="64" y="59"/>
                  <a:pt x="56" y="65"/>
                  <a:pt x="47" y="68"/>
                </a:cubicBezTo>
                <a:cubicBezTo>
                  <a:pt x="44" y="69"/>
                  <a:pt x="40" y="70"/>
                  <a:pt x="37" y="70"/>
                </a:cubicBezTo>
                <a:close/>
                <a:moveTo>
                  <a:pt x="37" y="9"/>
                </a:moveTo>
                <a:cubicBezTo>
                  <a:pt x="34" y="9"/>
                  <a:pt x="31" y="9"/>
                  <a:pt x="29" y="10"/>
                </a:cubicBezTo>
                <a:cubicBezTo>
                  <a:pt x="22" y="12"/>
                  <a:pt x="17" y="17"/>
                  <a:pt x="13" y="23"/>
                </a:cubicBezTo>
                <a:cubicBezTo>
                  <a:pt x="10" y="29"/>
                  <a:pt x="10" y="36"/>
                  <a:pt x="12" y="43"/>
                </a:cubicBezTo>
                <a:cubicBezTo>
                  <a:pt x="15" y="54"/>
                  <a:pt x="25" y="61"/>
                  <a:pt x="37" y="61"/>
                </a:cubicBezTo>
                <a:cubicBezTo>
                  <a:pt x="39" y="61"/>
                  <a:pt x="42" y="60"/>
                  <a:pt x="45" y="59"/>
                </a:cubicBezTo>
                <a:cubicBezTo>
                  <a:pt x="51" y="57"/>
                  <a:pt x="57" y="53"/>
                  <a:pt x="60" y="47"/>
                </a:cubicBezTo>
                <a:cubicBezTo>
                  <a:pt x="63" y="40"/>
                  <a:pt x="63" y="33"/>
                  <a:pt x="61" y="27"/>
                </a:cubicBezTo>
                <a:cubicBezTo>
                  <a:pt x="58" y="16"/>
                  <a:pt x="48" y="9"/>
                  <a:pt x="37" y="9"/>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e 7">
            <a:extLst>
              <a:ext uri="{FF2B5EF4-FFF2-40B4-BE49-F238E27FC236}">
                <a16:creationId xmlns:a16="http://schemas.microsoft.com/office/drawing/2014/main" id="{588710C3-C70A-4830-9BFD-DFFE69E4778E}"/>
              </a:ext>
            </a:extLst>
          </p:cNvPr>
          <p:cNvGrpSpPr/>
          <p:nvPr/>
        </p:nvGrpSpPr>
        <p:grpSpPr>
          <a:xfrm>
            <a:off x="5034749" y="4986518"/>
            <a:ext cx="388938" cy="395288"/>
            <a:chOff x="4954397" y="5103340"/>
            <a:chExt cx="388938" cy="395288"/>
          </a:xfrm>
        </p:grpSpPr>
        <p:sp>
          <p:nvSpPr>
            <p:cNvPr id="130" name="Oval 19">
              <a:extLst>
                <a:ext uri="{FF2B5EF4-FFF2-40B4-BE49-F238E27FC236}">
                  <a16:creationId xmlns:a16="http://schemas.microsoft.com/office/drawing/2014/main" id="{1EEF6D97-684A-411E-8440-BB5DD08116AC}"/>
                </a:ext>
              </a:extLst>
            </p:cNvPr>
            <p:cNvSpPr>
              <a:spLocks noChangeArrowheads="1"/>
            </p:cNvSpPr>
            <p:nvPr/>
          </p:nvSpPr>
          <p:spPr bwMode="auto">
            <a:xfrm>
              <a:off x="5055997" y="5204940"/>
              <a:ext cx="185738" cy="18573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4570C6EC-9734-4697-872B-9382D48F1655}"/>
                </a:ext>
              </a:extLst>
            </p:cNvPr>
            <p:cNvSpPr>
              <a:spLocks noEditPoints="1"/>
            </p:cNvSpPr>
            <p:nvPr/>
          </p:nvSpPr>
          <p:spPr bwMode="auto">
            <a:xfrm>
              <a:off x="4954397" y="5103340"/>
              <a:ext cx="388938" cy="395288"/>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9 h 70"/>
                <a:gd name="T12" fmla="*/ 9 w 69"/>
                <a:gd name="T13" fmla="*/ 35 h 70"/>
                <a:gd name="T14" fmla="*/ 35 w 69"/>
                <a:gd name="T15" fmla="*/ 61 h 70"/>
                <a:gd name="T16" fmla="*/ 60 w 69"/>
                <a:gd name="T17" fmla="*/ 35 h 70"/>
                <a:gd name="T18" fmla="*/ 35 w 69"/>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9"/>
                  </a:moveTo>
                  <a:cubicBezTo>
                    <a:pt x="20" y="9"/>
                    <a:pt x="9" y="21"/>
                    <a:pt x="9" y="35"/>
                  </a:cubicBezTo>
                  <a:cubicBezTo>
                    <a:pt x="9" y="49"/>
                    <a:pt x="20" y="61"/>
                    <a:pt x="35" y="61"/>
                  </a:cubicBezTo>
                  <a:cubicBezTo>
                    <a:pt x="49" y="61"/>
                    <a:pt x="60" y="49"/>
                    <a:pt x="60" y="35"/>
                  </a:cubicBezTo>
                  <a:cubicBezTo>
                    <a:pt x="60" y="21"/>
                    <a:pt x="49" y="9"/>
                    <a:pt x="35" y="9"/>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e 6">
            <a:extLst>
              <a:ext uri="{FF2B5EF4-FFF2-40B4-BE49-F238E27FC236}">
                <a16:creationId xmlns:a16="http://schemas.microsoft.com/office/drawing/2014/main" id="{52FF8857-F7B0-4176-828A-3136C527472B}"/>
              </a:ext>
            </a:extLst>
          </p:cNvPr>
          <p:cNvGrpSpPr/>
          <p:nvPr/>
        </p:nvGrpSpPr>
        <p:grpSpPr>
          <a:xfrm>
            <a:off x="4976467" y="3876393"/>
            <a:ext cx="406400" cy="395288"/>
            <a:chOff x="4726032" y="3209934"/>
            <a:chExt cx="406400" cy="395288"/>
          </a:xfrm>
        </p:grpSpPr>
        <p:sp>
          <p:nvSpPr>
            <p:cNvPr id="131" name="Freeform 20">
              <a:extLst>
                <a:ext uri="{FF2B5EF4-FFF2-40B4-BE49-F238E27FC236}">
                  <a16:creationId xmlns:a16="http://schemas.microsoft.com/office/drawing/2014/main" id="{DF8200B6-512E-499F-952E-96B34C74C71D}"/>
                </a:ext>
              </a:extLst>
            </p:cNvPr>
            <p:cNvSpPr>
              <a:spLocks/>
            </p:cNvSpPr>
            <p:nvPr/>
          </p:nvSpPr>
          <p:spPr bwMode="auto">
            <a:xfrm>
              <a:off x="4822869" y="3300421"/>
              <a:ext cx="214313" cy="209550"/>
            </a:xfrm>
            <a:custGeom>
              <a:avLst/>
              <a:gdLst>
                <a:gd name="T0" fmla="*/ 9 w 38"/>
                <a:gd name="T1" fmla="*/ 6 h 37"/>
                <a:gd name="T2" fmla="*/ 32 w 38"/>
                <a:gd name="T3" fmla="*/ 9 h 37"/>
                <a:gd name="T4" fmla="*/ 29 w 38"/>
                <a:gd name="T5" fmla="*/ 32 h 37"/>
                <a:gd name="T6" fmla="*/ 6 w 38"/>
                <a:gd name="T7" fmla="*/ 29 h 37"/>
                <a:gd name="T8" fmla="*/ 9 w 38"/>
                <a:gd name="T9" fmla="*/ 6 h 37"/>
              </a:gdLst>
              <a:ahLst/>
              <a:cxnLst>
                <a:cxn ang="0">
                  <a:pos x="T0" y="T1"/>
                </a:cxn>
                <a:cxn ang="0">
                  <a:pos x="T2" y="T3"/>
                </a:cxn>
                <a:cxn ang="0">
                  <a:pos x="T4" y="T5"/>
                </a:cxn>
                <a:cxn ang="0">
                  <a:pos x="T6" y="T7"/>
                </a:cxn>
                <a:cxn ang="0">
                  <a:pos x="T8" y="T9"/>
                </a:cxn>
              </a:cxnLst>
              <a:rect l="0" t="0" r="r" b="b"/>
              <a:pathLst>
                <a:path w="38" h="37">
                  <a:moveTo>
                    <a:pt x="9" y="6"/>
                  </a:moveTo>
                  <a:cubicBezTo>
                    <a:pt x="17" y="0"/>
                    <a:pt x="27" y="2"/>
                    <a:pt x="32" y="9"/>
                  </a:cubicBezTo>
                  <a:cubicBezTo>
                    <a:pt x="38" y="17"/>
                    <a:pt x="36" y="27"/>
                    <a:pt x="29" y="32"/>
                  </a:cubicBezTo>
                  <a:cubicBezTo>
                    <a:pt x="21" y="37"/>
                    <a:pt x="11" y="36"/>
                    <a:pt x="6" y="29"/>
                  </a:cubicBezTo>
                  <a:cubicBezTo>
                    <a:pt x="0" y="21"/>
                    <a:pt x="2" y="11"/>
                    <a:pt x="9" y="6"/>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8F7A0821-82ED-46D1-A15B-A284B2A9C669}"/>
                </a:ext>
              </a:extLst>
            </p:cNvPr>
            <p:cNvSpPr>
              <a:spLocks noEditPoints="1"/>
            </p:cNvSpPr>
            <p:nvPr/>
          </p:nvSpPr>
          <p:spPr bwMode="auto">
            <a:xfrm>
              <a:off x="4726032" y="3209934"/>
              <a:ext cx="406400" cy="395288"/>
            </a:xfrm>
            <a:custGeom>
              <a:avLst/>
              <a:gdLst>
                <a:gd name="T0" fmla="*/ 36 w 72"/>
                <a:gd name="T1" fmla="*/ 70 h 70"/>
                <a:gd name="T2" fmla="*/ 8 w 72"/>
                <a:gd name="T3" fmla="*/ 55 h 70"/>
                <a:gd name="T4" fmla="*/ 1 w 72"/>
                <a:gd name="T5" fmla="*/ 29 h 70"/>
                <a:gd name="T6" fmla="*/ 15 w 72"/>
                <a:gd name="T7" fmla="*/ 7 h 70"/>
                <a:gd name="T8" fmla="*/ 36 w 72"/>
                <a:gd name="T9" fmla="*/ 0 h 70"/>
                <a:gd name="T10" fmla="*/ 64 w 72"/>
                <a:gd name="T11" fmla="*/ 14 h 70"/>
                <a:gd name="T12" fmla="*/ 70 w 72"/>
                <a:gd name="T13" fmla="*/ 40 h 70"/>
                <a:gd name="T14" fmla="*/ 56 w 72"/>
                <a:gd name="T15" fmla="*/ 63 h 70"/>
                <a:gd name="T16" fmla="*/ 36 w 72"/>
                <a:gd name="T17" fmla="*/ 70 h 70"/>
                <a:gd name="T18" fmla="*/ 36 w 72"/>
                <a:gd name="T19" fmla="*/ 9 h 70"/>
                <a:gd name="T20" fmla="*/ 21 w 72"/>
                <a:gd name="T21" fmla="*/ 14 h 70"/>
                <a:gd name="T22" fmla="*/ 10 w 72"/>
                <a:gd name="T23" fmla="*/ 31 h 70"/>
                <a:gd name="T24" fmla="*/ 15 w 72"/>
                <a:gd name="T25" fmla="*/ 50 h 70"/>
                <a:gd name="T26" fmla="*/ 36 w 72"/>
                <a:gd name="T27" fmla="*/ 61 h 70"/>
                <a:gd name="T28" fmla="*/ 51 w 72"/>
                <a:gd name="T29" fmla="*/ 56 h 70"/>
                <a:gd name="T30" fmla="*/ 62 w 72"/>
                <a:gd name="T31" fmla="*/ 39 h 70"/>
                <a:gd name="T32" fmla="*/ 57 w 72"/>
                <a:gd name="T33" fmla="*/ 20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5" y="70"/>
                    <a:pt x="14" y="64"/>
                    <a:pt x="8" y="55"/>
                  </a:cubicBezTo>
                  <a:cubicBezTo>
                    <a:pt x="2" y="48"/>
                    <a:pt x="0" y="39"/>
                    <a:pt x="1" y="29"/>
                  </a:cubicBezTo>
                  <a:cubicBezTo>
                    <a:pt x="3" y="20"/>
                    <a:pt x="8" y="12"/>
                    <a:pt x="15" y="7"/>
                  </a:cubicBezTo>
                  <a:cubicBezTo>
                    <a:pt x="21" y="2"/>
                    <a:pt x="28" y="0"/>
                    <a:pt x="36" y="0"/>
                  </a:cubicBezTo>
                  <a:cubicBezTo>
                    <a:pt x="47" y="0"/>
                    <a:pt x="58" y="5"/>
                    <a:pt x="64" y="14"/>
                  </a:cubicBezTo>
                  <a:cubicBezTo>
                    <a:pt x="70" y="22"/>
                    <a:pt x="72" y="31"/>
                    <a:pt x="70" y="40"/>
                  </a:cubicBezTo>
                  <a:cubicBezTo>
                    <a:pt x="69" y="50"/>
                    <a:pt x="64" y="58"/>
                    <a:pt x="56" y="63"/>
                  </a:cubicBezTo>
                  <a:cubicBezTo>
                    <a:pt x="50" y="68"/>
                    <a:pt x="43" y="70"/>
                    <a:pt x="36" y="70"/>
                  </a:cubicBezTo>
                  <a:close/>
                  <a:moveTo>
                    <a:pt x="36" y="9"/>
                  </a:moveTo>
                  <a:cubicBezTo>
                    <a:pt x="30" y="9"/>
                    <a:pt x="25" y="11"/>
                    <a:pt x="21" y="14"/>
                  </a:cubicBezTo>
                  <a:cubicBezTo>
                    <a:pt x="15" y="18"/>
                    <a:pt x="11" y="24"/>
                    <a:pt x="10" y="31"/>
                  </a:cubicBezTo>
                  <a:cubicBezTo>
                    <a:pt x="9" y="38"/>
                    <a:pt x="11" y="45"/>
                    <a:pt x="15" y="50"/>
                  </a:cubicBezTo>
                  <a:cubicBezTo>
                    <a:pt x="20" y="57"/>
                    <a:pt x="28" y="61"/>
                    <a:pt x="36" y="61"/>
                  </a:cubicBezTo>
                  <a:cubicBezTo>
                    <a:pt x="41" y="61"/>
                    <a:pt x="47" y="59"/>
                    <a:pt x="51" y="56"/>
                  </a:cubicBezTo>
                  <a:cubicBezTo>
                    <a:pt x="57" y="52"/>
                    <a:pt x="60" y="46"/>
                    <a:pt x="62" y="39"/>
                  </a:cubicBezTo>
                  <a:cubicBezTo>
                    <a:pt x="63" y="32"/>
                    <a:pt x="61" y="25"/>
                    <a:pt x="57" y="20"/>
                  </a:cubicBezTo>
                  <a:cubicBezTo>
                    <a:pt x="52" y="13"/>
                    <a:pt x="44" y="9"/>
                    <a:pt x="36" y="9"/>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e 8">
            <a:extLst>
              <a:ext uri="{FF2B5EF4-FFF2-40B4-BE49-F238E27FC236}">
                <a16:creationId xmlns:a16="http://schemas.microsoft.com/office/drawing/2014/main" id="{1494306F-4324-4EF8-9B0F-A5BCCFEBCBEC}"/>
              </a:ext>
            </a:extLst>
          </p:cNvPr>
          <p:cNvGrpSpPr/>
          <p:nvPr/>
        </p:nvGrpSpPr>
        <p:grpSpPr>
          <a:xfrm>
            <a:off x="4094267" y="2868621"/>
            <a:ext cx="411163" cy="395288"/>
            <a:chOff x="3768769" y="2516196"/>
            <a:chExt cx="411163" cy="395288"/>
          </a:xfrm>
        </p:grpSpPr>
        <p:sp>
          <p:nvSpPr>
            <p:cNvPr id="132" name="Freeform 21">
              <a:extLst>
                <a:ext uri="{FF2B5EF4-FFF2-40B4-BE49-F238E27FC236}">
                  <a16:creationId xmlns:a16="http://schemas.microsoft.com/office/drawing/2014/main" id="{4562122B-A6A5-47CA-B6C1-375FC34CF071}"/>
                </a:ext>
              </a:extLst>
            </p:cNvPr>
            <p:cNvSpPr>
              <a:spLocks/>
            </p:cNvSpPr>
            <p:nvPr/>
          </p:nvSpPr>
          <p:spPr bwMode="auto">
            <a:xfrm>
              <a:off x="3870369" y="2606684"/>
              <a:ext cx="207963" cy="207963"/>
            </a:xfrm>
            <a:custGeom>
              <a:avLst/>
              <a:gdLst>
                <a:gd name="T0" fmla="*/ 3 w 37"/>
                <a:gd name="T1" fmla="*/ 14 h 37"/>
                <a:gd name="T2" fmla="*/ 24 w 37"/>
                <a:gd name="T3" fmla="*/ 3 h 37"/>
                <a:gd name="T4" fmla="*/ 34 w 37"/>
                <a:gd name="T5" fmla="*/ 24 h 37"/>
                <a:gd name="T6" fmla="*/ 14 w 37"/>
                <a:gd name="T7" fmla="*/ 35 h 37"/>
                <a:gd name="T8" fmla="*/ 3 w 37"/>
                <a:gd name="T9" fmla="*/ 14 h 37"/>
              </a:gdLst>
              <a:ahLst/>
              <a:cxnLst>
                <a:cxn ang="0">
                  <a:pos x="T0" y="T1"/>
                </a:cxn>
                <a:cxn ang="0">
                  <a:pos x="T2" y="T3"/>
                </a:cxn>
                <a:cxn ang="0">
                  <a:pos x="T4" y="T5"/>
                </a:cxn>
                <a:cxn ang="0">
                  <a:pos x="T6" y="T7"/>
                </a:cxn>
                <a:cxn ang="0">
                  <a:pos x="T8" y="T9"/>
                </a:cxn>
              </a:cxnLst>
              <a:rect l="0" t="0" r="r" b="b"/>
              <a:pathLst>
                <a:path w="37" h="37">
                  <a:moveTo>
                    <a:pt x="3" y="14"/>
                  </a:moveTo>
                  <a:cubicBezTo>
                    <a:pt x="6" y="5"/>
                    <a:pt x="15" y="0"/>
                    <a:pt x="24" y="3"/>
                  </a:cubicBezTo>
                  <a:cubicBezTo>
                    <a:pt x="32" y="6"/>
                    <a:pt x="37" y="15"/>
                    <a:pt x="34" y="24"/>
                  </a:cubicBezTo>
                  <a:cubicBezTo>
                    <a:pt x="31" y="33"/>
                    <a:pt x="22" y="37"/>
                    <a:pt x="14" y="35"/>
                  </a:cubicBezTo>
                  <a:cubicBezTo>
                    <a:pt x="5" y="32"/>
                    <a:pt x="0" y="22"/>
                    <a:pt x="3" y="14"/>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320A3C98-E4C7-48B6-ABCC-EB3CB87CFA10}"/>
                </a:ext>
              </a:extLst>
            </p:cNvPr>
            <p:cNvSpPr>
              <a:spLocks noEditPoints="1"/>
            </p:cNvSpPr>
            <p:nvPr/>
          </p:nvSpPr>
          <p:spPr bwMode="auto">
            <a:xfrm>
              <a:off x="3768769" y="2516196"/>
              <a:ext cx="411163" cy="395288"/>
            </a:xfrm>
            <a:custGeom>
              <a:avLst/>
              <a:gdLst>
                <a:gd name="T0" fmla="*/ 37 w 73"/>
                <a:gd name="T1" fmla="*/ 70 h 70"/>
                <a:gd name="T2" fmla="*/ 26 w 73"/>
                <a:gd name="T3" fmla="*/ 68 h 70"/>
                <a:gd name="T4" fmla="*/ 5 w 73"/>
                <a:gd name="T5" fmla="*/ 51 h 70"/>
                <a:gd name="T6" fmla="*/ 3 w 73"/>
                <a:gd name="T7" fmla="*/ 24 h 70"/>
                <a:gd name="T8" fmla="*/ 37 w 73"/>
                <a:gd name="T9" fmla="*/ 0 h 70"/>
                <a:gd name="T10" fmla="*/ 47 w 73"/>
                <a:gd name="T11" fmla="*/ 2 h 70"/>
                <a:gd name="T12" fmla="*/ 68 w 73"/>
                <a:gd name="T13" fmla="*/ 19 h 70"/>
                <a:gd name="T14" fmla="*/ 70 w 73"/>
                <a:gd name="T15" fmla="*/ 46 h 70"/>
                <a:gd name="T16" fmla="*/ 37 w 73"/>
                <a:gd name="T17" fmla="*/ 70 h 70"/>
                <a:gd name="T18" fmla="*/ 37 w 73"/>
                <a:gd name="T19" fmla="*/ 9 h 70"/>
                <a:gd name="T20" fmla="*/ 12 w 73"/>
                <a:gd name="T21" fmla="*/ 27 h 70"/>
                <a:gd name="T22" fmla="*/ 13 w 73"/>
                <a:gd name="T23" fmla="*/ 47 h 70"/>
                <a:gd name="T24" fmla="*/ 29 w 73"/>
                <a:gd name="T25" fmla="*/ 60 h 70"/>
                <a:gd name="T26" fmla="*/ 37 w 73"/>
                <a:gd name="T27" fmla="*/ 61 h 70"/>
                <a:gd name="T28" fmla="*/ 61 w 73"/>
                <a:gd name="T29" fmla="*/ 43 h 70"/>
                <a:gd name="T30" fmla="*/ 60 w 73"/>
                <a:gd name="T31" fmla="*/ 23 h 70"/>
                <a:gd name="T32" fmla="*/ 45 w 73"/>
                <a:gd name="T33" fmla="*/ 10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33" y="70"/>
                    <a:pt x="29" y="69"/>
                    <a:pt x="26" y="68"/>
                  </a:cubicBezTo>
                  <a:cubicBezTo>
                    <a:pt x="17" y="65"/>
                    <a:pt x="10" y="59"/>
                    <a:pt x="5" y="51"/>
                  </a:cubicBezTo>
                  <a:cubicBezTo>
                    <a:pt x="1" y="42"/>
                    <a:pt x="0" y="33"/>
                    <a:pt x="3" y="24"/>
                  </a:cubicBezTo>
                  <a:cubicBezTo>
                    <a:pt x="8" y="10"/>
                    <a:pt x="21" y="0"/>
                    <a:pt x="37" y="0"/>
                  </a:cubicBezTo>
                  <a:cubicBezTo>
                    <a:pt x="40" y="0"/>
                    <a:pt x="44" y="1"/>
                    <a:pt x="47" y="2"/>
                  </a:cubicBezTo>
                  <a:cubicBezTo>
                    <a:pt x="56" y="5"/>
                    <a:pt x="64" y="11"/>
                    <a:pt x="68" y="19"/>
                  </a:cubicBezTo>
                  <a:cubicBezTo>
                    <a:pt x="72" y="27"/>
                    <a:pt x="73" y="37"/>
                    <a:pt x="70" y="46"/>
                  </a:cubicBezTo>
                  <a:cubicBezTo>
                    <a:pt x="65" y="60"/>
                    <a:pt x="52" y="70"/>
                    <a:pt x="37" y="70"/>
                  </a:cubicBezTo>
                  <a:close/>
                  <a:moveTo>
                    <a:pt x="37" y="9"/>
                  </a:moveTo>
                  <a:cubicBezTo>
                    <a:pt x="25" y="9"/>
                    <a:pt x="15" y="16"/>
                    <a:pt x="12" y="27"/>
                  </a:cubicBezTo>
                  <a:cubicBezTo>
                    <a:pt x="10" y="33"/>
                    <a:pt x="10" y="41"/>
                    <a:pt x="13" y="47"/>
                  </a:cubicBezTo>
                  <a:cubicBezTo>
                    <a:pt x="17" y="53"/>
                    <a:pt x="22" y="57"/>
                    <a:pt x="29" y="60"/>
                  </a:cubicBezTo>
                  <a:cubicBezTo>
                    <a:pt x="31" y="60"/>
                    <a:pt x="34" y="61"/>
                    <a:pt x="37" y="61"/>
                  </a:cubicBezTo>
                  <a:cubicBezTo>
                    <a:pt x="48" y="61"/>
                    <a:pt x="58" y="54"/>
                    <a:pt x="61" y="43"/>
                  </a:cubicBezTo>
                  <a:cubicBezTo>
                    <a:pt x="63" y="36"/>
                    <a:pt x="63" y="29"/>
                    <a:pt x="60" y="23"/>
                  </a:cubicBezTo>
                  <a:cubicBezTo>
                    <a:pt x="57" y="17"/>
                    <a:pt x="51" y="12"/>
                    <a:pt x="45" y="10"/>
                  </a:cubicBezTo>
                  <a:cubicBezTo>
                    <a:pt x="42" y="9"/>
                    <a:pt x="39" y="9"/>
                    <a:pt x="37" y="9"/>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47" name="Picture 36">
            <a:extLst>
              <a:ext uri="{FF2B5EF4-FFF2-40B4-BE49-F238E27FC236}">
                <a16:creationId xmlns:a16="http://schemas.microsoft.com/office/drawing/2014/main" id="{2694479C-5DC3-4DF5-8ECA-2878CAC996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1744" y="3640146"/>
            <a:ext cx="10477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37">
            <a:extLst>
              <a:ext uri="{FF2B5EF4-FFF2-40B4-BE49-F238E27FC236}">
                <a16:creationId xmlns:a16="http://schemas.microsoft.com/office/drawing/2014/main" id="{E5352050-802F-4283-8975-B73A209FF6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3519" y="3335346"/>
            <a:ext cx="35401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38">
            <a:extLst>
              <a:ext uri="{FF2B5EF4-FFF2-40B4-BE49-F238E27FC236}">
                <a16:creationId xmlns:a16="http://schemas.microsoft.com/office/drawing/2014/main" id="{5022A6F0-FCD1-4CC4-A4A6-8D2655B265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1744" y="4203709"/>
            <a:ext cx="89693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Picture 39">
            <a:extLst>
              <a:ext uri="{FF2B5EF4-FFF2-40B4-BE49-F238E27FC236}">
                <a16:creationId xmlns:a16="http://schemas.microsoft.com/office/drawing/2014/main" id="{54F94781-CB97-41A8-AB23-4482B30B94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73519" y="4610109"/>
            <a:ext cx="996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40">
            <a:extLst>
              <a:ext uri="{FF2B5EF4-FFF2-40B4-BE49-F238E27FC236}">
                <a16:creationId xmlns:a16="http://schemas.microsoft.com/office/drawing/2014/main" id="{1717FCCE-BE4C-413A-82B6-8EA46A261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1744" y="5191134"/>
            <a:ext cx="96361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41">
            <a:extLst>
              <a:ext uri="{FF2B5EF4-FFF2-40B4-BE49-F238E27FC236}">
                <a16:creationId xmlns:a16="http://schemas.microsoft.com/office/drawing/2014/main" id="{E8B9C698-6FF6-4BBB-A46D-3CE7B84BCC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4769" y="5191134"/>
            <a:ext cx="457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 name="Freeform 42">
            <a:extLst>
              <a:ext uri="{FF2B5EF4-FFF2-40B4-BE49-F238E27FC236}">
                <a16:creationId xmlns:a16="http://schemas.microsoft.com/office/drawing/2014/main" id="{77E05EB0-F0EF-4138-A873-30DD08732090}"/>
              </a:ext>
            </a:extLst>
          </p:cNvPr>
          <p:cNvSpPr>
            <a:spLocks/>
          </p:cNvSpPr>
          <p:nvPr/>
        </p:nvSpPr>
        <p:spPr bwMode="auto">
          <a:xfrm>
            <a:off x="2197144" y="3194059"/>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43">
            <a:extLst>
              <a:ext uri="{FF2B5EF4-FFF2-40B4-BE49-F238E27FC236}">
                <a16:creationId xmlns:a16="http://schemas.microsoft.com/office/drawing/2014/main" id="{1D6803C8-99D6-4C22-84D9-493018A41570}"/>
              </a:ext>
            </a:extLst>
          </p:cNvPr>
          <p:cNvSpPr>
            <a:spLocks noChangeArrowheads="1"/>
          </p:cNvSpPr>
          <p:nvPr/>
        </p:nvSpPr>
        <p:spPr bwMode="auto">
          <a:xfrm>
            <a:off x="3887832" y="3271846"/>
            <a:ext cx="174625" cy="1809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9A3E178D-2130-453B-9553-ED59069037D0}"/>
              </a:ext>
            </a:extLst>
          </p:cNvPr>
          <p:cNvSpPr>
            <a:spLocks/>
          </p:cNvSpPr>
          <p:nvPr/>
        </p:nvSpPr>
        <p:spPr bwMode="auto">
          <a:xfrm>
            <a:off x="4140244" y="4090996"/>
            <a:ext cx="311150" cy="355600"/>
          </a:xfrm>
          <a:custGeom>
            <a:avLst/>
            <a:gdLst>
              <a:gd name="T0" fmla="*/ 23 w 55"/>
              <a:gd name="T1" fmla="*/ 4 h 63"/>
              <a:gd name="T2" fmla="*/ 12 w 55"/>
              <a:gd name="T3" fmla="*/ 47 h 63"/>
              <a:gd name="T4" fmla="*/ 55 w 55"/>
              <a:gd name="T5" fmla="*/ 29 h 63"/>
              <a:gd name="T6" fmla="*/ 23 w 55"/>
              <a:gd name="T7" fmla="*/ 4 h 63"/>
            </a:gdLst>
            <a:ahLst/>
            <a:cxnLst>
              <a:cxn ang="0">
                <a:pos x="T0" y="T1"/>
              </a:cxn>
              <a:cxn ang="0">
                <a:pos x="T2" y="T3"/>
              </a:cxn>
              <a:cxn ang="0">
                <a:pos x="T4" y="T5"/>
              </a:cxn>
              <a:cxn ang="0">
                <a:pos x="T6" y="T7"/>
              </a:cxn>
            </a:cxnLst>
            <a:rect l="0" t="0" r="r" b="b"/>
            <a:pathLst>
              <a:path w="55" h="63">
                <a:moveTo>
                  <a:pt x="23" y="4"/>
                </a:moveTo>
                <a:cubicBezTo>
                  <a:pt x="4" y="10"/>
                  <a:pt x="0" y="33"/>
                  <a:pt x="12" y="47"/>
                </a:cubicBezTo>
                <a:cubicBezTo>
                  <a:pt x="27" y="63"/>
                  <a:pt x="55" y="50"/>
                  <a:pt x="55" y="29"/>
                </a:cubicBezTo>
                <a:cubicBezTo>
                  <a:pt x="55" y="12"/>
                  <a:pt x="39" y="0"/>
                  <a:pt x="23" y="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9F83DFC8-7281-4EAB-A8B4-A862926D4BC8}"/>
              </a:ext>
            </a:extLst>
          </p:cNvPr>
          <p:cNvSpPr>
            <a:spLocks/>
          </p:cNvSpPr>
          <p:nvPr/>
        </p:nvSpPr>
        <p:spPr bwMode="auto">
          <a:xfrm>
            <a:off x="3594144" y="4537084"/>
            <a:ext cx="293688" cy="254000"/>
          </a:xfrm>
          <a:custGeom>
            <a:avLst/>
            <a:gdLst>
              <a:gd name="T0" fmla="*/ 39 w 52"/>
              <a:gd name="T1" fmla="*/ 8 h 45"/>
              <a:gd name="T2" fmla="*/ 13 w 52"/>
              <a:gd name="T3" fmla="*/ 5 h 45"/>
              <a:gd name="T4" fmla="*/ 3 w 52"/>
              <a:gd name="T5" fmla="*/ 29 h 45"/>
              <a:gd name="T6" fmla="*/ 5 w 52"/>
              <a:gd name="T7" fmla="*/ 32 h 45"/>
              <a:gd name="T8" fmla="*/ 20 w 52"/>
              <a:gd name="T9" fmla="*/ 44 h 45"/>
              <a:gd name="T10" fmla="*/ 24 w 52"/>
              <a:gd name="T11" fmla="*/ 44 h 45"/>
              <a:gd name="T12" fmla="*/ 39 w 52"/>
              <a:gd name="T13" fmla="*/ 8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39" y="8"/>
                </a:moveTo>
                <a:cubicBezTo>
                  <a:pt x="32" y="1"/>
                  <a:pt x="21" y="0"/>
                  <a:pt x="13" y="5"/>
                </a:cubicBezTo>
                <a:cubicBezTo>
                  <a:pt x="5" y="9"/>
                  <a:pt x="0" y="20"/>
                  <a:pt x="3" y="29"/>
                </a:cubicBezTo>
                <a:cubicBezTo>
                  <a:pt x="4" y="30"/>
                  <a:pt x="4" y="31"/>
                  <a:pt x="5" y="32"/>
                </a:cubicBezTo>
                <a:cubicBezTo>
                  <a:pt x="7" y="39"/>
                  <a:pt x="13" y="45"/>
                  <a:pt x="20" y="44"/>
                </a:cubicBezTo>
                <a:cubicBezTo>
                  <a:pt x="22" y="44"/>
                  <a:pt x="23" y="44"/>
                  <a:pt x="24" y="44"/>
                </a:cubicBezTo>
                <a:cubicBezTo>
                  <a:pt x="42" y="44"/>
                  <a:pt x="52" y="21"/>
                  <a:pt x="39"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46">
            <a:extLst>
              <a:ext uri="{FF2B5EF4-FFF2-40B4-BE49-F238E27FC236}">
                <a16:creationId xmlns:a16="http://schemas.microsoft.com/office/drawing/2014/main" id="{F130C76A-AED5-4242-A5C8-E47C73884E78}"/>
              </a:ext>
            </a:extLst>
          </p:cNvPr>
          <p:cNvSpPr>
            <a:spLocks noChangeArrowheads="1"/>
          </p:cNvSpPr>
          <p:nvPr/>
        </p:nvSpPr>
        <p:spPr bwMode="auto">
          <a:xfrm>
            <a:off x="4248194" y="5129221"/>
            <a:ext cx="230188" cy="2317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AE783DF8-9A92-4299-8115-E0412D7F2F95}"/>
              </a:ext>
            </a:extLst>
          </p:cNvPr>
          <p:cNvSpPr>
            <a:spLocks/>
          </p:cNvSpPr>
          <p:nvPr/>
        </p:nvSpPr>
        <p:spPr bwMode="auto">
          <a:xfrm>
            <a:off x="3790994" y="3876684"/>
            <a:ext cx="236538" cy="207963"/>
          </a:xfrm>
          <a:custGeom>
            <a:avLst/>
            <a:gdLst>
              <a:gd name="T0" fmla="*/ 21 w 42"/>
              <a:gd name="T1" fmla="*/ 0 h 37"/>
              <a:gd name="T2" fmla="*/ 3 w 42"/>
              <a:gd name="T3" fmla="*/ 23 h 37"/>
              <a:gd name="T4" fmla="*/ 3 w 42"/>
              <a:gd name="T5" fmla="*/ 24 h 37"/>
              <a:gd name="T6" fmla="*/ 21 w 42"/>
              <a:gd name="T7" fmla="*/ 37 h 37"/>
              <a:gd name="T8" fmla="*/ 38 w 42"/>
              <a:gd name="T9" fmla="*/ 24 h 37"/>
              <a:gd name="T10" fmla="*/ 38 w 42"/>
              <a:gd name="T11" fmla="*/ 23 h 37"/>
              <a:gd name="T12" fmla="*/ 21 w 42"/>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2" h="37">
                <a:moveTo>
                  <a:pt x="21" y="0"/>
                </a:moveTo>
                <a:cubicBezTo>
                  <a:pt x="9" y="0"/>
                  <a:pt x="0" y="12"/>
                  <a:pt x="3" y="23"/>
                </a:cubicBezTo>
                <a:cubicBezTo>
                  <a:pt x="3" y="24"/>
                  <a:pt x="3" y="24"/>
                  <a:pt x="3" y="24"/>
                </a:cubicBezTo>
                <a:cubicBezTo>
                  <a:pt x="6" y="32"/>
                  <a:pt x="13" y="37"/>
                  <a:pt x="21" y="37"/>
                </a:cubicBezTo>
                <a:cubicBezTo>
                  <a:pt x="29" y="37"/>
                  <a:pt x="36" y="32"/>
                  <a:pt x="38" y="24"/>
                </a:cubicBezTo>
                <a:cubicBezTo>
                  <a:pt x="38" y="24"/>
                  <a:pt x="38" y="24"/>
                  <a:pt x="38" y="23"/>
                </a:cubicBezTo>
                <a:cubicBezTo>
                  <a:pt x="42" y="12"/>
                  <a:pt x="32" y="0"/>
                  <a:pt x="21"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9F7B9A85-30FF-4FCE-AB0B-7E182D779B47}"/>
              </a:ext>
            </a:extLst>
          </p:cNvPr>
          <p:cNvSpPr>
            <a:spLocks/>
          </p:cNvSpPr>
          <p:nvPr/>
        </p:nvSpPr>
        <p:spPr bwMode="auto">
          <a:xfrm>
            <a:off x="4349794" y="3611571"/>
            <a:ext cx="190500" cy="192088"/>
          </a:xfrm>
          <a:custGeom>
            <a:avLst/>
            <a:gdLst>
              <a:gd name="T0" fmla="*/ 32 w 34"/>
              <a:gd name="T1" fmla="*/ 13 h 34"/>
              <a:gd name="T2" fmla="*/ 32 w 34"/>
              <a:gd name="T3" fmla="*/ 12 h 34"/>
              <a:gd name="T4" fmla="*/ 11 w 34"/>
              <a:gd name="T5" fmla="*/ 3 h 34"/>
              <a:gd name="T6" fmla="*/ 9 w 34"/>
              <a:gd name="T7" fmla="*/ 4 h 34"/>
              <a:gd name="T8" fmla="*/ 2 w 34"/>
              <a:gd name="T9" fmla="*/ 22 h 34"/>
              <a:gd name="T10" fmla="*/ 4 w 34"/>
              <a:gd name="T11" fmla="*/ 27 h 34"/>
              <a:gd name="T12" fmla="*/ 19 w 34"/>
              <a:gd name="T13" fmla="*/ 33 h 34"/>
              <a:gd name="T14" fmla="*/ 21 w 34"/>
              <a:gd name="T15" fmla="*/ 33 h 34"/>
              <a:gd name="T16" fmla="*/ 32 w 34"/>
              <a:gd name="T1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32" y="13"/>
                </a:moveTo>
                <a:cubicBezTo>
                  <a:pt x="32" y="13"/>
                  <a:pt x="32" y="13"/>
                  <a:pt x="32" y="12"/>
                </a:cubicBezTo>
                <a:cubicBezTo>
                  <a:pt x="30" y="2"/>
                  <a:pt x="19" y="0"/>
                  <a:pt x="11" y="3"/>
                </a:cubicBezTo>
                <a:cubicBezTo>
                  <a:pt x="9" y="4"/>
                  <a:pt x="9" y="4"/>
                  <a:pt x="9" y="4"/>
                </a:cubicBezTo>
                <a:cubicBezTo>
                  <a:pt x="3" y="7"/>
                  <a:pt x="0" y="15"/>
                  <a:pt x="2" y="22"/>
                </a:cubicBezTo>
                <a:cubicBezTo>
                  <a:pt x="3" y="24"/>
                  <a:pt x="3" y="25"/>
                  <a:pt x="4" y="27"/>
                </a:cubicBezTo>
                <a:cubicBezTo>
                  <a:pt x="7" y="33"/>
                  <a:pt x="14" y="34"/>
                  <a:pt x="19" y="33"/>
                </a:cubicBezTo>
                <a:cubicBezTo>
                  <a:pt x="20" y="33"/>
                  <a:pt x="21" y="33"/>
                  <a:pt x="21" y="33"/>
                </a:cubicBezTo>
                <a:cubicBezTo>
                  <a:pt x="30" y="30"/>
                  <a:pt x="34" y="22"/>
                  <a:pt x="32" y="13"/>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49">
            <a:extLst>
              <a:ext uri="{FF2B5EF4-FFF2-40B4-BE49-F238E27FC236}">
                <a16:creationId xmlns:a16="http://schemas.microsoft.com/office/drawing/2014/main" id="{D228FAF3-16FC-44B0-A7D3-6508C4275095}"/>
              </a:ext>
            </a:extLst>
          </p:cNvPr>
          <p:cNvSpPr>
            <a:spLocks noChangeArrowheads="1"/>
          </p:cNvSpPr>
          <p:nvPr/>
        </p:nvSpPr>
        <p:spPr bwMode="auto">
          <a:xfrm>
            <a:off x="4502194" y="4808546"/>
            <a:ext cx="223838" cy="225425"/>
          </a:xfrm>
          <a:prstGeom prst="ellipse">
            <a:avLst/>
          </a:pr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50">
            <a:extLst>
              <a:ext uri="{FF2B5EF4-FFF2-40B4-BE49-F238E27FC236}">
                <a16:creationId xmlns:a16="http://schemas.microsoft.com/office/drawing/2014/main" id="{F13B4A82-773E-4C38-B4BC-9FC2D1B9181A}"/>
              </a:ext>
            </a:extLst>
          </p:cNvPr>
          <p:cNvSpPr>
            <a:spLocks/>
          </p:cNvSpPr>
          <p:nvPr/>
        </p:nvSpPr>
        <p:spPr bwMode="auto">
          <a:xfrm>
            <a:off x="3786232" y="5440371"/>
            <a:ext cx="292100" cy="225425"/>
          </a:xfrm>
          <a:custGeom>
            <a:avLst/>
            <a:gdLst>
              <a:gd name="T0" fmla="*/ 26 w 52"/>
              <a:gd name="T1" fmla="*/ 0 h 40"/>
              <a:gd name="T2" fmla="*/ 26 w 52"/>
              <a:gd name="T3" fmla="*/ 40 h 40"/>
              <a:gd name="T4" fmla="*/ 26 w 52"/>
              <a:gd name="T5" fmla="*/ 0 h 40"/>
            </a:gdLst>
            <a:ahLst/>
            <a:cxnLst>
              <a:cxn ang="0">
                <a:pos x="T0" y="T1"/>
              </a:cxn>
              <a:cxn ang="0">
                <a:pos x="T2" y="T3"/>
              </a:cxn>
              <a:cxn ang="0">
                <a:pos x="T4" y="T5"/>
              </a:cxn>
            </a:cxnLst>
            <a:rect l="0" t="0" r="r" b="b"/>
            <a:pathLst>
              <a:path w="52" h="40">
                <a:moveTo>
                  <a:pt x="26" y="0"/>
                </a:moveTo>
                <a:cubicBezTo>
                  <a:pt x="0" y="0"/>
                  <a:pt x="0" y="40"/>
                  <a:pt x="26" y="40"/>
                </a:cubicBezTo>
                <a:cubicBezTo>
                  <a:pt x="52" y="40"/>
                  <a:pt x="52" y="0"/>
                  <a:pt x="26"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926">
            <a:extLst>
              <a:ext uri="{FF2B5EF4-FFF2-40B4-BE49-F238E27FC236}">
                <a16:creationId xmlns:a16="http://schemas.microsoft.com/office/drawing/2014/main" id="{C1CDDD23-5D77-46DE-8854-3A370776A5DA}"/>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926">
            <a:extLst>
              <a:ext uri="{FF2B5EF4-FFF2-40B4-BE49-F238E27FC236}">
                <a16:creationId xmlns:a16="http://schemas.microsoft.com/office/drawing/2014/main" id="{A477DD06-BA64-4074-BC97-8D3C85AB5FEB}"/>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TextBox 219">
            <a:extLst>
              <a:ext uri="{FF2B5EF4-FFF2-40B4-BE49-F238E27FC236}">
                <a16:creationId xmlns:a16="http://schemas.microsoft.com/office/drawing/2014/main" id="{3C18FF12-A838-4E56-999C-95500015EC3A}"/>
              </a:ext>
            </a:extLst>
          </p:cNvPr>
          <p:cNvSpPr txBox="1"/>
          <p:nvPr/>
        </p:nvSpPr>
        <p:spPr>
          <a:xfrm>
            <a:off x="2126176" y="469879"/>
            <a:ext cx="2535625" cy="307777"/>
          </a:xfrm>
          <a:prstGeom prst="rect">
            <a:avLst/>
          </a:prstGeom>
          <a:noFill/>
        </p:spPr>
        <p:txBody>
          <a:bodyPr wrap="square">
            <a:spAutoFit/>
          </a:bodyPr>
          <a:lstStyle/>
          <a:p>
            <a:pPr>
              <a:spcAft>
                <a:spcPts val="0"/>
              </a:spcAft>
            </a:pPr>
            <a:r>
              <a:rPr lang="fr-FR" altLang="zh-CN" sz="1400" dirty="0">
                <a:solidFill>
                  <a:schemeClr val="tx2"/>
                </a:solidFill>
              </a:rPr>
              <a:t>Organisme d’accueil</a:t>
            </a:r>
          </a:p>
        </p:txBody>
      </p:sp>
      <p:sp>
        <p:nvSpPr>
          <p:cNvPr id="74" name="TextBox 220">
            <a:extLst>
              <a:ext uri="{FF2B5EF4-FFF2-40B4-BE49-F238E27FC236}">
                <a16:creationId xmlns:a16="http://schemas.microsoft.com/office/drawing/2014/main" id="{D5CB256C-2F15-490F-829B-7A56880319B0}"/>
              </a:ext>
            </a:extLst>
          </p:cNvPr>
          <p:cNvSpPr txBox="1"/>
          <p:nvPr/>
        </p:nvSpPr>
        <p:spPr>
          <a:xfrm>
            <a:off x="5819704" y="469879"/>
            <a:ext cx="253562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77" name="TextBox 38">
            <a:extLst>
              <a:ext uri="{FF2B5EF4-FFF2-40B4-BE49-F238E27FC236}">
                <a16:creationId xmlns:a16="http://schemas.microsoft.com/office/drawing/2014/main" id="{3668C6AF-5A99-4C38-B8C8-B5FC96192003}"/>
              </a:ext>
            </a:extLst>
          </p:cNvPr>
          <p:cNvSpPr txBox="1"/>
          <p:nvPr/>
        </p:nvSpPr>
        <p:spPr>
          <a:xfrm>
            <a:off x="9513234" y="500490"/>
            <a:ext cx="2420555"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82" name="Freeform 926">
            <a:extLst>
              <a:ext uri="{FF2B5EF4-FFF2-40B4-BE49-F238E27FC236}">
                <a16:creationId xmlns:a16="http://schemas.microsoft.com/office/drawing/2014/main" id="{17AAB424-AF8A-49F7-9CF1-D7CBA6806DE2}"/>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 name="Rectangle 82">
            <a:extLst>
              <a:ext uri="{FF2B5EF4-FFF2-40B4-BE49-F238E27FC236}">
                <a16:creationId xmlns:a16="http://schemas.microsoft.com/office/drawing/2014/main" id="{9DFCE0FB-0EE7-42B8-BC08-C396CEE91230}"/>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84" name="Rectangle 83">
            <a:extLst>
              <a:ext uri="{FF2B5EF4-FFF2-40B4-BE49-F238E27FC236}">
                <a16:creationId xmlns:a16="http://schemas.microsoft.com/office/drawing/2014/main" id="{8E5AC534-F653-4E19-AAE2-B8905A76E9C5}"/>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5" name="Rectangle 84">
            <a:extLst>
              <a:ext uri="{FF2B5EF4-FFF2-40B4-BE49-F238E27FC236}">
                <a16:creationId xmlns:a16="http://schemas.microsoft.com/office/drawing/2014/main" id="{9F942FB1-9E9F-433C-90C7-6EC3C6CCEFC9}"/>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86" name="Rectangle 85">
            <a:extLst>
              <a:ext uri="{FF2B5EF4-FFF2-40B4-BE49-F238E27FC236}">
                <a16:creationId xmlns:a16="http://schemas.microsoft.com/office/drawing/2014/main" id="{C239EE92-BCDB-49A8-B6A4-915620AB9E3F}"/>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377187232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7" name="Picture 166">
            <a:extLst>
              <a:ext uri="{FF2B5EF4-FFF2-40B4-BE49-F238E27FC236}">
                <a16:creationId xmlns:a16="http://schemas.microsoft.com/office/drawing/2014/main" id="{6BCBA0E3-5E4A-4CCA-92AF-22161CB3AE95}"/>
              </a:ext>
            </a:extLst>
          </p:cNvPr>
          <p:cNvPicPr>
            <a:picLocks noChangeAspect="1"/>
          </p:cNvPicPr>
          <p:nvPr/>
        </p:nvPicPr>
        <p:blipFill rotWithShape="1">
          <a:blip r:embed="rId3"/>
          <a:srcRect l="18381"/>
          <a:stretch/>
        </p:blipFill>
        <p:spPr>
          <a:xfrm>
            <a:off x="0" y="2742187"/>
            <a:ext cx="13439774" cy="4238254"/>
          </a:xfrm>
          <a:prstGeom prst="rect">
            <a:avLst/>
          </a:prstGeom>
        </p:spPr>
      </p:pic>
      <p:sp>
        <p:nvSpPr>
          <p:cNvPr id="35" name="TextBox 34">
            <a:extLst>
              <a:ext uri="{FF2B5EF4-FFF2-40B4-BE49-F238E27FC236}">
                <a16:creationId xmlns:a16="http://schemas.microsoft.com/office/drawing/2014/main" id="{E6D612F7-9FDA-4FDF-B414-A84944B56B6B}"/>
              </a:ext>
            </a:extLst>
          </p:cNvPr>
          <p:cNvSpPr txBox="1"/>
          <p:nvPr/>
        </p:nvSpPr>
        <p:spPr>
          <a:xfrm>
            <a:off x="446804" y="1708986"/>
            <a:ext cx="6571784" cy="342210"/>
          </a:xfrm>
          <a:prstGeom prst="rect">
            <a:avLst/>
          </a:prstGeom>
          <a:noFill/>
          <a:ln>
            <a:solidFill>
              <a:schemeClr val="accent1">
                <a:lumMod val="75000"/>
              </a:schemeClr>
            </a:solidFill>
          </a:ln>
        </p:spPr>
        <p:txBody>
          <a:bodyPr wrap="square">
            <a:spAutoFit/>
          </a:bodyPr>
          <a:lstStyle/>
          <a:p>
            <a:pPr marL="0" lvl="1" algn="ctr" fontAlgn="base">
              <a:lnSpc>
                <a:spcPct val="106000"/>
              </a:lnSpc>
              <a:spcAft>
                <a:spcPts val="364"/>
              </a:spcAft>
              <a:buClr>
                <a:srgbClr val="000000"/>
              </a:buClr>
            </a:pPr>
            <a:r>
              <a:rPr lang="fr-FR" sz="1600">
                <a:cs typeface="Times New Roman" panose="02020603050405020304" pitchFamily="18" charset="0"/>
              </a:rPr>
              <a:t>Objectifs</a:t>
            </a:r>
          </a:p>
        </p:txBody>
      </p:sp>
      <p:sp>
        <p:nvSpPr>
          <p:cNvPr id="36" name="TextBox 35">
            <a:extLst>
              <a:ext uri="{FF2B5EF4-FFF2-40B4-BE49-F238E27FC236}">
                <a16:creationId xmlns:a16="http://schemas.microsoft.com/office/drawing/2014/main" id="{822E3831-BAE9-4AF5-8A6E-231B947D72C8}"/>
              </a:ext>
            </a:extLst>
          </p:cNvPr>
          <p:cNvSpPr txBox="1"/>
          <p:nvPr/>
        </p:nvSpPr>
        <p:spPr>
          <a:xfrm>
            <a:off x="7843039" y="1700579"/>
            <a:ext cx="5149931" cy="342210"/>
          </a:xfrm>
          <a:prstGeom prst="rect">
            <a:avLst/>
          </a:prstGeom>
          <a:noFill/>
          <a:ln>
            <a:solidFill>
              <a:schemeClr val="accent1">
                <a:lumMod val="75000"/>
              </a:schemeClr>
            </a:solidFill>
          </a:ln>
        </p:spPr>
        <p:txBody>
          <a:bodyPr wrap="square">
            <a:spAutoFit/>
          </a:bodyPr>
          <a:lstStyle/>
          <a:p>
            <a:pPr marL="0" lvl="1" algn="ctr" fontAlgn="base">
              <a:lnSpc>
                <a:spcPct val="106000"/>
              </a:lnSpc>
              <a:spcAft>
                <a:spcPts val="364"/>
              </a:spcAft>
              <a:buClr>
                <a:srgbClr val="000000"/>
              </a:buClr>
            </a:pPr>
            <a:r>
              <a:rPr lang="fr-FR" sz="1600">
                <a:cs typeface="Times New Roman" panose="02020603050405020304" pitchFamily="18" charset="0"/>
              </a:rPr>
              <a:t>Livrables attendus</a:t>
            </a:r>
          </a:p>
        </p:txBody>
      </p:sp>
      <p:grpSp>
        <p:nvGrpSpPr>
          <p:cNvPr id="69" name="Group 68">
            <a:extLst>
              <a:ext uri="{FF2B5EF4-FFF2-40B4-BE49-F238E27FC236}">
                <a16:creationId xmlns:a16="http://schemas.microsoft.com/office/drawing/2014/main" id="{0B16E02E-0511-47A9-B19E-08A49CDDB8EA}"/>
              </a:ext>
            </a:extLst>
          </p:cNvPr>
          <p:cNvGrpSpPr/>
          <p:nvPr/>
        </p:nvGrpSpPr>
        <p:grpSpPr>
          <a:xfrm>
            <a:off x="9228387" y="3738979"/>
            <a:ext cx="3405787" cy="3092190"/>
            <a:chOff x="9228387" y="3738979"/>
            <a:chExt cx="3405787" cy="3092190"/>
          </a:xfrm>
        </p:grpSpPr>
        <p:sp>
          <p:nvSpPr>
            <p:cNvPr id="42" name="Rectangle 7">
              <a:extLst>
                <a:ext uri="{FF2B5EF4-FFF2-40B4-BE49-F238E27FC236}">
                  <a16:creationId xmlns:a16="http://schemas.microsoft.com/office/drawing/2014/main" id="{9A999B21-2D48-4975-8A77-CBDD9B020962}"/>
                </a:ext>
              </a:extLst>
            </p:cNvPr>
            <p:cNvSpPr/>
            <p:nvPr/>
          </p:nvSpPr>
          <p:spPr>
            <a:xfrm rot="18426807" flipV="1">
              <a:off x="10064120" y="5185249"/>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3" name="Rectangle 9">
              <a:extLst>
                <a:ext uri="{FF2B5EF4-FFF2-40B4-BE49-F238E27FC236}">
                  <a16:creationId xmlns:a16="http://schemas.microsoft.com/office/drawing/2014/main" id="{01CE5753-E5F9-4EB6-AD05-B708BD81B799}"/>
                </a:ext>
              </a:extLst>
            </p:cNvPr>
            <p:cNvSpPr/>
            <p:nvPr/>
          </p:nvSpPr>
          <p:spPr>
            <a:xfrm rot="3610536" flipV="1">
              <a:off x="8881107" y="5161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4" name="Rectangle 5">
              <a:extLst>
                <a:ext uri="{FF2B5EF4-FFF2-40B4-BE49-F238E27FC236}">
                  <a16:creationId xmlns:a16="http://schemas.microsoft.com/office/drawing/2014/main" id="{638032A9-63CA-46B2-BD04-1BB4DD4CA7AB}"/>
                </a:ext>
              </a:extLst>
            </p:cNvPr>
            <p:cNvSpPr/>
            <p:nvPr/>
          </p:nvSpPr>
          <p:spPr>
            <a:xfrm flipV="1">
              <a:off x="9228387" y="3954929"/>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5" name="Rectangle 7">
              <a:extLst>
                <a:ext uri="{FF2B5EF4-FFF2-40B4-BE49-F238E27FC236}">
                  <a16:creationId xmlns:a16="http://schemas.microsoft.com/office/drawing/2014/main" id="{778420CA-ECF8-42A8-8C05-B38AC2705AF7}"/>
                </a:ext>
              </a:extLst>
            </p:cNvPr>
            <p:cNvSpPr/>
            <p:nvPr/>
          </p:nvSpPr>
          <p:spPr>
            <a:xfrm rot="18426807" flipV="1">
              <a:off x="11973755" y="39654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grpSp>
        <p:nvGrpSpPr>
          <p:cNvPr id="70" name="Group 69">
            <a:extLst>
              <a:ext uri="{FF2B5EF4-FFF2-40B4-BE49-F238E27FC236}">
                <a16:creationId xmlns:a16="http://schemas.microsoft.com/office/drawing/2014/main" id="{0AAD57BB-839B-42F7-B1B3-764FB996973A}"/>
              </a:ext>
            </a:extLst>
          </p:cNvPr>
          <p:cNvGrpSpPr/>
          <p:nvPr/>
        </p:nvGrpSpPr>
        <p:grpSpPr>
          <a:xfrm>
            <a:off x="7956105" y="2094328"/>
            <a:ext cx="3405787" cy="3092192"/>
            <a:chOff x="7956105" y="2094328"/>
            <a:chExt cx="3405787" cy="3092192"/>
          </a:xfrm>
        </p:grpSpPr>
        <p:grpSp>
          <p:nvGrpSpPr>
            <p:cNvPr id="37" name="Group 36">
              <a:extLst>
                <a:ext uri="{FF2B5EF4-FFF2-40B4-BE49-F238E27FC236}">
                  <a16:creationId xmlns:a16="http://schemas.microsoft.com/office/drawing/2014/main" id="{4F0F6B75-74B9-48AD-BEC3-8E4A0D18A703}"/>
                </a:ext>
              </a:extLst>
            </p:cNvPr>
            <p:cNvGrpSpPr/>
            <p:nvPr/>
          </p:nvGrpSpPr>
          <p:grpSpPr>
            <a:xfrm>
              <a:off x="7956105" y="2094328"/>
              <a:ext cx="3405787" cy="3092192"/>
              <a:chOff x="2545080" y="892802"/>
              <a:chExt cx="3405787" cy="3092192"/>
            </a:xfrm>
          </p:grpSpPr>
          <p:sp>
            <p:nvSpPr>
              <p:cNvPr id="38" name="Rectangle 7">
                <a:extLst>
                  <a:ext uri="{FF2B5EF4-FFF2-40B4-BE49-F238E27FC236}">
                    <a16:creationId xmlns:a16="http://schemas.microsoft.com/office/drawing/2014/main" id="{A6B3B4C7-816D-40CD-B70F-5E6390FAAE73}"/>
                  </a:ext>
                </a:extLst>
              </p:cNvPr>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9" name="Rectangle 9">
                <a:extLst>
                  <a:ext uri="{FF2B5EF4-FFF2-40B4-BE49-F238E27FC236}">
                    <a16:creationId xmlns:a16="http://schemas.microsoft.com/office/drawing/2014/main" id="{B30C8562-A669-48E2-B2DE-E00CBAA1CADE}"/>
                  </a:ext>
                </a:extLst>
              </p:cNvPr>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0" name="Rectangle 5">
                <a:extLst>
                  <a:ext uri="{FF2B5EF4-FFF2-40B4-BE49-F238E27FC236}">
                    <a16:creationId xmlns:a16="http://schemas.microsoft.com/office/drawing/2014/main" id="{A8AA5E60-3A91-4C4F-A08C-F4ACF7B3440B}"/>
                  </a:ext>
                </a:extLst>
              </p:cNvPr>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1" name="Rectangle 7">
                <a:extLst>
                  <a:ext uri="{FF2B5EF4-FFF2-40B4-BE49-F238E27FC236}">
                    <a16:creationId xmlns:a16="http://schemas.microsoft.com/office/drawing/2014/main" id="{3581AA72-4324-499B-ACC8-FA0B5402DDDE}"/>
                  </a:ext>
                </a:extLst>
              </p:cNvPr>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46" name="Rectangle 5">
              <a:extLst>
                <a:ext uri="{FF2B5EF4-FFF2-40B4-BE49-F238E27FC236}">
                  <a16:creationId xmlns:a16="http://schemas.microsoft.com/office/drawing/2014/main" id="{AC0F648F-D13C-47C6-B7E1-7B8BED841B9C}"/>
                </a:ext>
              </a:extLst>
            </p:cNvPr>
            <p:cNvSpPr/>
            <p:nvPr/>
          </p:nvSpPr>
          <p:spPr>
            <a:xfrm>
              <a:off x="8508065" y="4539088"/>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47" name="Half Frame 46">
            <a:extLst>
              <a:ext uri="{FF2B5EF4-FFF2-40B4-BE49-F238E27FC236}">
                <a16:creationId xmlns:a16="http://schemas.microsoft.com/office/drawing/2014/main" id="{F4F1E1D5-A62C-4EFC-BB42-01AAE7300082}"/>
              </a:ext>
            </a:extLst>
          </p:cNvPr>
          <p:cNvSpPr/>
          <p:nvPr/>
        </p:nvSpPr>
        <p:spPr>
          <a:xfrm rot="8142470">
            <a:off x="10853504" y="3122866"/>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48" name="TextBox 47">
            <a:extLst>
              <a:ext uri="{FF2B5EF4-FFF2-40B4-BE49-F238E27FC236}">
                <a16:creationId xmlns:a16="http://schemas.microsoft.com/office/drawing/2014/main" id="{E82F1E43-1883-486F-B446-B42AC862C7CB}"/>
              </a:ext>
            </a:extLst>
          </p:cNvPr>
          <p:cNvSpPr txBox="1"/>
          <p:nvPr/>
        </p:nvSpPr>
        <p:spPr>
          <a:xfrm>
            <a:off x="10388423" y="2984366"/>
            <a:ext cx="631825" cy="565146"/>
          </a:xfrm>
          <a:prstGeom prst="rect">
            <a:avLst/>
          </a:prstGeom>
          <a:noFill/>
        </p:spPr>
        <p:txBody>
          <a:bodyPr wrap="square" lIns="36000" tIns="36000" rIns="36000" bIns="36000" rtlCol="0">
            <a:spAutoFit/>
          </a:bodyPr>
          <a:lstStyle/>
          <a:p>
            <a:r>
              <a:rPr lang="en-US" sz="3200">
                <a:solidFill>
                  <a:schemeClr val="accent3"/>
                </a:solidFill>
              </a:rPr>
              <a:t>   1</a:t>
            </a:r>
          </a:p>
        </p:txBody>
      </p:sp>
      <p:sp>
        <p:nvSpPr>
          <p:cNvPr id="50" name="Rectangle 49">
            <a:extLst>
              <a:ext uri="{FF2B5EF4-FFF2-40B4-BE49-F238E27FC236}">
                <a16:creationId xmlns:a16="http://schemas.microsoft.com/office/drawing/2014/main" id="{79061608-6E99-416D-A6E8-47EC88FC25A0}"/>
              </a:ext>
            </a:extLst>
          </p:cNvPr>
          <p:cNvSpPr/>
          <p:nvPr/>
        </p:nvSpPr>
        <p:spPr>
          <a:xfrm>
            <a:off x="11319576" y="3037797"/>
            <a:ext cx="2283731" cy="830997"/>
          </a:xfrm>
          <a:prstGeom prst="rect">
            <a:avLst/>
          </a:prstGeom>
        </p:spPr>
        <p:txBody>
          <a:bodyPr wrap="square" lIns="0" tIns="0" rIns="0" bIns="0">
            <a:spAutoFit/>
          </a:bodyPr>
          <a:lstStyle/>
          <a:p>
            <a:r>
              <a:rPr lang="fr-FR" sz="1600" dirty="0">
                <a:effectLst>
                  <a:outerShdw blurRad="38100" dist="38100" dir="2700000" algn="tl">
                    <a:srgbClr val="000000">
                      <a:alpha val="43137"/>
                    </a:srgbClr>
                  </a:outerShdw>
                </a:effectLst>
              </a:rPr>
              <a:t>Approche</a:t>
            </a:r>
          </a:p>
          <a:p>
            <a:r>
              <a:rPr lang="fr-FR" sz="1400" dirty="0"/>
              <a:t>Sur la manière de mener le projet CISOaaS</a:t>
            </a:r>
            <a:br>
              <a:rPr lang="fr-FR" sz="1000" dirty="0">
                <a:solidFill>
                  <a:schemeClr val="accent3"/>
                </a:solidFill>
              </a:rPr>
            </a:br>
            <a:endParaRPr lang="fr-FR" sz="1000" dirty="0">
              <a:solidFill>
                <a:schemeClr val="accent3"/>
              </a:solidFill>
            </a:endParaRPr>
          </a:p>
        </p:txBody>
      </p:sp>
      <p:sp>
        <p:nvSpPr>
          <p:cNvPr id="51" name="Half Frame 50">
            <a:extLst>
              <a:ext uri="{FF2B5EF4-FFF2-40B4-BE49-F238E27FC236}">
                <a16:creationId xmlns:a16="http://schemas.microsoft.com/office/drawing/2014/main" id="{FC30FA69-043A-4EFE-9602-086EF30990CF}"/>
              </a:ext>
            </a:extLst>
          </p:cNvPr>
          <p:cNvSpPr/>
          <p:nvPr/>
        </p:nvSpPr>
        <p:spPr>
          <a:xfrm rot="8142470">
            <a:off x="8439450" y="5326273"/>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accent2"/>
              </a:solidFill>
            </a:endParaRPr>
          </a:p>
        </p:txBody>
      </p:sp>
      <p:sp>
        <p:nvSpPr>
          <p:cNvPr id="52" name="TextBox 51">
            <a:extLst>
              <a:ext uri="{FF2B5EF4-FFF2-40B4-BE49-F238E27FC236}">
                <a16:creationId xmlns:a16="http://schemas.microsoft.com/office/drawing/2014/main" id="{54273731-B1ED-4F2E-B06A-B21E1EA6A181}"/>
              </a:ext>
            </a:extLst>
          </p:cNvPr>
          <p:cNvSpPr txBox="1"/>
          <p:nvPr/>
        </p:nvSpPr>
        <p:spPr>
          <a:xfrm>
            <a:off x="7974369" y="5187773"/>
            <a:ext cx="631825" cy="565146"/>
          </a:xfrm>
          <a:prstGeom prst="rect">
            <a:avLst/>
          </a:prstGeom>
          <a:noFill/>
        </p:spPr>
        <p:txBody>
          <a:bodyPr wrap="square" lIns="36000" tIns="36000" rIns="36000" bIns="36000" rtlCol="0">
            <a:spAutoFit/>
          </a:bodyPr>
          <a:lstStyle/>
          <a:p>
            <a:r>
              <a:rPr lang="en-US" sz="3200">
                <a:solidFill>
                  <a:schemeClr val="accent2"/>
                </a:solidFill>
              </a:rPr>
              <a:t>   2</a:t>
            </a:r>
          </a:p>
        </p:txBody>
      </p:sp>
      <p:sp>
        <p:nvSpPr>
          <p:cNvPr id="54" name="Rectangle 53">
            <a:extLst>
              <a:ext uri="{FF2B5EF4-FFF2-40B4-BE49-F238E27FC236}">
                <a16:creationId xmlns:a16="http://schemas.microsoft.com/office/drawing/2014/main" id="{A576F5EB-7816-435F-B81D-51714B13178E}"/>
              </a:ext>
            </a:extLst>
          </p:cNvPr>
          <p:cNvSpPr/>
          <p:nvPr/>
        </p:nvSpPr>
        <p:spPr>
          <a:xfrm>
            <a:off x="8167981" y="5757918"/>
            <a:ext cx="1967572" cy="1107996"/>
          </a:xfrm>
          <a:prstGeom prst="rect">
            <a:avLst/>
          </a:prstGeom>
        </p:spPr>
        <p:txBody>
          <a:bodyPr wrap="square" lIns="0" tIns="0" rIns="0" bIns="0">
            <a:spAutoFit/>
          </a:bodyPr>
          <a:lstStyle/>
          <a:p>
            <a:r>
              <a:rPr lang="en-US" sz="1600" dirty="0">
                <a:effectLst>
                  <a:outerShdw blurRad="38100" dist="38100" dir="2700000" algn="tl">
                    <a:srgbClr val="000000">
                      <a:alpha val="43137"/>
                    </a:srgbClr>
                  </a:outerShdw>
                </a:effectLst>
              </a:rPr>
              <a:t>Framework</a:t>
            </a:r>
            <a:br>
              <a:rPr lang="fr-FR" sz="1200" dirty="0"/>
            </a:br>
            <a:r>
              <a:rPr lang="fr-FR" sz="1400" b="0" i="0" dirty="0">
                <a:effectLst/>
              </a:rPr>
              <a:t>Conception et réalisation d’un Framework pour structurer et encadrer le projet CISOaaS</a:t>
            </a:r>
            <a:endParaRPr lang="en-US" sz="1200" dirty="0">
              <a:effectLst>
                <a:outerShdw blurRad="38100" dist="38100" dir="2700000" algn="tl">
                  <a:srgbClr val="000000">
                    <a:alpha val="43137"/>
                  </a:srgbClr>
                </a:outerShdw>
              </a:effectLst>
            </a:endParaRPr>
          </a:p>
        </p:txBody>
      </p:sp>
      <p:pic>
        <p:nvPicPr>
          <p:cNvPr id="63" name="Picture 62">
            <a:extLst>
              <a:ext uri="{FF2B5EF4-FFF2-40B4-BE49-F238E27FC236}">
                <a16:creationId xmlns:a16="http://schemas.microsoft.com/office/drawing/2014/main" id="{E3255653-9F5A-4A4C-B39F-0C7B01505F1F}"/>
              </a:ext>
            </a:extLst>
          </p:cNvPr>
          <p:cNvPicPr>
            <a:picLocks noChangeAspect="1"/>
          </p:cNvPicPr>
          <p:nvPr/>
        </p:nvPicPr>
        <p:blipFill>
          <a:blip r:embed="rId4"/>
          <a:stretch>
            <a:fillRect/>
          </a:stretch>
        </p:blipFill>
        <p:spPr>
          <a:xfrm>
            <a:off x="11142748" y="2305797"/>
            <a:ext cx="1266729" cy="634589"/>
          </a:xfrm>
          <a:prstGeom prst="rect">
            <a:avLst/>
          </a:prstGeom>
        </p:spPr>
      </p:pic>
      <p:pic>
        <p:nvPicPr>
          <p:cNvPr id="65" name="Picture 64">
            <a:extLst>
              <a:ext uri="{FF2B5EF4-FFF2-40B4-BE49-F238E27FC236}">
                <a16:creationId xmlns:a16="http://schemas.microsoft.com/office/drawing/2014/main" id="{B1F8B36A-C424-4A70-97E1-481202738434}"/>
              </a:ext>
            </a:extLst>
          </p:cNvPr>
          <p:cNvPicPr>
            <a:picLocks noChangeAspect="1"/>
          </p:cNvPicPr>
          <p:nvPr/>
        </p:nvPicPr>
        <p:blipFill>
          <a:blip r:embed="rId5"/>
          <a:stretch>
            <a:fillRect/>
          </a:stretch>
        </p:blipFill>
        <p:spPr>
          <a:xfrm>
            <a:off x="8848393" y="5052053"/>
            <a:ext cx="967368" cy="569470"/>
          </a:xfrm>
          <a:prstGeom prst="rect">
            <a:avLst/>
          </a:prstGeom>
        </p:spPr>
      </p:pic>
      <p:grpSp>
        <p:nvGrpSpPr>
          <p:cNvPr id="160" name="Group 159">
            <a:extLst>
              <a:ext uri="{FF2B5EF4-FFF2-40B4-BE49-F238E27FC236}">
                <a16:creationId xmlns:a16="http://schemas.microsoft.com/office/drawing/2014/main" id="{409B3D09-F39B-4055-93BB-BB1148B4F69B}"/>
              </a:ext>
            </a:extLst>
          </p:cNvPr>
          <p:cNvGrpSpPr/>
          <p:nvPr/>
        </p:nvGrpSpPr>
        <p:grpSpPr>
          <a:xfrm>
            <a:off x="443357" y="2312890"/>
            <a:ext cx="6596364" cy="795485"/>
            <a:chOff x="443357" y="2312890"/>
            <a:chExt cx="6596364" cy="795485"/>
          </a:xfrm>
        </p:grpSpPr>
        <p:sp>
          <p:nvSpPr>
            <p:cNvPr id="140" name="Rectangle 6">
              <a:extLst>
                <a:ext uri="{FF2B5EF4-FFF2-40B4-BE49-F238E27FC236}">
                  <a16:creationId xmlns:a16="http://schemas.microsoft.com/office/drawing/2014/main" id="{897A02A3-E921-41FF-817A-02BAEA2BBFFA}"/>
                </a:ext>
              </a:extLst>
            </p:cNvPr>
            <p:cNvSpPr>
              <a:spLocks noChangeArrowheads="1"/>
            </p:cNvSpPr>
            <p:nvPr/>
          </p:nvSpPr>
          <p:spPr bwMode="auto">
            <a:xfrm>
              <a:off x="443357" y="2313037"/>
              <a:ext cx="2190820"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spcBef>
                  <a:spcPts val="200"/>
                </a:spcBef>
                <a:buSzPct val="100000"/>
              </a:pPr>
              <a:r>
                <a:rPr lang="fr-FR" sz="1600" b="1" dirty="0">
                  <a:solidFill>
                    <a:schemeClr val="bg1"/>
                  </a:solidFill>
                </a:rPr>
                <a:t>Documentation et approche</a:t>
              </a:r>
            </a:p>
          </p:txBody>
        </p:sp>
        <p:sp>
          <p:nvSpPr>
            <p:cNvPr id="141" name="Rectangle 7">
              <a:extLst>
                <a:ext uri="{FF2B5EF4-FFF2-40B4-BE49-F238E27FC236}">
                  <a16:creationId xmlns:a16="http://schemas.microsoft.com/office/drawing/2014/main" id="{99F61AF3-EFA6-4097-98B8-67435A6CF677}"/>
                </a:ext>
              </a:extLst>
            </p:cNvPr>
            <p:cNvSpPr>
              <a:spLocks noChangeArrowheads="1"/>
            </p:cNvSpPr>
            <p:nvPr/>
          </p:nvSpPr>
          <p:spPr bwMode="auto">
            <a:xfrm>
              <a:off x="467937" y="2312890"/>
              <a:ext cx="6571784"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51" name="文本框 106">
              <a:extLst>
                <a:ext uri="{FF2B5EF4-FFF2-40B4-BE49-F238E27FC236}">
                  <a16:creationId xmlns:a16="http://schemas.microsoft.com/office/drawing/2014/main" id="{2144B53E-F09A-481E-A144-E6F23D07DC77}"/>
                </a:ext>
              </a:extLst>
            </p:cNvPr>
            <p:cNvSpPr txBox="1"/>
            <p:nvPr/>
          </p:nvSpPr>
          <p:spPr>
            <a:xfrm>
              <a:off x="2807311" y="2361746"/>
              <a:ext cx="3317874" cy="697627"/>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fr-FR" altLang="zh-CN" sz="1400" dirty="0"/>
                <a:t>Normes et standards</a:t>
              </a:r>
              <a:endParaRPr lang="fr-FR" sz="1400" dirty="0"/>
            </a:p>
            <a:p>
              <a:pPr marL="285750" indent="-285750">
                <a:spcBef>
                  <a:spcPts val="200"/>
                </a:spcBef>
                <a:buSzPct val="100000"/>
                <a:buFont typeface="Arial" panose="020B0604020202020204" pitchFamily="34" charset="0"/>
                <a:buChar char="•"/>
              </a:pPr>
              <a:r>
                <a:rPr lang="fr-FR" sz="1400" dirty="0"/>
                <a:t>Sujet CISOaaS</a:t>
              </a:r>
            </a:p>
            <a:p>
              <a:pPr marL="285750" indent="-285750">
                <a:spcBef>
                  <a:spcPts val="200"/>
                </a:spcBef>
                <a:buSzPct val="100000"/>
                <a:buFont typeface="Arial" panose="020B0604020202020204" pitchFamily="34" charset="0"/>
                <a:buChar char="•"/>
              </a:pPr>
              <a:r>
                <a:rPr lang="fr-FR" sz="1400" dirty="0"/>
                <a:t>Développement de l’approche</a:t>
              </a:r>
            </a:p>
          </p:txBody>
        </p:sp>
      </p:grpSp>
      <p:grpSp>
        <p:nvGrpSpPr>
          <p:cNvPr id="166" name="Group 165">
            <a:extLst>
              <a:ext uri="{FF2B5EF4-FFF2-40B4-BE49-F238E27FC236}">
                <a16:creationId xmlns:a16="http://schemas.microsoft.com/office/drawing/2014/main" id="{2C4A199E-5652-41BF-B545-5F9C02C32980}"/>
              </a:ext>
            </a:extLst>
          </p:cNvPr>
          <p:cNvGrpSpPr/>
          <p:nvPr/>
        </p:nvGrpSpPr>
        <p:grpSpPr>
          <a:xfrm>
            <a:off x="443356" y="6055070"/>
            <a:ext cx="6596365" cy="801245"/>
            <a:chOff x="443356" y="6055070"/>
            <a:chExt cx="6596365" cy="801245"/>
          </a:xfrm>
        </p:grpSpPr>
        <p:sp>
          <p:nvSpPr>
            <p:cNvPr id="148" name="Rectangle 14">
              <a:extLst>
                <a:ext uri="{FF2B5EF4-FFF2-40B4-BE49-F238E27FC236}">
                  <a16:creationId xmlns:a16="http://schemas.microsoft.com/office/drawing/2014/main" id="{F172329D-C6FB-47E4-82E0-1D991A62A57B}"/>
                </a:ext>
              </a:extLst>
            </p:cNvPr>
            <p:cNvSpPr>
              <a:spLocks noChangeArrowheads="1"/>
            </p:cNvSpPr>
            <p:nvPr/>
          </p:nvSpPr>
          <p:spPr bwMode="auto">
            <a:xfrm>
              <a:off x="443356" y="6055070"/>
              <a:ext cx="2190821"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9" name="Rectangle 15">
              <a:extLst>
                <a:ext uri="{FF2B5EF4-FFF2-40B4-BE49-F238E27FC236}">
                  <a16:creationId xmlns:a16="http://schemas.microsoft.com/office/drawing/2014/main" id="{94DA5787-92CF-4DE5-9795-9E1E839000CF}"/>
                </a:ext>
              </a:extLst>
            </p:cNvPr>
            <p:cNvSpPr>
              <a:spLocks noChangeArrowheads="1"/>
            </p:cNvSpPr>
            <p:nvPr/>
          </p:nvSpPr>
          <p:spPr bwMode="auto">
            <a:xfrm>
              <a:off x="467936" y="6060977"/>
              <a:ext cx="6571785"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52" name="文本框 106">
              <a:extLst>
                <a:ext uri="{FF2B5EF4-FFF2-40B4-BE49-F238E27FC236}">
                  <a16:creationId xmlns:a16="http://schemas.microsoft.com/office/drawing/2014/main" id="{F4F664BB-B70A-443B-AAE1-8E72F6C2EC24}"/>
                </a:ext>
              </a:extLst>
            </p:cNvPr>
            <p:cNvSpPr txBox="1"/>
            <p:nvPr/>
          </p:nvSpPr>
          <p:spPr>
            <a:xfrm>
              <a:off x="585931" y="6322904"/>
              <a:ext cx="1783521" cy="246221"/>
            </a:xfrm>
            <a:prstGeom prst="rect">
              <a:avLst/>
            </a:prstGeom>
            <a:noFill/>
          </p:spPr>
          <p:txBody>
            <a:bodyPr vert="horz" wrap="square" lIns="0" tIns="0" rIns="0" bIns="0" rtlCol="0">
              <a:spAutoFit/>
            </a:bodyPr>
            <a:lstStyle/>
            <a:p>
              <a:pPr algn="ctr">
                <a:spcBef>
                  <a:spcPts val="200"/>
                </a:spcBef>
                <a:buSzPct val="100000"/>
              </a:pPr>
              <a:r>
                <a:rPr lang="fr-FR" sz="1600" b="1">
                  <a:solidFill>
                    <a:schemeClr val="bg1"/>
                  </a:solidFill>
                </a:rPr>
                <a:t>Offre commerciale</a:t>
              </a:r>
            </a:p>
          </p:txBody>
        </p:sp>
        <p:sp>
          <p:nvSpPr>
            <p:cNvPr id="153" name="文本框 106">
              <a:extLst>
                <a:ext uri="{FF2B5EF4-FFF2-40B4-BE49-F238E27FC236}">
                  <a16:creationId xmlns:a16="http://schemas.microsoft.com/office/drawing/2014/main" id="{955B1A6C-2043-4796-9078-E1D1D43E307B}"/>
                </a:ext>
              </a:extLst>
            </p:cNvPr>
            <p:cNvSpPr txBox="1"/>
            <p:nvPr/>
          </p:nvSpPr>
          <p:spPr>
            <a:xfrm>
              <a:off x="2789790" y="6230570"/>
              <a:ext cx="4249931" cy="430887"/>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fr-FR" sz="1400" dirty="0"/>
                <a:t>Développer une offre commerciale pour présenter l’offre CISO</a:t>
              </a:r>
            </a:p>
          </p:txBody>
        </p:sp>
      </p:grpSp>
      <p:grpSp>
        <p:nvGrpSpPr>
          <p:cNvPr id="163" name="Group 162">
            <a:extLst>
              <a:ext uri="{FF2B5EF4-FFF2-40B4-BE49-F238E27FC236}">
                <a16:creationId xmlns:a16="http://schemas.microsoft.com/office/drawing/2014/main" id="{505121E9-D053-41BE-84FF-7D15DE0925BE}"/>
              </a:ext>
            </a:extLst>
          </p:cNvPr>
          <p:cNvGrpSpPr/>
          <p:nvPr/>
        </p:nvGrpSpPr>
        <p:grpSpPr>
          <a:xfrm>
            <a:off x="443356" y="3246468"/>
            <a:ext cx="6596365" cy="798385"/>
            <a:chOff x="443356" y="3246468"/>
            <a:chExt cx="6596365" cy="798385"/>
          </a:xfrm>
        </p:grpSpPr>
        <p:sp>
          <p:nvSpPr>
            <p:cNvPr id="142" name="Rectangle 8">
              <a:extLst>
                <a:ext uri="{FF2B5EF4-FFF2-40B4-BE49-F238E27FC236}">
                  <a16:creationId xmlns:a16="http://schemas.microsoft.com/office/drawing/2014/main" id="{6483F4E7-1DFE-41E2-94A6-4A43062F25C8}"/>
                </a:ext>
              </a:extLst>
            </p:cNvPr>
            <p:cNvSpPr>
              <a:spLocks noChangeArrowheads="1"/>
            </p:cNvSpPr>
            <p:nvPr/>
          </p:nvSpPr>
          <p:spPr bwMode="auto">
            <a:xfrm>
              <a:off x="443356" y="3246468"/>
              <a:ext cx="2190823"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3" name="Rectangle 9">
              <a:extLst>
                <a:ext uri="{FF2B5EF4-FFF2-40B4-BE49-F238E27FC236}">
                  <a16:creationId xmlns:a16="http://schemas.microsoft.com/office/drawing/2014/main" id="{71A5DD47-7356-4420-8873-078A4E5CA87E}"/>
                </a:ext>
              </a:extLst>
            </p:cNvPr>
            <p:cNvSpPr>
              <a:spLocks noChangeArrowheads="1"/>
            </p:cNvSpPr>
            <p:nvPr/>
          </p:nvSpPr>
          <p:spPr bwMode="auto">
            <a:xfrm>
              <a:off x="467937" y="3249515"/>
              <a:ext cx="6571784"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54" name="文本框 106">
              <a:extLst>
                <a:ext uri="{FF2B5EF4-FFF2-40B4-BE49-F238E27FC236}">
                  <a16:creationId xmlns:a16="http://schemas.microsoft.com/office/drawing/2014/main" id="{B87106B0-B345-450F-8D2D-588CFD20CD44}"/>
                </a:ext>
              </a:extLst>
            </p:cNvPr>
            <p:cNvSpPr txBox="1"/>
            <p:nvPr/>
          </p:nvSpPr>
          <p:spPr>
            <a:xfrm>
              <a:off x="1141027" y="3503520"/>
              <a:ext cx="795479" cy="246221"/>
            </a:xfrm>
            <a:prstGeom prst="rect">
              <a:avLst/>
            </a:prstGeom>
            <a:noFill/>
          </p:spPr>
          <p:txBody>
            <a:bodyPr vert="horz" wrap="square" lIns="0" tIns="0" rIns="0" bIns="0" rtlCol="0">
              <a:spAutoFit/>
            </a:bodyPr>
            <a:lstStyle/>
            <a:p>
              <a:pPr algn="ctr">
                <a:spcBef>
                  <a:spcPts val="200"/>
                </a:spcBef>
                <a:buSzPct val="100000"/>
              </a:pPr>
              <a:r>
                <a:rPr lang="fr-FR" sz="1600" b="1">
                  <a:solidFill>
                    <a:schemeClr val="bg1"/>
                  </a:solidFill>
                </a:rPr>
                <a:t>Services</a:t>
              </a:r>
            </a:p>
          </p:txBody>
        </p:sp>
        <p:sp>
          <p:nvSpPr>
            <p:cNvPr id="155" name="文本框 106">
              <a:extLst>
                <a:ext uri="{FF2B5EF4-FFF2-40B4-BE49-F238E27FC236}">
                  <a16:creationId xmlns:a16="http://schemas.microsoft.com/office/drawing/2014/main" id="{D8789FF5-D65D-412C-AB56-3AB1A09F69BA}"/>
                </a:ext>
              </a:extLst>
            </p:cNvPr>
            <p:cNvSpPr txBox="1"/>
            <p:nvPr/>
          </p:nvSpPr>
          <p:spPr>
            <a:xfrm>
              <a:off x="2807311" y="3418917"/>
              <a:ext cx="3587749" cy="456535"/>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fr-FR" altLang="zh-CN" sz="1400" dirty="0"/>
                <a:t>Identification des services</a:t>
              </a:r>
            </a:p>
            <a:p>
              <a:pPr marL="285750" indent="-285750">
                <a:spcBef>
                  <a:spcPts val="200"/>
                </a:spcBef>
                <a:buSzPct val="100000"/>
                <a:buFont typeface="Arial" panose="020B0604020202020204" pitchFamily="34" charset="0"/>
                <a:buChar char="•"/>
              </a:pPr>
              <a:r>
                <a:rPr lang="fr-FR" altLang="zh-CN" sz="1400" dirty="0"/>
                <a:t>Définition des catégories et sous catégories</a:t>
              </a:r>
            </a:p>
          </p:txBody>
        </p:sp>
      </p:grpSp>
      <p:grpSp>
        <p:nvGrpSpPr>
          <p:cNvPr id="165" name="Group 164">
            <a:extLst>
              <a:ext uri="{FF2B5EF4-FFF2-40B4-BE49-F238E27FC236}">
                <a16:creationId xmlns:a16="http://schemas.microsoft.com/office/drawing/2014/main" id="{D5DEB271-DC25-4AF9-AFE4-87C2B3630CE7}"/>
              </a:ext>
            </a:extLst>
          </p:cNvPr>
          <p:cNvGrpSpPr/>
          <p:nvPr/>
        </p:nvGrpSpPr>
        <p:grpSpPr>
          <a:xfrm>
            <a:off x="443356" y="5121639"/>
            <a:ext cx="6596365" cy="798051"/>
            <a:chOff x="443356" y="5121639"/>
            <a:chExt cx="6596365" cy="798051"/>
          </a:xfrm>
        </p:grpSpPr>
        <p:sp>
          <p:nvSpPr>
            <p:cNvPr id="146" name="Rectangle 12">
              <a:extLst>
                <a:ext uri="{FF2B5EF4-FFF2-40B4-BE49-F238E27FC236}">
                  <a16:creationId xmlns:a16="http://schemas.microsoft.com/office/drawing/2014/main" id="{F3753244-278B-4BC8-B45D-51149670A21C}"/>
                </a:ext>
              </a:extLst>
            </p:cNvPr>
            <p:cNvSpPr>
              <a:spLocks noChangeArrowheads="1"/>
            </p:cNvSpPr>
            <p:nvPr/>
          </p:nvSpPr>
          <p:spPr bwMode="auto">
            <a:xfrm>
              <a:off x="443356" y="5121639"/>
              <a:ext cx="2190822" cy="795338"/>
            </a:xfrm>
            <a:prstGeom prst="rect">
              <a:avLst/>
            </a:prstGeom>
            <a:solidFill>
              <a:srgbClr val="00AA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7" name="Rectangle 13">
              <a:extLst>
                <a:ext uri="{FF2B5EF4-FFF2-40B4-BE49-F238E27FC236}">
                  <a16:creationId xmlns:a16="http://schemas.microsoft.com/office/drawing/2014/main" id="{DC080DC6-349F-4960-9E26-438963708D54}"/>
                </a:ext>
              </a:extLst>
            </p:cNvPr>
            <p:cNvSpPr>
              <a:spLocks noChangeArrowheads="1"/>
            </p:cNvSpPr>
            <p:nvPr/>
          </p:nvSpPr>
          <p:spPr bwMode="auto">
            <a:xfrm>
              <a:off x="467937" y="5124352"/>
              <a:ext cx="6571784" cy="795338"/>
            </a:xfrm>
            <a:prstGeom prst="rect">
              <a:avLst/>
            </a:prstGeom>
            <a:noFill/>
            <a:ln w="22225"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56" name="文本框 106">
              <a:extLst>
                <a:ext uri="{FF2B5EF4-FFF2-40B4-BE49-F238E27FC236}">
                  <a16:creationId xmlns:a16="http://schemas.microsoft.com/office/drawing/2014/main" id="{C4656D94-AB38-4C69-95A0-C129690DE9D8}"/>
                </a:ext>
              </a:extLst>
            </p:cNvPr>
            <p:cNvSpPr txBox="1"/>
            <p:nvPr/>
          </p:nvSpPr>
          <p:spPr>
            <a:xfrm>
              <a:off x="1094489" y="5352617"/>
              <a:ext cx="1008062" cy="246221"/>
            </a:xfrm>
            <a:prstGeom prst="rect">
              <a:avLst/>
            </a:prstGeom>
            <a:noFill/>
          </p:spPr>
          <p:txBody>
            <a:bodyPr vert="horz" wrap="square" lIns="0" tIns="0" rIns="0" bIns="0" rtlCol="0">
              <a:spAutoFit/>
            </a:bodyPr>
            <a:lstStyle/>
            <a:p>
              <a:pPr algn="ctr">
                <a:spcBef>
                  <a:spcPts val="200"/>
                </a:spcBef>
                <a:buSzPct val="100000"/>
              </a:pPr>
              <a:r>
                <a:rPr lang="fr-FR" sz="1600" b="1">
                  <a:solidFill>
                    <a:schemeClr val="bg1"/>
                  </a:solidFill>
                </a:rPr>
                <a:t>Framework</a:t>
              </a:r>
            </a:p>
          </p:txBody>
        </p:sp>
        <p:sp>
          <p:nvSpPr>
            <p:cNvPr id="157" name="文本框 106">
              <a:extLst>
                <a:ext uri="{FF2B5EF4-FFF2-40B4-BE49-F238E27FC236}">
                  <a16:creationId xmlns:a16="http://schemas.microsoft.com/office/drawing/2014/main" id="{175EE83A-C30E-4768-9593-A67B31E41411}"/>
                </a:ext>
              </a:extLst>
            </p:cNvPr>
            <p:cNvSpPr txBox="1"/>
            <p:nvPr/>
          </p:nvSpPr>
          <p:spPr>
            <a:xfrm>
              <a:off x="2807311" y="5305531"/>
              <a:ext cx="3317874" cy="430887"/>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fr-FR" sz="1400"/>
                <a:t>Elaborer l’outil nécessaire pour calculer le niveau de maturité du client</a:t>
              </a:r>
            </a:p>
          </p:txBody>
        </p:sp>
      </p:grpSp>
      <p:grpSp>
        <p:nvGrpSpPr>
          <p:cNvPr id="164" name="Group 163">
            <a:extLst>
              <a:ext uri="{FF2B5EF4-FFF2-40B4-BE49-F238E27FC236}">
                <a16:creationId xmlns:a16="http://schemas.microsoft.com/office/drawing/2014/main" id="{E935B698-40DC-4D6B-97F0-2E2C526B7F66}"/>
              </a:ext>
            </a:extLst>
          </p:cNvPr>
          <p:cNvGrpSpPr/>
          <p:nvPr/>
        </p:nvGrpSpPr>
        <p:grpSpPr>
          <a:xfrm>
            <a:off x="443355" y="4179898"/>
            <a:ext cx="6596366" cy="803167"/>
            <a:chOff x="443355" y="4179898"/>
            <a:chExt cx="6596366" cy="803167"/>
          </a:xfrm>
        </p:grpSpPr>
        <p:sp>
          <p:nvSpPr>
            <p:cNvPr id="144" name="Rectangle 10">
              <a:extLst>
                <a:ext uri="{FF2B5EF4-FFF2-40B4-BE49-F238E27FC236}">
                  <a16:creationId xmlns:a16="http://schemas.microsoft.com/office/drawing/2014/main" id="{F61DD5AF-0850-40CF-9F80-6D430CE921C1}"/>
                </a:ext>
              </a:extLst>
            </p:cNvPr>
            <p:cNvSpPr>
              <a:spLocks noChangeArrowheads="1"/>
            </p:cNvSpPr>
            <p:nvPr/>
          </p:nvSpPr>
          <p:spPr bwMode="auto">
            <a:xfrm>
              <a:off x="443355" y="4179898"/>
              <a:ext cx="2190823" cy="796925"/>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5" name="Rectangle 11">
              <a:extLst>
                <a:ext uri="{FF2B5EF4-FFF2-40B4-BE49-F238E27FC236}">
                  <a16:creationId xmlns:a16="http://schemas.microsoft.com/office/drawing/2014/main" id="{79F5BDA7-B8D0-4324-8EE5-4F048AB89AA2}"/>
                </a:ext>
              </a:extLst>
            </p:cNvPr>
            <p:cNvSpPr>
              <a:spLocks noChangeArrowheads="1"/>
            </p:cNvSpPr>
            <p:nvPr/>
          </p:nvSpPr>
          <p:spPr bwMode="auto">
            <a:xfrm>
              <a:off x="467937" y="4186140"/>
              <a:ext cx="6571784"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58" name="文本框 106">
              <a:extLst>
                <a:ext uri="{FF2B5EF4-FFF2-40B4-BE49-F238E27FC236}">
                  <a16:creationId xmlns:a16="http://schemas.microsoft.com/office/drawing/2014/main" id="{96D1EA6B-2C94-4365-AB5C-1DB254AC3A1F}"/>
                </a:ext>
              </a:extLst>
            </p:cNvPr>
            <p:cNvSpPr txBox="1"/>
            <p:nvPr/>
          </p:nvSpPr>
          <p:spPr>
            <a:xfrm>
              <a:off x="1071247" y="4454457"/>
              <a:ext cx="935037" cy="246221"/>
            </a:xfrm>
            <a:prstGeom prst="rect">
              <a:avLst/>
            </a:prstGeom>
            <a:noFill/>
          </p:spPr>
          <p:txBody>
            <a:bodyPr vert="horz" wrap="square" lIns="0" tIns="0" rIns="0" bIns="0" rtlCol="0">
              <a:spAutoFit/>
            </a:bodyPr>
            <a:lstStyle/>
            <a:p>
              <a:pPr algn="ctr">
                <a:spcBef>
                  <a:spcPts val="200"/>
                </a:spcBef>
                <a:buSzPct val="100000"/>
              </a:pPr>
              <a:r>
                <a:rPr lang="fr-FR" sz="1600" b="1">
                  <a:solidFill>
                    <a:schemeClr val="bg1"/>
                  </a:solidFill>
                </a:rPr>
                <a:t>Contrôles</a:t>
              </a:r>
            </a:p>
          </p:txBody>
        </p:sp>
        <p:sp>
          <p:nvSpPr>
            <p:cNvPr id="159" name="文本框 106">
              <a:extLst>
                <a:ext uri="{FF2B5EF4-FFF2-40B4-BE49-F238E27FC236}">
                  <a16:creationId xmlns:a16="http://schemas.microsoft.com/office/drawing/2014/main" id="{0518A6E8-6283-40BC-9523-497E3D9C4EE4}"/>
                </a:ext>
              </a:extLst>
            </p:cNvPr>
            <p:cNvSpPr txBox="1"/>
            <p:nvPr/>
          </p:nvSpPr>
          <p:spPr>
            <a:xfrm>
              <a:off x="2807311" y="4363017"/>
              <a:ext cx="3911971" cy="456535"/>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fr-FR" altLang="zh-CN" sz="1400"/>
                <a:t>Définition des contrôles </a:t>
              </a:r>
            </a:p>
            <a:p>
              <a:pPr marL="285750" indent="-285750">
                <a:spcBef>
                  <a:spcPts val="200"/>
                </a:spcBef>
                <a:buSzPct val="100000"/>
                <a:buFont typeface="Arial" panose="020B0604020202020204" pitchFamily="34" charset="0"/>
                <a:buChar char="•"/>
              </a:pPr>
              <a:r>
                <a:rPr lang="fr-FR" sz="1400"/>
                <a:t>Définition des questions associées aux contrôles</a:t>
              </a:r>
            </a:p>
          </p:txBody>
        </p:sp>
      </p:grpSp>
      <p:cxnSp>
        <p:nvCxnSpPr>
          <p:cNvPr id="57" name="Straight Connector 191">
            <a:extLst>
              <a:ext uri="{FF2B5EF4-FFF2-40B4-BE49-F238E27FC236}">
                <a16:creationId xmlns:a16="http://schemas.microsoft.com/office/drawing/2014/main" id="{C591EEEA-499D-48F2-8E7B-8DCA89096296}"/>
              </a:ext>
            </a:extLst>
          </p:cNvPr>
          <p:cNvCxnSpPr>
            <a:cxnSpLocks/>
          </p:cNvCxnSpPr>
          <p:nvPr/>
        </p:nvCxnSpPr>
        <p:spPr>
          <a:xfrm>
            <a:off x="7448893" y="1700579"/>
            <a:ext cx="0" cy="5168365"/>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186459D7-D38C-4915-8E05-4C52E889C2F6}"/>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6</a:t>
            </a:r>
          </a:p>
        </p:txBody>
      </p:sp>
      <p:sp>
        <p:nvSpPr>
          <p:cNvPr id="68" name="Freeform 926">
            <a:extLst>
              <a:ext uri="{FF2B5EF4-FFF2-40B4-BE49-F238E27FC236}">
                <a16:creationId xmlns:a16="http://schemas.microsoft.com/office/drawing/2014/main" id="{45A04948-3718-46AE-B4DA-EB0298CFEE2B}"/>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926">
            <a:extLst>
              <a:ext uri="{FF2B5EF4-FFF2-40B4-BE49-F238E27FC236}">
                <a16:creationId xmlns:a16="http://schemas.microsoft.com/office/drawing/2014/main" id="{B8693CAB-9D3D-4A2E-A2B3-D4261345FCF8}"/>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TextBox 219">
            <a:extLst>
              <a:ext uri="{FF2B5EF4-FFF2-40B4-BE49-F238E27FC236}">
                <a16:creationId xmlns:a16="http://schemas.microsoft.com/office/drawing/2014/main" id="{E6DABF26-FCE5-4A02-A5AB-919ADC692691}"/>
              </a:ext>
            </a:extLst>
          </p:cNvPr>
          <p:cNvSpPr txBox="1"/>
          <p:nvPr/>
        </p:nvSpPr>
        <p:spPr>
          <a:xfrm>
            <a:off x="2126176" y="469879"/>
            <a:ext cx="2535625" cy="307777"/>
          </a:xfrm>
          <a:prstGeom prst="rect">
            <a:avLst/>
          </a:prstGeom>
          <a:noFill/>
        </p:spPr>
        <p:txBody>
          <a:bodyPr wrap="square">
            <a:spAutoFit/>
          </a:bodyPr>
          <a:lstStyle/>
          <a:p>
            <a:pPr>
              <a:spcAft>
                <a:spcPts val="0"/>
              </a:spcAft>
            </a:pPr>
            <a:r>
              <a:rPr lang="fr-FR" altLang="zh-CN" sz="1400" dirty="0">
                <a:solidFill>
                  <a:schemeClr val="tx2"/>
                </a:solidFill>
              </a:rPr>
              <a:t>Organisme d’accueil</a:t>
            </a:r>
          </a:p>
        </p:txBody>
      </p:sp>
      <p:sp>
        <p:nvSpPr>
          <p:cNvPr id="77" name="TextBox 220">
            <a:extLst>
              <a:ext uri="{FF2B5EF4-FFF2-40B4-BE49-F238E27FC236}">
                <a16:creationId xmlns:a16="http://schemas.microsoft.com/office/drawing/2014/main" id="{98318783-6EB7-4895-9AA4-A6A801EF6E74}"/>
              </a:ext>
            </a:extLst>
          </p:cNvPr>
          <p:cNvSpPr txBox="1"/>
          <p:nvPr/>
        </p:nvSpPr>
        <p:spPr>
          <a:xfrm>
            <a:off x="5819704" y="469879"/>
            <a:ext cx="253562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78" name="TextBox 38">
            <a:extLst>
              <a:ext uri="{FF2B5EF4-FFF2-40B4-BE49-F238E27FC236}">
                <a16:creationId xmlns:a16="http://schemas.microsoft.com/office/drawing/2014/main" id="{FC13A11E-859E-4F7D-BA95-909E15F8C947}"/>
              </a:ext>
            </a:extLst>
          </p:cNvPr>
          <p:cNvSpPr txBox="1"/>
          <p:nvPr/>
        </p:nvSpPr>
        <p:spPr>
          <a:xfrm>
            <a:off x="9513234" y="500490"/>
            <a:ext cx="2420555"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79" name="Freeform 926">
            <a:extLst>
              <a:ext uri="{FF2B5EF4-FFF2-40B4-BE49-F238E27FC236}">
                <a16:creationId xmlns:a16="http://schemas.microsoft.com/office/drawing/2014/main" id="{2016878D-C39A-48BA-9135-6934F2DA23E1}"/>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 name="Rectangle 79">
            <a:extLst>
              <a:ext uri="{FF2B5EF4-FFF2-40B4-BE49-F238E27FC236}">
                <a16:creationId xmlns:a16="http://schemas.microsoft.com/office/drawing/2014/main" id="{E59AA7A0-F227-41C1-90A2-809789340BFF}"/>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81" name="Rectangle 80">
            <a:extLst>
              <a:ext uri="{FF2B5EF4-FFF2-40B4-BE49-F238E27FC236}">
                <a16:creationId xmlns:a16="http://schemas.microsoft.com/office/drawing/2014/main" id="{29F88F58-B066-4724-8DCE-85FD3EBDFE63}"/>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2" name="Rectangle 81">
            <a:extLst>
              <a:ext uri="{FF2B5EF4-FFF2-40B4-BE49-F238E27FC236}">
                <a16:creationId xmlns:a16="http://schemas.microsoft.com/office/drawing/2014/main" id="{B718096B-6B1A-4777-808B-B02DF8332F3C}"/>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83" name="Rectangle 82">
            <a:extLst>
              <a:ext uri="{FF2B5EF4-FFF2-40B4-BE49-F238E27FC236}">
                <a16:creationId xmlns:a16="http://schemas.microsoft.com/office/drawing/2014/main" id="{E609E8BD-501B-45D8-8C53-D048CD75B756}"/>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3657640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35"/>
                                        </p:tgtEl>
                                        <p:attrNameLst>
                                          <p:attrName>style.visibility</p:attrName>
                                        </p:attrNameLst>
                                      </p:cBhvr>
                                      <p:to>
                                        <p:strVal val="visible"/>
                                      </p:to>
                                    </p:set>
                                  </p:childTnLst>
                                </p:cTn>
                              </p:par>
                            </p:childTnLst>
                          </p:cTn>
                        </p:par>
                        <p:par>
                          <p:cTn id="7" fill="hold">
                            <p:stCondLst>
                              <p:cond delay="500"/>
                            </p:stCondLst>
                            <p:childTnLst>
                              <p:par>
                                <p:cTn id="8" presetID="23" presetClass="entr" presetSubtype="16" fill="hold" nodeType="afterEffect">
                                  <p:stCondLst>
                                    <p:cond delay="500"/>
                                  </p:stCondLst>
                                  <p:childTnLst>
                                    <p:set>
                                      <p:cBhvr>
                                        <p:cTn id="9" dur="1" fill="hold">
                                          <p:stCondLst>
                                            <p:cond delay="0"/>
                                          </p:stCondLst>
                                        </p:cTn>
                                        <p:tgtEl>
                                          <p:spTgt spid="160"/>
                                        </p:tgtEl>
                                        <p:attrNameLst>
                                          <p:attrName>style.visibility</p:attrName>
                                        </p:attrNameLst>
                                      </p:cBhvr>
                                      <p:to>
                                        <p:strVal val="visible"/>
                                      </p:to>
                                    </p:set>
                                    <p:anim calcmode="lin" valueType="num">
                                      <p:cBhvr>
                                        <p:cTn id="10" dur="500" fill="hold"/>
                                        <p:tgtEl>
                                          <p:spTgt spid="160"/>
                                        </p:tgtEl>
                                        <p:attrNameLst>
                                          <p:attrName>ppt_w</p:attrName>
                                        </p:attrNameLst>
                                      </p:cBhvr>
                                      <p:tavLst>
                                        <p:tav tm="0">
                                          <p:val>
                                            <p:fltVal val="0"/>
                                          </p:val>
                                        </p:tav>
                                        <p:tav tm="100000">
                                          <p:val>
                                            <p:strVal val="#ppt_w"/>
                                          </p:val>
                                        </p:tav>
                                      </p:tavLst>
                                    </p:anim>
                                    <p:anim calcmode="lin" valueType="num">
                                      <p:cBhvr>
                                        <p:cTn id="11" dur="500" fill="hold"/>
                                        <p:tgtEl>
                                          <p:spTgt spid="160"/>
                                        </p:tgtEl>
                                        <p:attrNameLst>
                                          <p:attrName>ppt_h</p:attrName>
                                        </p:attrNameLst>
                                      </p:cBhvr>
                                      <p:tavLst>
                                        <p:tav tm="0">
                                          <p:val>
                                            <p:fltVal val="0"/>
                                          </p:val>
                                        </p:tav>
                                        <p:tav tm="100000">
                                          <p:val>
                                            <p:strVal val="#ppt_h"/>
                                          </p:val>
                                        </p:tav>
                                      </p:tavLst>
                                    </p:anim>
                                  </p:childTnLst>
                                </p:cTn>
                              </p:par>
                            </p:childTnLst>
                          </p:cTn>
                        </p:par>
                        <p:par>
                          <p:cTn id="12" fill="hold">
                            <p:stCondLst>
                              <p:cond delay="1500"/>
                            </p:stCondLst>
                            <p:childTnLst>
                              <p:par>
                                <p:cTn id="13" presetID="23" presetClass="entr" presetSubtype="16" fill="hold" nodeType="afterEffect">
                                  <p:stCondLst>
                                    <p:cond delay="500"/>
                                  </p:stCondLst>
                                  <p:childTnLst>
                                    <p:set>
                                      <p:cBhvr>
                                        <p:cTn id="14" dur="1" fill="hold">
                                          <p:stCondLst>
                                            <p:cond delay="0"/>
                                          </p:stCondLst>
                                        </p:cTn>
                                        <p:tgtEl>
                                          <p:spTgt spid="163"/>
                                        </p:tgtEl>
                                        <p:attrNameLst>
                                          <p:attrName>style.visibility</p:attrName>
                                        </p:attrNameLst>
                                      </p:cBhvr>
                                      <p:to>
                                        <p:strVal val="visible"/>
                                      </p:to>
                                    </p:set>
                                    <p:anim calcmode="lin" valueType="num">
                                      <p:cBhvr>
                                        <p:cTn id="15" dur="500" fill="hold"/>
                                        <p:tgtEl>
                                          <p:spTgt spid="163"/>
                                        </p:tgtEl>
                                        <p:attrNameLst>
                                          <p:attrName>ppt_w</p:attrName>
                                        </p:attrNameLst>
                                      </p:cBhvr>
                                      <p:tavLst>
                                        <p:tav tm="0">
                                          <p:val>
                                            <p:fltVal val="0"/>
                                          </p:val>
                                        </p:tav>
                                        <p:tav tm="100000">
                                          <p:val>
                                            <p:strVal val="#ppt_w"/>
                                          </p:val>
                                        </p:tav>
                                      </p:tavLst>
                                    </p:anim>
                                    <p:anim calcmode="lin" valueType="num">
                                      <p:cBhvr>
                                        <p:cTn id="16" dur="500" fill="hold"/>
                                        <p:tgtEl>
                                          <p:spTgt spid="163"/>
                                        </p:tgtEl>
                                        <p:attrNameLst>
                                          <p:attrName>ppt_h</p:attrName>
                                        </p:attrNameLst>
                                      </p:cBhvr>
                                      <p:tavLst>
                                        <p:tav tm="0">
                                          <p:val>
                                            <p:fltVal val="0"/>
                                          </p:val>
                                        </p:tav>
                                        <p:tav tm="100000">
                                          <p:val>
                                            <p:strVal val="#ppt_h"/>
                                          </p:val>
                                        </p:tav>
                                      </p:tavLst>
                                    </p:anim>
                                  </p:childTnLst>
                                </p:cTn>
                              </p:par>
                            </p:childTnLst>
                          </p:cTn>
                        </p:par>
                        <p:par>
                          <p:cTn id="17" fill="hold">
                            <p:stCondLst>
                              <p:cond delay="2500"/>
                            </p:stCondLst>
                            <p:childTnLst>
                              <p:par>
                                <p:cTn id="18" presetID="23" presetClass="entr" presetSubtype="16" fill="hold" nodeType="afterEffect">
                                  <p:stCondLst>
                                    <p:cond delay="500"/>
                                  </p:stCondLst>
                                  <p:childTnLst>
                                    <p:set>
                                      <p:cBhvr>
                                        <p:cTn id="19" dur="1" fill="hold">
                                          <p:stCondLst>
                                            <p:cond delay="0"/>
                                          </p:stCondLst>
                                        </p:cTn>
                                        <p:tgtEl>
                                          <p:spTgt spid="164"/>
                                        </p:tgtEl>
                                        <p:attrNameLst>
                                          <p:attrName>style.visibility</p:attrName>
                                        </p:attrNameLst>
                                      </p:cBhvr>
                                      <p:to>
                                        <p:strVal val="visible"/>
                                      </p:to>
                                    </p:set>
                                    <p:anim calcmode="lin" valueType="num">
                                      <p:cBhvr>
                                        <p:cTn id="20" dur="500" fill="hold"/>
                                        <p:tgtEl>
                                          <p:spTgt spid="164"/>
                                        </p:tgtEl>
                                        <p:attrNameLst>
                                          <p:attrName>ppt_w</p:attrName>
                                        </p:attrNameLst>
                                      </p:cBhvr>
                                      <p:tavLst>
                                        <p:tav tm="0">
                                          <p:val>
                                            <p:fltVal val="0"/>
                                          </p:val>
                                        </p:tav>
                                        <p:tav tm="100000">
                                          <p:val>
                                            <p:strVal val="#ppt_w"/>
                                          </p:val>
                                        </p:tav>
                                      </p:tavLst>
                                    </p:anim>
                                    <p:anim calcmode="lin" valueType="num">
                                      <p:cBhvr>
                                        <p:cTn id="21" dur="500" fill="hold"/>
                                        <p:tgtEl>
                                          <p:spTgt spid="164"/>
                                        </p:tgtEl>
                                        <p:attrNameLst>
                                          <p:attrName>ppt_h</p:attrName>
                                        </p:attrNameLst>
                                      </p:cBhvr>
                                      <p:tavLst>
                                        <p:tav tm="0">
                                          <p:val>
                                            <p:fltVal val="0"/>
                                          </p:val>
                                        </p:tav>
                                        <p:tav tm="100000">
                                          <p:val>
                                            <p:strVal val="#ppt_h"/>
                                          </p:val>
                                        </p:tav>
                                      </p:tavLst>
                                    </p:anim>
                                  </p:childTnLst>
                                </p:cTn>
                              </p:par>
                            </p:childTnLst>
                          </p:cTn>
                        </p:par>
                        <p:par>
                          <p:cTn id="22" fill="hold">
                            <p:stCondLst>
                              <p:cond delay="3500"/>
                            </p:stCondLst>
                            <p:childTnLst>
                              <p:par>
                                <p:cTn id="23" presetID="23" presetClass="entr" presetSubtype="16" fill="hold" nodeType="afterEffect">
                                  <p:stCondLst>
                                    <p:cond delay="500"/>
                                  </p:stCondLst>
                                  <p:childTnLst>
                                    <p:set>
                                      <p:cBhvr>
                                        <p:cTn id="24" dur="1" fill="hold">
                                          <p:stCondLst>
                                            <p:cond delay="0"/>
                                          </p:stCondLst>
                                        </p:cTn>
                                        <p:tgtEl>
                                          <p:spTgt spid="165"/>
                                        </p:tgtEl>
                                        <p:attrNameLst>
                                          <p:attrName>style.visibility</p:attrName>
                                        </p:attrNameLst>
                                      </p:cBhvr>
                                      <p:to>
                                        <p:strVal val="visible"/>
                                      </p:to>
                                    </p:set>
                                    <p:anim calcmode="lin" valueType="num">
                                      <p:cBhvr>
                                        <p:cTn id="25" dur="500" fill="hold"/>
                                        <p:tgtEl>
                                          <p:spTgt spid="165"/>
                                        </p:tgtEl>
                                        <p:attrNameLst>
                                          <p:attrName>ppt_w</p:attrName>
                                        </p:attrNameLst>
                                      </p:cBhvr>
                                      <p:tavLst>
                                        <p:tav tm="0">
                                          <p:val>
                                            <p:fltVal val="0"/>
                                          </p:val>
                                        </p:tav>
                                        <p:tav tm="100000">
                                          <p:val>
                                            <p:strVal val="#ppt_w"/>
                                          </p:val>
                                        </p:tav>
                                      </p:tavLst>
                                    </p:anim>
                                    <p:anim calcmode="lin" valueType="num">
                                      <p:cBhvr>
                                        <p:cTn id="26" dur="500" fill="hold"/>
                                        <p:tgtEl>
                                          <p:spTgt spid="165"/>
                                        </p:tgtEl>
                                        <p:attrNameLst>
                                          <p:attrName>ppt_h</p:attrName>
                                        </p:attrNameLst>
                                      </p:cBhvr>
                                      <p:tavLst>
                                        <p:tav tm="0">
                                          <p:val>
                                            <p:fltVal val="0"/>
                                          </p:val>
                                        </p:tav>
                                        <p:tav tm="100000">
                                          <p:val>
                                            <p:strVal val="#ppt_h"/>
                                          </p:val>
                                        </p:tav>
                                      </p:tavLst>
                                    </p:anim>
                                  </p:childTnLst>
                                </p:cTn>
                              </p:par>
                            </p:childTnLst>
                          </p:cTn>
                        </p:par>
                        <p:par>
                          <p:cTn id="27" fill="hold">
                            <p:stCondLst>
                              <p:cond delay="4500"/>
                            </p:stCondLst>
                            <p:childTnLst>
                              <p:par>
                                <p:cTn id="28" presetID="23" presetClass="entr" presetSubtype="16" fill="hold" nodeType="afterEffect">
                                  <p:stCondLst>
                                    <p:cond delay="500"/>
                                  </p:stCondLst>
                                  <p:childTnLst>
                                    <p:set>
                                      <p:cBhvr>
                                        <p:cTn id="29" dur="1" fill="hold">
                                          <p:stCondLst>
                                            <p:cond delay="0"/>
                                          </p:stCondLst>
                                        </p:cTn>
                                        <p:tgtEl>
                                          <p:spTgt spid="166"/>
                                        </p:tgtEl>
                                        <p:attrNameLst>
                                          <p:attrName>style.visibility</p:attrName>
                                        </p:attrNameLst>
                                      </p:cBhvr>
                                      <p:to>
                                        <p:strVal val="visible"/>
                                      </p:to>
                                    </p:set>
                                    <p:anim calcmode="lin" valueType="num">
                                      <p:cBhvr>
                                        <p:cTn id="30" dur="500" fill="hold"/>
                                        <p:tgtEl>
                                          <p:spTgt spid="166"/>
                                        </p:tgtEl>
                                        <p:attrNameLst>
                                          <p:attrName>ppt_w</p:attrName>
                                        </p:attrNameLst>
                                      </p:cBhvr>
                                      <p:tavLst>
                                        <p:tav tm="0">
                                          <p:val>
                                            <p:fltVal val="0"/>
                                          </p:val>
                                        </p:tav>
                                        <p:tav tm="100000">
                                          <p:val>
                                            <p:strVal val="#ppt_w"/>
                                          </p:val>
                                        </p:tav>
                                      </p:tavLst>
                                    </p:anim>
                                    <p:anim calcmode="lin" valueType="num">
                                      <p:cBhvr>
                                        <p:cTn id="31" dur="500" fill="hold"/>
                                        <p:tgtEl>
                                          <p:spTgt spid="166"/>
                                        </p:tgtEl>
                                        <p:attrNameLst>
                                          <p:attrName>ppt_h</p:attrName>
                                        </p:attrNameLst>
                                      </p:cBhvr>
                                      <p:tavLst>
                                        <p:tav tm="0">
                                          <p:val>
                                            <p:fltVal val="0"/>
                                          </p:val>
                                        </p:tav>
                                        <p:tav tm="100000">
                                          <p:val>
                                            <p:strVal val="#ppt_h"/>
                                          </p:val>
                                        </p:tav>
                                      </p:tavLst>
                                    </p:anim>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fade">
                                      <p:cBhvr>
                                        <p:cTn id="36" dur="500"/>
                                        <p:tgtEl>
                                          <p:spTgt spid="57"/>
                                        </p:tgtEl>
                                      </p:cBhvr>
                                    </p:animEffect>
                                  </p:childTnLst>
                                </p:cTn>
                              </p:par>
                              <p:par>
                                <p:cTn id="37" presetID="1" presetClass="entr" presetSubtype="0" fill="hold" grpId="0" nodeType="with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childTnLst>
                          </p:cTn>
                        </p:par>
                        <p:par>
                          <p:cTn id="39" fill="hold">
                            <p:stCondLst>
                              <p:cond delay="500"/>
                            </p:stCondLst>
                            <p:childTnLst>
                              <p:par>
                                <p:cTn id="40" presetID="31" presetClass="entr" presetSubtype="0" fill="hold" nodeType="afterEffect">
                                  <p:stCondLst>
                                    <p:cond delay="0"/>
                                  </p:stCondLst>
                                  <p:childTnLst>
                                    <p:set>
                                      <p:cBhvr>
                                        <p:cTn id="41" dur="1" fill="hold">
                                          <p:stCondLst>
                                            <p:cond delay="0"/>
                                          </p:stCondLst>
                                        </p:cTn>
                                        <p:tgtEl>
                                          <p:spTgt spid="70"/>
                                        </p:tgtEl>
                                        <p:attrNameLst>
                                          <p:attrName>style.visibility</p:attrName>
                                        </p:attrNameLst>
                                      </p:cBhvr>
                                      <p:to>
                                        <p:strVal val="visible"/>
                                      </p:to>
                                    </p:set>
                                    <p:anim calcmode="lin" valueType="num">
                                      <p:cBhvr>
                                        <p:cTn id="42" dur="1000" fill="hold"/>
                                        <p:tgtEl>
                                          <p:spTgt spid="70"/>
                                        </p:tgtEl>
                                        <p:attrNameLst>
                                          <p:attrName>ppt_w</p:attrName>
                                        </p:attrNameLst>
                                      </p:cBhvr>
                                      <p:tavLst>
                                        <p:tav tm="0">
                                          <p:val>
                                            <p:fltVal val="0"/>
                                          </p:val>
                                        </p:tav>
                                        <p:tav tm="100000">
                                          <p:val>
                                            <p:strVal val="#ppt_w"/>
                                          </p:val>
                                        </p:tav>
                                      </p:tavLst>
                                    </p:anim>
                                    <p:anim calcmode="lin" valueType="num">
                                      <p:cBhvr>
                                        <p:cTn id="43" dur="1000" fill="hold"/>
                                        <p:tgtEl>
                                          <p:spTgt spid="70"/>
                                        </p:tgtEl>
                                        <p:attrNameLst>
                                          <p:attrName>ppt_h</p:attrName>
                                        </p:attrNameLst>
                                      </p:cBhvr>
                                      <p:tavLst>
                                        <p:tav tm="0">
                                          <p:val>
                                            <p:fltVal val="0"/>
                                          </p:val>
                                        </p:tav>
                                        <p:tav tm="100000">
                                          <p:val>
                                            <p:strVal val="#ppt_h"/>
                                          </p:val>
                                        </p:tav>
                                      </p:tavLst>
                                    </p:anim>
                                    <p:anim calcmode="lin" valueType="num">
                                      <p:cBhvr>
                                        <p:cTn id="44" dur="1000" fill="hold"/>
                                        <p:tgtEl>
                                          <p:spTgt spid="70"/>
                                        </p:tgtEl>
                                        <p:attrNameLst>
                                          <p:attrName>style.rotation</p:attrName>
                                        </p:attrNameLst>
                                      </p:cBhvr>
                                      <p:tavLst>
                                        <p:tav tm="0">
                                          <p:val>
                                            <p:fltVal val="90"/>
                                          </p:val>
                                        </p:tav>
                                        <p:tav tm="100000">
                                          <p:val>
                                            <p:fltVal val="0"/>
                                          </p:val>
                                        </p:tav>
                                      </p:tavLst>
                                    </p:anim>
                                    <p:animEffect transition="in" filter="fade">
                                      <p:cBhvr>
                                        <p:cTn id="45" dur="1000"/>
                                        <p:tgtEl>
                                          <p:spTgt spid="70"/>
                                        </p:tgtEl>
                                      </p:cBhvr>
                                    </p:animEffect>
                                  </p:childTnLst>
                                </p:cTn>
                              </p:par>
                            </p:childTnLst>
                          </p:cTn>
                        </p:par>
                        <p:par>
                          <p:cTn id="46" fill="hold">
                            <p:stCondLst>
                              <p:cond delay="1500"/>
                            </p:stCondLst>
                            <p:childTnLst>
                              <p:par>
                                <p:cTn id="47" presetID="31" presetClass="entr" presetSubtype="0" fill="hold" nodeType="afterEffect">
                                  <p:stCondLst>
                                    <p:cond delay="0"/>
                                  </p:stCondLst>
                                  <p:childTnLst>
                                    <p:set>
                                      <p:cBhvr>
                                        <p:cTn id="48" dur="1" fill="hold">
                                          <p:stCondLst>
                                            <p:cond delay="0"/>
                                          </p:stCondLst>
                                        </p:cTn>
                                        <p:tgtEl>
                                          <p:spTgt spid="69"/>
                                        </p:tgtEl>
                                        <p:attrNameLst>
                                          <p:attrName>style.visibility</p:attrName>
                                        </p:attrNameLst>
                                      </p:cBhvr>
                                      <p:to>
                                        <p:strVal val="visible"/>
                                      </p:to>
                                    </p:set>
                                    <p:anim calcmode="lin" valueType="num">
                                      <p:cBhvr>
                                        <p:cTn id="49" dur="1000" fill="hold"/>
                                        <p:tgtEl>
                                          <p:spTgt spid="69"/>
                                        </p:tgtEl>
                                        <p:attrNameLst>
                                          <p:attrName>ppt_w</p:attrName>
                                        </p:attrNameLst>
                                      </p:cBhvr>
                                      <p:tavLst>
                                        <p:tav tm="0">
                                          <p:val>
                                            <p:fltVal val="0"/>
                                          </p:val>
                                        </p:tav>
                                        <p:tav tm="100000">
                                          <p:val>
                                            <p:strVal val="#ppt_w"/>
                                          </p:val>
                                        </p:tav>
                                      </p:tavLst>
                                    </p:anim>
                                    <p:anim calcmode="lin" valueType="num">
                                      <p:cBhvr>
                                        <p:cTn id="50" dur="1000" fill="hold"/>
                                        <p:tgtEl>
                                          <p:spTgt spid="69"/>
                                        </p:tgtEl>
                                        <p:attrNameLst>
                                          <p:attrName>ppt_h</p:attrName>
                                        </p:attrNameLst>
                                      </p:cBhvr>
                                      <p:tavLst>
                                        <p:tav tm="0">
                                          <p:val>
                                            <p:fltVal val="0"/>
                                          </p:val>
                                        </p:tav>
                                        <p:tav tm="100000">
                                          <p:val>
                                            <p:strVal val="#ppt_h"/>
                                          </p:val>
                                        </p:tav>
                                      </p:tavLst>
                                    </p:anim>
                                    <p:anim calcmode="lin" valueType="num">
                                      <p:cBhvr>
                                        <p:cTn id="51" dur="1000" fill="hold"/>
                                        <p:tgtEl>
                                          <p:spTgt spid="69"/>
                                        </p:tgtEl>
                                        <p:attrNameLst>
                                          <p:attrName>style.rotation</p:attrName>
                                        </p:attrNameLst>
                                      </p:cBhvr>
                                      <p:tavLst>
                                        <p:tav tm="0">
                                          <p:val>
                                            <p:fltVal val="90"/>
                                          </p:val>
                                        </p:tav>
                                        <p:tav tm="100000">
                                          <p:val>
                                            <p:fltVal val="0"/>
                                          </p:val>
                                        </p:tav>
                                      </p:tavLst>
                                    </p:anim>
                                    <p:animEffect transition="in" filter="fade">
                                      <p:cBhvr>
                                        <p:cTn id="52" dur="1000"/>
                                        <p:tgtEl>
                                          <p:spTgt spid="69"/>
                                        </p:tgtEl>
                                      </p:cBhvr>
                                    </p:animEffect>
                                  </p:childTnLst>
                                </p:cTn>
                              </p:par>
                            </p:childTnLst>
                          </p:cTn>
                        </p:par>
                        <p:par>
                          <p:cTn id="53" fill="hold">
                            <p:stCondLst>
                              <p:cond delay="2500"/>
                            </p:stCondLst>
                            <p:childTnLst>
                              <p:par>
                                <p:cTn id="54" presetID="1" presetClass="entr" presetSubtype="0" fill="hold" grpId="0" nodeType="afterEffect">
                                  <p:stCondLst>
                                    <p:cond delay="0"/>
                                  </p:stCondLst>
                                  <p:childTnLst>
                                    <p:set>
                                      <p:cBhvr>
                                        <p:cTn id="55" dur="1" fill="hold">
                                          <p:stCondLst>
                                            <p:cond delay="0"/>
                                          </p:stCondLst>
                                        </p:cTn>
                                        <p:tgtEl>
                                          <p:spTgt spid="48"/>
                                        </p:tgtEl>
                                        <p:attrNameLst>
                                          <p:attrName>style.visibility</p:attrName>
                                        </p:attrNameLst>
                                      </p:cBhvr>
                                      <p:to>
                                        <p:strVal val="visible"/>
                                      </p:to>
                                    </p:set>
                                  </p:childTnLst>
                                </p:cTn>
                              </p:par>
                            </p:childTnLst>
                          </p:cTn>
                        </p:par>
                        <p:par>
                          <p:cTn id="56" fill="hold">
                            <p:stCondLst>
                              <p:cond delay="2500"/>
                            </p:stCondLst>
                            <p:childTnLst>
                              <p:par>
                                <p:cTn id="57" presetID="1" presetClass="entr" presetSubtype="0" fill="hold" grpId="0" nodeType="after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par>
                          <p:cTn id="59" fill="hold">
                            <p:stCondLst>
                              <p:cond delay="2500"/>
                            </p:stCondLst>
                            <p:childTnLst>
                              <p:par>
                                <p:cTn id="60" presetID="1" presetClass="entr" presetSubtype="0" fill="hold" nodeType="afterEffect">
                                  <p:stCondLst>
                                    <p:cond delay="0"/>
                                  </p:stCondLst>
                                  <p:childTnLst>
                                    <p:set>
                                      <p:cBhvr>
                                        <p:cTn id="61" dur="1" fill="hold">
                                          <p:stCondLst>
                                            <p:cond delay="0"/>
                                          </p:stCondLst>
                                        </p:cTn>
                                        <p:tgtEl>
                                          <p:spTgt spid="63"/>
                                        </p:tgtEl>
                                        <p:attrNameLst>
                                          <p:attrName>style.visibility</p:attrName>
                                        </p:attrNameLst>
                                      </p:cBhvr>
                                      <p:to>
                                        <p:strVal val="visible"/>
                                      </p:to>
                                    </p:set>
                                  </p:childTnLst>
                                </p:cTn>
                              </p:par>
                            </p:childTnLst>
                          </p:cTn>
                        </p:par>
                        <p:par>
                          <p:cTn id="62" fill="hold">
                            <p:stCondLst>
                              <p:cond delay="2500"/>
                            </p:stCondLst>
                            <p:childTnLst>
                              <p:par>
                                <p:cTn id="63" presetID="1" presetClass="entr" presetSubtype="0" fill="hold" grpId="0" nodeType="afterEffect">
                                  <p:stCondLst>
                                    <p:cond delay="0"/>
                                  </p:stCondLst>
                                  <p:childTnLst>
                                    <p:set>
                                      <p:cBhvr>
                                        <p:cTn id="64" dur="1" fill="hold">
                                          <p:stCondLst>
                                            <p:cond delay="0"/>
                                          </p:stCondLst>
                                        </p:cTn>
                                        <p:tgtEl>
                                          <p:spTgt spid="50"/>
                                        </p:tgtEl>
                                        <p:attrNameLst>
                                          <p:attrName>style.visibility</p:attrName>
                                        </p:attrNameLst>
                                      </p:cBhvr>
                                      <p:to>
                                        <p:strVal val="visible"/>
                                      </p:to>
                                    </p:set>
                                  </p:childTnLst>
                                </p:cTn>
                              </p:par>
                            </p:childTnLst>
                          </p:cTn>
                        </p:par>
                        <p:par>
                          <p:cTn id="65" fill="hold">
                            <p:stCondLst>
                              <p:cond delay="2500"/>
                            </p:stCondLst>
                            <p:childTnLst>
                              <p:par>
                                <p:cTn id="66" presetID="1" presetClass="entr" presetSubtype="0" fill="hold" grpId="0" nodeType="afterEffect">
                                  <p:stCondLst>
                                    <p:cond delay="0"/>
                                  </p:stCondLst>
                                  <p:childTnLst>
                                    <p:set>
                                      <p:cBhvr>
                                        <p:cTn id="67" dur="1" fill="hold">
                                          <p:stCondLst>
                                            <p:cond delay="0"/>
                                          </p:stCondLst>
                                        </p:cTn>
                                        <p:tgtEl>
                                          <p:spTgt spid="52"/>
                                        </p:tgtEl>
                                        <p:attrNameLst>
                                          <p:attrName>style.visibility</p:attrName>
                                        </p:attrNameLst>
                                      </p:cBhvr>
                                      <p:to>
                                        <p:strVal val="visible"/>
                                      </p:to>
                                    </p:set>
                                  </p:childTnLst>
                                </p:cTn>
                              </p:par>
                            </p:childTnLst>
                          </p:cTn>
                        </p:par>
                        <p:par>
                          <p:cTn id="68" fill="hold">
                            <p:stCondLst>
                              <p:cond delay="2500"/>
                            </p:stCondLst>
                            <p:childTnLst>
                              <p:par>
                                <p:cTn id="69" presetID="1" presetClass="entr" presetSubtype="0" fill="hold" grpId="0" nodeType="afterEffect">
                                  <p:stCondLst>
                                    <p:cond delay="0"/>
                                  </p:stCondLst>
                                  <p:childTnLst>
                                    <p:set>
                                      <p:cBhvr>
                                        <p:cTn id="70" dur="1" fill="hold">
                                          <p:stCondLst>
                                            <p:cond delay="0"/>
                                          </p:stCondLst>
                                        </p:cTn>
                                        <p:tgtEl>
                                          <p:spTgt spid="51"/>
                                        </p:tgtEl>
                                        <p:attrNameLst>
                                          <p:attrName>style.visibility</p:attrName>
                                        </p:attrNameLst>
                                      </p:cBhvr>
                                      <p:to>
                                        <p:strVal val="visible"/>
                                      </p:to>
                                    </p:set>
                                  </p:childTnLst>
                                </p:cTn>
                              </p:par>
                            </p:childTnLst>
                          </p:cTn>
                        </p:par>
                        <p:par>
                          <p:cTn id="71" fill="hold">
                            <p:stCondLst>
                              <p:cond delay="2500"/>
                            </p:stCondLst>
                            <p:childTnLst>
                              <p:par>
                                <p:cTn id="72" presetID="1" presetClass="entr" presetSubtype="0" fill="hold" nodeType="afterEffect">
                                  <p:stCondLst>
                                    <p:cond delay="0"/>
                                  </p:stCondLst>
                                  <p:childTnLst>
                                    <p:set>
                                      <p:cBhvr>
                                        <p:cTn id="73" dur="1" fill="hold">
                                          <p:stCondLst>
                                            <p:cond delay="0"/>
                                          </p:stCondLst>
                                        </p:cTn>
                                        <p:tgtEl>
                                          <p:spTgt spid="65"/>
                                        </p:tgtEl>
                                        <p:attrNameLst>
                                          <p:attrName>style.visibility</p:attrName>
                                        </p:attrNameLst>
                                      </p:cBhvr>
                                      <p:to>
                                        <p:strVal val="visible"/>
                                      </p:to>
                                    </p:set>
                                  </p:childTnLst>
                                </p:cTn>
                              </p:par>
                            </p:childTnLst>
                          </p:cTn>
                        </p:par>
                        <p:par>
                          <p:cTn id="74" fill="hold">
                            <p:stCondLst>
                              <p:cond delay="2500"/>
                            </p:stCondLst>
                            <p:childTnLst>
                              <p:par>
                                <p:cTn id="75" presetID="1" presetClass="entr" presetSubtype="0" fill="hold" grpId="0" nodeType="after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47" grpId="0" animBg="1"/>
      <p:bldP spid="48" grpId="0"/>
      <p:bldP spid="50" grpId="0"/>
      <p:bldP spid="51" grpId="0" animBg="1"/>
      <p:bldP spid="52" grpId="0"/>
      <p:bldP spid="5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0AB19F6-67D1-4B8A-815E-E7206DF81785}"/>
              </a:ext>
            </a:extLst>
          </p:cNvPr>
          <p:cNvPicPr>
            <a:picLocks noChangeAspect="1"/>
          </p:cNvPicPr>
          <p:nvPr/>
        </p:nvPicPr>
        <p:blipFill rotWithShape="1">
          <a:blip r:embed="rId3"/>
          <a:srcRect l="18381"/>
          <a:stretch/>
        </p:blipFill>
        <p:spPr>
          <a:xfrm>
            <a:off x="0" y="2742187"/>
            <a:ext cx="13439775" cy="4238254"/>
          </a:xfrm>
          <a:prstGeom prst="rect">
            <a:avLst/>
          </a:prstGeom>
        </p:spPr>
      </p:pic>
      <p:graphicFrame>
        <p:nvGraphicFramePr>
          <p:cNvPr id="2" name="Table 1">
            <a:extLst>
              <a:ext uri="{FF2B5EF4-FFF2-40B4-BE49-F238E27FC236}">
                <a16:creationId xmlns:a16="http://schemas.microsoft.com/office/drawing/2014/main" id="{358248BD-79CE-4F82-B30D-5DFCEBC6AFEF}"/>
              </a:ext>
            </a:extLst>
          </p:cNvPr>
          <p:cNvGraphicFramePr>
            <a:graphicFrameLocks noGrp="1"/>
          </p:cNvGraphicFramePr>
          <p:nvPr>
            <p:extLst>
              <p:ext uri="{D42A27DB-BD31-4B8C-83A1-F6EECF244321}">
                <p14:modId xmlns:p14="http://schemas.microsoft.com/office/powerpoint/2010/main" val="1590794478"/>
              </p:ext>
            </p:extLst>
          </p:nvPr>
        </p:nvGraphicFramePr>
        <p:xfrm>
          <a:off x="355346" y="1106871"/>
          <a:ext cx="12814667" cy="6074803"/>
        </p:xfrm>
        <a:graphic>
          <a:graphicData uri="http://schemas.openxmlformats.org/drawingml/2006/table">
            <a:tbl>
              <a:tblPr firstRow="1" firstCol="1" bandRow="1">
                <a:tableStyleId>{2D5ABB26-0587-4C30-8999-92F81FD0307C}</a:tableStyleId>
              </a:tblPr>
              <a:tblGrid>
                <a:gridCol w="2975314">
                  <a:extLst>
                    <a:ext uri="{9D8B030D-6E8A-4147-A177-3AD203B41FA5}">
                      <a16:colId xmlns:a16="http://schemas.microsoft.com/office/drawing/2014/main" val="790164979"/>
                    </a:ext>
                  </a:extLst>
                </a:gridCol>
                <a:gridCol w="255813">
                  <a:extLst>
                    <a:ext uri="{9D8B030D-6E8A-4147-A177-3AD203B41FA5}">
                      <a16:colId xmlns:a16="http://schemas.microsoft.com/office/drawing/2014/main" val="4149768789"/>
                    </a:ext>
                  </a:extLst>
                </a:gridCol>
                <a:gridCol w="475299">
                  <a:extLst>
                    <a:ext uri="{9D8B030D-6E8A-4147-A177-3AD203B41FA5}">
                      <a16:colId xmlns:a16="http://schemas.microsoft.com/office/drawing/2014/main" val="1705034849"/>
                    </a:ext>
                  </a:extLst>
                </a:gridCol>
                <a:gridCol w="476408">
                  <a:extLst>
                    <a:ext uri="{9D8B030D-6E8A-4147-A177-3AD203B41FA5}">
                      <a16:colId xmlns:a16="http://schemas.microsoft.com/office/drawing/2014/main" val="1983343248"/>
                    </a:ext>
                  </a:extLst>
                </a:gridCol>
                <a:gridCol w="476408">
                  <a:extLst>
                    <a:ext uri="{9D8B030D-6E8A-4147-A177-3AD203B41FA5}">
                      <a16:colId xmlns:a16="http://schemas.microsoft.com/office/drawing/2014/main" val="2723491957"/>
                    </a:ext>
                  </a:extLst>
                </a:gridCol>
                <a:gridCol w="475299">
                  <a:extLst>
                    <a:ext uri="{9D8B030D-6E8A-4147-A177-3AD203B41FA5}">
                      <a16:colId xmlns:a16="http://schemas.microsoft.com/office/drawing/2014/main" val="533145934"/>
                    </a:ext>
                  </a:extLst>
                </a:gridCol>
                <a:gridCol w="475299">
                  <a:extLst>
                    <a:ext uri="{9D8B030D-6E8A-4147-A177-3AD203B41FA5}">
                      <a16:colId xmlns:a16="http://schemas.microsoft.com/office/drawing/2014/main" val="1145144210"/>
                    </a:ext>
                  </a:extLst>
                </a:gridCol>
                <a:gridCol w="476408">
                  <a:extLst>
                    <a:ext uri="{9D8B030D-6E8A-4147-A177-3AD203B41FA5}">
                      <a16:colId xmlns:a16="http://schemas.microsoft.com/office/drawing/2014/main" val="289003921"/>
                    </a:ext>
                  </a:extLst>
                </a:gridCol>
                <a:gridCol w="476408">
                  <a:extLst>
                    <a:ext uri="{9D8B030D-6E8A-4147-A177-3AD203B41FA5}">
                      <a16:colId xmlns:a16="http://schemas.microsoft.com/office/drawing/2014/main" val="1465107890"/>
                    </a:ext>
                  </a:extLst>
                </a:gridCol>
                <a:gridCol w="475299">
                  <a:extLst>
                    <a:ext uri="{9D8B030D-6E8A-4147-A177-3AD203B41FA5}">
                      <a16:colId xmlns:a16="http://schemas.microsoft.com/office/drawing/2014/main" val="245964768"/>
                    </a:ext>
                  </a:extLst>
                </a:gridCol>
                <a:gridCol w="475299">
                  <a:extLst>
                    <a:ext uri="{9D8B030D-6E8A-4147-A177-3AD203B41FA5}">
                      <a16:colId xmlns:a16="http://schemas.microsoft.com/office/drawing/2014/main" val="3354474074"/>
                    </a:ext>
                  </a:extLst>
                </a:gridCol>
                <a:gridCol w="476408">
                  <a:extLst>
                    <a:ext uri="{9D8B030D-6E8A-4147-A177-3AD203B41FA5}">
                      <a16:colId xmlns:a16="http://schemas.microsoft.com/office/drawing/2014/main" val="4121153049"/>
                    </a:ext>
                  </a:extLst>
                </a:gridCol>
                <a:gridCol w="476408">
                  <a:extLst>
                    <a:ext uri="{9D8B030D-6E8A-4147-A177-3AD203B41FA5}">
                      <a16:colId xmlns:a16="http://schemas.microsoft.com/office/drawing/2014/main" val="2068527548"/>
                    </a:ext>
                  </a:extLst>
                </a:gridCol>
                <a:gridCol w="467550">
                  <a:extLst>
                    <a:ext uri="{9D8B030D-6E8A-4147-A177-3AD203B41FA5}">
                      <a16:colId xmlns:a16="http://schemas.microsoft.com/office/drawing/2014/main" val="231857339"/>
                    </a:ext>
                  </a:extLst>
                </a:gridCol>
                <a:gridCol w="475299">
                  <a:extLst>
                    <a:ext uri="{9D8B030D-6E8A-4147-A177-3AD203B41FA5}">
                      <a16:colId xmlns:a16="http://schemas.microsoft.com/office/drawing/2014/main" val="3596033007"/>
                    </a:ext>
                  </a:extLst>
                </a:gridCol>
                <a:gridCol w="475299">
                  <a:extLst>
                    <a:ext uri="{9D8B030D-6E8A-4147-A177-3AD203B41FA5}">
                      <a16:colId xmlns:a16="http://schemas.microsoft.com/office/drawing/2014/main" val="2767201701"/>
                    </a:ext>
                  </a:extLst>
                </a:gridCol>
                <a:gridCol w="476408">
                  <a:extLst>
                    <a:ext uri="{9D8B030D-6E8A-4147-A177-3AD203B41FA5}">
                      <a16:colId xmlns:a16="http://schemas.microsoft.com/office/drawing/2014/main" val="2415071567"/>
                    </a:ext>
                  </a:extLst>
                </a:gridCol>
                <a:gridCol w="512963">
                  <a:extLst>
                    <a:ext uri="{9D8B030D-6E8A-4147-A177-3AD203B41FA5}">
                      <a16:colId xmlns:a16="http://schemas.microsoft.com/office/drawing/2014/main" val="2648709462"/>
                    </a:ext>
                  </a:extLst>
                </a:gridCol>
                <a:gridCol w="512963">
                  <a:extLst>
                    <a:ext uri="{9D8B030D-6E8A-4147-A177-3AD203B41FA5}">
                      <a16:colId xmlns:a16="http://schemas.microsoft.com/office/drawing/2014/main" val="1173430426"/>
                    </a:ext>
                  </a:extLst>
                </a:gridCol>
                <a:gridCol w="475299">
                  <a:extLst>
                    <a:ext uri="{9D8B030D-6E8A-4147-A177-3AD203B41FA5}">
                      <a16:colId xmlns:a16="http://schemas.microsoft.com/office/drawing/2014/main" val="636328122"/>
                    </a:ext>
                  </a:extLst>
                </a:gridCol>
                <a:gridCol w="476408">
                  <a:extLst>
                    <a:ext uri="{9D8B030D-6E8A-4147-A177-3AD203B41FA5}">
                      <a16:colId xmlns:a16="http://schemas.microsoft.com/office/drawing/2014/main" val="1818083345"/>
                    </a:ext>
                  </a:extLst>
                </a:gridCol>
                <a:gridCol w="476408">
                  <a:extLst>
                    <a:ext uri="{9D8B030D-6E8A-4147-A177-3AD203B41FA5}">
                      <a16:colId xmlns:a16="http://schemas.microsoft.com/office/drawing/2014/main" val="240597784"/>
                    </a:ext>
                  </a:extLst>
                </a:gridCol>
              </a:tblGrid>
              <a:tr h="213347">
                <a:tc rowSpan="2">
                  <a:txBody>
                    <a:bodyPr/>
                    <a:lstStyle/>
                    <a:p>
                      <a:pPr algn="ctr">
                        <a:lnSpc>
                          <a:spcPct val="150000"/>
                        </a:lnSpc>
                        <a:spcAft>
                          <a:spcPts val="600"/>
                        </a:spcAft>
                      </a:pPr>
                      <a:r>
                        <a:rPr lang="fr-FR" sz="1400" b="1" dirty="0">
                          <a:solidFill>
                            <a:schemeClr val="accent3">
                              <a:lumMod val="50000"/>
                            </a:schemeClr>
                          </a:solidFill>
                          <a:effectLst/>
                        </a:rPr>
                        <a:t>Phases du projet</a:t>
                      </a:r>
                      <a:endParaRPr lang="fr-FR" sz="14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nchor="ctr">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gridSpan="4">
                  <a:txBody>
                    <a:bodyPr/>
                    <a:lstStyle/>
                    <a:p>
                      <a:pPr algn="ctr">
                        <a:lnSpc>
                          <a:spcPct val="150000"/>
                        </a:lnSpc>
                        <a:spcAft>
                          <a:spcPts val="600"/>
                        </a:spcAft>
                      </a:pPr>
                      <a:r>
                        <a:rPr lang="fr-FR" sz="1200" b="1">
                          <a:effectLst/>
                        </a:rPr>
                        <a:t>Février</a:t>
                      </a:r>
                      <a:endParaRPr lang="fr-FR" sz="1100" b="1">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a:lnSpc>
                          <a:spcPct val="150000"/>
                        </a:lnSpc>
                        <a:spcAft>
                          <a:spcPts val="600"/>
                        </a:spcAft>
                      </a:pPr>
                      <a:r>
                        <a:rPr lang="fr-FR" sz="1200" b="1">
                          <a:effectLst/>
                        </a:rPr>
                        <a:t>Mars</a:t>
                      </a:r>
                      <a:endParaRPr lang="fr-FR" sz="1200" b="1">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a:lnSpc>
                          <a:spcPct val="150000"/>
                        </a:lnSpc>
                        <a:spcAft>
                          <a:spcPts val="600"/>
                        </a:spcAft>
                      </a:pPr>
                      <a:r>
                        <a:rPr lang="fr-FR" sz="1200" b="1">
                          <a:effectLst/>
                        </a:rPr>
                        <a:t>Avril</a:t>
                      </a:r>
                      <a:endParaRPr lang="fr-FR" sz="1200" b="1">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fr-FR"/>
                    </a:p>
                  </a:txBody>
                  <a:tcPr/>
                </a:tc>
                <a:tc hMerge="1">
                  <a:txBody>
                    <a:bodyPr/>
                    <a:lstStyle/>
                    <a:p>
                      <a:endParaRPr lang="fr-FR"/>
                    </a:p>
                  </a:txBody>
                  <a:tcPr/>
                </a:tc>
                <a:tc hMerge="1">
                  <a:txBody>
                    <a:bodyPr/>
                    <a:lstStyle/>
                    <a:p>
                      <a:endParaRPr lang="fr-FR"/>
                    </a:p>
                  </a:txBody>
                  <a:tcPr/>
                </a:tc>
                <a:tc gridSpan="5">
                  <a:txBody>
                    <a:bodyPr/>
                    <a:lstStyle/>
                    <a:p>
                      <a:pPr algn="ctr">
                        <a:lnSpc>
                          <a:spcPct val="150000"/>
                        </a:lnSpc>
                        <a:spcAft>
                          <a:spcPts val="600"/>
                        </a:spcAft>
                      </a:pPr>
                      <a:r>
                        <a:rPr lang="fr-FR" sz="1200" b="1">
                          <a:effectLst/>
                        </a:rPr>
                        <a:t>Mai</a:t>
                      </a:r>
                      <a:endParaRPr lang="fr-FR" sz="1200" b="1">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p>
                      <a:pPr algn="ctr">
                        <a:lnSpc>
                          <a:spcPct val="150000"/>
                        </a:lnSpc>
                        <a:spcAft>
                          <a:spcPts val="600"/>
                        </a:spcAft>
                      </a:pPr>
                      <a:r>
                        <a:rPr lang="fr-FR" sz="1200" b="1">
                          <a:effectLst/>
                        </a:rPr>
                        <a:t>Juin</a:t>
                      </a:r>
                      <a:endParaRPr lang="fr-FR" sz="1200" b="1">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932811167"/>
                  </a:ext>
                </a:extLst>
              </a:tr>
              <a:tr h="257987">
                <a:tc vMerge="1">
                  <a:txBody>
                    <a:bodyPr/>
                    <a:lstStyle/>
                    <a:p>
                      <a:endParaRPr lang="fr-FR"/>
                    </a:p>
                  </a:txBody>
                  <a:tcPr/>
                </a:tc>
                <a:tc>
                  <a:txBody>
                    <a:bodyPr/>
                    <a:lstStyle/>
                    <a:p>
                      <a:pPr algn="just">
                        <a:lnSpc>
                          <a:spcPct val="150000"/>
                        </a:lnSpc>
                        <a:spcAft>
                          <a:spcPts val="600"/>
                        </a:spcAft>
                      </a:pPr>
                      <a:r>
                        <a:rPr lang="fr-FR" sz="800">
                          <a:effectLst/>
                        </a:rPr>
                        <a:t>6</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13</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a:effectLst/>
                        </a:rPr>
                        <a:t>20</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27</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6</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13</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a:effectLst/>
                        </a:rPr>
                        <a:t>20</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27</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3</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a:effectLst/>
                        </a:rPr>
                        <a:t>10</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17</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a:effectLst/>
                        </a:rPr>
                        <a:t>24</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1</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a:effectLst/>
                        </a:rPr>
                        <a:t>8</a:t>
                      </a:r>
                      <a:endParaRPr lang="fr-FR" sz="9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15</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22</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29</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5</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12</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19</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lnB w="3175" cap="flat" cmpd="sng" algn="ctr">
                      <a:solidFill>
                        <a:schemeClr val="tx1"/>
                      </a:solidFill>
                      <a:prstDash val="solid"/>
                      <a:round/>
                      <a:headEnd type="none" w="med" len="med"/>
                      <a:tailEnd type="none" w="med" len="med"/>
                    </a:lnB>
                  </a:tcPr>
                </a:tc>
                <a:tc>
                  <a:txBody>
                    <a:bodyPr/>
                    <a:lstStyle/>
                    <a:p>
                      <a:pPr algn="just">
                        <a:lnSpc>
                          <a:spcPct val="150000"/>
                        </a:lnSpc>
                        <a:spcAft>
                          <a:spcPts val="600"/>
                        </a:spcAft>
                      </a:pPr>
                      <a:r>
                        <a:rPr lang="fr-FR" sz="800" dirty="0">
                          <a:effectLst/>
                        </a:rPr>
                        <a:t>26</a:t>
                      </a:r>
                      <a:endParaRPr lang="fr-F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1251430"/>
                  </a:ext>
                </a:extLst>
              </a:tr>
              <a:tr h="44030">
                <a:tc>
                  <a:txBody>
                    <a:bodyPr/>
                    <a:lstStyle/>
                    <a:p>
                      <a:pPr algn="ctr">
                        <a:lnSpc>
                          <a:spcPct val="150000"/>
                        </a:lnSpc>
                        <a:spcAft>
                          <a:spcPts val="600"/>
                        </a:spcAft>
                      </a:pPr>
                      <a:r>
                        <a:rPr lang="fr-FR" sz="1600">
                          <a:effectLst/>
                        </a:rPr>
                        <a:t>Phase 1 : Intégration et formations</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09123515"/>
                  </a:ext>
                </a:extLst>
              </a:tr>
              <a:tr h="0">
                <a:tc>
                  <a:txBody>
                    <a:bodyPr/>
                    <a:lstStyle/>
                    <a:p>
                      <a:pPr algn="l">
                        <a:lnSpc>
                          <a:spcPct val="150000"/>
                        </a:lnSpc>
                        <a:spcAft>
                          <a:spcPts val="600"/>
                        </a:spcAft>
                      </a:pPr>
                      <a:r>
                        <a:rPr lang="fr-FR" sz="1200" b="0">
                          <a:effectLst/>
                        </a:rPr>
                        <a:t>Formation d’intégration Deloitte</a:t>
                      </a:r>
                      <a:endParaRPr lang="fr-FR" sz="1200" b="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gridSpan="3">
                  <a:txBody>
                    <a:bodyPr/>
                    <a:lstStyle/>
                    <a:p>
                      <a:pPr algn="just">
                        <a:lnSpc>
                          <a:spcPct val="150000"/>
                        </a:lnSpc>
                        <a:spcAft>
                          <a:spcPts val="600"/>
                        </a:spcAft>
                      </a:pPr>
                      <a:r>
                        <a:rPr lang="fr-FR" sz="800">
                          <a:effectLst/>
                        </a:rPr>
                        <a:t> </a:t>
                      </a:r>
                    </a:p>
                  </a:txBody>
                  <a:tcPr marL="45991" marR="45991" marT="0" marB="0">
                    <a:lnL w="3175" cap="flat" cmpd="sng" algn="ctr">
                      <a:solidFill>
                        <a:schemeClr val="tx1"/>
                      </a:solidFill>
                      <a:prstDash val="solid"/>
                      <a:round/>
                      <a:headEnd type="none" w="med" len="med"/>
                      <a:tailEnd type="none" w="med" len="med"/>
                    </a:lnL>
                    <a:lnR>
                      <a:noFill/>
                    </a:lnR>
                    <a:lnT>
                      <a:noFill/>
                    </a:lnT>
                    <a:solidFill>
                      <a:schemeClr val="accent2">
                        <a:lumMod val="40000"/>
                        <a:lumOff val="60000"/>
                      </a:schemeClr>
                    </a:solidFill>
                  </a:tcPr>
                </a:tc>
                <a:tc hMerge="1">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gradFill flip="none" rotWithShape="1">
                      <a:gsLst>
                        <a:gs pos="32000">
                          <a:schemeClr val="accent2"/>
                        </a:gs>
                        <a:gs pos="81000">
                          <a:srgbClr val="046A38">
                            <a:tint val="23500"/>
                            <a:satMod val="160000"/>
                          </a:srgbClr>
                        </a:gs>
                      </a:gsLst>
                      <a:path path="shape">
                        <a:fillToRect l="50000" t="50000" r="50000" b="50000"/>
                      </a:path>
                      <a:tileRect/>
                    </a:gradFill>
                  </a:tcPr>
                </a:tc>
                <a:tc hMerge="1">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gradFill flip="none" rotWithShape="1">
                      <a:gsLst>
                        <a:gs pos="32000">
                          <a:schemeClr val="accent2"/>
                        </a:gs>
                        <a:gs pos="81000">
                          <a:srgbClr val="046A38">
                            <a:tint val="23500"/>
                            <a:satMod val="160000"/>
                          </a:srgbClr>
                        </a:gs>
                      </a:gsLst>
                      <a:path path="shape">
                        <a:fillToRect l="50000" t="50000" r="50000" b="50000"/>
                      </a:path>
                      <a:tileRect/>
                    </a:gra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533673802"/>
                  </a:ext>
                </a:extLst>
              </a:tr>
              <a:tr h="463053">
                <a:tc>
                  <a:txBody>
                    <a:bodyPr/>
                    <a:lstStyle/>
                    <a:p>
                      <a:pPr algn="l">
                        <a:lnSpc>
                          <a:spcPct val="150000"/>
                        </a:lnSpc>
                        <a:spcAft>
                          <a:spcPts val="600"/>
                        </a:spcAft>
                      </a:pPr>
                      <a:r>
                        <a:rPr lang="fr-FR" sz="1200" b="0" dirty="0">
                          <a:effectLst/>
                        </a:rPr>
                        <a:t>Formations cybersécurité sur les plateformes digitales Deloitte </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635711031"/>
                  </a:ext>
                </a:extLst>
              </a:tr>
              <a:tr h="246783">
                <a:tc>
                  <a:txBody>
                    <a:bodyPr/>
                    <a:lstStyle/>
                    <a:p>
                      <a:pPr algn="ctr">
                        <a:lnSpc>
                          <a:spcPct val="150000"/>
                        </a:lnSpc>
                        <a:spcAft>
                          <a:spcPts val="600"/>
                        </a:spcAft>
                      </a:pPr>
                      <a:r>
                        <a:rPr lang="fr-FR" sz="1600">
                          <a:effectLst/>
                        </a:rPr>
                        <a:t>Phase 2 : Contexte et planification</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84645802"/>
                  </a:ext>
                </a:extLst>
              </a:tr>
              <a:tr h="157717">
                <a:tc>
                  <a:txBody>
                    <a:bodyPr/>
                    <a:lstStyle/>
                    <a:p>
                      <a:pPr algn="l">
                        <a:lnSpc>
                          <a:spcPct val="150000"/>
                        </a:lnSpc>
                        <a:spcAft>
                          <a:spcPts val="600"/>
                        </a:spcAft>
                      </a:pPr>
                      <a:r>
                        <a:rPr lang="fr-FR" sz="1200" b="0" dirty="0">
                          <a:effectLst/>
                        </a:rPr>
                        <a:t>Compréhension du contexte</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T>
                      <a:noFill/>
                    </a:lnT>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661080970"/>
                  </a:ext>
                </a:extLst>
              </a:tr>
              <a:tr h="218924">
                <a:tc>
                  <a:txBody>
                    <a:bodyPr/>
                    <a:lstStyle/>
                    <a:p>
                      <a:pPr algn="l">
                        <a:lnSpc>
                          <a:spcPct val="150000"/>
                        </a:lnSpc>
                        <a:spcAft>
                          <a:spcPts val="600"/>
                        </a:spcAft>
                      </a:pPr>
                      <a:r>
                        <a:rPr lang="fr-FR" sz="1200" b="0">
                          <a:effectLst/>
                        </a:rPr>
                        <a:t>Etat d’art du projet </a:t>
                      </a:r>
                      <a:endParaRPr lang="fr-FR" sz="1200" b="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w="317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extLst>
                  <a:ext uri="{0D108BD9-81ED-4DB2-BD59-A6C34878D82A}">
                    <a16:rowId xmlns:a16="http://schemas.microsoft.com/office/drawing/2014/main" val="3603174728"/>
                  </a:ext>
                </a:extLst>
              </a:tr>
              <a:tr h="246783">
                <a:tc>
                  <a:txBody>
                    <a:bodyPr/>
                    <a:lstStyle/>
                    <a:p>
                      <a:pPr algn="ctr">
                        <a:lnSpc>
                          <a:spcPct val="150000"/>
                        </a:lnSpc>
                        <a:spcAft>
                          <a:spcPts val="600"/>
                        </a:spcAft>
                      </a:pPr>
                      <a:r>
                        <a:rPr lang="fr-FR" sz="1600">
                          <a:effectLst/>
                        </a:rPr>
                        <a:t>Phase 3 : Documentation</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644847315"/>
                  </a:ext>
                </a:extLst>
              </a:tr>
              <a:tr h="198475">
                <a:tc>
                  <a:txBody>
                    <a:bodyPr/>
                    <a:lstStyle/>
                    <a:p>
                      <a:pPr algn="just">
                        <a:lnSpc>
                          <a:spcPct val="150000"/>
                        </a:lnSpc>
                        <a:spcAft>
                          <a:spcPts val="600"/>
                        </a:spcAft>
                      </a:pPr>
                      <a:r>
                        <a:rPr lang="fr-FR" sz="1200" b="0">
                          <a:effectLst/>
                        </a:rPr>
                        <a:t>ISO 27001</a:t>
                      </a:r>
                      <a:endParaRPr lang="fr-FR" sz="1200" b="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T>
                      <a:noFill/>
                    </a:lnT>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209599677"/>
                  </a:ext>
                </a:extLst>
              </a:tr>
              <a:tr h="135328">
                <a:tc>
                  <a:txBody>
                    <a:bodyPr/>
                    <a:lstStyle/>
                    <a:p>
                      <a:pPr algn="just">
                        <a:lnSpc>
                          <a:spcPct val="150000"/>
                        </a:lnSpc>
                        <a:spcAft>
                          <a:spcPts val="600"/>
                        </a:spcAft>
                      </a:pPr>
                      <a:r>
                        <a:rPr lang="fr-FR" sz="1200" b="0" dirty="0">
                          <a:effectLst/>
                          <a:latin typeface="Calibri" panose="020F0502020204030204" pitchFamily="34" charset="0"/>
                          <a:ea typeface="Calibri" panose="020F0502020204030204" pitchFamily="34" charset="0"/>
                          <a:cs typeface="Times New Roman" panose="02020603050405020304" pitchFamily="18" charset="0"/>
                        </a:rPr>
                        <a:t>COBIT 2019</a:t>
                      </a: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82345189"/>
                  </a:ext>
                </a:extLst>
              </a:tr>
              <a:tr h="103006">
                <a:tc>
                  <a:txBody>
                    <a:bodyPr/>
                    <a:lstStyle/>
                    <a:p>
                      <a:pPr algn="just">
                        <a:lnSpc>
                          <a:spcPct val="150000"/>
                        </a:lnSpc>
                        <a:spcAft>
                          <a:spcPts val="600"/>
                        </a:spcAft>
                      </a:pPr>
                      <a:r>
                        <a:rPr lang="fr-FR" sz="1200" b="0">
                          <a:effectLst/>
                        </a:rPr>
                        <a:t>ISO 27002</a:t>
                      </a:r>
                      <a:endParaRPr lang="fr-FR" sz="1200" b="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98550772"/>
                  </a:ext>
                </a:extLst>
              </a:tr>
              <a:tr h="218924">
                <a:tc>
                  <a:txBody>
                    <a:bodyPr/>
                    <a:lstStyle/>
                    <a:p>
                      <a:pPr algn="just">
                        <a:lnSpc>
                          <a:spcPct val="150000"/>
                        </a:lnSpc>
                        <a:spcAft>
                          <a:spcPts val="600"/>
                        </a:spcAft>
                      </a:pPr>
                      <a:r>
                        <a:rPr lang="fr-FR" sz="1200" b="0">
                          <a:effectLst/>
                        </a:rPr>
                        <a:t>NIST SP800-53</a:t>
                      </a:r>
                      <a:endParaRPr lang="fr-FR" sz="1200" b="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w="317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extLst>
                  <a:ext uri="{0D108BD9-81ED-4DB2-BD59-A6C34878D82A}">
                    <a16:rowId xmlns:a16="http://schemas.microsoft.com/office/drawing/2014/main" val="2453781734"/>
                  </a:ext>
                </a:extLst>
              </a:tr>
              <a:tr h="246783">
                <a:tc>
                  <a:txBody>
                    <a:bodyPr/>
                    <a:lstStyle/>
                    <a:p>
                      <a:pPr algn="ctr">
                        <a:lnSpc>
                          <a:spcPct val="150000"/>
                        </a:lnSpc>
                        <a:spcAft>
                          <a:spcPts val="600"/>
                        </a:spcAft>
                      </a:pPr>
                      <a:r>
                        <a:rPr lang="fr-FR" sz="1600" dirty="0">
                          <a:effectLst/>
                        </a:rPr>
                        <a:t>Phase 4 : Réalisation du toolkit</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a:noFill/>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99632656"/>
                  </a:ext>
                </a:extLst>
              </a:tr>
              <a:tr h="218924">
                <a:tc>
                  <a:txBody>
                    <a:bodyPr/>
                    <a:lstStyle/>
                    <a:p>
                      <a:pPr algn="l">
                        <a:lnSpc>
                          <a:spcPct val="150000"/>
                        </a:lnSpc>
                        <a:spcAft>
                          <a:spcPts val="600"/>
                        </a:spcAft>
                      </a:pPr>
                      <a:r>
                        <a:rPr lang="fr-FR" sz="1200" b="0" dirty="0">
                          <a:effectLst/>
                        </a:rPr>
                        <a:t>Version draft de l’approche</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w="3175" cap="flat" cmpd="sng" algn="ctr">
                      <a:noFill/>
                      <a:prstDash val="sysDot"/>
                      <a:round/>
                      <a:headEnd type="none" w="med" len="med"/>
                      <a:tailEnd type="none" w="med" len="med"/>
                    </a:lnT>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w="3175" cap="flat" cmpd="sng" algn="ctr">
                      <a:noFill/>
                      <a:prstDash val="sysDot"/>
                      <a:round/>
                      <a:headEnd type="none" w="med" len="med"/>
                      <a:tailEnd type="none" w="med" len="med"/>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w="3175" cap="flat" cmpd="sng" algn="ctr">
                      <a:noFill/>
                      <a:prstDash val="sysDot"/>
                      <a:round/>
                      <a:headEnd type="none" w="med" len="med"/>
                      <a:tailEnd type="none" w="med" len="med"/>
                    </a:lnT>
                  </a:tcPr>
                </a:tc>
                <a:extLst>
                  <a:ext uri="{0D108BD9-81ED-4DB2-BD59-A6C34878D82A}">
                    <a16:rowId xmlns:a16="http://schemas.microsoft.com/office/drawing/2014/main" val="1086580907"/>
                  </a:ext>
                </a:extLst>
              </a:tr>
              <a:tr h="218924">
                <a:tc>
                  <a:txBody>
                    <a:bodyPr/>
                    <a:lstStyle/>
                    <a:p>
                      <a:pPr algn="l">
                        <a:lnSpc>
                          <a:spcPct val="150000"/>
                        </a:lnSpc>
                        <a:spcAft>
                          <a:spcPts val="600"/>
                        </a:spcAft>
                      </a:pPr>
                      <a:r>
                        <a:rPr lang="fr-FR" sz="1200" b="0" dirty="0">
                          <a:effectLst/>
                        </a:rPr>
                        <a:t>Définition des services</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078771726"/>
                  </a:ext>
                </a:extLst>
              </a:tr>
              <a:tr h="150949">
                <a:tc>
                  <a:txBody>
                    <a:bodyPr/>
                    <a:lstStyle/>
                    <a:p>
                      <a:pPr algn="l">
                        <a:lnSpc>
                          <a:spcPct val="150000"/>
                        </a:lnSpc>
                        <a:spcAft>
                          <a:spcPts val="600"/>
                        </a:spcAft>
                      </a:pPr>
                      <a:r>
                        <a:rPr lang="fr-FR" sz="1200" b="0" dirty="0">
                          <a:effectLst/>
                        </a:rPr>
                        <a:t>Définition des catégories et sous catégories </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05071214"/>
                  </a:ext>
                </a:extLst>
              </a:tr>
              <a:tr h="247907">
                <a:tc>
                  <a:txBody>
                    <a:bodyPr/>
                    <a:lstStyle/>
                    <a:p>
                      <a:pPr algn="l">
                        <a:lnSpc>
                          <a:spcPct val="150000"/>
                        </a:lnSpc>
                        <a:spcAft>
                          <a:spcPts val="600"/>
                        </a:spcAft>
                      </a:pPr>
                      <a:r>
                        <a:rPr lang="fr-FR" sz="1200" b="0" dirty="0">
                          <a:effectLst/>
                        </a:rPr>
                        <a:t>Définition des contrôles, description et questions</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728740145"/>
                  </a:ext>
                </a:extLst>
              </a:tr>
              <a:tr h="218924">
                <a:tc>
                  <a:txBody>
                    <a:bodyPr/>
                    <a:lstStyle/>
                    <a:p>
                      <a:pPr marL="0" marR="0" lvl="0" indent="0" algn="l" defTabSz="1481485" rtl="0" eaLnBrk="1" fontAlgn="auto" latinLnBrk="0" hangingPunct="1">
                        <a:lnSpc>
                          <a:spcPct val="150000"/>
                        </a:lnSpc>
                        <a:spcBef>
                          <a:spcPts val="0"/>
                        </a:spcBef>
                        <a:spcAft>
                          <a:spcPts val="600"/>
                        </a:spcAft>
                        <a:buClrTx/>
                        <a:buSzTx/>
                        <a:buFontTx/>
                        <a:buNone/>
                        <a:tabLst/>
                        <a:defRPr/>
                      </a:pPr>
                      <a:r>
                        <a:rPr lang="fr-FR" sz="1200" b="0" dirty="0">
                          <a:effectLst/>
                        </a:rPr>
                        <a:t>Mapping vers les normes et Framework</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47658867"/>
                  </a:ext>
                </a:extLst>
              </a:tr>
              <a:tr h="265751">
                <a:tc>
                  <a:txBody>
                    <a:bodyPr/>
                    <a:lstStyle/>
                    <a:p>
                      <a:pPr marL="0" marR="0" lvl="0" indent="0" algn="l" defTabSz="1481485" rtl="0" eaLnBrk="1" fontAlgn="auto" latinLnBrk="0" hangingPunct="1">
                        <a:lnSpc>
                          <a:spcPct val="150000"/>
                        </a:lnSpc>
                        <a:spcBef>
                          <a:spcPts val="0"/>
                        </a:spcBef>
                        <a:spcAft>
                          <a:spcPts val="600"/>
                        </a:spcAft>
                        <a:buClrTx/>
                        <a:buSzTx/>
                        <a:buFontTx/>
                        <a:buNone/>
                        <a:tabLst/>
                        <a:defRPr/>
                      </a:pPr>
                      <a:r>
                        <a:rPr lang="fr-FR" sz="1200" b="0" dirty="0">
                          <a:effectLst/>
                        </a:rPr>
                        <a:t>Définition des use cases</a:t>
                      </a:r>
                      <a:endParaRPr lang="fr-FR"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w="317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solidFill>
                      <a:schemeClr val="accent2">
                        <a:lumMod val="40000"/>
                        <a:lumOff val="60000"/>
                      </a:schemeClr>
                    </a:solidFill>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B w="3175" cap="flat" cmpd="sng" algn="ctr">
                      <a:noFill/>
                      <a:prstDash val="sysDot"/>
                      <a:round/>
                      <a:headEnd type="none" w="med" len="med"/>
                      <a:tailEnd type="none" w="med" len="med"/>
                    </a:lnB>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B w="3175" cap="flat" cmpd="sng" algn="ctr">
                      <a:noFill/>
                      <a:prstDash val="sysDot"/>
                      <a:round/>
                      <a:headEnd type="none" w="med" len="med"/>
                      <a:tailEnd type="none" w="med" len="med"/>
                    </a:lnB>
                  </a:tcPr>
                </a:tc>
                <a:extLst>
                  <a:ext uri="{0D108BD9-81ED-4DB2-BD59-A6C34878D82A}">
                    <a16:rowId xmlns:a16="http://schemas.microsoft.com/office/drawing/2014/main" val="774197265"/>
                  </a:ext>
                </a:extLst>
              </a:tr>
              <a:tr h="246783">
                <a:tc>
                  <a:txBody>
                    <a:bodyPr/>
                    <a:lstStyle/>
                    <a:p>
                      <a:pPr algn="just">
                        <a:lnSpc>
                          <a:spcPct val="150000"/>
                        </a:lnSpc>
                        <a:spcAft>
                          <a:spcPts val="600"/>
                        </a:spcAft>
                      </a:pPr>
                      <a:r>
                        <a:rPr lang="fr-FR" sz="1200" dirty="0">
                          <a:effectLst/>
                        </a:rPr>
                        <a:t> </a:t>
                      </a:r>
                      <a:endParaRPr lang="fr-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a:noFill/>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L w="3175" cap="flat" cmpd="sng" algn="ctr">
                      <a:solidFill>
                        <a:schemeClr val="tx1"/>
                      </a:solidFill>
                      <a:prstDash val="solid"/>
                      <a:round/>
                      <a:headEnd type="none" w="med" len="med"/>
                      <a:tailEnd type="none" w="med" len="med"/>
                    </a:lnL>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a:effectLst/>
                        </a:rPr>
                        <a:t> </a:t>
                      </a:r>
                      <a:endParaRPr lang="fr-FR" sz="80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T>
                      <a:noFill/>
                    </a:lnT>
                  </a:tcPr>
                </a:tc>
                <a:tc>
                  <a:txBody>
                    <a:bodyPr/>
                    <a:lstStyle/>
                    <a:p>
                      <a:pPr algn="just">
                        <a:lnSpc>
                          <a:spcPct val="150000"/>
                        </a:lnSpc>
                        <a:spcAft>
                          <a:spcPts val="600"/>
                        </a:spcAft>
                      </a:pPr>
                      <a:r>
                        <a:rPr lang="fr-FR" sz="800" dirty="0">
                          <a:effectLst/>
                        </a:rPr>
                        <a:t> </a:t>
                      </a:r>
                      <a:endParaRPr lang="fr-FR"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5991" marR="45991" marT="0" marB="0">
                    <a:lnR w="3175"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2751767532"/>
                  </a:ext>
                </a:extLst>
              </a:tr>
            </a:tbl>
          </a:graphicData>
        </a:graphic>
      </p:graphicFrame>
      <p:sp>
        <p:nvSpPr>
          <p:cNvPr id="26" name="Freeform 926">
            <a:extLst>
              <a:ext uri="{FF2B5EF4-FFF2-40B4-BE49-F238E27FC236}">
                <a16:creationId xmlns:a16="http://schemas.microsoft.com/office/drawing/2014/main" id="{F7F9A31F-795E-4202-99C5-22D06683EE56}"/>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926">
            <a:extLst>
              <a:ext uri="{FF2B5EF4-FFF2-40B4-BE49-F238E27FC236}">
                <a16:creationId xmlns:a16="http://schemas.microsoft.com/office/drawing/2014/main" id="{612CDDE0-8295-47E3-8E93-E36CE3D124AA}"/>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TextBox 219">
            <a:extLst>
              <a:ext uri="{FF2B5EF4-FFF2-40B4-BE49-F238E27FC236}">
                <a16:creationId xmlns:a16="http://schemas.microsoft.com/office/drawing/2014/main" id="{A4C391BE-E987-4C29-8D0E-404746451AFB}"/>
              </a:ext>
            </a:extLst>
          </p:cNvPr>
          <p:cNvSpPr txBox="1"/>
          <p:nvPr/>
        </p:nvSpPr>
        <p:spPr>
          <a:xfrm>
            <a:off x="2126177" y="469879"/>
            <a:ext cx="1885950" cy="307777"/>
          </a:xfrm>
          <a:prstGeom prst="rect">
            <a:avLst/>
          </a:prstGeom>
          <a:noFill/>
        </p:spPr>
        <p:txBody>
          <a:bodyPr wrap="square">
            <a:spAutoFit/>
          </a:bodyPr>
          <a:lstStyle/>
          <a:p>
            <a:pPr>
              <a:spcAft>
                <a:spcPts val="0"/>
              </a:spcAft>
            </a:pPr>
            <a:r>
              <a:rPr lang="fr-FR" altLang="zh-CN" sz="1400">
                <a:solidFill>
                  <a:schemeClr val="tx2"/>
                </a:solidFill>
              </a:rPr>
              <a:t>Organisme d’accueil</a:t>
            </a:r>
          </a:p>
        </p:txBody>
      </p:sp>
      <p:sp>
        <p:nvSpPr>
          <p:cNvPr id="30" name="TextBox 220">
            <a:extLst>
              <a:ext uri="{FF2B5EF4-FFF2-40B4-BE49-F238E27FC236}">
                <a16:creationId xmlns:a16="http://schemas.microsoft.com/office/drawing/2014/main" id="{C3508D52-2580-4D0C-80FB-92DFDBBC5DC0}"/>
              </a:ext>
            </a:extLst>
          </p:cNvPr>
          <p:cNvSpPr txBox="1"/>
          <p:nvPr/>
        </p:nvSpPr>
        <p:spPr>
          <a:xfrm>
            <a:off x="5819704" y="469879"/>
            <a:ext cx="2375605" cy="307777"/>
          </a:xfrm>
          <a:prstGeom prst="rect">
            <a:avLst/>
          </a:prstGeom>
          <a:noFill/>
        </p:spPr>
        <p:txBody>
          <a:bodyPr wrap="square">
            <a:spAutoFit/>
          </a:bodyPr>
          <a:lstStyle/>
          <a:p>
            <a:pPr>
              <a:spcAft>
                <a:spcPts val="0"/>
              </a:spcAft>
            </a:pPr>
            <a:r>
              <a:rPr lang="fr-FR" altLang="zh-CN" sz="1400" dirty="0">
                <a:solidFill>
                  <a:schemeClr val="tx2"/>
                </a:solidFill>
              </a:rPr>
              <a:t>Problématique et objectifs</a:t>
            </a:r>
          </a:p>
        </p:txBody>
      </p:sp>
      <p:sp>
        <p:nvSpPr>
          <p:cNvPr id="31" name="TextBox 38">
            <a:extLst>
              <a:ext uri="{FF2B5EF4-FFF2-40B4-BE49-F238E27FC236}">
                <a16:creationId xmlns:a16="http://schemas.microsoft.com/office/drawing/2014/main" id="{203B5515-2FDE-4BD1-A8A9-258BA207D832}"/>
              </a:ext>
            </a:extLst>
          </p:cNvPr>
          <p:cNvSpPr txBox="1"/>
          <p:nvPr/>
        </p:nvSpPr>
        <p:spPr>
          <a:xfrm>
            <a:off x="9513234" y="500490"/>
            <a:ext cx="1800363"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Conduite du projet</a:t>
            </a:r>
          </a:p>
        </p:txBody>
      </p:sp>
      <p:sp>
        <p:nvSpPr>
          <p:cNvPr id="32" name="Freeform 926">
            <a:extLst>
              <a:ext uri="{FF2B5EF4-FFF2-40B4-BE49-F238E27FC236}">
                <a16:creationId xmlns:a16="http://schemas.microsoft.com/office/drawing/2014/main" id="{73E7C8FE-1436-4E11-84CF-7D7515C003FD}"/>
              </a:ext>
            </a:extLst>
          </p:cNvPr>
          <p:cNvSpPr>
            <a:spLocks noChangeAspect="1" noEditPoints="1"/>
          </p:cNvSpPr>
          <p:nvPr/>
        </p:nvSpPr>
        <p:spPr bwMode="auto">
          <a:xfrm>
            <a:off x="10030659" y="754209"/>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Rectangle 12">
            <a:extLst>
              <a:ext uri="{FF2B5EF4-FFF2-40B4-BE49-F238E27FC236}">
                <a16:creationId xmlns:a16="http://schemas.microsoft.com/office/drawing/2014/main" id="{AE3D4332-8CF2-4F35-A991-D01EB8DE6F93}"/>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14" name="Rectangle 13">
            <a:extLst>
              <a:ext uri="{FF2B5EF4-FFF2-40B4-BE49-F238E27FC236}">
                <a16:creationId xmlns:a16="http://schemas.microsoft.com/office/drawing/2014/main" id="{B8AAD59A-5CB8-4150-846E-C1C77E2978E7}"/>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15" name="Rectangle 14">
            <a:extLst>
              <a:ext uri="{FF2B5EF4-FFF2-40B4-BE49-F238E27FC236}">
                <a16:creationId xmlns:a16="http://schemas.microsoft.com/office/drawing/2014/main" id="{E3870215-2EFC-46A3-992A-3B4138FECCBF}"/>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17" name="Rectangle 16">
            <a:extLst>
              <a:ext uri="{FF2B5EF4-FFF2-40B4-BE49-F238E27FC236}">
                <a16:creationId xmlns:a16="http://schemas.microsoft.com/office/drawing/2014/main" id="{F6BFB3B8-EA58-4337-AD3D-C97357604073}"/>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9298341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 descr="Abstract green and blue painting">
            <a:extLst>
              <a:ext uri="{FF2B5EF4-FFF2-40B4-BE49-F238E27FC236}">
                <a16:creationId xmlns:a16="http://schemas.microsoft.com/office/drawing/2014/main" id="{AD1B94BA-436E-42C0-BE8A-D753BCC26326}"/>
              </a:ext>
            </a:extLst>
          </p:cNvPr>
          <p:cNvPicPr>
            <a:picLocks noChangeAspect="1"/>
          </p:cNvPicPr>
          <p:nvPr/>
        </p:nvPicPr>
        <p:blipFill>
          <a:blip r:embed="rId3"/>
          <a:stretch>
            <a:fillRect/>
          </a:stretch>
        </p:blipFill>
        <p:spPr>
          <a:xfrm>
            <a:off x="0" y="-1"/>
            <a:ext cx="13439775" cy="7559675"/>
          </a:xfrm>
          <a:prstGeom prst="rect">
            <a:avLst/>
          </a:prstGeom>
        </p:spPr>
      </p:pic>
      <p:grpSp>
        <p:nvGrpSpPr>
          <p:cNvPr id="6" name="Group 63">
            <a:extLst>
              <a:ext uri="{FF2B5EF4-FFF2-40B4-BE49-F238E27FC236}">
                <a16:creationId xmlns:a16="http://schemas.microsoft.com/office/drawing/2014/main" id="{ADF9DF4E-4739-42D6-83CC-754348FE4619}"/>
              </a:ext>
            </a:extLst>
          </p:cNvPr>
          <p:cNvGrpSpPr/>
          <p:nvPr/>
        </p:nvGrpSpPr>
        <p:grpSpPr>
          <a:xfrm>
            <a:off x="1870364" y="1655806"/>
            <a:ext cx="6475752" cy="686674"/>
            <a:chOff x="338627" y="1952711"/>
            <a:chExt cx="6265372" cy="686674"/>
          </a:xfrm>
        </p:grpSpPr>
        <p:sp>
          <p:nvSpPr>
            <p:cNvPr id="7" name="Oval 7">
              <a:extLst>
                <a:ext uri="{FF2B5EF4-FFF2-40B4-BE49-F238E27FC236}">
                  <a16:creationId xmlns:a16="http://schemas.microsoft.com/office/drawing/2014/main" id="{67C70FF1-3D95-422D-8F9A-26DB9EB4CB3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8" name="Straight Connector 8">
              <a:extLst>
                <a:ext uri="{FF2B5EF4-FFF2-40B4-BE49-F238E27FC236}">
                  <a16:creationId xmlns:a16="http://schemas.microsoft.com/office/drawing/2014/main" id="{CFC1F93F-314F-452C-B9EF-324612BB3EBA}"/>
                </a:ext>
              </a:extLst>
            </p:cNvPr>
            <p:cNvCxnSpPr>
              <a:cxnSpLocks/>
              <a:endCxn id="7" idx="2"/>
            </p:cNvCxnSpPr>
            <p:nvPr/>
          </p:nvCxnSpPr>
          <p:spPr>
            <a:xfrm flipV="1">
              <a:off x="338627" y="2296048"/>
              <a:ext cx="2544220" cy="21564"/>
            </a:xfrm>
            <a:prstGeom prst="line">
              <a:avLst/>
            </a:prstGeom>
            <a:noFill/>
            <a:ln w="22225" algn="ctr">
              <a:solidFill>
                <a:schemeClr val="tx1">
                  <a:lumMod val="50000"/>
                  <a:lumOff val="50000"/>
                </a:schemeClr>
              </a:solidFill>
              <a:prstDash val="sysDot"/>
              <a:miter lim="800000"/>
              <a:headEnd/>
              <a:tailEnd/>
            </a:ln>
          </p:spPr>
        </p:cxnSp>
        <p:sp>
          <p:nvSpPr>
            <p:cNvPr id="9" name="Rectangle 8">
              <a:extLst>
                <a:ext uri="{FF2B5EF4-FFF2-40B4-BE49-F238E27FC236}">
                  <a16:creationId xmlns:a16="http://schemas.microsoft.com/office/drawing/2014/main" id="{3C74B3F7-BC66-4198-AD65-9F39A2579D4D}"/>
                </a:ext>
              </a:extLst>
            </p:cNvPr>
            <p:cNvSpPr/>
            <p:nvPr/>
          </p:nvSpPr>
          <p:spPr>
            <a:xfrm>
              <a:off x="3723292" y="2089510"/>
              <a:ext cx="2880707" cy="461665"/>
            </a:xfrm>
            <a:prstGeom prst="rect">
              <a:avLst/>
            </a:prstGeom>
          </p:spPr>
          <p:txBody>
            <a:bodyPr wrap="square">
              <a:spAutoFit/>
            </a:bodyPr>
            <a:lstStyle/>
            <a:p>
              <a:pPr defTabSz="801929">
                <a:defRPr/>
              </a:pPr>
              <a:r>
                <a:rPr lang="fr-FR" sz="2400" dirty="0">
                  <a:solidFill>
                    <a:schemeClr val="bg1"/>
                  </a:solidFill>
                </a:rPr>
                <a:t>Contexte général</a:t>
              </a:r>
            </a:p>
          </p:txBody>
        </p:sp>
        <p:sp>
          <p:nvSpPr>
            <p:cNvPr id="10" name="Freeform 429">
              <a:extLst>
                <a:ext uri="{FF2B5EF4-FFF2-40B4-BE49-F238E27FC236}">
                  <a16:creationId xmlns:a16="http://schemas.microsoft.com/office/drawing/2014/main" id="{7162DD11-C00C-47ED-84CA-471273AEF295}"/>
                </a:ext>
              </a:extLst>
            </p:cNvPr>
            <p:cNvSpPr>
              <a:spLocks noChangeAspect="1" noEditPoints="1"/>
            </p:cNvSpPr>
            <p:nvPr/>
          </p:nvSpPr>
          <p:spPr bwMode="auto">
            <a:xfrm>
              <a:off x="2907467" y="1987692"/>
              <a:ext cx="637200" cy="637200"/>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6" name="Group 63">
            <a:extLst>
              <a:ext uri="{FF2B5EF4-FFF2-40B4-BE49-F238E27FC236}">
                <a16:creationId xmlns:a16="http://schemas.microsoft.com/office/drawing/2014/main" id="{C05A3CCE-25AE-4C98-8DDB-61A81871DD0B}"/>
              </a:ext>
            </a:extLst>
          </p:cNvPr>
          <p:cNvGrpSpPr/>
          <p:nvPr/>
        </p:nvGrpSpPr>
        <p:grpSpPr>
          <a:xfrm>
            <a:off x="2544432" y="4030064"/>
            <a:ext cx="5801684" cy="686674"/>
            <a:chOff x="802315" y="1952711"/>
            <a:chExt cx="5801684" cy="686674"/>
          </a:xfrm>
        </p:grpSpPr>
        <p:sp>
          <p:nvSpPr>
            <p:cNvPr id="17" name="Oval 7">
              <a:extLst>
                <a:ext uri="{FF2B5EF4-FFF2-40B4-BE49-F238E27FC236}">
                  <a16:creationId xmlns:a16="http://schemas.microsoft.com/office/drawing/2014/main" id="{9A40A8C0-ADBE-49A8-AF20-ED6B70D8A2B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8" name="Straight Connector 8">
              <a:extLst>
                <a:ext uri="{FF2B5EF4-FFF2-40B4-BE49-F238E27FC236}">
                  <a16:creationId xmlns:a16="http://schemas.microsoft.com/office/drawing/2014/main" id="{1537A99F-9A5E-4663-AAEB-392C9ABA7984}"/>
                </a:ext>
              </a:extLst>
            </p:cNvPr>
            <p:cNvCxnSpPr>
              <a:cxnSpLocks/>
              <a:endCxn id="17"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9" name="Rectangle 18">
              <a:extLst>
                <a:ext uri="{FF2B5EF4-FFF2-40B4-BE49-F238E27FC236}">
                  <a16:creationId xmlns:a16="http://schemas.microsoft.com/office/drawing/2014/main" id="{E10F6F53-AFE2-4355-BD2A-2E6EE2C4C6A2}"/>
                </a:ext>
              </a:extLst>
            </p:cNvPr>
            <p:cNvSpPr/>
            <p:nvPr/>
          </p:nvSpPr>
          <p:spPr>
            <a:xfrm>
              <a:off x="3723292" y="2089510"/>
              <a:ext cx="2880707" cy="461665"/>
            </a:xfrm>
            <a:prstGeom prst="rect">
              <a:avLst/>
            </a:prstGeom>
          </p:spPr>
          <p:txBody>
            <a:bodyPr wrap="square">
              <a:spAutoFit/>
            </a:bodyPr>
            <a:lstStyle/>
            <a:p>
              <a:pPr lvl="0" defTabSz="801929">
                <a:defRPr/>
              </a:pPr>
              <a:r>
                <a:rPr lang="fr-FR" sz="2400" dirty="0">
                  <a:solidFill>
                    <a:schemeClr val="bg1"/>
                  </a:solidFill>
                  <a:cs typeface="Segoe UI Semilight"/>
                </a:rPr>
                <a:t>Etude de cas</a:t>
              </a:r>
            </a:p>
          </p:txBody>
        </p:sp>
      </p:grpSp>
      <p:grpSp>
        <p:nvGrpSpPr>
          <p:cNvPr id="21" name="Group 63">
            <a:extLst>
              <a:ext uri="{FF2B5EF4-FFF2-40B4-BE49-F238E27FC236}">
                <a16:creationId xmlns:a16="http://schemas.microsoft.com/office/drawing/2014/main" id="{754166C1-C37B-40D0-BFA2-84451516CF50}"/>
              </a:ext>
            </a:extLst>
          </p:cNvPr>
          <p:cNvGrpSpPr/>
          <p:nvPr/>
        </p:nvGrpSpPr>
        <p:grpSpPr>
          <a:xfrm>
            <a:off x="1870364" y="5217194"/>
            <a:ext cx="7190509" cy="686674"/>
            <a:chOff x="128247" y="1952711"/>
            <a:chExt cx="7190509" cy="686674"/>
          </a:xfrm>
        </p:grpSpPr>
        <p:sp>
          <p:nvSpPr>
            <p:cNvPr id="22" name="Oval 7">
              <a:extLst>
                <a:ext uri="{FF2B5EF4-FFF2-40B4-BE49-F238E27FC236}">
                  <a16:creationId xmlns:a16="http://schemas.microsoft.com/office/drawing/2014/main" id="{956D872D-E387-46D6-83EA-9AF1F1621612}"/>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23" name="Straight Connector 8">
              <a:extLst>
                <a:ext uri="{FF2B5EF4-FFF2-40B4-BE49-F238E27FC236}">
                  <a16:creationId xmlns:a16="http://schemas.microsoft.com/office/drawing/2014/main" id="{61F7FBBA-33DF-41AF-A4C7-C4ABC9BBAABF}"/>
                </a:ext>
              </a:extLst>
            </p:cNvPr>
            <p:cNvCxnSpPr>
              <a:cxnSpLocks/>
              <a:endCxn id="22" idx="2"/>
            </p:cNvCxnSpPr>
            <p:nvPr/>
          </p:nvCxnSpPr>
          <p:spPr>
            <a:xfrm>
              <a:off x="128247" y="2296048"/>
              <a:ext cx="2754600" cy="0"/>
            </a:xfrm>
            <a:prstGeom prst="line">
              <a:avLst/>
            </a:prstGeom>
            <a:noFill/>
            <a:ln w="22225" algn="ctr">
              <a:solidFill>
                <a:schemeClr val="tx1">
                  <a:lumMod val="50000"/>
                  <a:lumOff val="50000"/>
                </a:schemeClr>
              </a:solidFill>
              <a:prstDash val="sysDot"/>
              <a:miter lim="800000"/>
              <a:headEnd/>
              <a:tailEnd/>
            </a:ln>
          </p:spPr>
        </p:cxnSp>
        <p:sp>
          <p:nvSpPr>
            <p:cNvPr id="24" name="Rectangle 23">
              <a:extLst>
                <a:ext uri="{FF2B5EF4-FFF2-40B4-BE49-F238E27FC236}">
                  <a16:creationId xmlns:a16="http://schemas.microsoft.com/office/drawing/2014/main" id="{E1067234-0B57-4D51-AA9E-C3F5D84BD506}"/>
                </a:ext>
              </a:extLst>
            </p:cNvPr>
            <p:cNvSpPr/>
            <p:nvPr/>
          </p:nvSpPr>
          <p:spPr>
            <a:xfrm>
              <a:off x="3723292" y="2089510"/>
              <a:ext cx="3595464" cy="461665"/>
            </a:xfrm>
            <a:prstGeom prst="rect">
              <a:avLst/>
            </a:prstGeom>
          </p:spPr>
          <p:txBody>
            <a:bodyPr wrap="square">
              <a:spAutoFit/>
            </a:bodyPr>
            <a:lstStyle/>
            <a:p>
              <a:pPr defTabSz="801929">
                <a:defRPr/>
              </a:pPr>
              <a:r>
                <a:rPr lang="fr-FR" sz="2400" dirty="0">
                  <a:solidFill>
                    <a:schemeClr val="bg1"/>
                  </a:solidFill>
                </a:rPr>
                <a:t>Conclusion et perspectives</a:t>
              </a:r>
            </a:p>
          </p:txBody>
        </p:sp>
      </p:grpSp>
      <p:sp>
        <p:nvSpPr>
          <p:cNvPr id="30" name="Text Placeholder 4">
            <a:extLst>
              <a:ext uri="{FF2B5EF4-FFF2-40B4-BE49-F238E27FC236}">
                <a16:creationId xmlns:a16="http://schemas.microsoft.com/office/drawing/2014/main" id="{C671DE1E-8CF5-4017-BA5C-20065085BECE}"/>
              </a:ext>
            </a:extLst>
          </p:cNvPr>
          <p:cNvSpPr txBox="1">
            <a:spLocks/>
          </p:cNvSpPr>
          <p:nvPr>
            <p:custDataLst>
              <p:tags r:id="rId1"/>
            </p:custDataLst>
          </p:nvPr>
        </p:nvSpPr>
        <p:spPr>
          <a:xfrm rot="16200000">
            <a:off x="-2130301" y="3368453"/>
            <a:ext cx="6014144" cy="822766"/>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ctr" defTabSz="419952" rtl="0" eaLnBrk="1" fontAlgn="auto" latinLnBrk="0" hangingPunct="1">
              <a:lnSpc>
                <a:spcPct val="100000"/>
              </a:lnSpc>
              <a:spcBef>
                <a:spcPts val="0"/>
              </a:spcBef>
              <a:spcAft>
                <a:spcPts val="342"/>
              </a:spcAft>
              <a:buClrTx/>
              <a:buSzTx/>
              <a:buFont typeface="Arial"/>
              <a:buNone/>
              <a:tabLst/>
              <a:defRPr/>
            </a:pPr>
            <a:r>
              <a:rPr kumimoji="0" lang="fr-FR" sz="4800" b="0" i="0" u="none" strike="noStrike" kern="1200" cap="none" spc="0" normalizeH="0" baseline="0" dirty="0">
                <a:ln>
                  <a:noFill/>
                </a:ln>
                <a:solidFill>
                  <a:schemeClr val="bg1"/>
                </a:solidFill>
                <a:effectLst/>
                <a:uLnTx/>
                <a:uFillTx/>
                <a:latin typeface="+mn-lt"/>
                <a:ea typeface="+mn-ea"/>
                <a:cs typeface="Segoe UI Semilight" panose="020B0402040204020203" pitchFamily="34" charset="0"/>
              </a:rPr>
              <a:t>Sommaire</a:t>
            </a:r>
          </a:p>
        </p:txBody>
      </p:sp>
      <p:sp>
        <p:nvSpPr>
          <p:cNvPr id="31" name="Freeform 580">
            <a:extLst>
              <a:ext uri="{FF2B5EF4-FFF2-40B4-BE49-F238E27FC236}">
                <a16:creationId xmlns:a16="http://schemas.microsoft.com/office/drawing/2014/main" id="{4185104E-85D0-44D5-A73F-6898F62737D0}"/>
              </a:ext>
            </a:extLst>
          </p:cNvPr>
          <p:cNvSpPr>
            <a:spLocks noChangeAspect="1" noEditPoints="1"/>
          </p:cNvSpPr>
          <p:nvPr/>
        </p:nvSpPr>
        <p:spPr bwMode="auto">
          <a:xfrm>
            <a:off x="4649584" y="2862460"/>
            <a:ext cx="637200" cy="635332"/>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Oval 16">
            <a:extLst>
              <a:ext uri="{FF2B5EF4-FFF2-40B4-BE49-F238E27FC236}">
                <a16:creationId xmlns:a16="http://schemas.microsoft.com/office/drawing/2014/main" id="{0E8A7F0C-06C2-46E5-BD73-94C959289B05}"/>
              </a:ext>
            </a:extLst>
          </p:cNvPr>
          <p:cNvSpPr/>
          <p:nvPr/>
        </p:nvSpPr>
        <p:spPr bwMode="gray">
          <a:xfrm>
            <a:off x="4621334" y="4026049"/>
            <a:ext cx="690304" cy="69030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sp>
        <p:nvSpPr>
          <p:cNvPr id="50" name="Freeform 438">
            <a:extLst>
              <a:ext uri="{FF2B5EF4-FFF2-40B4-BE49-F238E27FC236}">
                <a16:creationId xmlns:a16="http://schemas.microsoft.com/office/drawing/2014/main" id="{DCD66C00-2DA5-4F63-B405-2A7218B7BF82}"/>
              </a:ext>
            </a:extLst>
          </p:cNvPr>
          <p:cNvSpPr>
            <a:spLocks/>
          </p:cNvSpPr>
          <p:nvPr/>
        </p:nvSpPr>
        <p:spPr bwMode="auto">
          <a:xfrm>
            <a:off x="4979531" y="4303615"/>
            <a:ext cx="52570" cy="52570"/>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39">
            <a:extLst>
              <a:ext uri="{FF2B5EF4-FFF2-40B4-BE49-F238E27FC236}">
                <a16:creationId xmlns:a16="http://schemas.microsoft.com/office/drawing/2014/main" id="{1989DCC3-334B-4FCB-AC17-A6D8434A36A6}"/>
              </a:ext>
            </a:extLst>
          </p:cNvPr>
          <p:cNvSpPr>
            <a:spLocks/>
          </p:cNvSpPr>
          <p:nvPr/>
        </p:nvSpPr>
        <p:spPr bwMode="auto">
          <a:xfrm>
            <a:off x="4900676" y="4303615"/>
            <a:ext cx="52570" cy="52570"/>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41">
            <a:extLst>
              <a:ext uri="{FF2B5EF4-FFF2-40B4-BE49-F238E27FC236}">
                <a16:creationId xmlns:a16="http://schemas.microsoft.com/office/drawing/2014/main" id="{30CCB8BF-4B1B-4A30-89C5-D048FE623DCA}"/>
              </a:ext>
            </a:extLst>
          </p:cNvPr>
          <p:cNvSpPr>
            <a:spLocks/>
          </p:cNvSpPr>
          <p:nvPr/>
        </p:nvSpPr>
        <p:spPr bwMode="auto">
          <a:xfrm>
            <a:off x="4900676" y="4382470"/>
            <a:ext cx="52570" cy="52570"/>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2">
            <a:extLst>
              <a:ext uri="{FF2B5EF4-FFF2-40B4-BE49-F238E27FC236}">
                <a16:creationId xmlns:a16="http://schemas.microsoft.com/office/drawing/2014/main" id="{974E3478-9095-422D-984B-BE9523CE46EF}"/>
              </a:ext>
            </a:extLst>
          </p:cNvPr>
          <p:cNvSpPr>
            <a:spLocks/>
          </p:cNvSpPr>
          <p:nvPr/>
        </p:nvSpPr>
        <p:spPr bwMode="auto">
          <a:xfrm>
            <a:off x="4834963" y="4382470"/>
            <a:ext cx="118283" cy="11828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43">
            <a:extLst>
              <a:ext uri="{FF2B5EF4-FFF2-40B4-BE49-F238E27FC236}">
                <a16:creationId xmlns:a16="http://schemas.microsoft.com/office/drawing/2014/main" id="{E827EED2-D78C-4DA1-BAC9-30B1EBBAFADA}"/>
              </a:ext>
            </a:extLst>
          </p:cNvPr>
          <p:cNvSpPr>
            <a:spLocks/>
          </p:cNvSpPr>
          <p:nvPr/>
        </p:nvSpPr>
        <p:spPr bwMode="auto">
          <a:xfrm>
            <a:off x="4979531" y="4382470"/>
            <a:ext cx="52570" cy="52570"/>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40">
            <a:extLst>
              <a:ext uri="{FF2B5EF4-FFF2-40B4-BE49-F238E27FC236}">
                <a16:creationId xmlns:a16="http://schemas.microsoft.com/office/drawing/2014/main" id="{A6D51597-47E9-47DE-8741-9102DAB48B7A}"/>
              </a:ext>
            </a:extLst>
          </p:cNvPr>
          <p:cNvSpPr>
            <a:spLocks/>
          </p:cNvSpPr>
          <p:nvPr/>
        </p:nvSpPr>
        <p:spPr bwMode="auto">
          <a:xfrm>
            <a:off x="4834963" y="4237902"/>
            <a:ext cx="118283" cy="11828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444">
            <a:extLst>
              <a:ext uri="{FF2B5EF4-FFF2-40B4-BE49-F238E27FC236}">
                <a16:creationId xmlns:a16="http://schemas.microsoft.com/office/drawing/2014/main" id="{679F4214-5319-44FF-9861-976CDFCB4293}"/>
              </a:ext>
            </a:extLst>
          </p:cNvPr>
          <p:cNvSpPr>
            <a:spLocks noEditPoints="1"/>
          </p:cNvSpPr>
          <p:nvPr/>
        </p:nvSpPr>
        <p:spPr bwMode="auto">
          <a:xfrm>
            <a:off x="4647213" y="4050152"/>
            <a:ext cx="638350" cy="6383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45">
            <a:extLst>
              <a:ext uri="{FF2B5EF4-FFF2-40B4-BE49-F238E27FC236}">
                <a16:creationId xmlns:a16="http://schemas.microsoft.com/office/drawing/2014/main" id="{81701C87-DB66-4B62-99F1-B07A03833739}"/>
              </a:ext>
            </a:extLst>
          </p:cNvPr>
          <p:cNvSpPr>
            <a:spLocks/>
          </p:cNvSpPr>
          <p:nvPr/>
        </p:nvSpPr>
        <p:spPr bwMode="auto">
          <a:xfrm>
            <a:off x="4979531" y="4237902"/>
            <a:ext cx="118283" cy="11828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446">
            <a:extLst>
              <a:ext uri="{FF2B5EF4-FFF2-40B4-BE49-F238E27FC236}">
                <a16:creationId xmlns:a16="http://schemas.microsoft.com/office/drawing/2014/main" id="{B8D52DA5-BACB-4234-85C2-32EEB13ADF20}"/>
              </a:ext>
            </a:extLst>
          </p:cNvPr>
          <p:cNvSpPr>
            <a:spLocks/>
          </p:cNvSpPr>
          <p:nvPr/>
        </p:nvSpPr>
        <p:spPr bwMode="auto">
          <a:xfrm>
            <a:off x="4979531" y="4382470"/>
            <a:ext cx="118283" cy="11828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28">
            <a:extLst>
              <a:ext uri="{FF2B5EF4-FFF2-40B4-BE49-F238E27FC236}">
                <a16:creationId xmlns:a16="http://schemas.microsoft.com/office/drawing/2014/main" id="{2655AD68-470A-4F7E-BF38-1D1C6D555289}"/>
              </a:ext>
            </a:extLst>
          </p:cNvPr>
          <p:cNvSpPr>
            <a:spLocks noChangeAspect="1" noEditPoints="1"/>
          </p:cNvSpPr>
          <p:nvPr/>
        </p:nvSpPr>
        <p:spPr bwMode="auto">
          <a:xfrm>
            <a:off x="4648363" y="5241931"/>
            <a:ext cx="637200" cy="63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bg1"/>
          </a:solidFill>
          <a:ln>
            <a:noFill/>
          </a:ln>
        </p:spPr>
        <p:txBody>
          <a:bodyPr vert="horz" wrap="square" lIns="182880" tIns="91440" rIns="182880" bIns="91440" numCol="1" anchor="t" anchorCtr="0" compatLnSpc="1">
            <a:prstTxWarp prst="textNoShape">
              <a:avLst/>
            </a:prstTxWarp>
          </a:bodyPr>
          <a:lstStyle/>
          <a:p>
            <a:pPr defTabSz="1828800"/>
            <a:endParaRPr lang="en-GB">
              <a:solidFill>
                <a:prstClr val="black"/>
              </a:solidFill>
              <a:latin typeface="Verdana"/>
            </a:endParaRPr>
          </a:p>
        </p:txBody>
      </p:sp>
      <p:sp>
        <p:nvSpPr>
          <p:cNvPr id="60" name="Rectangle 59">
            <a:extLst>
              <a:ext uri="{FF2B5EF4-FFF2-40B4-BE49-F238E27FC236}">
                <a16:creationId xmlns:a16="http://schemas.microsoft.com/office/drawing/2014/main" id="{FD3FA630-6445-4409-827A-899ABB7264D0}"/>
              </a:ext>
            </a:extLst>
          </p:cNvPr>
          <p:cNvSpPr/>
          <p:nvPr/>
        </p:nvSpPr>
        <p:spPr bwMode="gray">
          <a:xfrm>
            <a:off x="-22033" y="-1"/>
            <a:ext cx="13461813" cy="7559676"/>
          </a:xfrm>
          <a:prstGeom prst="rect">
            <a:avLst/>
          </a:prstGeom>
          <a:solidFill>
            <a:schemeClr val="accent4">
              <a:lumMod val="50000"/>
              <a:alpha val="58824"/>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nvGrpSpPr>
          <p:cNvPr id="11" name="Group 63">
            <a:extLst>
              <a:ext uri="{FF2B5EF4-FFF2-40B4-BE49-F238E27FC236}">
                <a16:creationId xmlns:a16="http://schemas.microsoft.com/office/drawing/2014/main" id="{0B8F20E0-6D87-49C6-AA3E-4AAEB21D373C}"/>
              </a:ext>
            </a:extLst>
          </p:cNvPr>
          <p:cNvGrpSpPr/>
          <p:nvPr/>
        </p:nvGrpSpPr>
        <p:grpSpPr>
          <a:xfrm>
            <a:off x="2544432" y="2842935"/>
            <a:ext cx="6973641" cy="686674"/>
            <a:chOff x="802315" y="1952711"/>
            <a:chExt cx="6973641" cy="686674"/>
          </a:xfrm>
        </p:grpSpPr>
        <p:sp>
          <p:nvSpPr>
            <p:cNvPr id="12" name="Oval 7">
              <a:extLst>
                <a:ext uri="{FF2B5EF4-FFF2-40B4-BE49-F238E27FC236}">
                  <a16:creationId xmlns:a16="http://schemas.microsoft.com/office/drawing/2014/main" id="{7C5B3F82-1B67-4F8D-B4E9-C17E7D0B2869}"/>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3" name="Straight Connector 8">
              <a:extLst>
                <a:ext uri="{FF2B5EF4-FFF2-40B4-BE49-F238E27FC236}">
                  <a16:creationId xmlns:a16="http://schemas.microsoft.com/office/drawing/2014/main" id="{A66C032C-1CA4-4111-90B9-334BC8E1F193}"/>
                </a:ext>
              </a:extLst>
            </p:cNvPr>
            <p:cNvCxnSpPr>
              <a:cxnSpLocks/>
              <a:endCxn id="12"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4" name="Rectangle 13">
              <a:extLst>
                <a:ext uri="{FF2B5EF4-FFF2-40B4-BE49-F238E27FC236}">
                  <a16:creationId xmlns:a16="http://schemas.microsoft.com/office/drawing/2014/main" id="{885258D9-7A47-4570-B1BF-85959FAC5DD3}"/>
                </a:ext>
              </a:extLst>
            </p:cNvPr>
            <p:cNvSpPr/>
            <p:nvPr/>
          </p:nvSpPr>
          <p:spPr>
            <a:xfrm>
              <a:off x="3723292" y="2089510"/>
              <a:ext cx="4052664" cy="461665"/>
            </a:xfrm>
            <a:prstGeom prst="rect">
              <a:avLst/>
            </a:prstGeom>
          </p:spPr>
          <p:txBody>
            <a:bodyPr wrap="square">
              <a:spAutoFit/>
            </a:bodyPr>
            <a:lstStyle/>
            <a:p>
              <a:pPr lvl="0" defTabSz="801929">
                <a:defRPr/>
              </a:pPr>
              <a:r>
                <a:rPr kumimoji="0" lang="fr-FR" sz="2400" i="0" u="none" strike="noStrike" kern="1200" cap="none" spc="0" normalizeH="0" baseline="0" dirty="0">
                  <a:ln>
                    <a:noFill/>
                  </a:ln>
                  <a:solidFill>
                    <a:schemeClr val="bg1"/>
                  </a:solidFill>
                  <a:effectLst/>
                  <a:uLnTx/>
                  <a:uFillTx/>
                </a:rPr>
                <a:t>Réalisation du Framework</a:t>
              </a:r>
            </a:p>
          </p:txBody>
        </p:sp>
      </p:grpSp>
      <p:sp>
        <p:nvSpPr>
          <p:cNvPr id="5" name="Oval 18">
            <a:extLst>
              <a:ext uri="{FF2B5EF4-FFF2-40B4-BE49-F238E27FC236}">
                <a16:creationId xmlns:a16="http://schemas.microsoft.com/office/drawing/2014/main" id="{562886F5-F9D2-41B4-B6B7-9ADBAB09AF80}"/>
              </a:ext>
            </a:extLst>
          </p:cNvPr>
          <p:cNvSpPr/>
          <p:nvPr/>
        </p:nvSpPr>
        <p:spPr bwMode="gray">
          <a:xfrm>
            <a:off x="-2648726" y="1153149"/>
            <a:ext cx="5253376" cy="5253376"/>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ctr"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1403" b="1" i="0" u="none" strike="noStrike" kern="1200" cap="none" spc="0" normalizeH="0" baseline="0">
              <a:ln>
                <a:noFill/>
              </a:ln>
              <a:solidFill>
                <a:prstClr val="white"/>
              </a:solidFill>
              <a:effectLst/>
              <a:uLnTx/>
              <a:uFillTx/>
              <a:ea typeface="+mn-ea"/>
              <a:cs typeface="+mn-cs"/>
            </a:endParaRPr>
          </a:p>
        </p:txBody>
      </p:sp>
    </p:spTree>
    <p:extLst>
      <p:ext uri="{BB962C8B-B14F-4D97-AF65-F5344CB8AC3E}">
        <p14:creationId xmlns:p14="http://schemas.microsoft.com/office/powerpoint/2010/main" val="42403935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Picture 92">
            <a:extLst>
              <a:ext uri="{FF2B5EF4-FFF2-40B4-BE49-F238E27FC236}">
                <a16:creationId xmlns:a16="http://schemas.microsoft.com/office/drawing/2014/main" id="{4351213A-AAF8-4DAE-99D8-60F8CDD0EDDF}"/>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18" name="Rectangle 17">
            <a:extLst>
              <a:ext uri="{FF2B5EF4-FFF2-40B4-BE49-F238E27FC236}">
                <a16:creationId xmlns:a16="http://schemas.microsoft.com/office/drawing/2014/main" id="{9E897114-16E6-401D-B932-B6A558FA84FF}"/>
              </a:ext>
            </a:extLst>
          </p:cNvPr>
          <p:cNvSpPr/>
          <p:nvPr/>
        </p:nvSpPr>
        <p:spPr>
          <a:xfrm>
            <a:off x="10020481" y="3930800"/>
            <a:ext cx="2808174" cy="869469"/>
          </a:xfrm>
          <a:prstGeom prst="rect">
            <a:avLst/>
          </a:prstGeom>
        </p:spPr>
        <p:txBody>
          <a:bodyPr wrap="square" lIns="0" tIns="0" rIns="0" bIns="0">
            <a:spAutoFit/>
          </a:bodyPr>
          <a:lstStyle/>
          <a:p>
            <a:pPr marL="208186" indent="-208186">
              <a:spcBef>
                <a:spcPts val="546"/>
              </a:spcBef>
              <a:buClr>
                <a:schemeClr val="accent2">
                  <a:lumMod val="75000"/>
                </a:schemeClr>
              </a:buClr>
              <a:buSzPct val="100000"/>
              <a:buFont typeface="+mj-lt"/>
              <a:buAutoNum type="arabicPeriod"/>
            </a:pPr>
            <a:r>
              <a:rPr lang="fr-FR" sz="1100" dirty="0">
                <a:solidFill>
                  <a:srgbClr val="313131"/>
                </a:solidFill>
              </a:rPr>
              <a:t>   Mettre en place les mesures de sécurité</a:t>
            </a:r>
          </a:p>
          <a:p>
            <a:pPr marL="312279" indent="-312279">
              <a:spcBef>
                <a:spcPts val="546"/>
              </a:spcBef>
              <a:buClr>
                <a:schemeClr val="accent2">
                  <a:lumMod val="75000"/>
                </a:schemeClr>
              </a:buClr>
              <a:buSzPct val="100000"/>
              <a:buFont typeface="+mj-lt"/>
              <a:buAutoNum type="arabicPeriod"/>
            </a:pPr>
            <a:r>
              <a:rPr lang="fr-FR" sz="1100" dirty="0">
                <a:solidFill>
                  <a:srgbClr val="313131"/>
                </a:solidFill>
              </a:rPr>
              <a:t>Test et validation</a:t>
            </a:r>
          </a:p>
          <a:p>
            <a:pPr marL="312279" indent="-312279">
              <a:spcBef>
                <a:spcPts val="546"/>
              </a:spcBef>
              <a:buClr>
                <a:schemeClr val="accent2">
                  <a:lumMod val="75000"/>
                </a:schemeClr>
              </a:buClr>
              <a:buSzPct val="100000"/>
              <a:buFont typeface="+mj-lt"/>
              <a:buAutoNum type="arabicPeriod"/>
            </a:pPr>
            <a:r>
              <a:rPr lang="fr-FR" sz="1100" dirty="0">
                <a:solidFill>
                  <a:srgbClr val="313131"/>
                </a:solidFill>
              </a:rPr>
              <a:t>Formation et sensibilisation</a:t>
            </a:r>
          </a:p>
          <a:p>
            <a:pPr marL="312279" indent="-312279">
              <a:spcBef>
                <a:spcPts val="546"/>
              </a:spcBef>
              <a:buClr>
                <a:schemeClr val="accent2">
                  <a:lumMod val="75000"/>
                </a:schemeClr>
              </a:buClr>
              <a:buSzPct val="100000"/>
              <a:buFont typeface="+mj-lt"/>
              <a:buAutoNum type="arabicPeriod"/>
            </a:pPr>
            <a:r>
              <a:rPr lang="fr-FR" sz="1100" dirty="0">
                <a:solidFill>
                  <a:srgbClr val="313131"/>
                </a:solidFill>
              </a:rPr>
              <a:t>Suivi et amélioration continue</a:t>
            </a:r>
          </a:p>
        </p:txBody>
      </p:sp>
      <p:sp>
        <p:nvSpPr>
          <p:cNvPr id="19" name="Rectangle 18">
            <a:extLst>
              <a:ext uri="{FF2B5EF4-FFF2-40B4-BE49-F238E27FC236}">
                <a16:creationId xmlns:a16="http://schemas.microsoft.com/office/drawing/2014/main" id="{DF141E54-C5DA-478B-9839-7C833A0845D1}"/>
              </a:ext>
            </a:extLst>
          </p:cNvPr>
          <p:cNvSpPr/>
          <p:nvPr/>
        </p:nvSpPr>
        <p:spPr>
          <a:xfrm>
            <a:off x="10055148" y="3180245"/>
            <a:ext cx="2918179" cy="553998"/>
          </a:xfrm>
          <a:prstGeom prst="rect">
            <a:avLst/>
          </a:prstGeom>
        </p:spPr>
        <p:txBody>
          <a:bodyPr wrap="square" lIns="0" tIns="0" rIns="0" bIns="0">
            <a:spAutoFit/>
          </a:bodyPr>
          <a:lstStyle/>
          <a:p>
            <a:pPr algn="ctr"/>
            <a:r>
              <a:rPr lang="fr-FR" sz="1200" b="1" dirty="0"/>
              <a:t>Mettre en œuvre les mesures de sécurité recommandées et approuvées pour renforcer la posture de sécurité de l'entreprise</a:t>
            </a:r>
            <a:endParaRPr lang="fr-FR" altLang="zh-CN" sz="1100" b="1" dirty="0"/>
          </a:p>
        </p:txBody>
      </p:sp>
      <p:cxnSp>
        <p:nvCxnSpPr>
          <p:cNvPr id="20" name="Straight Connector 19">
            <a:extLst>
              <a:ext uri="{FF2B5EF4-FFF2-40B4-BE49-F238E27FC236}">
                <a16:creationId xmlns:a16="http://schemas.microsoft.com/office/drawing/2014/main" id="{1DB09C0F-6D72-450C-B179-D0150CA0180B}"/>
              </a:ext>
            </a:extLst>
          </p:cNvPr>
          <p:cNvCxnSpPr>
            <a:cxnSpLocks/>
          </p:cNvCxnSpPr>
          <p:nvPr/>
        </p:nvCxnSpPr>
        <p:spPr>
          <a:xfrm flipV="1">
            <a:off x="11458869" y="2945854"/>
            <a:ext cx="0" cy="234391"/>
          </a:xfrm>
          <a:prstGeom prst="line">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9A8089F-3C89-4BF4-B92A-0DA27414949C}"/>
              </a:ext>
            </a:extLst>
          </p:cNvPr>
          <p:cNvSpPr/>
          <p:nvPr/>
        </p:nvSpPr>
        <p:spPr>
          <a:xfrm>
            <a:off x="7065476" y="3911880"/>
            <a:ext cx="2700926" cy="974626"/>
          </a:xfrm>
          <a:prstGeom prst="rect">
            <a:avLst/>
          </a:prstGeom>
        </p:spPr>
        <p:txBody>
          <a:bodyPr wrap="square" lIns="0" tIns="0" rIns="0" bIns="0">
            <a:spAutoFit/>
          </a:bodyPr>
          <a:lstStyle/>
          <a:p>
            <a:pPr marL="312279" indent="-312279">
              <a:spcBef>
                <a:spcPts val="546"/>
              </a:spcBef>
              <a:buClr>
                <a:schemeClr val="accent1">
                  <a:lumMod val="75000"/>
                </a:schemeClr>
              </a:buClr>
              <a:buSzPct val="100000"/>
              <a:buFont typeface="+mj-lt"/>
              <a:buAutoNum type="arabicPeriod"/>
            </a:pPr>
            <a:r>
              <a:rPr lang="fr-FR" sz="1100" dirty="0">
                <a:solidFill>
                  <a:srgbClr val="313131"/>
                </a:solidFill>
              </a:rPr>
              <a:t>Recommander des contrôles de sécurité en se basant sur les écarts de conformité</a:t>
            </a:r>
          </a:p>
          <a:p>
            <a:pPr marL="312279" indent="-312279">
              <a:spcBef>
                <a:spcPts val="546"/>
              </a:spcBef>
              <a:buClr>
                <a:schemeClr val="accent1">
                  <a:lumMod val="75000"/>
                </a:schemeClr>
              </a:buClr>
              <a:buSzPct val="100000"/>
              <a:buFont typeface="+mj-lt"/>
              <a:buAutoNum type="arabicPeriod"/>
            </a:pPr>
            <a:r>
              <a:rPr lang="fr-FR" sz="1100" dirty="0">
                <a:solidFill>
                  <a:srgbClr val="313131"/>
                </a:solidFill>
              </a:rPr>
              <a:t>Définir le plan d’action et planifier la mise en œuvre</a:t>
            </a:r>
          </a:p>
          <a:p>
            <a:pPr marL="312279" indent="-312279">
              <a:spcBef>
                <a:spcPts val="546"/>
              </a:spcBef>
              <a:buClr>
                <a:schemeClr val="accent1">
                  <a:lumMod val="75000"/>
                </a:schemeClr>
              </a:buClr>
              <a:buSzPct val="100000"/>
              <a:buFont typeface="+mj-lt"/>
              <a:buAutoNum type="arabicPeriod"/>
            </a:pPr>
            <a:endParaRPr lang="fr-FR" sz="1100" dirty="0">
              <a:solidFill>
                <a:srgbClr val="313131"/>
              </a:solidFill>
            </a:endParaRPr>
          </a:p>
        </p:txBody>
      </p:sp>
      <p:sp>
        <p:nvSpPr>
          <p:cNvPr id="22" name="Rectangle 21">
            <a:extLst>
              <a:ext uri="{FF2B5EF4-FFF2-40B4-BE49-F238E27FC236}">
                <a16:creationId xmlns:a16="http://schemas.microsoft.com/office/drawing/2014/main" id="{AD92E5DD-7C42-47E4-A353-AE7991721067}"/>
              </a:ext>
            </a:extLst>
          </p:cNvPr>
          <p:cNvSpPr/>
          <p:nvPr/>
        </p:nvSpPr>
        <p:spPr>
          <a:xfrm>
            <a:off x="7115510" y="3180245"/>
            <a:ext cx="2650893" cy="553998"/>
          </a:xfrm>
          <a:prstGeom prst="rect">
            <a:avLst/>
          </a:prstGeom>
        </p:spPr>
        <p:txBody>
          <a:bodyPr wrap="square" lIns="0" tIns="0" rIns="0" bIns="0">
            <a:spAutoFit/>
          </a:bodyPr>
          <a:lstStyle/>
          <a:p>
            <a:pPr algn="ctr"/>
            <a:r>
              <a:rPr lang="fr-FR" sz="1200" b="1" dirty="0"/>
              <a:t>Fournir des suggestions et des conseils pour améliorer les processus de sécurité de l'entreprise.</a:t>
            </a:r>
            <a:endParaRPr lang="fr-FR" altLang="zh-CN" sz="1100" b="1" dirty="0"/>
          </a:p>
        </p:txBody>
      </p:sp>
      <p:cxnSp>
        <p:nvCxnSpPr>
          <p:cNvPr id="23" name="Straight Connector 22">
            <a:extLst>
              <a:ext uri="{FF2B5EF4-FFF2-40B4-BE49-F238E27FC236}">
                <a16:creationId xmlns:a16="http://schemas.microsoft.com/office/drawing/2014/main" id="{D6D1C963-3795-4054-8E99-FB4D2B48DA89}"/>
              </a:ext>
            </a:extLst>
          </p:cNvPr>
          <p:cNvCxnSpPr>
            <a:cxnSpLocks/>
          </p:cNvCxnSpPr>
          <p:nvPr/>
        </p:nvCxnSpPr>
        <p:spPr>
          <a:xfrm flipV="1">
            <a:off x="8440956" y="2945854"/>
            <a:ext cx="0" cy="258814"/>
          </a:xfrm>
          <a:prstGeom prst="line">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017F738-0D8A-40A7-B780-85C00A0E0579}"/>
              </a:ext>
            </a:extLst>
          </p:cNvPr>
          <p:cNvSpPr/>
          <p:nvPr/>
        </p:nvSpPr>
        <p:spPr>
          <a:xfrm>
            <a:off x="4068854" y="3879354"/>
            <a:ext cx="2884088" cy="1377300"/>
          </a:xfrm>
          <a:prstGeom prst="rect">
            <a:avLst/>
          </a:prstGeom>
        </p:spPr>
        <p:txBody>
          <a:bodyPr wrap="square" lIns="0" tIns="0" rIns="0" bIns="0">
            <a:spAutoFit/>
          </a:bodyPr>
          <a:lstStyle/>
          <a:p>
            <a:pPr marL="312279" indent="-312279">
              <a:spcBef>
                <a:spcPts val="546"/>
              </a:spcBef>
              <a:buClr>
                <a:schemeClr val="accent1">
                  <a:lumMod val="75000"/>
                </a:schemeClr>
              </a:buClr>
              <a:buSzPct val="100000"/>
              <a:buFont typeface="+mj-lt"/>
              <a:buAutoNum type="arabicPeriod"/>
            </a:pPr>
            <a:r>
              <a:rPr lang="fr-FR" sz="1100" dirty="0">
                <a:solidFill>
                  <a:srgbClr val="313131"/>
                </a:solidFill>
              </a:rPr>
              <a:t>Analyser le corpus documentaire de sécurité de l’information (politique, procédure …)</a:t>
            </a:r>
          </a:p>
          <a:p>
            <a:pPr marL="312279" indent="-312279">
              <a:spcBef>
                <a:spcPts val="546"/>
              </a:spcBef>
              <a:buClr>
                <a:schemeClr val="accent1">
                  <a:lumMod val="75000"/>
                </a:schemeClr>
              </a:buClr>
              <a:buSzPct val="100000"/>
              <a:buFont typeface="+mj-lt"/>
              <a:buAutoNum type="arabicPeriod"/>
            </a:pPr>
            <a:r>
              <a:rPr lang="fr-FR" sz="1100" dirty="0">
                <a:solidFill>
                  <a:srgbClr val="313131"/>
                </a:solidFill>
              </a:rPr>
              <a:t>Analyser les contrôles de sécurité implémentés</a:t>
            </a:r>
          </a:p>
          <a:p>
            <a:pPr marL="312279" indent="-312279">
              <a:spcBef>
                <a:spcPts val="546"/>
              </a:spcBef>
              <a:buClr>
                <a:schemeClr val="accent1">
                  <a:lumMod val="75000"/>
                </a:schemeClr>
              </a:buClr>
              <a:buSzPct val="100000"/>
              <a:buFont typeface="+mj-lt"/>
              <a:buAutoNum type="arabicPeriod"/>
            </a:pPr>
            <a:r>
              <a:rPr lang="fr-FR" sz="1100" dirty="0">
                <a:solidFill>
                  <a:srgbClr val="313131"/>
                </a:solidFill>
              </a:rPr>
              <a:t>Évaluer la conformité réglementaire</a:t>
            </a:r>
          </a:p>
          <a:p>
            <a:pPr marL="312279" indent="-312279">
              <a:spcBef>
                <a:spcPts val="546"/>
              </a:spcBef>
              <a:buClr>
                <a:schemeClr val="accent1">
                  <a:lumMod val="75000"/>
                </a:schemeClr>
              </a:buClr>
              <a:buSzPct val="100000"/>
              <a:buFont typeface="+mj-lt"/>
              <a:buAutoNum type="arabicPeriod"/>
            </a:pPr>
            <a:r>
              <a:rPr lang="fr-FR" sz="1100" dirty="0">
                <a:solidFill>
                  <a:srgbClr val="313131"/>
                </a:solidFill>
              </a:rPr>
              <a:t>Rédiger le rapport d’évaluation et déterminer le niveau de maturité</a:t>
            </a:r>
          </a:p>
        </p:txBody>
      </p:sp>
      <p:sp>
        <p:nvSpPr>
          <p:cNvPr id="25" name="Rectangle 24">
            <a:extLst>
              <a:ext uri="{FF2B5EF4-FFF2-40B4-BE49-F238E27FC236}">
                <a16:creationId xmlns:a16="http://schemas.microsoft.com/office/drawing/2014/main" id="{027CDEF6-D753-4E3A-A2F2-66421587AB0A}"/>
              </a:ext>
            </a:extLst>
          </p:cNvPr>
          <p:cNvSpPr/>
          <p:nvPr/>
        </p:nvSpPr>
        <p:spPr>
          <a:xfrm>
            <a:off x="4116471" y="3180245"/>
            <a:ext cx="2919479" cy="553998"/>
          </a:xfrm>
          <a:prstGeom prst="rect">
            <a:avLst/>
          </a:prstGeom>
        </p:spPr>
        <p:txBody>
          <a:bodyPr wrap="square" lIns="0" tIns="0" rIns="0" bIns="0">
            <a:spAutoFit/>
          </a:bodyPr>
          <a:lstStyle/>
          <a:p>
            <a:pPr algn="ctr"/>
            <a:r>
              <a:rPr lang="fr-FR" sz="1200" b="1" dirty="0"/>
              <a:t>Evaluer l'efficacité des mesures de sécurité mises en place pour protéger les informations et les systèmes d'information de l'entreprise.</a:t>
            </a:r>
          </a:p>
        </p:txBody>
      </p:sp>
      <p:cxnSp>
        <p:nvCxnSpPr>
          <p:cNvPr id="26" name="Straight Connector 25">
            <a:extLst>
              <a:ext uri="{FF2B5EF4-FFF2-40B4-BE49-F238E27FC236}">
                <a16:creationId xmlns:a16="http://schemas.microsoft.com/office/drawing/2014/main" id="{447FBF04-6B5E-4D48-82FF-4EEE9B9E3B32}"/>
              </a:ext>
            </a:extLst>
          </p:cNvPr>
          <p:cNvCxnSpPr>
            <a:cxnSpLocks/>
          </p:cNvCxnSpPr>
          <p:nvPr/>
        </p:nvCxnSpPr>
        <p:spPr>
          <a:xfrm flipV="1">
            <a:off x="5578887" y="2945855"/>
            <a:ext cx="0" cy="258814"/>
          </a:xfrm>
          <a:prstGeom prst="line">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EF0CACB-B2C6-4DFB-A4BB-5C70BB155C26}"/>
              </a:ext>
            </a:extLst>
          </p:cNvPr>
          <p:cNvCxnSpPr>
            <a:cxnSpLocks/>
          </p:cNvCxnSpPr>
          <p:nvPr/>
        </p:nvCxnSpPr>
        <p:spPr>
          <a:xfrm>
            <a:off x="9498775" y="2843944"/>
            <a:ext cx="350054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C7A622D-2AFE-4B15-9A3D-24E9EB4FAC45}"/>
              </a:ext>
            </a:extLst>
          </p:cNvPr>
          <p:cNvCxnSpPr>
            <a:cxnSpLocks/>
          </p:cNvCxnSpPr>
          <p:nvPr/>
        </p:nvCxnSpPr>
        <p:spPr>
          <a:xfrm>
            <a:off x="6618950" y="2843944"/>
            <a:ext cx="350054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FBE30F5-DE1A-44FF-817C-7C7DD6B6ABE5}"/>
              </a:ext>
            </a:extLst>
          </p:cNvPr>
          <p:cNvCxnSpPr>
            <a:cxnSpLocks/>
          </p:cNvCxnSpPr>
          <p:nvPr/>
        </p:nvCxnSpPr>
        <p:spPr>
          <a:xfrm>
            <a:off x="3630868" y="2843944"/>
            <a:ext cx="3500541"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23611E-9294-42C7-BB45-B30B50291FE6}"/>
              </a:ext>
            </a:extLst>
          </p:cNvPr>
          <p:cNvCxnSpPr>
            <a:cxnSpLocks/>
          </p:cNvCxnSpPr>
          <p:nvPr/>
        </p:nvCxnSpPr>
        <p:spPr>
          <a:xfrm>
            <a:off x="760190" y="2843944"/>
            <a:ext cx="3421731"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4F1F7CB-0B21-4617-B90F-BC0E28D69DCA}"/>
              </a:ext>
            </a:extLst>
          </p:cNvPr>
          <p:cNvSpPr/>
          <p:nvPr/>
        </p:nvSpPr>
        <p:spPr>
          <a:xfrm>
            <a:off x="1138308" y="3916232"/>
            <a:ext cx="2808174" cy="1441420"/>
          </a:xfrm>
          <a:prstGeom prst="rect">
            <a:avLst/>
          </a:prstGeom>
        </p:spPr>
        <p:txBody>
          <a:bodyPr wrap="square" lIns="0" tIns="0" rIns="0" bIns="0">
            <a:spAutoFit/>
          </a:bodyPr>
          <a:lstStyle/>
          <a:p>
            <a:pPr marL="312279" indent="-312279">
              <a:spcBef>
                <a:spcPts val="546"/>
              </a:spcBef>
              <a:buClr>
                <a:schemeClr val="accent1"/>
              </a:buClr>
              <a:buSzPct val="100000"/>
              <a:buFont typeface="+mj-lt"/>
              <a:buAutoNum type="arabicPeriod"/>
            </a:pPr>
            <a:r>
              <a:rPr lang="fr-FR" sz="1100" dirty="0">
                <a:solidFill>
                  <a:srgbClr val="313131"/>
                </a:solidFill>
              </a:rPr>
              <a:t>Analyser le contexte et les objectifs de sécurité de l’information</a:t>
            </a:r>
          </a:p>
          <a:p>
            <a:pPr marL="312279" indent="-312279">
              <a:spcBef>
                <a:spcPts val="546"/>
              </a:spcBef>
              <a:buClr>
                <a:schemeClr val="accent1"/>
              </a:buClr>
              <a:buSzPct val="100000"/>
              <a:buFont typeface="+mj-lt"/>
              <a:buAutoNum type="arabicPeriod"/>
            </a:pPr>
            <a:r>
              <a:rPr lang="fr-FR" sz="1100" dirty="0">
                <a:solidFill>
                  <a:srgbClr val="313131"/>
                </a:solidFill>
              </a:rPr>
              <a:t>Déterminer le périmètre, le budget et les ressources nécessaires pour le projet</a:t>
            </a:r>
          </a:p>
          <a:p>
            <a:pPr marL="312279" indent="-312279">
              <a:spcBef>
                <a:spcPts val="546"/>
              </a:spcBef>
              <a:buClr>
                <a:schemeClr val="accent1"/>
              </a:buClr>
              <a:buSzPct val="100000"/>
              <a:buFont typeface="+mj-lt"/>
              <a:buAutoNum type="arabicPeriod"/>
            </a:pPr>
            <a:r>
              <a:rPr lang="fr-FR" sz="1100" dirty="0">
                <a:solidFill>
                  <a:srgbClr val="313131"/>
                </a:solidFill>
              </a:rPr>
              <a:t> Identifier les parties prenantes impliquées</a:t>
            </a:r>
          </a:p>
          <a:p>
            <a:pPr marL="312279" indent="-312279">
              <a:spcBef>
                <a:spcPts val="546"/>
              </a:spcBef>
              <a:buClr>
                <a:schemeClr val="accent1"/>
              </a:buClr>
              <a:buSzPct val="100000"/>
              <a:buFont typeface="+mj-lt"/>
              <a:buAutoNum type="arabicPeriod"/>
            </a:pPr>
            <a:r>
              <a:rPr lang="fr-FR" sz="1100" dirty="0">
                <a:solidFill>
                  <a:srgbClr val="313131"/>
                </a:solidFill>
              </a:rPr>
              <a:t>Définir les rôles et responsabilités</a:t>
            </a:r>
          </a:p>
          <a:p>
            <a:pPr marL="312279" indent="-312279">
              <a:spcBef>
                <a:spcPts val="546"/>
              </a:spcBef>
              <a:buClr>
                <a:schemeClr val="accent1"/>
              </a:buClr>
              <a:buSzPct val="100000"/>
              <a:buFont typeface="+mj-lt"/>
              <a:buAutoNum type="arabicPeriod"/>
            </a:pPr>
            <a:r>
              <a:rPr lang="fr-FR" sz="1100" dirty="0">
                <a:solidFill>
                  <a:srgbClr val="313131"/>
                </a:solidFill>
              </a:rPr>
              <a:t>Planification et calendrier</a:t>
            </a:r>
          </a:p>
        </p:txBody>
      </p:sp>
      <p:sp>
        <p:nvSpPr>
          <p:cNvPr id="29" name="Rectangle 28">
            <a:extLst>
              <a:ext uri="{FF2B5EF4-FFF2-40B4-BE49-F238E27FC236}">
                <a16:creationId xmlns:a16="http://schemas.microsoft.com/office/drawing/2014/main" id="{FBB94542-F476-41EC-8884-6B46762304C4}"/>
              </a:ext>
            </a:extLst>
          </p:cNvPr>
          <p:cNvSpPr/>
          <p:nvPr/>
        </p:nvSpPr>
        <p:spPr>
          <a:xfrm>
            <a:off x="1357166" y="3180245"/>
            <a:ext cx="2486722" cy="369332"/>
          </a:xfrm>
          <a:prstGeom prst="rect">
            <a:avLst/>
          </a:prstGeom>
        </p:spPr>
        <p:txBody>
          <a:bodyPr wrap="square" lIns="0" tIns="0" rIns="0" bIns="0">
            <a:spAutoFit/>
          </a:bodyPr>
          <a:lstStyle/>
          <a:p>
            <a:pPr algn="ctr"/>
            <a:r>
              <a:rPr lang="fr-FR" altLang="zh-CN" sz="1200" b="1" dirty="0"/>
              <a:t>Identifier les objectifs et cadrer le périmètre du projet</a:t>
            </a:r>
          </a:p>
        </p:txBody>
      </p:sp>
      <p:cxnSp>
        <p:nvCxnSpPr>
          <p:cNvPr id="30" name="Straight Connector 29">
            <a:extLst>
              <a:ext uri="{FF2B5EF4-FFF2-40B4-BE49-F238E27FC236}">
                <a16:creationId xmlns:a16="http://schemas.microsoft.com/office/drawing/2014/main" id="{4E022ECD-8C97-48F8-B43C-FA1DA3AEEA15}"/>
              </a:ext>
            </a:extLst>
          </p:cNvPr>
          <p:cNvCxnSpPr>
            <a:cxnSpLocks/>
          </p:cNvCxnSpPr>
          <p:nvPr/>
        </p:nvCxnSpPr>
        <p:spPr>
          <a:xfrm flipV="1">
            <a:off x="2600527" y="2945856"/>
            <a:ext cx="0" cy="258814"/>
          </a:xfrm>
          <a:prstGeom prst="line">
            <a:avLst/>
          </a:prstGeom>
          <a:ln w="19050">
            <a:solidFill>
              <a:schemeClr val="accent5"/>
            </a:solidFill>
            <a:tailEnd type="oval"/>
          </a:ln>
        </p:spPr>
        <p:style>
          <a:lnRef idx="1">
            <a:schemeClr val="accent1"/>
          </a:lnRef>
          <a:fillRef idx="0">
            <a:schemeClr val="accent1"/>
          </a:fillRef>
          <a:effectRef idx="0">
            <a:schemeClr val="accent1"/>
          </a:effectRef>
          <a:fontRef idx="minor">
            <a:schemeClr val="tx1"/>
          </a:fontRef>
        </p:style>
      </p:cxnSp>
      <p:sp>
        <p:nvSpPr>
          <p:cNvPr id="31" name="Arrow: Chevron 30">
            <a:extLst>
              <a:ext uri="{FF2B5EF4-FFF2-40B4-BE49-F238E27FC236}">
                <a16:creationId xmlns:a16="http://schemas.microsoft.com/office/drawing/2014/main" id="{FBE202ED-A1EB-4F9F-8C67-57C0ABD4C304}"/>
              </a:ext>
              <a:ext uri="{C183D7F6-B498-43B3-948B-1728B52AA6E4}">
                <adec:decorative xmlns:adec="http://schemas.microsoft.com/office/drawing/2017/decorative" val="1"/>
              </a:ext>
            </a:extLst>
          </p:cNvPr>
          <p:cNvSpPr/>
          <p:nvPr/>
        </p:nvSpPr>
        <p:spPr bwMode="gray">
          <a:xfrm>
            <a:off x="1080174" y="2086157"/>
            <a:ext cx="3101745" cy="517627"/>
          </a:xfrm>
          <a:prstGeom prst="chevron">
            <a:avLst/>
          </a:prstGeom>
          <a:solidFill>
            <a:schemeClr val="accent5"/>
          </a:solidFill>
          <a:ln>
            <a:noFill/>
            <a:headEnd/>
            <a:tailEnd/>
          </a:ln>
        </p:spPr>
        <p:style>
          <a:lnRef idx="2">
            <a:schemeClr val="accent2"/>
          </a:lnRef>
          <a:fillRef idx="1">
            <a:schemeClr val="lt1"/>
          </a:fillRef>
          <a:effectRef idx="0">
            <a:schemeClr val="accent2"/>
          </a:effectRef>
          <a:fontRef idx="minor">
            <a:schemeClr val="dk1"/>
          </a:fontRef>
        </p:style>
        <p:txBody>
          <a:bodyPr wrap="square" lIns="80961" tIns="80961" rIns="80961" bIns="80961" rtlCol="0" anchor="ctr"/>
          <a:lstStyle/>
          <a:p>
            <a:pPr algn="ctr">
              <a:lnSpc>
                <a:spcPct val="106000"/>
              </a:lnSpc>
              <a:buFont typeface="Wingdings 2" pitchFamily="18" charset="2"/>
              <a:buNone/>
            </a:pPr>
            <a:r>
              <a:rPr lang="fr-FR" sz="1821" b="1" dirty="0">
                <a:ln w="0"/>
                <a:solidFill>
                  <a:schemeClr val="bg1"/>
                </a:solidFill>
                <a:effectLst>
                  <a:outerShdw blurRad="38100" dist="25400" dir="5400000" algn="ctr" rotWithShape="0">
                    <a:srgbClr val="6E747A">
                      <a:alpha val="43000"/>
                    </a:srgbClr>
                  </a:outerShdw>
                </a:effectLst>
              </a:rPr>
              <a:t>Planifier</a:t>
            </a:r>
          </a:p>
        </p:txBody>
      </p:sp>
      <p:sp>
        <p:nvSpPr>
          <p:cNvPr id="32" name="Arrow: Chevron 31">
            <a:extLst>
              <a:ext uri="{FF2B5EF4-FFF2-40B4-BE49-F238E27FC236}">
                <a16:creationId xmlns:a16="http://schemas.microsoft.com/office/drawing/2014/main" id="{7FA6F595-B82E-412E-A1BD-56B0DB0C0D93}"/>
              </a:ext>
              <a:ext uri="{C183D7F6-B498-43B3-948B-1728B52AA6E4}">
                <adec:decorative xmlns:adec="http://schemas.microsoft.com/office/drawing/2017/decorative" val="1"/>
              </a:ext>
            </a:extLst>
          </p:cNvPr>
          <p:cNvSpPr/>
          <p:nvPr/>
        </p:nvSpPr>
        <p:spPr bwMode="gray">
          <a:xfrm>
            <a:off x="4008799" y="2086157"/>
            <a:ext cx="3101745" cy="517627"/>
          </a:xfrm>
          <a:prstGeom prst="chevron">
            <a:avLst/>
          </a:prstGeom>
          <a:solidFill>
            <a:schemeClr val="accent4"/>
          </a:solidFill>
          <a:ln>
            <a:noFill/>
            <a:headEnd/>
            <a:tailEnd/>
          </a:ln>
        </p:spPr>
        <p:style>
          <a:lnRef idx="2">
            <a:schemeClr val="accent2"/>
          </a:lnRef>
          <a:fillRef idx="1">
            <a:schemeClr val="lt1"/>
          </a:fillRef>
          <a:effectRef idx="0">
            <a:schemeClr val="accent2"/>
          </a:effectRef>
          <a:fontRef idx="minor">
            <a:schemeClr val="dk1"/>
          </a:fontRef>
        </p:style>
        <p:txBody>
          <a:bodyPr wrap="square" lIns="80961" tIns="80961" rIns="80961" bIns="80961" rtlCol="0" anchor="ctr"/>
          <a:lstStyle/>
          <a:p>
            <a:pPr algn="ctr">
              <a:lnSpc>
                <a:spcPct val="106000"/>
              </a:lnSpc>
              <a:buFont typeface="Wingdings 2" pitchFamily="18" charset="2"/>
              <a:buNone/>
            </a:pPr>
            <a:r>
              <a:rPr lang="fr-FR" sz="1821" b="1">
                <a:ln w="0"/>
                <a:solidFill>
                  <a:schemeClr val="bg1"/>
                </a:solidFill>
                <a:effectLst>
                  <a:outerShdw blurRad="38100" dist="25400" dir="5400000" algn="ctr" rotWithShape="0">
                    <a:srgbClr val="6E747A">
                      <a:alpha val="43000"/>
                    </a:srgbClr>
                  </a:outerShdw>
                </a:effectLst>
              </a:rPr>
              <a:t>Evaluer</a:t>
            </a:r>
          </a:p>
        </p:txBody>
      </p:sp>
      <p:sp>
        <p:nvSpPr>
          <p:cNvPr id="33" name="Arrow: Chevron 32">
            <a:extLst>
              <a:ext uri="{FF2B5EF4-FFF2-40B4-BE49-F238E27FC236}">
                <a16:creationId xmlns:a16="http://schemas.microsoft.com/office/drawing/2014/main" id="{3F801D84-97DF-4814-B168-B64CA8F74D02}"/>
              </a:ext>
              <a:ext uri="{C183D7F6-B498-43B3-948B-1728B52AA6E4}">
                <adec:decorative xmlns:adec="http://schemas.microsoft.com/office/drawing/2017/decorative" val="1"/>
              </a:ext>
            </a:extLst>
          </p:cNvPr>
          <p:cNvSpPr/>
          <p:nvPr/>
        </p:nvSpPr>
        <p:spPr bwMode="gray">
          <a:xfrm>
            <a:off x="6937424" y="2086157"/>
            <a:ext cx="3101745" cy="517627"/>
          </a:xfrm>
          <a:prstGeom prst="chevron">
            <a:avLst/>
          </a:prstGeom>
          <a:solidFill>
            <a:schemeClr val="accent2"/>
          </a:solidFill>
          <a:ln>
            <a:noFill/>
            <a:headEnd/>
            <a:tailEnd/>
          </a:ln>
        </p:spPr>
        <p:style>
          <a:lnRef idx="2">
            <a:schemeClr val="accent2"/>
          </a:lnRef>
          <a:fillRef idx="1">
            <a:schemeClr val="lt1"/>
          </a:fillRef>
          <a:effectRef idx="0">
            <a:schemeClr val="accent2"/>
          </a:effectRef>
          <a:fontRef idx="minor">
            <a:schemeClr val="dk1"/>
          </a:fontRef>
        </p:style>
        <p:txBody>
          <a:bodyPr wrap="square" lIns="80961" tIns="80961" rIns="80961" bIns="80961" rtlCol="0" anchor="ctr"/>
          <a:lstStyle/>
          <a:p>
            <a:pPr algn="ctr">
              <a:lnSpc>
                <a:spcPct val="106000"/>
              </a:lnSpc>
              <a:buFont typeface="Wingdings 2" pitchFamily="18" charset="2"/>
              <a:buNone/>
            </a:pPr>
            <a:r>
              <a:rPr lang="fr-FR" sz="1821" b="1">
                <a:ln w="0"/>
                <a:solidFill>
                  <a:schemeClr val="bg1"/>
                </a:solidFill>
                <a:effectLst>
                  <a:outerShdw blurRad="38100" dist="25400" dir="5400000" algn="ctr" rotWithShape="0">
                    <a:srgbClr val="6E747A">
                      <a:alpha val="43000"/>
                    </a:srgbClr>
                  </a:outerShdw>
                </a:effectLst>
              </a:rPr>
              <a:t>Recommander</a:t>
            </a:r>
          </a:p>
        </p:txBody>
      </p:sp>
      <p:sp>
        <p:nvSpPr>
          <p:cNvPr id="34" name="Arrow: Chevron 33">
            <a:extLst>
              <a:ext uri="{FF2B5EF4-FFF2-40B4-BE49-F238E27FC236}">
                <a16:creationId xmlns:a16="http://schemas.microsoft.com/office/drawing/2014/main" id="{67806DFA-544D-4E19-93C6-137D4AA0642B}"/>
              </a:ext>
              <a:ext uri="{C183D7F6-B498-43B3-948B-1728B52AA6E4}">
                <adec:decorative xmlns:adec="http://schemas.microsoft.com/office/drawing/2017/decorative" val="1"/>
              </a:ext>
            </a:extLst>
          </p:cNvPr>
          <p:cNvSpPr/>
          <p:nvPr/>
        </p:nvSpPr>
        <p:spPr bwMode="gray">
          <a:xfrm>
            <a:off x="9866049" y="2086157"/>
            <a:ext cx="3101745" cy="517627"/>
          </a:xfrm>
          <a:prstGeom prst="chevron">
            <a:avLst/>
          </a:prstGeom>
          <a:solidFill>
            <a:schemeClr val="accent1"/>
          </a:solidFill>
          <a:ln>
            <a:noFill/>
            <a:headEnd/>
            <a:tailEnd/>
          </a:ln>
        </p:spPr>
        <p:style>
          <a:lnRef idx="2">
            <a:schemeClr val="accent2"/>
          </a:lnRef>
          <a:fillRef idx="1">
            <a:schemeClr val="lt1"/>
          </a:fillRef>
          <a:effectRef idx="0">
            <a:schemeClr val="accent2"/>
          </a:effectRef>
          <a:fontRef idx="minor">
            <a:schemeClr val="dk1"/>
          </a:fontRef>
        </p:style>
        <p:txBody>
          <a:bodyPr wrap="square" lIns="80961" tIns="80961" rIns="80961" bIns="80961" rtlCol="0" anchor="ctr"/>
          <a:lstStyle/>
          <a:p>
            <a:pPr algn="ctr">
              <a:lnSpc>
                <a:spcPct val="106000"/>
              </a:lnSpc>
              <a:buFont typeface="Wingdings 2" pitchFamily="18" charset="2"/>
              <a:buNone/>
            </a:pPr>
            <a:r>
              <a:rPr lang="fr-FR" sz="1821" b="1">
                <a:ln w="0"/>
                <a:solidFill>
                  <a:schemeClr val="bg1"/>
                </a:solidFill>
                <a:effectLst>
                  <a:outerShdw blurRad="38100" dist="25400" dir="5400000" algn="ctr" rotWithShape="0">
                    <a:srgbClr val="6E747A">
                      <a:alpha val="43000"/>
                    </a:srgbClr>
                  </a:outerShdw>
                </a:effectLst>
              </a:rPr>
              <a:t>Implémenter</a:t>
            </a:r>
            <a:r>
              <a:rPr lang="fr-FR" sz="1821">
                <a:ln w="0"/>
                <a:solidFill>
                  <a:schemeClr val="accent1">
                    <a:lumMod val="40000"/>
                    <a:lumOff val="60000"/>
                  </a:schemeClr>
                </a:solidFill>
                <a:effectLst>
                  <a:outerShdw blurRad="38100" dist="25400" dir="5400000" algn="ctr" rotWithShape="0">
                    <a:srgbClr val="6E747A">
                      <a:alpha val="43000"/>
                    </a:srgbClr>
                  </a:outerShdw>
                </a:effectLst>
              </a:rPr>
              <a:t> </a:t>
            </a:r>
          </a:p>
        </p:txBody>
      </p:sp>
      <p:grpSp>
        <p:nvGrpSpPr>
          <p:cNvPr id="35" name="Group 808">
            <a:extLst>
              <a:ext uri="{FF2B5EF4-FFF2-40B4-BE49-F238E27FC236}">
                <a16:creationId xmlns:a16="http://schemas.microsoft.com/office/drawing/2014/main" id="{CAC4B6EA-BD9B-46C0-BF1E-50338D34BEB5}"/>
              </a:ext>
            </a:extLst>
          </p:cNvPr>
          <p:cNvGrpSpPr>
            <a:grpSpLocks noChangeAspect="1"/>
          </p:cNvGrpSpPr>
          <p:nvPr/>
        </p:nvGrpSpPr>
        <p:grpSpPr bwMode="auto">
          <a:xfrm>
            <a:off x="2244465" y="1347377"/>
            <a:ext cx="773164" cy="603898"/>
            <a:chOff x="5376" y="3657"/>
            <a:chExt cx="340" cy="341"/>
          </a:xfrm>
          <a:solidFill>
            <a:schemeClr val="accent5"/>
          </a:solidFill>
        </p:grpSpPr>
        <p:sp>
          <p:nvSpPr>
            <p:cNvPr id="63" name="Freeform 809">
              <a:extLst>
                <a:ext uri="{FF2B5EF4-FFF2-40B4-BE49-F238E27FC236}">
                  <a16:creationId xmlns:a16="http://schemas.microsoft.com/office/drawing/2014/main" id="{CF406F93-03A6-4C03-90CA-990F6549DCFD}"/>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pPr defTabSz="1665488"/>
              <a:endParaRPr lang="en-GB" sz="1509">
                <a:ln w="0"/>
                <a:solidFill>
                  <a:schemeClr val="accent1"/>
                </a:solidFill>
                <a:effectLst>
                  <a:outerShdw blurRad="38100" dist="25400" dir="5400000" algn="ctr" rotWithShape="0">
                    <a:srgbClr val="6E747A">
                      <a:alpha val="43000"/>
                    </a:srgbClr>
                  </a:outerShdw>
                </a:effectLst>
                <a:latin typeface="Verdana"/>
              </a:endParaRPr>
            </a:p>
          </p:txBody>
        </p:sp>
        <p:sp>
          <p:nvSpPr>
            <p:cNvPr id="64" name="Freeform 810">
              <a:extLst>
                <a:ext uri="{FF2B5EF4-FFF2-40B4-BE49-F238E27FC236}">
                  <a16:creationId xmlns:a16="http://schemas.microsoft.com/office/drawing/2014/main" id="{1F1A3727-B98C-4E74-9A47-043C0A57F96D}"/>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pPr defTabSz="1665488"/>
              <a:endParaRPr lang="en-GB" sz="1509">
                <a:ln w="0"/>
                <a:solidFill>
                  <a:schemeClr val="accent1"/>
                </a:solidFill>
                <a:effectLst>
                  <a:outerShdw blurRad="38100" dist="25400" dir="5400000" algn="ctr" rotWithShape="0">
                    <a:srgbClr val="6E747A">
                      <a:alpha val="43000"/>
                    </a:srgbClr>
                  </a:outerShdw>
                </a:effectLst>
                <a:latin typeface="Verdana"/>
              </a:endParaRPr>
            </a:p>
          </p:txBody>
        </p:sp>
      </p:grpSp>
      <p:grpSp>
        <p:nvGrpSpPr>
          <p:cNvPr id="36" name="Group 349">
            <a:extLst>
              <a:ext uri="{FF2B5EF4-FFF2-40B4-BE49-F238E27FC236}">
                <a16:creationId xmlns:a16="http://schemas.microsoft.com/office/drawing/2014/main" id="{EC1BF691-250B-4619-9E61-87C8B6BEAA04}"/>
              </a:ext>
            </a:extLst>
          </p:cNvPr>
          <p:cNvGrpSpPr>
            <a:grpSpLocks noChangeAspect="1"/>
          </p:cNvGrpSpPr>
          <p:nvPr/>
        </p:nvGrpSpPr>
        <p:grpSpPr bwMode="auto">
          <a:xfrm>
            <a:off x="5144740" y="1386859"/>
            <a:ext cx="775436" cy="603900"/>
            <a:chOff x="5018" y="1229"/>
            <a:chExt cx="340" cy="340"/>
          </a:xfrm>
          <a:solidFill>
            <a:schemeClr val="accent4"/>
          </a:solidFill>
        </p:grpSpPr>
        <p:sp>
          <p:nvSpPr>
            <p:cNvPr id="61" name="Freeform 350">
              <a:extLst>
                <a:ext uri="{FF2B5EF4-FFF2-40B4-BE49-F238E27FC236}">
                  <a16:creationId xmlns:a16="http://schemas.microsoft.com/office/drawing/2014/main" id="{1367F6CF-F559-49B2-93C9-855117413AB2}"/>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endParaRPr lang="en-GB" sz="6557"/>
            </a:p>
          </p:txBody>
        </p:sp>
        <p:sp>
          <p:nvSpPr>
            <p:cNvPr id="62" name="Freeform 351">
              <a:extLst>
                <a:ext uri="{FF2B5EF4-FFF2-40B4-BE49-F238E27FC236}">
                  <a16:creationId xmlns:a16="http://schemas.microsoft.com/office/drawing/2014/main" id="{670A7B9E-EE5D-416E-948A-3B82B00CE8F3}"/>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endParaRPr lang="en-GB" sz="6557"/>
            </a:p>
          </p:txBody>
        </p:sp>
      </p:grpSp>
      <p:grpSp>
        <p:nvGrpSpPr>
          <p:cNvPr id="37" name="Group 433">
            <a:extLst>
              <a:ext uri="{FF2B5EF4-FFF2-40B4-BE49-F238E27FC236}">
                <a16:creationId xmlns:a16="http://schemas.microsoft.com/office/drawing/2014/main" id="{91967D41-534B-42E8-AD46-C59167BD30DA}"/>
              </a:ext>
            </a:extLst>
          </p:cNvPr>
          <p:cNvGrpSpPr>
            <a:grpSpLocks noChangeAspect="1"/>
          </p:cNvGrpSpPr>
          <p:nvPr/>
        </p:nvGrpSpPr>
        <p:grpSpPr bwMode="auto">
          <a:xfrm>
            <a:off x="7960557" y="1383042"/>
            <a:ext cx="775436" cy="603900"/>
            <a:chOff x="4725" y="1820"/>
            <a:chExt cx="340" cy="340"/>
          </a:xfrm>
          <a:solidFill>
            <a:schemeClr val="accent2"/>
          </a:solidFill>
        </p:grpSpPr>
        <p:sp>
          <p:nvSpPr>
            <p:cNvPr id="59" name="Freeform 434">
              <a:extLst>
                <a:ext uri="{FF2B5EF4-FFF2-40B4-BE49-F238E27FC236}">
                  <a16:creationId xmlns:a16="http://schemas.microsoft.com/office/drawing/2014/main" id="{587D50C4-2A41-4495-9266-81077A546516}"/>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endParaRPr lang="en-GB" sz="6557"/>
            </a:p>
          </p:txBody>
        </p:sp>
        <p:sp>
          <p:nvSpPr>
            <p:cNvPr id="60" name="Freeform 435">
              <a:extLst>
                <a:ext uri="{FF2B5EF4-FFF2-40B4-BE49-F238E27FC236}">
                  <a16:creationId xmlns:a16="http://schemas.microsoft.com/office/drawing/2014/main" id="{05312E04-2879-49EB-90C4-B945D1250D79}"/>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endParaRPr lang="en-GB" sz="6557"/>
            </a:p>
          </p:txBody>
        </p:sp>
      </p:grpSp>
      <p:grpSp>
        <p:nvGrpSpPr>
          <p:cNvPr id="38" name="Group 902">
            <a:extLst>
              <a:ext uri="{FF2B5EF4-FFF2-40B4-BE49-F238E27FC236}">
                <a16:creationId xmlns:a16="http://schemas.microsoft.com/office/drawing/2014/main" id="{FC538C98-E8E0-4878-8227-FCFD0FDF9A0D}"/>
              </a:ext>
            </a:extLst>
          </p:cNvPr>
          <p:cNvGrpSpPr>
            <a:grpSpLocks noChangeAspect="1"/>
          </p:cNvGrpSpPr>
          <p:nvPr/>
        </p:nvGrpSpPr>
        <p:grpSpPr bwMode="auto">
          <a:xfrm>
            <a:off x="11071151" y="1348688"/>
            <a:ext cx="775436" cy="603899"/>
            <a:chOff x="4880" y="3759"/>
            <a:chExt cx="340" cy="340"/>
          </a:xfrm>
          <a:solidFill>
            <a:schemeClr val="accent1"/>
          </a:solidFill>
        </p:grpSpPr>
        <p:sp>
          <p:nvSpPr>
            <p:cNvPr id="57" name="Freeform 903">
              <a:extLst>
                <a:ext uri="{FF2B5EF4-FFF2-40B4-BE49-F238E27FC236}">
                  <a16:creationId xmlns:a16="http://schemas.microsoft.com/office/drawing/2014/main" id="{B7AFD3C0-38E0-4585-BCCE-C8BA80459463}"/>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endParaRPr lang="en-GB" sz="6557"/>
            </a:p>
          </p:txBody>
        </p:sp>
        <p:sp>
          <p:nvSpPr>
            <p:cNvPr id="58" name="Freeform 904">
              <a:extLst>
                <a:ext uri="{FF2B5EF4-FFF2-40B4-BE49-F238E27FC236}">
                  <a16:creationId xmlns:a16="http://schemas.microsoft.com/office/drawing/2014/main" id="{485C08AD-865A-4697-92B2-22398B0A3B4B}"/>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6549" tIns="83275" rIns="166549" bIns="83275" numCol="1" anchor="t" anchorCtr="0" compatLnSpc="1">
              <a:prstTxWarp prst="textNoShape">
                <a:avLst/>
              </a:prstTxWarp>
            </a:bodyPr>
            <a:lstStyle/>
            <a:p>
              <a:endParaRPr lang="en-GB" sz="6557"/>
            </a:p>
          </p:txBody>
        </p:sp>
      </p:grpSp>
      <p:cxnSp>
        <p:nvCxnSpPr>
          <p:cNvPr id="53" name="Straight Connector 52">
            <a:extLst>
              <a:ext uri="{FF2B5EF4-FFF2-40B4-BE49-F238E27FC236}">
                <a16:creationId xmlns:a16="http://schemas.microsoft.com/office/drawing/2014/main" id="{B069B0FE-3550-483B-B978-76F128614972}"/>
              </a:ext>
            </a:extLst>
          </p:cNvPr>
          <p:cNvCxnSpPr>
            <a:cxnSpLocks/>
          </p:cNvCxnSpPr>
          <p:nvPr/>
        </p:nvCxnSpPr>
        <p:spPr>
          <a:xfrm>
            <a:off x="9766402" y="5452453"/>
            <a:ext cx="332329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F96903F-FA50-4700-B508-47AD9D5AD72B}"/>
              </a:ext>
            </a:extLst>
          </p:cNvPr>
          <p:cNvCxnSpPr>
            <a:cxnSpLocks/>
          </p:cNvCxnSpPr>
          <p:nvPr/>
        </p:nvCxnSpPr>
        <p:spPr>
          <a:xfrm>
            <a:off x="6538628" y="5452453"/>
            <a:ext cx="3323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2E49A94-61E8-442B-8DF6-0AE417EC1463}"/>
              </a:ext>
            </a:extLst>
          </p:cNvPr>
          <p:cNvCxnSpPr>
            <a:cxnSpLocks/>
          </p:cNvCxnSpPr>
          <p:nvPr/>
        </p:nvCxnSpPr>
        <p:spPr>
          <a:xfrm>
            <a:off x="3843887" y="5452453"/>
            <a:ext cx="332329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F020F7E-3B1D-4663-BE88-8C46A14C262B}"/>
              </a:ext>
            </a:extLst>
          </p:cNvPr>
          <p:cNvCxnSpPr>
            <a:cxnSpLocks/>
          </p:cNvCxnSpPr>
          <p:nvPr/>
        </p:nvCxnSpPr>
        <p:spPr>
          <a:xfrm>
            <a:off x="760189" y="5452453"/>
            <a:ext cx="332329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349649A-4417-42C4-9837-6EB393A324ED}"/>
              </a:ext>
            </a:extLst>
          </p:cNvPr>
          <p:cNvSpPr txBox="1"/>
          <p:nvPr/>
        </p:nvSpPr>
        <p:spPr>
          <a:xfrm>
            <a:off x="1267048" y="5614433"/>
            <a:ext cx="2550692" cy="664284"/>
          </a:xfrm>
          <a:prstGeom prst="rect">
            <a:avLst/>
          </a:prstGeom>
          <a:noFill/>
        </p:spPr>
        <p:txBody>
          <a:bodyPr wrap="square">
            <a:spAutoFit/>
          </a:bodyPr>
          <a:lstStyle/>
          <a:p>
            <a:pPr marL="260233" indent="-260233">
              <a:spcBef>
                <a:spcPts val="546"/>
              </a:spcBef>
              <a:buClr>
                <a:schemeClr val="accent1">
                  <a:lumMod val="60000"/>
                  <a:lumOff val="40000"/>
                </a:schemeClr>
              </a:buClr>
              <a:buSzPct val="100000"/>
              <a:buFont typeface="Arial" panose="020B0604020202020204" pitchFamily="34" charset="0"/>
              <a:buChar char="•"/>
              <a:defRPr/>
            </a:pPr>
            <a:r>
              <a:rPr lang="fr-FR" sz="1100" dirty="0">
                <a:solidFill>
                  <a:srgbClr val="313131"/>
                </a:solidFill>
                <a:latin typeface="Calibri" panose="020F0502020204030204"/>
              </a:rPr>
              <a:t>Document de cadrage (contexte / SCOPE / budget / ressources …) </a:t>
            </a:r>
          </a:p>
          <a:p>
            <a:pPr marL="260233" indent="-260233">
              <a:spcBef>
                <a:spcPts val="546"/>
              </a:spcBef>
              <a:buClr>
                <a:schemeClr val="accent1">
                  <a:lumMod val="60000"/>
                  <a:lumOff val="40000"/>
                </a:schemeClr>
              </a:buClr>
              <a:buSzPct val="100000"/>
              <a:buFont typeface="Arial" panose="020B0604020202020204" pitchFamily="34" charset="0"/>
              <a:buChar char="•"/>
              <a:defRPr/>
            </a:pPr>
            <a:r>
              <a:rPr lang="fr-FR" sz="1100" dirty="0">
                <a:solidFill>
                  <a:srgbClr val="313131"/>
                </a:solidFill>
                <a:latin typeface="Calibri" panose="020F0502020204030204"/>
              </a:rPr>
              <a:t>Planning du projet</a:t>
            </a:r>
          </a:p>
        </p:txBody>
      </p:sp>
      <p:sp>
        <p:nvSpPr>
          <p:cNvPr id="41" name="TextBox 40">
            <a:extLst>
              <a:ext uri="{FF2B5EF4-FFF2-40B4-BE49-F238E27FC236}">
                <a16:creationId xmlns:a16="http://schemas.microsoft.com/office/drawing/2014/main" id="{5F6AA61C-232E-44DB-BFE4-55429002198D}"/>
              </a:ext>
            </a:extLst>
          </p:cNvPr>
          <p:cNvSpPr txBox="1"/>
          <p:nvPr/>
        </p:nvSpPr>
        <p:spPr>
          <a:xfrm>
            <a:off x="4158062" y="5614433"/>
            <a:ext cx="3047222" cy="495007"/>
          </a:xfrm>
          <a:prstGeom prst="rect">
            <a:avLst/>
          </a:prstGeom>
          <a:noFill/>
        </p:spPr>
        <p:txBody>
          <a:bodyPr wrap="square">
            <a:spAutoFit/>
          </a:bodyPr>
          <a:lstStyle/>
          <a:p>
            <a:pPr marL="260233" indent="-260233">
              <a:spcBef>
                <a:spcPts val="546"/>
              </a:spcBef>
              <a:buClr>
                <a:srgbClr val="43B02A"/>
              </a:buClr>
              <a:buSzPct val="100000"/>
              <a:buFont typeface="Arial" panose="020B0604020202020204" pitchFamily="34" charset="0"/>
              <a:buChar char="•"/>
              <a:defRPr/>
            </a:pPr>
            <a:r>
              <a:rPr lang="fr-FR" sz="1100" dirty="0">
                <a:solidFill>
                  <a:srgbClr val="313131"/>
                </a:solidFill>
                <a:latin typeface="Calibri" panose="020F0502020204030204"/>
              </a:rPr>
              <a:t>Niveau de maturité de la sécurité </a:t>
            </a:r>
          </a:p>
          <a:p>
            <a:pPr marL="260233" indent="-260233">
              <a:spcBef>
                <a:spcPts val="546"/>
              </a:spcBef>
              <a:buClr>
                <a:srgbClr val="43B02A"/>
              </a:buClr>
              <a:buSzPct val="100000"/>
              <a:buFont typeface="Arial" panose="020B0604020202020204" pitchFamily="34" charset="0"/>
              <a:buChar char="•"/>
              <a:defRPr/>
            </a:pPr>
            <a:r>
              <a:rPr lang="fr-FR" sz="1100" dirty="0">
                <a:solidFill>
                  <a:srgbClr val="313131"/>
                </a:solidFill>
                <a:latin typeface="Calibri" panose="020F0502020204030204"/>
              </a:rPr>
              <a:t>Rapport des écarts de conformité</a:t>
            </a:r>
          </a:p>
        </p:txBody>
      </p:sp>
      <p:sp>
        <p:nvSpPr>
          <p:cNvPr id="42" name="TextBox 41">
            <a:extLst>
              <a:ext uri="{FF2B5EF4-FFF2-40B4-BE49-F238E27FC236}">
                <a16:creationId xmlns:a16="http://schemas.microsoft.com/office/drawing/2014/main" id="{249D6EA6-44B7-49F8-A9CC-520455186062}"/>
              </a:ext>
            </a:extLst>
          </p:cNvPr>
          <p:cNvSpPr txBox="1"/>
          <p:nvPr/>
        </p:nvSpPr>
        <p:spPr>
          <a:xfrm>
            <a:off x="7027516" y="5614433"/>
            <a:ext cx="2884089" cy="495007"/>
          </a:xfrm>
          <a:prstGeom prst="rect">
            <a:avLst/>
          </a:prstGeom>
          <a:noFill/>
        </p:spPr>
        <p:txBody>
          <a:bodyPr wrap="square">
            <a:spAutoFit/>
          </a:bodyPr>
          <a:lstStyle/>
          <a:p>
            <a:pPr marL="156140" indent="-156140">
              <a:spcBef>
                <a:spcPts val="546"/>
              </a:spcBef>
              <a:buClr>
                <a:schemeClr val="accent3"/>
              </a:buClr>
              <a:buSzPct val="100000"/>
              <a:buFont typeface="Arial" panose="020B0604020202020204" pitchFamily="34" charset="0"/>
              <a:buChar char="•"/>
              <a:defRPr/>
            </a:pPr>
            <a:r>
              <a:rPr lang="fr-FR" sz="1100" dirty="0">
                <a:solidFill>
                  <a:srgbClr val="313131"/>
                </a:solidFill>
                <a:latin typeface="Calibri" panose="020F0502020204030204"/>
              </a:rPr>
              <a:t>Plan d’actions correctives</a:t>
            </a:r>
          </a:p>
          <a:p>
            <a:pPr marL="156140" indent="-156140">
              <a:spcBef>
                <a:spcPts val="546"/>
              </a:spcBef>
              <a:buClr>
                <a:schemeClr val="accent3"/>
              </a:buClr>
              <a:buSzPct val="100000"/>
              <a:buFont typeface="Arial" panose="020B0604020202020204" pitchFamily="34" charset="0"/>
              <a:buChar char="•"/>
              <a:defRPr/>
            </a:pPr>
            <a:r>
              <a:rPr lang="fr-FR" sz="1100" dirty="0">
                <a:solidFill>
                  <a:srgbClr val="313131"/>
                </a:solidFill>
                <a:latin typeface="Calibri" panose="020F0502020204030204"/>
              </a:rPr>
              <a:t>Roadmap</a:t>
            </a:r>
          </a:p>
        </p:txBody>
      </p:sp>
      <p:sp>
        <p:nvSpPr>
          <p:cNvPr id="43" name="TextBox 42">
            <a:extLst>
              <a:ext uri="{FF2B5EF4-FFF2-40B4-BE49-F238E27FC236}">
                <a16:creationId xmlns:a16="http://schemas.microsoft.com/office/drawing/2014/main" id="{AE954443-7235-475C-B6EB-8F63B1642308}"/>
              </a:ext>
            </a:extLst>
          </p:cNvPr>
          <p:cNvSpPr txBox="1"/>
          <p:nvPr/>
        </p:nvSpPr>
        <p:spPr>
          <a:xfrm>
            <a:off x="10020481" y="5614431"/>
            <a:ext cx="2808174" cy="1131079"/>
          </a:xfrm>
          <a:prstGeom prst="rect">
            <a:avLst/>
          </a:prstGeom>
          <a:noFill/>
        </p:spPr>
        <p:txBody>
          <a:bodyPr wrap="square">
            <a:spAutoFit/>
          </a:bodyPr>
          <a:lstStyle/>
          <a:p>
            <a:pPr marL="156140" indent="-156140">
              <a:spcBef>
                <a:spcPts val="546"/>
              </a:spcBef>
              <a:buClr>
                <a:schemeClr val="accent4"/>
              </a:buClr>
              <a:buSzPct val="100000"/>
              <a:buFont typeface="Arial" panose="020B0604020202020204" pitchFamily="34" charset="0"/>
              <a:buChar char="•"/>
              <a:defRPr/>
            </a:pPr>
            <a:r>
              <a:rPr lang="fr-FR" sz="1100" dirty="0">
                <a:solidFill>
                  <a:srgbClr val="313131"/>
                </a:solidFill>
                <a:latin typeface="Calibri" panose="020F0502020204030204"/>
              </a:rPr>
              <a:t>Mesures de sécurité techniques et organisationnelles</a:t>
            </a:r>
          </a:p>
          <a:p>
            <a:pPr marL="156140" indent="-156140">
              <a:spcBef>
                <a:spcPts val="546"/>
              </a:spcBef>
              <a:buClr>
                <a:schemeClr val="accent4"/>
              </a:buClr>
              <a:buSzPct val="100000"/>
              <a:buFont typeface="Arial" panose="020B0604020202020204" pitchFamily="34" charset="0"/>
              <a:buChar char="•"/>
              <a:defRPr/>
            </a:pPr>
            <a:r>
              <a:rPr lang="fr-FR" sz="1100" dirty="0">
                <a:solidFill>
                  <a:srgbClr val="313131"/>
                </a:solidFill>
                <a:latin typeface="Calibri" panose="020F0502020204030204"/>
              </a:rPr>
              <a:t>Plan de communication</a:t>
            </a:r>
          </a:p>
          <a:p>
            <a:pPr marL="156140" indent="-156140">
              <a:spcBef>
                <a:spcPts val="546"/>
              </a:spcBef>
              <a:buClr>
                <a:schemeClr val="accent4"/>
              </a:buClr>
              <a:buSzPct val="100000"/>
              <a:buFont typeface="Arial" panose="020B0604020202020204" pitchFamily="34" charset="0"/>
              <a:buChar char="•"/>
              <a:defRPr/>
            </a:pPr>
            <a:r>
              <a:rPr lang="fr-FR" sz="1100" dirty="0">
                <a:solidFill>
                  <a:srgbClr val="313131"/>
                </a:solidFill>
                <a:latin typeface="Calibri" panose="020F0502020204030204"/>
              </a:rPr>
              <a:t>Plan de formation et de sensibilisation </a:t>
            </a:r>
          </a:p>
          <a:p>
            <a:pPr marL="156140" indent="-156140">
              <a:spcBef>
                <a:spcPts val="546"/>
              </a:spcBef>
              <a:buClr>
                <a:schemeClr val="accent4"/>
              </a:buClr>
              <a:buSzPct val="100000"/>
              <a:buFont typeface="Arial" panose="020B0604020202020204" pitchFamily="34" charset="0"/>
              <a:buChar char="•"/>
              <a:defRPr/>
            </a:pPr>
            <a:r>
              <a:rPr lang="fr-FR" sz="1100" dirty="0">
                <a:solidFill>
                  <a:srgbClr val="313131"/>
                </a:solidFill>
                <a:latin typeface="Calibri" panose="020F0502020204030204"/>
              </a:rPr>
              <a:t>Reporting continu,  KPI et KRI</a:t>
            </a:r>
          </a:p>
        </p:txBody>
      </p:sp>
      <p:grpSp>
        <p:nvGrpSpPr>
          <p:cNvPr id="75" name="Group 74">
            <a:extLst>
              <a:ext uri="{FF2B5EF4-FFF2-40B4-BE49-F238E27FC236}">
                <a16:creationId xmlns:a16="http://schemas.microsoft.com/office/drawing/2014/main" id="{739A9551-0C72-4DC9-A410-4A4DD06F6A2D}"/>
              </a:ext>
            </a:extLst>
          </p:cNvPr>
          <p:cNvGrpSpPr/>
          <p:nvPr/>
        </p:nvGrpSpPr>
        <p:grpSpPr>
          <a:xfrm>
            <a:off x="388308" y="2878063"/>
            <a:ext cx="320802" cy="868187"/>
            <a:chOff x="375782" y="3159070"/>
            <a:chExt cx="320802" cy="868187"/>
          </a:xfrm>
        </p:grpSpPr>
        <p:sp>
          <p:nvSpPr>
            <p:cNvPr id="44" name="Rectangle 43">
              <a:extLst>
                <a:ext uri="{FF2B5EF4-FFF2-40B4-BE49-F238E27FC236}">
                  <a16:creationId xmlns:a16="http://schemas.microsoft.com/office/drawing/2014/main" id="{83A27154-A1D8-447A-8A61-8FB9EEDF2F89}"/>
                </a:ext>
              </a:extLst>
            </p:cNvPr>
            <p:cNvSpPr/>
            <p:nvPr/>
          </p:nvSpPr>
          <p:spPr bwMode="gray">
            <a:xfrm>
              <a:off x="375782" y="3159070"/>
              <a:ext cx="320802" cy="868187"/>
            </a:xfrm>
            <a:prstGeom prst="rect">
              <a:avLst/>
            </a:prstGeom>
            <a:solidFill>
              <a:srgbClr val="DDEFE8"/>
            </a:solidFill>
            <a:ln w="19050" algn="ctr">
              <a:solidFill>
                <a:srgbClr val="9DD4CF"/>
              </a:solidFill>
              <a:miter lim="800000"/>
              <a:headEnd/>
              <a:tailEnd/>
            </a:ln>
          </p:spPr>
          <p:txBody>
            <a:bodyPr wrap="square" lIns="80961" tIns="80961" rIns="80961" bIns="80961" rtlCol="0" anchor="ctr"/>
            <a:lstStyle/>
            <a:p>
              <a:pPr algn="ctr">
                <a:lnSpc>
                  <a:spcPct val="106000"/>
                </a:lnSpc>
                <a:buFont typeface="Wingdings 2" pitchFamily="18" charset="2"/>
                <a:buNone/>
              </a:pPr>
              <a:endParaRPr lang="fr-FR" sz="1457" b="1">
                <a:solidFill>
                  <a:schemeClr val="bg1"/>
                </a:solidFill>
              </a:endParaRPr>
            </a:p>
          </p:txBody>
        </p:sp>
        <p:sp>
          <p:nvSpPr>
            <p:cNvPr id="45" name="TextBox 44">
              <a:extLst>
                <a:ext uri="{FF2B5EF4-FFF2-40B4-BE49-F238E27FC236}">
                  <a16:creationId xmlns:a16="http://schemas.microsoft.com/office/drawing/2014/main" id="{18C561DE-A30F-4FB1-958D-D2F45FC43B87}"/>
                </a:ext>
              </a:extLst>
            </p:cNvPr>
            <p:cNvSpPr txBox="1"/>
            <p:nvPr/>
          </p:nvSpPr>
          <p:spPr>
            <a:xfrm rot="16200000">
              <a:off x="170434" y="3487958"/>
              <a:ext cx="726572" cy="215444"/>
            </a:xfrm>
            <a:prstGeom prst="rect">
              <a:avLst/>
            </a:prstGeom>
            <a:noFill/>
          </p:spPr>
          <p:txBody>
            <a:bodyPr wrap="square" lIns="0" tIns="0" rIns="0" bIns="0" rtlCol="0">
              <a:spAutoFit/>
            </a:bodyPr>
            <a:lstStyle/>
            <a:p>
              <a:pPr algn="ctr">
                <a:spcBef>
                  <a:spcPts val="546"/>
                </a:spcBef>
                <a:buSzPct val="100000"/>
              </a:pPr>
              <a:r>
                <a:rPr lang="fr-FR" sz="1400" b="1" dirty="0">
                  <a:solidFill>
                    <a:srgbClr val="313131"/>
                  </a:solidFill>
                </a:rPr>
                <a:t>Objectif</a:t>
              </a:r>
            </a:p>
          </p:txBody>
        </p:sp>
      </p:grpSp>
      <p:grpSp>
        <p:nvGrpSpPr>
          <p:cNvPr id="74" name="Group 73">
            <a:extLst>
              <a:ext uri="{FF2B5EF4-FFF2-40B4-BE49-F238E27FC236}">
                <a16:creationId xmlns:a16="http://schemas.microsoft.com/office/drawing/2014/main" id="{E094213E-A004-479F-A930-5DD36495D165}"/>
              </a:ext>
            </a:extLst>
          </p:cNvPr>
          <p:cNvGrpSpPr/>
          <p:nvPr/>
        </p:nvGrpSpPr>
        <p:grpSpPr>
          <a:xfrm>
            <a:off x="388308" y="3856142"/>
            <a:ext cx="320802" cy="1513090"/>
            <a:chOff x="375782" y="4137149"/>
            <a:chExt cx="320802" cy="1513090"/>
          </a:xfrm>
        </p:grpSpPr>
        <p:sp>
          <p:nvSpPr>
            <p:cNvPr id="17" name="Rectangle 16">
              <a:extLst>
                <a:ext uri="{FF2B5EF4-FFF2-40B4-BE49-F238E27FC236}">
                  <a16:creationId xmlns:a16="http://schemas.microsoft.com/office/drawing/2014/main" id="{5C9218D4-BCED-48EC-9BFB-32AAA503C44A}"/>
                </a:ext>
              </a:extLst>
            </p:cNvPr>
            <p:cNvSpPr/>
            <p:nvPr/>
          </p:nvSpPr>
          <p:spPr bwMode="gray">
            <a:xfrm>
              <a:off x="375782" y="4137149"/>
              <a:ext cx="320802" cy="1513090"/>
            </a:xfrm>
            <a:prstGeom prst="rect">
              <a:avLst/>
            </a:prstGeom>
            <a:solidFill>
              <a:srgbClr val="DDEFE8"/>
            </a:solidFill>
            <a:ln w="19050" algn="ctr">
              <a:solidFill>
                <a:srgbClr val="9DD4CF"/>
              </a:solidFill>
              <a:miter lim="800000"/>
              <a:headEnd/>
              <a:tailEnd/>
            </a:ln>
          </p:spPr>
          <p:txBody>
            <a:bodyPr wrap="square" lIns="80961" tIns="80961" rIns="80961" bIns="80961" rtlCol="0" anchor="ctr"/>
            <a:lstStyle/>
            <a:p>
              <a:pPr algn="ctr">
                <a:lnSpc>
                  <a:spcPct val="106000"/>
                </a:lnSpc>
                <a:buFont typeface="Wingdings 2" pitchFamily="18" charset="2"/>
                <a:buNone/>
              </a:pPr>
              <a:endParaRPr lang="fr-FR" sz="1457" b="1">
                <a:solidFill>
                  <a:schemeClr val="bg1"/>
                </a:solidFill>
              </a:endParaRPr>
            </a:p>
          </p:txBody>
        </p:sp>
        <p:sp>
          <p:nvSpPr>
            <p:cNvPr id="46" name="TextBox 45">
              <a:extLst>
                <a:ext uri="{FF2B5EF4-FFF2-40B4-BE49-F238E27FC236}">
                  <a16:creationId xmlns:a16="http://schemas.microsoft.com/office/drawing/2014/main" id="{6323946B-DF9D-444C-AB38-A199BEAFADE8}"/>
                </a:ext>
              </a:extLst>
            </p:cNvPr>
            <p:cNvSpPr txBox="1"/>
            <p:nvPr/>
          </p:nvSpPr>
          <p:spPr>
            <a:xfrm rot="16200000">
              <a:off x="-79487" y="4673589"/>
              <a:ext cx="1231342" cy="307777"/>
            </a:xfrm>
            <a:prstGeom prst="rect">
              <a:avLst/>
            </a:prstGeom>
            <a:noFill/>
          </p:spPr>
          <p:txBody>
            <a:bodyPr wrap="square">
              <a:spAutoFit/>
            </a:bodyPr>
            <a:lstStyle/>
            <a:p>
              <a:pPr algn="ctr">
                <a:defRPr/>
              </a:pPr>
              <a:r>
                <a:rPr lang="fr-FR" sz="1400" b="1" dirty="0">
                  <a:latin typeface="+mj-lt"/>
                  <a:ea typeface="Verdana" panose="020B0604030504040204" pitchFamily="34" charset="0"/>
                  <a:cs typeface="Arial" panose="020B0604020202020204" pitchFamily="34" charset="0"/>
                </a:rPr>
                <a:t>Activités clés</a:t>
              </a:r>
            </a:p>
          </p:txBody>
        </p:sp>
      </p:grpSp>
      <p:grpSp>
        <p:nvGrpSpPr>
          <p:cNvPr id="73" name="Group 72">
            <a:extLst>
              <a:ext uri="{FF2B5EF4-FFF2-40B4-BE49-F238E27FC236}">
                <a16:creationId xmlns:a16="http://schemas.microsoft.com/office/drawing/2014/main" id="{4498A057-695E-4390-9716-AF0D210656BA}"/>
              </a:ext>
            </a:extLst>
          </p:cNvPr>
          <p:cNvGrpSpPr/>
          <p:nvPr/>
        </p:nvGrpSpPr>
        <p:grpSpPr>
          <a:xfrm>
            <a:off x="388308" y="5551197"/>
            <a:ext cx="323707" cy="1449854"/>
            <a:chOff x="375782" y="5832204"/>
            <a:chExt cx="323707" cy="1449854"/>
          </a:xfrm>
        </p:grpSpPr>
        <p:sp>
          <p:nvSpPr>
            <p:cNvPr id="16" name="Rectangle 15">
              <a:extLst>
                <a:ext uri="{FF2B5EF4-FFF2-40B4-BE49-F238E27FC236}">
                  <a16:creationId xmlns:a16="http://schemas.microsoft.com/office/drawing/2014/main" id="{AD141237-F420-4F74-B8A7-0128875EEAA6}"/>
                </a:ext>
              </a:extLst>
            </p:cNvPr>
            <p:cNvSpPr/>
            <p:nvPr/>
          </p:nvSpPr>
          <p:spPr bwMode="gray">
            <a:xfrm>
              <a:off x="375782" y="5832204"/>
              <a:ext cx="320802" cy="1449854"/>
            </a:xfrm>
            <a:prstGeom prst="rect">
              <a:avLst/>
            </a:prstGeom>
            <a:solidFill>
              <a:srgbClr val="DDEFE8"/>
            </a:solidFill>
            <a:ln w="19050" algn="ctr">
              <a:solidFill>
                <a:srgbClr val="9DD4CF"/>
              </a:solidFill>
              <a:miter lim="800000"/>
              <a:headEnd/>
              <a:tailEnd/>
            </a:ln>
          </p:spPr>
          <p:txBody>
            <a:bodyPr wrap="square" lIns="80961" tIns="80961" rIns="80961" bIns="80961" rtlCol="0" anchor="ctr"/>
            <a:lstStyle/>
            <a:p>
              <a:pPr algn="ctr">
                <a:lnSpc>
                  <a:spcPct val="106000"/>
                </a:lnSpc>
                <a:buFont typeface="Wingdings 2" pitchFamily="18" charset="2"/>
                <a:buNone/>
              </a:pPr>
              <a:endParaRPr lang="fr-FR" sz="1457" b="1">
                <a:solidFill>
                  <a:schemeClr val="bg1"/>
                </a:solidFill>
              </a:endParaRPr>
            </a:p>
          </p:txBody>
        </p:sp>
        <p:sp>
          <p:nvSpPr>
            <p:cNvPr id="47" name="TextBox 46">
              <a:extLst>
                <a:ext uri="{FF2B5EF4-FFF2-40B4-BE49-F238E27FC236}">
                  <a16:creationId xmlns:a16="http://schemas.microsoft.com/office/drawing/2014/main" id="{4775C403-D3B8-443F-954A-B622B7514775}"/>
                </a:ext>
              </a:extLst>
            </p:cNvPr>
            <p:cNvSpPr txBox="1"/>
            <p:nvPr/>
          </p:nvSpPr>
          <p:spPr>
            <a:xfrm rot="16200000">
              <a:off x="-52701" y="6339851"/>
              <a:ext cx="1196604" cy="307777"/>
            </a:xfrm>
            <a:prstGeom prst="rect">
              <a:avLst/>
            </a:prstGeom>
            <a:noFill/>
          </p:spPr>
          <p:txBody>
            <a:bodyPr wrap="square">
              <a:spAutoFit/>
            </a:bodyPr>
            <a:lstStyle/>
            <a:p>
              <a:pPr algn="ctr" defTabSz="1110298">
                <a:buSzPct val="100000"/>
                <a:defRPr/>
              </a:pPr>
              <a:r>
                <a:rPr lang="fr-FR" sz="1400" b="1" dirty="0">
                  <a:latin typeface="+mj-lt"/>
                  <a:ea typeface="Verdana" panose="020B0604030504040204" pitchFamily="34" charset="0"/>
                  <a:cs typeface="Arial" panose="020B0604020202020204" pitchFamily="34" charset="0"/>
                </a:rPr>
                <a:t>Livrables clés</a:t>
              </a:r>
            </a:p>
          </p:txBody>
        </p:sp>
      </p:grpSp>
      <p:cxnSp>
        <p:nvCxnSpPr>
          <p:cNvPr id="49" name="Straight Connector 48">
            <a:extLst>
              <a:ext uri="{FF2B5EF4-FFF2-40B4-BE49-F238E27FC236}">
                <a16:creationId xmlns:a16="http://schemas.microsoft.com/office/drawing/2014/main" id="{E07E1035-CBA2-4F0A-94CA-B5F846F0F119}"/>
              </a:ext>
            </a:extLst>
          </p:cNvPr>
          <p:cNvCxnSpPr>
            <a:cxnSpLocks/>
          </p:cNvCxnSpPr>
          <p:nvPr/>
        </p:nvCxnSpPr>
        <p:spPr>
          <a:xfrm>
            <a:off x="9766402" y="3803063"/>
            <a:ext cx="332329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D18A310-7263-4BB2-89A9-1E720B7B8BA2}"/>
              </a:ext>
            </a:extLst>
          </p:cNvPr>
          <p:cNvCxnSpPr>
            <a:cxnSpLocks/>
          </p:cNvCxnSpPr>
          <p:nvPr/>
        </p:nvCxnSpPr>
        <p:spPr>
          <a:xfrm>
            <a:off x="6538628" y="3803063"/>
            <a:ext cx="3323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85F11EE-9C26-4E41-A068-4AFB8B9B26F6}"/>
              </a:ext>
            </a:extLst>
          </p:cNvPr>
          <p:cNvCxnSpPr>
            <a:cxnSpLocks/>
          </p:cNvCxnSpPr>
          <p:nvPr/>
        </p:nvCxnSpPr>
        <p:spPr>
          <a:xfrm>
            <a:off x="3843887" y="3803063"/>
            <a:ext cx="332329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8D96CCE-401A-4520-90EC-B88DF0E96158}"/>
              </a:ext>
            </a:extLst>
          </p:cNvPr>
          <p:cNvCxnSpPr>
            <a:cxnSpLocks/>
          </p:cNvCxnSpPr>
          <p:nvPr/>
        </p:nvCxnSpPr>
        <p:spPr>
          <a:xfrm>
            <a:off x="760189" y="3803063"/>
            <a:ext cx="332329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97C69D36-9FC6-4E50-A71B-E08274077504}"/>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70" name="Rectangle 69">
            <a:extLst>
              <a:ext uri="{FF2B5EF4-FFF2-40B4-BE49-F238E27FC236}">
                <a16:creationId xmlns:a16="http://schemas.microsoft.com/office/drawing/2014/main" id="{04C22788-982A-495B-9CAE-614FAA2FDC27}"/>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71" name="Rectangle 70">
            <a:extLst>
              <a:ext uri="{FF2B5EF4-FFF2-40B4-BE49-F238E27FC236}">
                <a16:creationId xmlns:a16="http://schemas.microsoft.com/office/drawing/2014/main" id="{A3DD28D8-B35B-465E-85D9-F0D6922239B0}"/>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6" name="ZoneTexte 85">
            <a:extLst>
              <a:ext uri="{FF2B5EF4-FFF2-40B4-BE49-F238E27FC236}">
                <a16:creationId xmlns:a16="http://schemas.microsoft.com/office/drawing/2014/main" id="{A7D48DAB-18FF-466B-850D-182D187247F5}"/>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7</a:t>
            </a:r>
          </a:p>
        </p:txBody>
      </p:sp>
      <p:grpSp>
        <p:nvGrpSpPr>
          <p:cNvPr id="79" name="Groupe 78">
            <a:extLst>
              <a:ext uri="{FF2B5EF4-FFF2-40B4-BE49-F238E27FC236}">
                <a16:creationId xmlns:a16="http://schemas.microsoft.com/office/drawing/2014/main" id="{750CA73D-5E64-4DA3-A3A3-EDDB499FE2F8}"/>
              </a:ext>
            </a:extLst>
          </p:cNvPr>
          <p:cNvGrpSpPr/>
          <p:nvPr/>
        </p:nvGrpSpPr>
        <p:grpSpPr>
          <a:xfrm>
            <a:off x="3762244" y="519574"/>
            <a:ext cx="927962" cy="544758"/>
            <a:chOff x="8696117" y="519574"/>
            <a:chExt cx="772486" cy="544758"/>
          </a:xfrm>
        </p:grpSpPr>
        <p:sp>
          <p:nvSpPr>
            <p:cNvPr id="80" name="Freeform 926">
              <a:extLst>
                <a:ext uri="{FF2B5EF4-FFF2-40B4-BE49-F238E27FC236}">
                  <a16:creationId xmlns:a16="http://schemas.microsoft.com/office/drawing/2014/main" id="{79AC494A-7DBA-43E8-A361-17D893CD9CEC}"/>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1400"/>
            </a:p>
          </p:txBody>
        </p:sp>
        <p:sp>
          <p:nvSpPr>
            <p:cNvPr id="81" name="TextBox 220">
              <a:extLst>
                <a:ext uri="{FF2B5EF4-FFF2-40B4-BE49-F238E27FC236}">
                  <a16:creationId xmlns:a16="http://schemas.microsoft.com/office/drawing/2014/main" id="{CC475376-771F-4E82-8087-9AE234174C34}"/>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82" name="Groupe 81">
            <a:extLst>
              <a:ext uri="{FF2B5EF4-FFF2-40B4-BE49-F238E27FC236}">
                <a16:creationId xmlns:a16="http://schemas.microsoft.com/office/drawing/2014/main" id="{A1D7960A-E237-4494-B415-A0184FC4BA16}"/>
              </a:ext>
            </a:extLst>
          </p:cNvPr>
          <p:cNvGrpSpPr/>
          <p:nvPr/>
        </p:nvGrpSpPr>
        <p:grpSpPr>
          <a:xfrm>
            <a:off x="10635530" y="519574"/>
            <a:ext cx="1712904" cy="544758"/>
            <a:chOff x="10635530" y="519574"/>
            <a:chExt cx="1425914" cy="544758"/>
          </a:xfrm>
        </p:grpSpPr>
        <p:sp>
          <p:nvSpPr>
            <p:cNvPr id="83" name="Freeform 926">
              <a:extLst>
                <a:ext uri="{FF2B5EF4-FFF2-40B4-BE49-F238E27FC236}">
                  <a16:creationId xmlns:a16="http://schemas.microsoft.com/office/drawing/2014/main" id="{C1225BBE-ED90-46A5-B8CF-3EF402801FC7}"/>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1400"/>
            </a:p>
          </p:txBody>
        </p:sp>
        <p:sp>
          <p:nvSpPr>
            <p:cNvPr id="84" name="TextBox 220">
              <a:extLst>
                <a:ext uri="{FF2B5EF4-FFF2-40B4-BE49-F238E27FC236}">
                  <a16:creationId xmlns:a16="http://schemas.microsoft.com/office/drawing/2014/main" id="{7A2D8028-72D3-47CC-A0F8-3C54C9CE9B59}"/>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a:solidFill>
                    <a:schemeClr val="tx2"/>
                  </a:solidFill>
                </a:rPr>
                <a:t>Aperçu Framework</a:t>
              </a:r>
            </a:p>
          </p:txBody>
        </p:sp>
      </p:grpSp>
      <p:grpSp>
        <p:nvGrpSpPr>
          <p:cNvPr id="85" name="Groupe 84">
            <a:extLst>
              <a:ext uri="{FF2B5EF4-FFF2-40B4-BE49-F238E27FC236}">
                <a16:creationId xmlns:a16="http://schemas.microsoft.com/office/drawing/2014/main" id="{CFF478BE-4D89-455B-9CB8-AA0EDF3FE5E8}"/>
              </a:ext>
            </a:extLst>
          </p:cNvPr>
          <p:cNvGrpSpPr/>
          <p:nvPr/>
        </p:nvGrpSpPr>
        <p:grpSpPr>
          <a:xfrm>
            <a:off x="5701658" y="519574"/>
            <a:ext cx="1321964" cy="544812"/>
            <a:chOff x="3625356" y="519574"/>
            <a:chExt cx="1100474" cy="544812"/>
          </a:xfrm>
        </p:grpSpPr>
        <p:sp>
          <p:nvSpPr>
            <p:cNvPr id="87" name="Freeform 926">
              <a:extLst>
                <a:ext uri="{FF2B5EF4-FFF2-40B4-BE49-F238E27FC236}">
                  <a16:creationId xmlns:a16="http://schemas.microsoft.com/office/drawing/2014/main" id="{2A08F18B-3578-4665-B4CE-6DCACF15632C}"/>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1400" dirty="0"/>
            </a:p>
          </p:txBody>
        </p:sp>
        <p:sp>
          <p:nvSpPr>
            <p:cNvPr id="88" name="TextBox 219">
              <a:extLst>
                <a:ext uri="{FF2B5EF4-FFF2-40B4-BE49-F238E27FC236}">
                  <a16:creationId xmlns:a16="http://schemas.microsoft.com/office/drawing/2014/main" id="{1083F235-F6E2-4A0D-99EE-EA47E5A4F510}"/>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89" name="Groupe 88">
            <a:extLst>
              <a:ext uri="{FF2B5EF4-FFF2-40B4-BE49-F238E27FC236}">
                <a16:creationId xmlns:a16="http://schemas.microsoft.com/office/drawing/2014/main" id="{26719C62-F907-4306-94C1-50454AF914D4}"/>
              </a:ext>
            </a:extLst>
          </p:cNvPr>
          <p:cNvGrpSpPr/>
          <p:nvPr/>
        </p:nvGrpSpPr>
        <p:grpSpPr>
          <a:xfrm>
            <a:off x="7969060" y="519574"/>
            <a:ext cx="1801353" cy="544812"/>
            <a:chOff x="5755870" y="519574"/>
            <a:chExt cx="1499543" cy="544812"/>
          </a:xfrm>
        </p:grpSpPr>
        <p:sp>
          <p:nvSpPr>
            <p:cNvPr id="90" name="Freeform 926">
              <a:extLst>
                <a:ext uri="{FF2B5EF4-FFF2-40B4-BE49-F238E27FC236}">
                  <a16:creationId xmlns:a16="http://schemas.microsoft.com/office/drawing/2014/main" id="{4B2A2C46-F277-4E0D-940B-399C7CA0448A}"/>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1400"/>
            </a:p>
          </p:txBody>
        </p:sp>
        <p:sp>
          <p:nvSpPr>
            <p:cNvPr id="91" name="TextBox 219">
              <a:extLst>
                <a:ext uri="{FF2B5EF4-FFF2-40B4-BE49-F238E27FC236}">
                  <a16:creationId xmlns:a16="http://schemas.microsoft.com/office/drawing/2014/main" id="{7E29A5F2-FE6A-4E45-A904-A8752D252144}"/>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a:solidFill>
                    <a:schemeClr val="tx2"/>
                  </a:solidFill>
                </a:rPr>
                <a:t>Normes et standards</a:t>
              </a:r>
            </a:p>
          </p:txBody>
        </p:sp>
      </p:grpSp>
      <p:grpSp>
        <p:nvGrpSpPr>
          <p:cNvPr id="92" name="Groupe 91">
            <a:extLst>
              <a:ext uri="{FF2B5EF4-FFF2-40B4-BE49-F238E27FC236}">
                <a16:creationId xmlns:a16="http://schemas.microsoft.com/office/drawing/2014/main" id="{B4C594D6-5A14-4223-8190-B8876292C24E}"/>
              </a:ext>
            </a:extLst>
          </p:cNvPr>
          <p:cNvGrpSpPr/>
          <p:nvPr/>
        </p:nvGrpSpPr>
        <p:grpSpPr>
          <a:xfrm>
            <a:off x="1378330" y="519574"/>
            <a:ext cx="1461926" cy="544812"/>
            <a:chOff x="1378330" y="519574"/>
            <a:chExt cx="1216986" cy="544812"/>
          </a:xfrm>
        </p:grpSpPr>
        <p:sp>
          <p:nvSpPr>
            <p:cNvPr id="94" name="TextBox 219">
              <a:extLst>
                <a:ext uri="{FF2B5EF4-FFF2-40B4-BE49-F238E27FC236}">
                  <a16:creationId xmlns:a16="http://schemas.microsoft.com/office/drawing/2014/main" id="{C17BDFCA-C53C-443A-A025-F20A118811C8}"/>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Approche suivie</a:t>
              </a:r>
            </a:p>
          </p:txBody>
        </p:sp>
        <p:sp>
          <p:nvSpPr>
            <p:cNvPr id="110" name="Freeform 926">
              <a:extLst>
                <a:ext uri="{FF2B5EF4-FFF2-40B4-BE49-F238E27FC236}">
                  <a16:creationId xmlns:a16="http://schemas.microsoft.com/office/drawing/2014/main" id="{D8A81DEA-C5AF-499D-BA54-A586D3B46740}"/>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400" dirty="0"/>
            </a:p>
          </p:txBody>
        </p:sp>
      </p:grpSp>
      <p:sp>
        <p:nvSpPr>
          <p:cNvPr id="112" name="Rectangle 111">
            <a:extLst>
              <a:ext uri="{FF2B5EF4-FFF2-40B4-BE49-F238E27FC236}">
                <a16:creationId xmlns:a16="http://schemas.microsoft.com/office/drawing/2014/main" id="{275F5B9D-89B2-4C78-B0A1-4601D29F34A9}"/>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4175492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250"/>
                                        <p:tgtEl>
                                          <p:spTgt spid="73"/>
                                        </p:tgtEl>
                                      </p:cBhvr>
                                    </p:animEffect>
                                    <p:anim calcmode="lin" valueType="num">
                                      <p:cBhvr>
                                        <p:cTn id="8" dur="250" fill="hold"/>
                                        <p:tgtEl>
                                          <p:spTgt spid="73"/>
                                        </p:tgtEl>
                                        <p:attrNameLst>
                                          <p:attrName>ppt_x</p:attrName>
                                        </p:attrNameLst>
                                      </p:cBhvr>
                                      <p:tavLst>
                                        <p:tav tm="0">
                                          <p:val>
                                            <p:strVal val="#ppt_x"/>
                                          </p:val>
                                        </p:tav>
                                        <p:tav tm="100000">
                                          <p:val>
                                            <p:strVal val="#ppt_x"/>
                                          </p:val>
                                        </p:tav>
                                      </p:tavLst>
                                    </p:anim>
                                    <p:anim calcmode="lin" valueType="num">
                                      <p:cBhvr>
                                        <p:cTn id="9" dur="250" fill="hold"/>
                                        <p:tgtEl>
                                          <p:spTgt spid="73"/>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42" presetClass="entr" presetSubtype="0" fill="hold" nodeType="afterEffect">
                                  <p:stCondLst>
                                    <p:cond delay="0"/>
                                  </p:stCondLst>
                                  <p:childTnLst>
                                    <p:set>
                                      <p:cBhvr>
                                        <p:cTn id="12" dur="1" fill="hold">
                                          <p:stCondLst>
                                            <p:cond delay="0"/>
                                          </p:stCondLst>
                                        </p:cTn>
                                        <p:tgtEl>
                                          <p:spTgt spid="74"/>
                                        </p:tgtEl>
                                        <p:attrNameLst>
                                          <p:attrName>style.visibility</p:attrName>
                                        </p:attrNameLst>
                                      </p:cBhvr>
                                      <p:to>
                                        <p:strVal val="visible"/>
                                      </p:to>
                                    </p:set>
                                    <p:animEffect transition="in" filter="fade">
                                      <p:cBhvr>
                                        <p:cTn id="13" dur="250"/>
                                        <p:tgtEl>
                                          <p:spTgt spid="74"/>
                                        </p:tgtEl>
                                      </p:cBhvr>
                                    </p:animEffect>
                                    <p:anim calcmode="lin" valueType="num">
                                      <p:cBhvr>
                                        <p:cTn id="14" dur="250" fill="hold"/>
                                        <p:tgtEl>
                                          <p:spTgt spid="74"/>
                                        </p:tgtEl>
                                        <p:attrNameLst>
                                          <p:attrName>ppt_x</p:attrName>
                                        </p:attrNameLst>
                                      </p:cBhvr>
                                      <p:tavLst>
                                        <p:tav tm="0">
                                          <p:val>
                                            <p:strVal val="#ppt_x"/>
                                          </p:val>
                                        </p:tav>
                                        <p:tav tm="100000">
                                          <p:val>
                                            <p:strVal val="#ppt_x"/>
                                          </p:val>
                                        </p:tav>
                                      </p:tavLst>
                                    </p:anim>
                                    <p:anim calcmode="lin" valueType="num">
                                      <p:cBhvr>
                                        <p:cTn id="15" dur="250" fill="hold"/>
                                        <p:tgtEl>
                                          <p:spTgt spid="74"/>
                                        </p:tgtEl>
                                        <p:attrNameLst>
                                          <p:attrName>ppt_y</p:attrName>
                                        </p:attrNameLst>
                                      </p:cBhvr>
                                      <p:tavLst>
                                        <p:tav tm="0">
                                          <p:val>
                                            <p:strVal val="#ppt_y+.1"/>
                                          </p:val>
                                        </p:tav>
                                        <p:tav tm="100000">
                                          <p:val>
                                            <p:strVal val="#ppt_y"/>
                                          </p:val>
                                        </p:tav>
                                      </p:tavLst>
                                    </p:anim>
                                  </p:childTnLst>
                                </p:cTn>
                              </p:par>
                            </p:childTnLst>
                          </p:cTn>
                        </p:par>
                        <p:par>
                          <p:cTn id="16" fill="hold">
                            <p:stCondLst>
                              <p:cond delay="500"/>
                            </p:stCondLst>
                            <p:childTnLst>
                              <p:par>
                                <p:cTn id="17" presetID="42" presetClass="entr" presetSubtype="0" fill="hold" nodeType="after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250"/>
                                        <p:tgtEl>
                                          <p:spTgt spid="75"/>
                                        </p:tgtEl>
                                      </p:cBhvr>
                                    </p:animEffect>
                                    <p:anim calcmode="lin" valueType="num">
                                      <p:cBhvr>
                                        <p:cTn id="20" dur="250" fill="hold"/>
                                        <p:tgtEl>
                                          <p:spTgt spid="75"/>
                                        </p:tgtEl>
                                        <p:attrNameLst>
                                          <p:attrName>ppt_x</p:attrName>
                                        </p:attrNameLst>
                                      </p:cBhvr>
                                      <p:tavLst>
                                        <p:tav tm="0">
                                          <p:val>
                                            <p:strVal val="#ppt_x"/>
                                          </p:val>
                                        </p:tav>
                                        <p:tav tm="100000">
                                          <p:val>
                                            <p:strVal val="#ppt_x"/>
                                          </p:val>
                                        </p:tav>
                                      </p:tavLst>
                                    </p:anim>
                                    <p:anim calcmode="lin" valueType="num">
                                      <p:cBhvr>
                                        <p:cTn id="21" dur="250" fill="hold"/>
                                        <p:tgtEl>
                                          <p:spTgt spid="75"/>
                                        </p:tgtEl>
                                        <p:attrNameLst>
                                          <p:attrName>ppt_y</p:attrName>
                                        </p:attrNameLst>
                                      </p:cBhvr>
                                      <p:tavLst>
                                        <p:tav tm="0">
                                          <p:val>
                                            <p:strVal val="#ppt_y+.1"/>
                                          </p:val>
                                        </p:tav>
                                        <p:tav tm="100000">
                                          <p:val>
                                            <p:strVal val="#ppt_y"/>
                                          </p:val>
                                        </p:tav>
                                      </p:tavLst>
                                    </p:anim>
                                  </p:childTnLst>
                                </p:cTn>
                              </p:par>
                            </p:childTnLst>
                          </p:cTn>
                        </p:par>
                        <p:par>
                          <p:cTn id="22" fill="hold">
                            <p:stCondLst>
                              <p:cond delay="750"/>
                            </p:stCondLst>
                            <p:childTnLst>
                              <p:par>
                                <p:cTn id="23" presetID="23" presetClass="entr" presetSubtype="16" fill="hold" grpId="0" nodeType="after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p:cTn id="25" dur="500" fill="hold"/>
                                        <p:tgtEl>
                                          <p:spTgt spid="31"/>
                                        </p:tgtEl>
                                        <p:attrNameLst>
                                          <p:attrName>ppt_w</p:attrName>
                                        </p:attrNameLst>
                                      </p:cBhvr>
                                      <p:tavLst>
                                        <p:tav tm="0">
                                          <p:val>
                                            <p:fltVal val="0"/>
                                          </p:val>
                                        </p:tav>
                                        <p:tav tm="100000">
                                          <p:val>
                                            <p:strVal val="#ppt_w"/>
                                          </p:val>
                                        </p:tav>
                                      </p:tavLst>
                                    </p:anim>
                                    <p:anim calcmode="lin" valueType="num">
                                      <p:cBhvr>
                                        <p:cTn id="26" dur="500" fill="hold"/>
                                        <p:tgtEl>
                                          <p:spTgt spid="31"/>
                                        </p:tgtEl>
                                        <p:attrNameLst>
                                          <p:attrName>ppt_h</p:attrName>
                                        </p:attrNameLst>
                                      </p:cBhvr>
                                      <p:tavLst>
                                        <p:tav tm="0">
                                          <p:val>
                                            <p:fltVal val="0"/>
                                          </p:val>
                                        </p:tav>
                                        <p:tav tm="100000">
                                          <p:val>
                                            <p:strVal val="#ppt_h"/>
                                          </p:val>
                                        </p:tav>
                                      </p:tavLst>
                                    </p:anim>
                                  </p:childTnLst>
                                </p:cTn>
                              </p:par>
                            </p:childTnLst>
                          </p:cTn>
                        </p:par>
                        <p:par>
                          <p:cTn id="27" fill="hold">
                            <p:stCondLst>
                              <p:cond delay="1250"/>
                            </p:stCondLst>
                            <p:childTnLst>
                              <p:par>
                                <p:cTn id="28" presetID="53" presetClass="entr" presetSubtype="16" fill="hold" nodeType="afterEffect">
                                  <p:stCondLst>
                                    <p:cond delay="0"/>
                                  </p:stCondLst>
                                  <p:childTnLst>
                                    <p:set>
                                      <p:cBhvr>
                                        <p:cTn id="29" dur="1" fill="hold">
                                          <p:stCondLst>
                                            <p:cond delay="0"/>
                                          </p:stCondLst>
                                        </p:cTn>
                                        <p:tgtEl>
                                          <p:spTgt spid="35"/>
                                        </p:tgtEl>
                                        <p:attrNameLst>
                                          <p:attrName>style.visibility</p:attrName>
                                        </p:attrNameLst>
                                      </p:cBhvr>
                                      <p:to>
                                        <p:strVal val="visible"/>
                                      </p:to>
                                    </p:set>
                                    <p:anim calcmode="lin" valueType="num">
                                      <p:cBhvr>
                                        <p:cTn id="30" dur="500" fill="hold"/>
                                        <p:tgtEl>
                                          <p:spTgt spid="35"/>
                                        </p:tgtEl>
                                        <p:attrNameLst>
                                          <p:attrName>ppt_w</p:attrName>
                                        </p:attrNameLst>
                                      </p:cBhvr>
                                      <p:tavLst>
                                        <p:tav tm="0">
                                          <p:val>
                                            <p:fltVal val="0"/>
                                          </p:val>
                                        </p:tav>
                                        <p:tav tm="100000">
                                          <p:val>
                                            <p:strVal val="#ppt_w"/>
                                          </p:val>
                                        </p:tav>
                                      </p:tavLst>
                                    </p:anim>
                                    <p:anim calcmode="lin" valueType="num">
                                      <p:cBhvr>
                                        <p:cTn id="31" dur="500" fill="hold"/>
                                        <p:tgtEl>
                                          <p:spTgt spid="35"/>
                                        </p:tgtEl>
                                        <p:attrNameLst>
                                          <p:attrName>ppt_h</p:attrName>
                                        </p:attrNameLst>
                                      </p:cBhvr>
                                      <p:tavLst>
                                        <p:tav tm="0">
                                          <p:val>
                                            <p:fltVal val="0"/>
                                          </p:val>
                                        </p:tav>
                                        <p:tav tm="100000">
                                          <p:val>
                                            <p:strVal val="#ppt_h"/>
                                          </p:val>
                                        </p:tav>
                                      </p:tavLst>
                                    </p:anim>
                                    <p:animEffect transition="in" filter="fade">
                                      <p:cBhvr>
                                        <p:cTn id="32" dur="500"/>
                                        <p:tgtEl>
                                          <p:spTgt spid="35"/>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p:cTn id="35" dur="500" fill="hold"/>
                                        <p:tgtEl>
                                          <p:spTgt spid="29"/>
                                        </p:tgtEl>
                                        <p:attrNameLst>
                                          <p:attrName>ppt_w</p:attrName>
                                        </p:attrNameLst>
                                      </p:cBhvr>
                                      <p:tavLst>
                                        <p:tav tm="0">
                                          <p:val>
                                            <p:fltVal val="0"/>
                                          </p:val>
                                        </p:tav>
                                        <p:tav tm="100000">
                                          <p:val>
                                            <p:strVal val="#ppt_w"/>
                                          </p:val>
                                        </p:tav>
                                      </p:tavLst>
                                    </p:anim>
                                    <p:anim calcmode="lin" valueType="num">
                                      <p:cBhvr>
                                        <p:cTn id="36" dur="500" fill="hold"/>
                                        <p:tgtEl>
                                          <p:spTgt spid="29"/>
                                        </p:tgtEl>
                                        <p:attrNameLst>
                                          <p:attrName>ppt_h</p:attrName>
                                        </p:attrNameLst>
                                      </p:cBhvr>
                                      <p:tavLst>
                                        <p:tav tm="0">
                                          <p:val>
                                            <p:fltVal val="0"/>
                                          </p:val>
                                        </p:tav>
                                        <p:tav tm="100000">
                                          <p:val>
                                            <p:strVal val="#ppt_h"/>
                                          </p:val>
                                        </p:tav>
                                      </p:tavLst>
                                    </p:anim>
                                    <p:animEffect transition="in" filter="fade">
                                      <p:cBhvr>
                                        <p:cTn id="37" dur="500"/>
                                        <p:tgtEl>
                                          <p:spTgt spid="29"/>
                                        </p:tgtEl>
                                      </p:cBhvr>
                                    </p:animEffect>
                                  </p:childTnLst>
                                </p:cTn>
                              </p:par>
                              <p:par>
                                <p:cTn id="38" presetID="53" presetClass="entr" presetSubtype="16" fill="hold"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fill="hold"/>
                                        <p:tgtEl>
                                          <p:spTgt spid="68"/>
                                        </p:tgtEl>
                                        <p:attrNameLst>
                                          <p:attrName>ppt_w</p:attrName>
                                        </p:attrNameLst>
                                      </p:cBhvr>
                                      <p:tavLst>
                                        <p:tav tm="0">
                                          <p:val>
                                            <p:fltVal val="0"/>
                                          </p:val>
                                        </p:tav>
                                        <p:tav tm="100000">
                                          <p:val>
                                            <p:strVal val="#ppt_w"/>
                                          </p:val>
                                        </p:tav>
                                      </p:tavLst>
                                    </p:anim>
                                    <p:anim calcmode="lin" valueType="num">
                                      <p:cBhvr>
                                        <p:cTn id="41" dur="500" fill="hold"/>
                                        <p:tgtEl>
                                          <p:spTgt spid="68"/>
                                        </p:tgtEl>
                                        <p:attrNameLst>
                                          <p:attrName>ppt_h</p:attrName>
                                        </p:attrNameLst>
                                      </p:cBhvr>
                                      <p:tavLst>
                                        <p:tav tm="0">
                                          <p:val>
                                            <p:fltVal val="0"/>
                                          </p:val>
                                        </p:tav>
                                        <p:tav tm="100000">
                                          <p:val>
                                            <p:strVal val="#ppt_h"/>
                                          </p:val>
                                        </p:tav>
                                      </p:tavLst>
                                    </p:anim>
                                    <p:animEffect transition="in" filter="fade">
                                      <p:cBhvr>
                                        <p:cTn id="42" dur="500"/>
                                        <p:tgtEl>
                                          <p:spTgt spid="68"/>
                                        </p:tgtEl>
                                      </p:cBhvr>
                                    </p:animEffect>
                                  </p:childTnLst>
                                </p:cTn>
                              </p:par>
                              <p:par>
                                <p:cTn id="43" presetID="53" presetClass="entr" presetSubtype="16" fill="hold" nodeType="withEffect">
                                  <p:stCondLst>
                                    <p:cond delay="0"/>
                                  </p:stCondLst>
                                  <p:childTnLst>
                                    <p:set>
                                      <p:cBhvr>
                                        <p:cTn id="44" dur="1" fill="hold">
                                          <p:stCondLst>
                                            <p:cond delay="0"/>
                                          </p:stCondLst>
                                        </p:cTn>
                                        <p:tgtEl>
                                          <p:spTgt spid="30"/>
                                        </p:tgtEl>
                                        <p:attrNameLst>
                                          <p:attrName>style.visibility</p:attrName>
                                        </p:attrNameLst>
                                      </p:cBhvr>
                                      <p:to>
                                        <p:strVal val="visible"/>
                                      </p:to>
                                    </p:set>
                                    <p:anim calcmode="lin" valueType="num">
                                      <p:cBhvr>
                                        <p:cTn id="45" dur="500" fill="hold"/>
                                        <p:tgtEl>
                                          <p:spTgt spid="30"/>
                                        </p:tgtEl>
                                        <p:attrNameLst>
                                          <p:attrName>ppt_w</p:attrName>
                                        </p:attrNameLst>
                                      </p:cBhvr>
                                      <p:tavLst>
                                        <p:tav tm="0">
                                          <p:val>
                                            <p:fltVal val="0"/>
                                          </p:val>
                                        </p:tav>
                                        <p:tav tm="100000">
                                          <p:val>
                                            <p:strVal val="#ppt_w"/>
                                          </p:val>
                                        </p:tav>
                                      </p:tavLst>
                                    </p:anim>
                                    <p:anim calcmode="lin" valueType="num">
                                      <p:cBhvr>
                                        <p:cTn id="46" dur="500" fill="hold"/>
                                        <p:tgtEl>
                                          <p:spTgt spid="30"/>
                                        </p:tgtEl>
                                        <p:attrNameLst>
                                          <p:attrName>ppt_h</p:attrName>
                                        </p:attrNameLst>
                                      </p:cBhvr>
                                      <p:tavLst>
                                        <p:tav tm="0">
                                          <p:val>
                                            <p:fltVal val="0"/>
                                          </p:val>
                                        </p:tav>
                                        <p:tav tm="100000">
                                          <p:val>
                                            <p:strVal val="#ppt_h"/>
                                          </p:val>
                                        </p:tav>
                                      </p:tavLst>
                                    </p:anim>
                                    <p:animEffect transition="in" filter="fade">
                                      <p:cBhvr>
                                        <p:cTn id="47" dur="500"/>
                                        <p:tgtEl>
                                          <p:spTgt spid="30"/>
                                        </p:tgtEl>
                                      </p:cBhvr>
                                    </p:animEffect>
                                  </p:childTnLst>
                                </p:cTn>
                              </p:par>
                              <p:par>
                                <p:cTn id="48" presetID="53" presetClass="entr" presetSubtype="16" fill="hold" nodeType="withEffect">
                                  <p:stCondLst>
                                    <p:cond delay="0"/>
                                  </p:stCondLst>
                                  <p:childTnLst>
                                    <p:set>
                                      <p:cBhvr>
                                        <p:cTn id="49" dur="1" fill="hold">
                                          <p:stCondLst>
                                            <p:cond delay="0"/>
                                          </p:stCondLst>
                                        </p:cTn>
                                        <p:tgtEl>
                                          <p:spTgt spid="52"/>
                                        </p:tgtEl>
                                        <p:attrNameLst>
                                          <p:attrName>style.visibility</p:attrName>
                                        </p:attrNameLst>
                                      </p:cBhvr>
                                      <p:to>
                                        <p:strVal val="visible"/>
                                      </p:to>
                                    </p:set>
                                    <p:anim calcmode="lin" valueType="num">
                                      <p:cBhvr>
                                        <p:cTn id="50" dur="500" fill="hold"/>
                                        <p:tgtEl>
                                          <p:spTgt spid="52"/>
                                        </p:tgtEl>
                                        <p:attrNameLst>
                                          <p:attrName>ppt_w</p:attrName>
                                        </p:attrNameLst>
                                      </p:cBhvr>
                                      <p:tavLst>
                                        <p:tav tm="0">
                                          <p:val>
                                            <p:fltVal val="0"/>
                                          </p:val>
                                        </p:tav>
                                        <p:tav tm="100000">
                                          <p:val>
                                            <p:strVal val="#ppt_w"/>
                                          </p:val>
                                        </p:tav>
                                      </p:tavLst>
                                    </p:anim>
                                    <p:anim calcmode="lin" valueType="num">
                                      <p:cBhvr>
                                        <p:cTn id="51" dur="500" fill="hold"/>
                                        <p:tgtEl>
                                          <p:spTgt spid="52"/>
                                        </p:tgtEl>
                                        <p:attrNameLst>
                                          <p:attrName>ppt_h</p:attrName>
                                        </p:attrNameLst>
                                      </p:cBhvr>
                                      <p:tavLst>
                                        <p:tav tm="0">
                                          <p:val>
                                            <p:fltVal val="0"/>
                                          </p:val>
                                        </p:tav>
                                        <p:tav tm="100000">
                                          <p:val>
                                            <p:strVal val="#ppt_h"/>
                                          </p:val>
                                        </p:tav>
                                      </p:tavLst>
                                    </p:anim>
                                    <p:animEffect transition="in" filter="fade">
                                      <p:cBhvr>
                                        <p:cTn id="52" dur="500"/>
                                        <p:tgtEl>
                                          <p:spTgt spid="52"/>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40"/>
                                        </p:tgtEl>
                                        <p:attrNameLst>
                                          <p:attrName>style.visibility</p:attrName>
                                        </p:attrNameLst>
                                      </p:cBhvr>
                                      <p:to>
                                        <p:strVal val="visible"/>
                                      </p:to>
                                    </p:set>
                                    <p:anim calcmode="lin" valueType="num">
                                      <p:cBhvr>
                                        <p:cTn id="55" dur="500" fill="hold"/>
                                        <p:tgtEl>
                                          <p:spTgt spid="40"/>
                                        </p:tgtEl>
                                        <p:attrNameLst>
                                          <p:attrName>ppt_w</p:attrName>
                                        </p:attrNameLst>
                                      </p:cBhvr>
                                      <p:tavLst>
                                        <p:tav tm="0">
                                          <p:val>
                                            <p:fltVal val="0"/>
                                          </p:val>
                                        </p:tav>
                                        <p:tav tm="100000">
                                          <p:val>
                                            <p:strVal val="#ppt_w"/>
                                          </p:val>
                                        </p:tav>
                                      </p:tavLst>
                                    </p:anim>
                                    <p:anim calcmode="lin" valueType="num">
                                      <p:cBhvr>
                                        <p:cTn id="56" dur="500" fill="hold"/>
                                        <p:tgtEl>
                                          <p:spTgt spid="40"/>
                                        </p:tgtEl>
                                        <p:attrNameLst>
                                          <p:attrName>ppt_h</p:attrName>
                                        </p:attrNameLst>
                                      </p:cBhvr>
                                      <p:tavLst>
                                        <p:tav tm="0">
                                          <p:val>
                                            <p:fltVal val="0"/>
                                          </p:val>
                                        </p:tav>
                                        <p:tav tm="100000">
                                          <p:val>
                                            <p:strVal val="#ppt_h"/>
                                          </p:val>
                                        </p:tav>
                                      </p:tavLst>
                                    </p:anim>
                                    <p:animEffect transition="in" filter="fade">
                                      <p:cBhvr>
                                        <p:cTn id="57" dur="500"/>
                                        <p:tgtEl>
                                          <p:spTgt spid="40"/>
                                        </p:tgtEl>
                                      </p:cBhvr>
                                    </p:animEffect>
                                  </p:childTnLst>
                                </p:cTn>
                              </p:par>
                              <p:par>
                                <p:cTn id="58" presetID="53" presetClass="entr" presetSubtype="16" fill="hold" nodeType="withEffect">
                                  <p:stCondLst>
                                    <p:cond delay="0"/>
                                  </p:stCondLst>
                                  <p:childTnLst>
                                    <p:set>
                                      <p:cBhvr>
                                        <p:cTn id="59" dur="1" fill="hold">
                                          <p:stCondLst>
                                            <p:cond delay="0"/>
                                          </p:stCondLst>
                                        </p:cTn>
                                        <p:tgtEl>
                                          <p:spTgt spid="56"/>
                                        </p:tgtEl>
                                        <p:attrNameLst>
                                          <p:attrName>style.visibility</p:attrName>
                                        </p:attrNameLst>
                                      </p:cBhvr>
                                      <p:to>
                                        <p:strVal val="visible"/>
                                      </p:to>
                                    </p:set>
                                    <p:anim calcmode="lin" valueType="num">
                                      <p:cBhvr>
                                        <p:cTn id="60" dur="500" fill="hold"/>
                                        <p:tgtEl>
                                          <p:spTgt spid="56"/>
                                        </p:tgtEl>
                                        <p:attrNameLst>
                                          <p:attrName>ppt_w</p:attrName>
                                        </p:attrNameLst>
                                      </p:cBhvr>
                                      <p:tavLst>
                                        <p:tav tm="0">
                                          <p:val>
                                            <p:fltVal val="0"/>
                                          </p:val>
                                        </p:tav>
                                        <p:tav tm="100000">
                                          <p:val>
                                            <p:strVal val="#ppt_w"/>
                                          </p:val>
                                        </p:tav>
                                      </p:tavLst>
                                    </p:anim>
                                    <p:anim calcmode="lin" valueType="num">
                                      <p:cBhvr>
                                        <p:cTn id="61" dur="500" fill="hold"/>
                                        <p:tgtEl>
                                          <p:spTgt spid="56"/>
                                        </p:tgtEl>
                                        <p:attrNameLst>
                                          <p:attrName>ppt_h</p:attrName>
                                        </p:attrNameLst>
                                      </p:cBhvr>
                                      <p:tavLst>
                                        <p:tav tm="0">
                                          <p:val>
                                            <p:fltVal val="0"/>
                                          </p:val>
                                        </p:tav>
                                        <p:tav tm="100000">
                                          <p:val>
                                            <p:strVal val="#ppt_h"/>
                                          </p:val>
                                        </p:tav>
                                      </p:tavLst>
                                    </p:anim>
                                    <p:animEffect transition="in" filter="fade">
                                      <p:cBhvr>
                                        <p:cTn id="62" dur="500"/>
                                        <p:tgtEl>
                                          <p:spTgt spid="56"/>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p:cTn id="65" dur="500" fill="hold"/>
                                        <p:tgtEl>
                                          <p:spTgt spid="28"/>
                                        </p:tgtEl>
                                        <p:attrNameLst>
                                          <p:attrName>ppt_w</p:attrName>
                                        </p:attrNameLst>
                                      </p:cBhvr>
                                      <p:tavLst>
                                        <p:tav tm="0">
                                          <p:val>
                                            <p:fltVal val="0"/>
                                          </p:val>
                                        </p:tav>
                                        <p:tav tm="100000">
                                          <p:val>
                                            <p:strVal val="#ppt_w"/>
                                          </p:val>
                                        </p:tav>
                                      </p:tavLst>
                                    </p:anim>
                                    <p:anim calcmode="lin" valueType="num">
                                      <p:cBhvr>
                                        <p:cTn id="66" dur="500" fill="hold"/>
                                        <p:tgtEl>
                                          <p:spTgt spid="28"/>
                                        </p:tgtEl>
                                        <p:attrNameLst>
                                          <p:attrName>ppt_h</p:attrName>
                                        </p:attrNameLst>
                                      </p:cBhvr>
                                      <p:tavLst>
                                        <p:tav tm="0">
                                          <p:val>
                                            <p:fltVal val="0"/>
                                          </p:val>
                                        </p:tav>
                                        <p:tav tm="100000">
                                          <p:val>
                                            <p:strVal val="#ppt_h"/>
                                          </p:val>
                                        </p:tav>
                                      </p:tavLst>
                                    </p:anim>
                                    <p:animEffect transition="in" filter="fade">
                                      <p:cBhvr>
                                        <p:cTn id="67" dur="500"/>
                                        <p:tgtEl>
                                          <p:spTgt spid="28"/>
                                        </p:tgtEl>
                                      </p:cBhvr>
                                    </p:animEffect>
                                  </p:childTnLst>
                                </p:cTn>
                              </p:par>
                            </p:childTnLst>
                          </p:cTn>
                        </p:par>
                      </p:childTnLst>
                    </p:cTn>
                  </p:par>
                  <p:par>
                    <p:cTn id="68" fill="hold">
                      <p:stCondLst>
                        <p:cond delay="indefinite"/>
                      </p:stCondLst>
                      <p:childTnLst>
                        <p:par>
                          <p:cTn id="69" fill="hold">
                            <p:stCondLst>
                              <p:cond delay="0"/>
                            </p:stCondLst>
                            <p:childTnLst>
                              <p:par>
                                <p:cTn id="70" presetID="23" presetClass="entr" presetSubtype="16" fill="hold" grpId="0" nodeType="clickEffect">
                                  <p:stCondLst>
                                    <p:cond delay="0"/>
                                  </p:stCondLst>
                                  <p:childTnLst>
                                    <p:set>
                                      <p:cBhvr>
                                        <p:cTn id="71" dur="1" fill="hold">
                                          <p:stCondLst>
                                            <p:cond delay="0"/>
                                          </p:stCondLst>
                                        </p:cTn>
                                        <p:tgtEl>
                                          <p:spTgt spid="32"/>
                                        </p:tgtEl>
                                        <p:attrNameLst>
                                          <p:attrName>style.visibility</p:attrName>
                                        </p:attrNameLst>
                                      </p:cBhvr>
                                      <p:to>
                                        <p:strVal val="visible"/>
                                      </p:to>
                                    </p:set>
                                    <p:anim calcmode="lin" valueType="num">
                                      <p:cBhvr>
                                        <p:cTn id="72" dur="500" fill="hold"/>
                                        <p:tgtEl>
                                          <p:spTgt spid="32"/>
                                        </p:tgtEl>
                                        <p:attrNameLst>
                                          <p:attrName>ppt_w</p:attrName>
                                        </p:attrNameLst>
                                      </p:cBhvr>
                                      <p:tavLst>
                                        <p:tav tm="0">
                                          <p:val>
                                            <p:fltVal val="0"/>
                                          </p:val>
                                        </p:tav>
                                        <p:tav tm="100000">
                                          <p:val>
                                            <p:strVal val="#ppt_w"/>
                                          </p:val>
                                        </p:tav>
                                      </p:tavLst>
                                    </p:anim>
                                    <p:anim calcmode="lin" valueType="num">
                                      <p:cBhvr>
                                        <p:cTn id="73" dur="500" fill="hold"/>
                                        <p:tgtEl>
                                          <p:spTgt spid="32"/>
                                        </p:tgtEl>
                                        <p:attrNameLst>
                                          <p:attrName>ppt_h</p:attrName>
                                        </p:attrNameLst>
                                      </p:cBhvr>
                                      <p:tavLst>
                                        <p:tav tm="0">
                                          <p:val>
                                            <p:fltVal val="0"/>
                                          </p:val>
                                        </p:tav>
                                        <p:tav tm="100000">
                                          <p:val>
                                            <p:strVal val="#ppt_h"/>
                                          </p:val>
                                        </p:tav>
                                      </p:tavLst>
                                    </p:anim>
                                  </p:childTnLst>
                                </p:cTn>
                              </p:par>
                            </p:childTnLst>
                          </p:cTn>
                        </p:par>
                        <p:par>
                          <p:cTn id="74" fill="hold">
                            <p:stCondLst>
                              <p:cond delay="500"/>
                            </p:stCondLst>
                            <p:childTnLst>
                              <p:par>
                                <p:cTn id="75" presetID="53" presetClass="entr" presetSubtype="16" fill="hold" nodeType="afterEffect">
                                  <p:stCondLst>
                                    <p:cond delay="0"/>
                                  </p:stCondLst>
                                  <p:childTnLst>
                                    <p:set>
                                      <p:cBhvr>
                                        <p:cTn id="76" dur="1" fill="hold">
                                          <p:stCondLst>
                                            <p:cond delay="0"/>
                                          </p:stCondLst>
                                        </p:cTn>
                                        <p:tgtEl>
                                          <p:spTgt spid="36"/>
                                        </p:tgtEl>
                                        <p:attrNameLst>
                                          <p:attrName>style.visibility</p:attrName>
                                        </p:attrNameLst>
                                      </p:cBhvr>
                                      <p:to>
                                        <p:strVal val="visible"/>
                                      </p:to>
                                    </p:set>
                                    <p:anim calcmode="lin" valueType="num">
                                      <p:cBhvr>
                                        <p:cTn id="77" dur="500" fill="hold"/>
                                        <p:tgtEl>
                                          <p:spTgt spid="36"/>
                                        </p:tgtEl>
                                        <p:attrNameLst>
                                          <p:attrName>ppt_w</p:attrName>
                                        </p:attrNameLst>
                                      </p:cBhvr>
                                      <p:tavLst>
                                        <p:tav tm="0">
                                          <p:val>
                                            <p:fltVal val="0"/>
                                          </p:val>
                                        </p:tav>
                                        <p:tav tm="100000">
                                          <p:val>
                                            <p:strVal val="#ppt_w"/>
                                          </p:val>
                                        </p:tav>
                                      </p:tavLst>
                                    </p:anim>
                                    <p:anim calcmode="lin" valueType="num">
                                      <p:cBhvr>
                                        <p:cTn id="78" dur="500" fill="hold"/>
                                        <p:tgtEl>
                                          <p:spTgt spid="36"/>
                                        </p:tgtEl>
                                        <p:attrNameLst>
                                          <p:attrName>ppt_h</p:attrName>
                                        </p:attrNameLst>
                                      </p:cBhvr>
                                      <p:tavLst>
                                        <p:tav tm="0">
                                          <p:val>
                                            <p:fltVal val="0"/>
                                          </p:val>
                                        </p:tav>
                                        <p:tav tm="100000">
                                          <p:val>
                                            <p:strVal val="#ppt_h"/>
                                          </p:val>
                                        </p:tav>
                                      </p:tavLst>
                                    </p:anim>
                                    <p:animEffect transition="in" filter="fade">
                                      <p:cBhvr>
                                        <p:cTn id="79" dur="500"/>
                                        <p:tgtEl>
                                          <p:spTgt spid="36"/>
                                        </p:tgtEl>
                                      </p:cBhvr>
                                    </p:animEffect>
                                  </p:childTnLst>
                                </p:cTn>
                              </p:par>
                              <p:par>
                                <p:cTn id="80" presetID="53" presetClass="entr" presetSubtype="16" fill="hold" nodeType="withEffect">
                                  <p:stCondLst>
                                    <p:cond delay="0"/>
                                  </p:stCondLst>
                                  <p:childTnLst>
                                    <p:set>
                                      <p:cBhvr>
                                        <p:cTn id="81" dur="1" fill="hold">
                                          <p:stCondLst>
                                            <p:cond delay="0"/>
                                          </p:stCondLst>
                                        </p:cTn>
                                        <p:tgtEl>
                                          <p:spTgt spid="67"/>
                                        </p:tgtEl>
                                        <p:attrNameLst>
                                          <p:attrName>style.visibility</p:attrName>
                                        </p:attrNameLst>
                                      </p:cBhvr>
                                      <p:to>
                                        <p:strVal val="visible"/>
                                      </p:to>
                                    </p:set>
                                    <p:anim calcmode="lin" valueType="num">
                                      <p:cBhvr>
                                        <p:cTn id="82" dur="500" fill="hold"/>
                                        <p:tgtEl>
                                          <p:spTgt spid="67"/>
                                        </p:tgtEl>
                                        <p:attrNameLst>
                                          <p:attrName>ppt_w</p:attrName>
                                        </p:attrNameLst>
                                      </p:cBhvr>
                                      <p:tavLst>
                                        <p:tav tm="0">
                                          <p:val>
                                            <p:fltVal val="0"/>
                                          </p:val>
                                        </p:tav>
                                        <p:tav tm="100000">
                                          <p:val>
                                            <p:strVal val="#ppt_w"/>
                                          </p:val>
                                        </p:tav>
                                      </p:tavLst>
                                    </p:anim>
                                    <p:anim calcmode="lin" valueType="num">
                                      <p:cBhvr>
                                        <p:cTn id="83" dur="500" fill="hold"/>
                                        <p:tgtEl>
                                          <p:spTgt spid="67"/>
                                        </p:tgtEl>
                                        <p:attrNameLst>
                                          <p:attrName>ppt_h</p:attrName>
                                        </p:attrNameLst>
                                      </p:cBhvr>
                                      <p:tavLst>
                                        <p:tav tm="0">
                                          <p:val>
                                            <p:fltVal val="0"/>
                                          </p:val>
                                        </p:tav>
                                        <p:tav tm="100000">
                                          <p:val>
                                            <p:strVal val="#ppt_h"/>
                                          </p:val>
                                        </p:tav>
                                      </p:tavLst>
                                    </p:anim>
                                    <p:animEffect transition="in" filter="fade">
                                      <p:cBhvr>
                                        <p:cTn id="84" dur="500"/>
                                        <p:tgtEl>
                                          <p:spTgt spid="67"/>
                                        </p:tgtEl>
                                      </p:cBhvr>
                                    </p:animEffect>
                                  </p:childTnLst>
                                </p:cTn>
                              </p:par>
                              <p:par>
                                <p:cTn id="85" presetID="53" presetClass="entr" presetSubtype="16" fill="hold" nodeType="withEffect">
                                  <p:stCondLst>
                                    <p:cond delay="0"/>
                                  </p:stCondLst>
                                  <p:childTnLst>
                                    <p:set>
                                      <p:cBhvr>
                                        <p:cTn id="86" dur="1" fill="hold">
                                          <p:stCondLst>
                                            <p:cond delay="0"/>
                                          </p:stCondLst>
                                        </p:cTn>
                                        <p:tgtEl>
                                          <p:spTgt spid="26"/>
                                        </p:tgtEl>
                                        <p:attrNameLst>
                                          <p:attrName>style.visibility</p:attrName>
                                        </p:attrNameLst>
                                      </p:cBhvr>
                                      <p:to>
                                        <p:strVal val="visible"/>
                                      </p:to>
                                    </p:set>
                                    <p:anim calcmode="lin" valueType="num">
                                      <p:cBhvr>
                                        <p:cTn id="87" dur="500" fill="hold"/>
                                        <p:tgtEl>
                                          <p:spTgt spid="26"/>
                                        </p:tgtEl>
                                        <p:attrNameLst>
                                          <p:attrName>ppt_w</p:attrName>
                                        </p:attrNameLst>
                                      </p:cBhvr>
                                      <p:tavLst>
                                        <p:tav tm="0">
                                          <p:val>
                                            <p:fltVal val="0"/>
                                          </p:val>
                                        </p:tav>
                                        <p:tav tm="100000">
                                          <p:val>
                                            <p:strVal val="#ppt_w"/>
                                          </p:val>
                                        </p:tav>
                                      </p:tavLst>
                                    </p:anim>
                                    <p:anim calcmode="lin" valueType="num">
                                      <p:cBhvr>
                                        <p:cTn id="88" dur="500" fill="hold"/>
                                        <p:tgtEl>
                                          <p:spTgt spid="26"/>
                                        </p:tgtEl>
                                        <p:attrNameLst>
                                          <p:attrName>ppt_h</p:attrName>
                                        </p:attrNameLst>
                                      </p:cBhvr>
                                      <p:tavLst>
                                        <p:tav tm="0">
                                          <p:val>
                                            <p:fltVal val="0"/>
                                          </p:val>
                                        </p:tav>
                                        <p:tav tm="100000">
                                          <p:val>
                                            <p:strVal val="#ppt_h"/>
                                          </p:val>
                                        </p:tav>
                                      </p:tavLst>
                                    </p:anim>
                                    <p:animEffect transition="in" filter="fade">
                                      <p:cBhvr>
                                        <p:cTn id="89" dur="500"/>
                                        <p:tgtEl>
                                          <p:spTgt spid="26"/>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25"/>
                                        </p:tgtEl>
                                        <p:attrNameLst>
                                          <p:attrName>style.visibility</p:attrName>
                                        </p:attrNameLst>
                                      </p:cBhvr>
                                      <p:to>
                                        <p:strVal val="visible"/>
                                      </p:to>
                                    </p:set>
                                    <p:anim calcmode="lin" valueType="num">
                                      <p:cBhvr>
                                        <p:cTn id="92" dur="500" fill="hold"/>
                                        <p:tgtEl>
                                          <p:spTgt spid="25"/>
                                        </p:tgtEl>
                                        <p:attrNameLst>
                                          <p:attrName>ppt_w</p:attrName>
                                        </p:attrNameLst>
                                      </p:cBhvr>
                                      <p:tavLst>
                                        <p:tav tm="0">
                                          <p:val>
                                            <p:fltVal val="0"/>
                                          </p:val>
                                        </p:tav>
                                        <p:tav tm="100000">
                                          <p:val>
                                            <p:strVal val="#ppt_w"/>
                                          </p:val>
                                        </p:tav>
                                      </p:tavLst>
                                    </p:anim>
                                    <p:anim calcmode="lin" valueType="num">
                                      <p:cBhvr>
                                        <p:cTn id="93" dur="500" fill="hold"/>
                                        <p:tgtEl>
                                          <p:spTgt spid="25"/>
                                        </p:tgtEl>
                                        <p:attrNameLst>
                                          <p:attrName>ppt_h</p:attrName>
                                        </p:attrNameLst>
                                      </p:cBhvr>
                                      <p:tavLst>
                                        <p:tav tm="0">
                                          <p:val>
                                            <p:fltVal val="0"/>
                                          </p:val>
                                        </p:tav>
                                        <p:tav tm="100000">
                                          <p:val>
                                            <p:strVal val="#ppt_h"/>
                                          </p:val>
                                        </p:tav>
                                      </p:tavLst>
                                    </p:anim>
                                    <p:animEffect transition="in" filter="fade">
                                      <p:cBhvr>
                                        <p:cTn id="94" dur="500"/>
                                        <p:tgtEl>
                                          <p:spTgt spid="25"/>
                                        </p:tgtEl>
                                      </p:cBhvr>
                                    </p:animEffect>
                                  </p:childTnLst>
                                </p:cTn>
                              </p:par>
                              <p:par>
                                <p:cTn id="95" presetID="53" presetClass="entr" presetSubtype="16" fill="hold" nodeType="withEffect">
                                  <p:stCondLst>
                                    <p:cond delay="0"/>
                                  </p:stCondLst>
                                  <p:childTnLst>
                                    <p:set>
                                      <p:cBhvr>
                                        <p:cTn id="96" dur="1" fill="hold">
                                          <p:stCondLst>
                                            <p:cond delay="0"/>
                                          </p:stCondLst>
                                        </p:cTn>
                                        <p:tgtEl>
                                          <p:spTgt spid="51"/>
                                        </p:tgtEl>
                                        <p:attrNameLst>
                                          <p:attrName>style.visibility</p:attrName>
                                        </p:attrNameLst>
                                      </p:cBhvr>
                                      <p:to>
                                        <p:strVal val="visible"/>
                                      </p:to>
                                    </p:set>
                                    <p:anim calcmode="lin" valueType="num">
                                      <p:cBhvr>
                                        <p:cTn id="97" dur="500" fill="hold"/>
                                        <p:tgtEl>
                                          <p:spTgt spid="51"/>
                                        </p:tgtEl>
                                        <p:attrNameLst>
                                          <p:attrName>ppt_w</p:attrName>
                                        </p:attrNameLst>
                                      </p:cBhvr>
                                      <p:tavLst>
                                        <p:tav tm="0">
                                          <p:val>
                                            <p:fltVal val="0"/>
                                          </p:val>
                                        </p:tav>
                                        <p:tav tm="100000">
                                          <p:val>
                                            <p:strVal val="#ppt_w"/>
                                          </p:val>
                                        </p:tav>
                                      </p:tavLst>
                                    </p:anim>
                                    <p:anim calcmode="lin" valueType="num">
                                      <p:cBhvr>
                                        <p:cTn id="98" dur="500" fill="hold"/>
                                        <p:tgtEl>
                                          <p:spTgt spid="51"/>
                                        </p:tgtEl>
                                        <p:attrNameLst>
                                          <p:attrName>ppt_h</p:attrName>
                                        </p:attrNameLst>
                                      </p:cBhvr>
                                      <p:tavLst>
                                        <p:tav tm="0">
                                          <p:val>
                                            <p:fltVal val="0"/>
                                          </p:val>
                                        </p:tav>
                                        <p:tav tm="100000">
                                          <p:val>
                                            <p:strVal val="#ppt_h"/>
                                          </p:val>
                                        </p:tav>
                                      </p:tavLst>
                                    </p:anim>
                                    <p:animEffect transition="in" filter="fade">
                                      <p:cBhvr>
                                        <p:cTn id="99" dur="500"/>
                                        <p:tgtEl>
                                          <p:spTgt spid="51"/>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41"/>
                                        </p:tgtEl>
                                        <p:attrNameLst>
                                          <p:attrName>style.visibility</p:attrName>
                                        </p:attrNameLst>
                                      </p:cBhvr>
                                      <p:to>
                                        <p:strVal val="visible"/>
                                      </p:to>
                                    </p:set>
                                    <p:anim calcmode="lin" valueType="num">
                                      <p:cBhvr>
                                        <p:cTn id="102" dur="500" fill="hold"/>
                                        <p:tgtEl>
                                          <p:spTgt spid="41"/>
                                        </p:tgtEl>
                                        <p:attrNameLst>
                                          <p:attrName>ppt_w</p:attrName>
                                        </p:attrNameLst>
                                      </p:cBhvr>
                                      <p:tavLst>
                                        <p:tav tm="0">
                                          <p:val>
                                            <p:fltVal val="0"/>
                                          </p:val>
                                        </p:tav>
                                        <p:tav tm="100000">
                                          <p:val>
                                            <p:strVal val="#ppt_w"/>
                                          </p:val>
                                        </p:tav>
                                      </p:tavLst>
                                    </p:anim>
                                    <p:anim calcmode="lin" valueType="num">
                                      <p:cBhvr>
                                        <p:cTn id="103" dur="500" fill="hold"/>
                                        <p:tgtEl>
                                          <p:spTgt spid="41"/>
                                        </p:tgtEl>
                                        <p:attrNameLst>
                                          <p:attrName>ppt_h</p:attrName>
                                        </p:attrNameLst>
                                      </p:cBhvr>
                                      <p:tavLst>
                                        <p:tav tm="0">
                                          <p:val>
                                            <p:fltVal val="0"/>
                                          </p:val>
                                        </p:tav>
                                        <p:tav tm="100000">
                                          <p:val>
                                            <p:strVal val="#ppt_h"/>
                                          </p:val>
                                        </p:tav>
                                      </p:tavLst>
                                    </p:anim>
                                    <p:animEffect transition="in" filter="fade">
                                      <p:cBhvr>
                                        <p:cTn id="104" dur="500"/>
                                        <p:tgtEl>
                                          <p:spTgt spid="4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24"/>
                                        </p:tgtEl>
                                        <p:attrNameLst>
                                          <p:attrName>style.visibility</p:attrName>
                                        </p:attrNameLst>
                                      </p:cBhvr>
                                      <p:to>
                                        <p:strVal val="visible"/>
                                      </p:to>
                                    </p:set>
                                    <p:anim calcmode="lin" valueType="num">
                                      <p:cBhvr>
                                        <p:cTn id="107" dur="500" fill="hold"/>
                                        <p:tgtEl>
                                          <p:spTgt spid="24"/>
                                        </p:tgtEl>
                                        <p:attrNameLst>
                                          <p:attrName>ppt_w</p:attrName>
                                        </p:attrNameLst>
                                      </p:cBhvr>
                                      <p:tavLst>
                                        <p:tav tm="0">
                                          <p:val>
                                            <p:fltVal val="0"/>
                                          </p:val>
                                        </p:tav>
                                        <p:tav tm="100000">
                                          <p:val>
                                            <p:strVal val="#ppt_w"/>
                                          </p:val>
                                        </p:tav>
                                      </p:tavLst>
                                    </p:anim>
                                    <p:anim calcmode="lin" valueType="num">
                                      <p:cBhvr>
                                        <p:cTn id="108" dur="500" fill="hold"/>
                                        <p:tgtEl>
                                          <p:spTgt spid="24"/>
                                        </p:tgtEl>
                                        <p:attrNameLst>
                                          <p:attrName>ppt_h</p:attrName>
                                        </p:attrNameLst>
                                      </p:cBhvr>
                                      <p:tavLst>
                                        <p:tav tm="0">
                                          <p:val>
                                            <p:fltVal val="0"/>
                                          </p:val>
                                        </p:tav>
                                        <p:tav tm="100000">
                                          <p:val>
                                            <p:strVal val="#ppt_h"/>
                                          </p:val>
                                        </p:tav>
                                      </p:tavLst>
                                    </p:anim>
                                    <p:animEffect transition="in" filter="fade">
                                      <p:cBhvr>
                                        <p:cTn id="109" dur="500"/>
                                        <p:tgtEl>
                                          <p:spTgt spid="24"/>
                                        </p:tgtEl>
                                      </p:cBhvr>
                                    </p:animEffect>
                                  </p:childTnLst>
                                </p:cTn>
                              </p:par>
                              <p:par>
                                <p:cTn id="110" presetID="53" presetClass="entr" presetSubtype="16" fill="hold" nodeType="withEffect">
                                  <p:stCondLst>
                                    <p:cond delay="0"/>
                                  </p:stCondLst>
                                  <p:childTnLst>
                                    <p:set>
                                      <p:cBhvr>
                                        <p:cTn id="111" dur="1" fill="hold">
                                          <p:stCondLst>
                                            <p:cond delay="0"/>
                                          </p:stCondLst>
                                        </p:cTn>
                                        <p:tgtEl>
                                          <p:spTgt spid="55"/>
                                        </p:tgtEl>
                                        <p:attrNameLst>
                                          <p:attrName>style.visibility</p:attrName>
                                        </p:attrNameLst>
                                      </p:cBhvr>
                                      <p:to>
                                        <p:strVal val="visible"/>
                                      </p:to>
                                    </p:set>
                                    <p:anim calcmode="lin" valueType="num">
                                      <p:cBhvr>
                                        <p:cTn id="112" dur="500" fill="hold"/>
                                        <p:tgtEl>
                                          <p:spTgt spid="55"/>
                                        </p:tgtEl>
                                        <p:attrNameLst>
                                          <p:attrName>ppt_w</p:attrName>
                                        </p:attrNameLst>
                                      </p:cBhvr>
                                      <p:tavLst>
                                        <p:tav tm="0">
                                          <p:val>
                                            <p:fltVal val="0"/>
                                          </p:val>
                                        </p:tav>
                                        <p:tav tm="100000">
                                          <p:val>
                                            <p:strVal val="#ppt_w"/>
                                          </p:val>
                                        </p:tav>
                                      </p:tavLst>
                                    </p:anim>
                                    <p:anim calcmode="lin" valueType="num">
                                      <p:cBhvr>
                                        <p:cTn id="113" dur="500" fill="hold"/>
                                        <p:tgtEl>
                                          <p:spTgt spid="55"/>
                                        </p:tgtEl>
                                        <p:attrNameLst>
                                          <p:attrName>ppt_h</p:attrName>
                                        </p:attrNameLst>
                                      </p:cBhvr>
                                      <p:tavLst>
                                        <p:tav tm="0">
                                          <p:val>
                                            <p:fltVal val="0"/>
                                          </p:val>
                                        </p:tav>
                                        <p:tav tm="100000">
                                          <p:val>
                                            <p:strVal val="#ppt_h"/>
                                          </p:val>
                                        </p:tav>
                                      </p:tavLst>
                                    </p:anim>
                                    <p:animEffect transition="in" filter="fade">
                                      <p:cBhvr>
                                        <p:cTn id="114" dur="500"/>
                                        <p:tgtEl>
                                          <p:spTgt spid="55"/>
                                        </p:tgtEl>
                                      </p:cBhvr>
                                    </p:animEffect>
                                  </p:childTnLst>
                                </p:cTn>
                              </p:par>
                            </p:childTnLst>
                          </p:cTn>
                        </p:par>
                      </p:childTnLst>
                    </p:cTn>
                  </p:par>
                  <p:par>
                    <p:cTn id="115" fill="hold">
                      <p:stCondLst>
                        <p:cond delay="indefinite"/>
                      </p:stCondLst>
                      <p:childTnLst>
                        <p:par>
                          <p:cTn id="116" fill="hold">
                            <p:stCondLst>
                              <p:cond delay="0"/>
                            </p:stCondLst>
                            <p:childTnLst>
                              <p:par>
                                <p:cTn id="117" presetID="23" presetClass="entr" presetSubtype="16" fill="hold" grpId="0" nodeType="clickEffect">
                                  <p:stCondLst>
                                    <p:cond delay="0"/>
                                  </p:stCondLst>
                                  <p:childTnLst>
                                    <p:set>
                                      <p:cBhvr>
                                        <p:cTn id="118" dur="1" fill="hold">
                                          <p:stCondLst>
                                            <p:cond delay="0"/>
                                          </p:stCondLst>
                                        </p:cTn>
                                        <p:tgtEl>
                                          <p:spTgt spid="33"/>
                                        </p:tgtEl>
                                        <p:attrNameLst>
                                          <p:attrName>style.visibility</p:attrName>
                                        </p:attrNameLst>
                                      </p:cBhvr>
                                      <p:to>
                                        <p:strVal val="visible"/>
                                      </p:to>
                                    </p:set>
                                    <p:anim calcmode="lin" valueType="num">
                                      <p:cBhvr>
                                        <p:cTn id="119" dur="500" fill="hold"/>
                                        <p:tgtEl>
                                          <p:spTgt spid="33"/>
                                        </p:tgtEl>
                                        <p:attrNameLst>
                                          <p:attrName>ppt_w</p:attrName>
                                        </p:attrNameLst>
                                      </p:cBhvr>
                                      <p:tavLst>
                                        <p:tav tm="0">
                                          <p:val>
                                            <p:fltVal val="0"/>
                                          </p:val>
                                        </p:tav>
                                        <p:tav tm="100000">
                                          <p:val>
                                            <p:strVal val="#ppt_w"/>
                                          </p:val>
                                        </p:tav>
                                      </p:tavLst>
                                    </p:anim>
                                    <p:anim calcmode="lin" valueType="num">
                                      <p:cBhvr>
                                        <p:cTn id="120" dur="500" fill="hold"/>
                                        <p:tgtEl>
                                          <p:spTgt spid="33"/>
                                        </p:tgtEl>
                                        <p:attrNameLst>
                                          <p:attrName>ppt_h</p:attrName>
                                        </p:attrNameLst>
                                      </p:cBhvr>
                                      <p:tavLst>
                                        <p:tav tm="0">
                                          <p:val>
                                            <p:fltVal val="0"/>
                                          </p:val>
                                        </p:tav>
                                        <p:tav tm="100000">
                                          <p:val>
                                            <p:strVal val="#ppt_h"/>
                                          </p:val>
                                        </p:tav>
                                      </p:tavLst>
                                    </p:anim>
                                  </p:childTnLst>
                                </p:cTn>
                              </p:par>
                            </p:childTnLst>
                          </p:cTn>
                        </p:par>
                        <p:par>
                          <p:cTn id="121" fill="hold">
                            <p:stCondLst>
                              <p:cond delay="500"/>
                            </p:stCondLst>
                            <p:childTnLst>
                              <p:par>
                                <p:cTn id="122" presetID="53" presetClass="entr" presetSubtype="16" fill="hold" nodeType="afterEffect">
                                  <p:stCondLst>
                                    <p:cond delay="0"/>
                                  </p:stCondLst>
                                  <p:childTnLst>
                                    <p:set>
                                      <p:cBhvr>
                                        <p:cTn id="123" dur="1" fill="hold">
                                          <p:stCondLst>
                                            <p:cond delay="0"/>
                                          </p:stCondLst>
                                        </p:cTn>
                                        <p:tgtEl>
                                          <p:spTgt spid="66"/>
                                        </p:tgtEl>
                                        <p:attrNameLst>
                                          <p:attrName>style.visibility</p:attrName>
                                        </p:attrNameLst>
                                      </p:cBhvr>
                                      <p:to>
                                        <p:strVal val="visible"/>
                                      </p:to>
                                    </p:set>
                                    <p:anim calcmode="lin" valueType="num">
                                      <p:cBhvr>
                                        <p:cTn id="124" dur="500" fill="hold"/>
                                        <p:tgtEl>
                                          <p:spTgt spid="66"/>
                                        </p:tgtEl>
                                        <p:attrNameLst>
                                          <p:attrName>ppt_w</p:attrName>
                                        </p:attrNameLst>
                                      </p:cBhvr>
                                      <p:tavLst>
                                        <p:tav tm="0">
                                          <p:val>
                                            <p:fltVal val="0"/>
                                          </p:val>
                                        </p:tav>
                                        <p:tav tm="100000">
                                          <p:val>
                                            <p:strVal val="#ppt_w"/>
                                          </p:val>
                                        </p:tav>
                                      </p:tavLst>
                                    </p:anim>
                                    <p:anim calcmode="lin" valueType="num">
                                      <p:cBhvr>
                                        <p:cTn id="125" dur="500" fill="hold"/>
                                        <p:tgtEl>
                                          <p:spTgt spid="66"/>
                                        </p:tgtEl>
                                        <p:attrNameLst>
                                          <p:attrName>ppt_h</p:attrName>
                                        </p:attrNameLst>
                                      </p:cBhvr>
                                      <p:tavLst>
                                        <p:tav tm="0">
                                          <p:val>
                                            <p:fltVal val="0"/>
                                          </p:val>
                                        </p:tav>
                                        <p:tav tm="100000">
                                          <p:val>
                                            <p:strVal val="#ppt_h"/>
                                          </p:val>
                                        </p:tav>
                                      </p:tavLst>
                                    </p:anim>
                                    <p:animEffect transition="in" filter="fade">
                                      <p:cBhvr>
                                        <p:cTn id="126" dur="500"/>
                                        <p:tgtEl>
                                          <p:spTgt spid="66"/>
                                        </p:tgtEl>
                                      </p:cBhvr>
                                    </p:animEffect>
                                  </p:childTnLst>
                                </p:cTn>
                              </p:par>
                              <p:par>
                                <p:cTn id="127" presetID="53" presetClass="entr" presetSubtype="16" fill="hold" nodeType="withEffect">
                                  <p:stCondLst>
                                    <p:cond delay="0"/>
                                  </p:stCondLst>
                                  <p:childTnLst>
                                    <p:set>
                                      <p:cBhvr>
                                        <p:cTn id="128" dur="1" fill="hold">
                                          <p:stCondLst>
                                            <p:cond delay="0"/>
                                          </p:stCondLst>
                                        </p:cTn>
                                        <p:tgtEl>
                                          <p:spTgt spid="23"/>
                                        </p:tgtEl>
                                        <p:attrNameLst>
                                          <p:attrName>style.visibility</p:attrName>
                                        </p:attrNameLst>
                                      </p:cBhvr>
                                      <p:to>
                                        <p:strVal val="visible"/>
                                      </p:to>
                                    </p:set>
                                    <p:anim calcmode="lin" valueType="num">
                                      <p:cBhvr>
                                        <p:cTn id="129" dur="500" fill="hold"/>
                                        <p:tgtEl>
                                          <p:spTgt spid="23"/>
                                        </p:tgtEl>
                                        <p:attrNameLst>
                                          <p:attrName>ppt_w</p:attrName>
                                        </p:attrNameLst>
                                      </p:cBhvr>
                                      <p:tavLst>
                                        <p:tav tm="0">
                                          <p:val>
                                            <p:fltVal val="0"/>
                                          </p:val>
                                        </p:tav>
                                        <p:tav tm="100000">
                                          <p:val>
                                            <p:strVal val="#ppt_w"/>
                                          </p:val>
                                        </p:tav>
                                      </p:tavLst>
                                    </p:anim>
                                    <p:anim calcmode="lin" valueType="num">
                                      <p:cBhvr>
                                        <p:cTn id="130" dur="500" fill="hold"/>
                                        <p:tgtEl>
                                          <p:spTgt spid="23"/>
                                        </p:tgtEl>
                                        <p:attrNameLst>
                                          <p:attrName>ppt_h</p:attrName>
                                        </p:attrNameLst>
                                      </p:cBhvr>
                                      <p:tavLst>
                                        <p:tav tm="0">
                                          <p:val>
                                            <p:fltVal val="0"/>
                                          </p:val>
                                        </p:tav>
                                        <p:tav tm="100000">
                                          <p:val>
                                            <p:strVal val="#ppt_h"/>
                                          </p:val>
                                        </p:tav>
                                      </p:tavLst>
                                    </p:anim>
                                    <p:animEffect transition="in" filter="fade">
                                      <p:cBhvr>
                                        <p:cTn id="131" dur="500"/>
                                        <p:tgtEl>
                                          <p:spTgt spid="23"/>
                                        </p:tgtEl>
                                      </p:cBhvr>
                                    </p:animEffect>
                                  </p:childTnLst>
                                </p:cTn>
                              </p:par>
                              <p:par>
                                <p:cTn id="132" presetID="53" presetClass="entr" presetSubtype="16" fill="hold" grpId="0" nodeType="withEffect">
                                  <p:stCondLst>
                                    <p:cond delay="0"/>
                                  </p:stCondLst>
                                  <p:childTnLst>
                                    <p:set>
                                      <p:cBhvr>
                                        <p:cTn id="133" dur="1" fill="hold">
                                          <p:stCondLst>
                                            <p:cond delay="0"/>
                                          </p:stCondLst>
                                        </p:cTn>
                                        <p:tgtEl>
                                          <p:spTgt spid="22"/>
                                        </p:tgtEl>
                                        <p:attrNameLst>
                                          <p:attrName>style.visibility</p:attrName>
                                        </p:attrNameLst>
                                      </p:cBhvr>
                                      <p:to>
                                        <p:strVal val="visible"/>
                                      </p:to>
                                    </p:set>
                                    <p:anim calcmode="lin" valueType="num">
                                      <p:cBhvr>
                                        <p:cTn id="134" dur="500" fill="hold"/>
                                        <p:tgtEl>
                                          <p:spTgt spid="22"/>
                                        </p:tgtEl>
                                        <p:attrNameLst>
                                          <p:attrName>ppt_w</p:attrName>
                                        </p:attrNameLst>
                                      </p:cBhvr>
                                      <p:tavLst>
                                        <p:tav tm="0">
                                          <p:val>
                                            <p:fltVal val="0"/>
                                          </p:val>
                                        </p:tav>
                                        <p:tav tm="100000">
                                          <p:val>
                                            <p:strVal val="#ppt_w"/>
                                          </p:val>
                                        </p:tav>
                                      </p:tavLst>
                                    </p:anim>
                                    <p:anim calcmode="lin" valueType="num">
                                      <p:cBhvr>
                                        <p:cTn id="135" dur="500" fill="hold"/>
                                        <p:tgtEl>
                                          <p:spTgt spid="22"/>
                                        </p:tgtEl>
                                        <p:attrNameLst>
                                          <p:attrName>ppt_h</p:attrName>
                                        </p:attrNameLst>
                                      </p:cBhvr>
                                      <p:tavLst>
                                        <p:tav tm="0">
                                          <p:val>
                                            <p:fltVal val="0"/>
                                          </p:val>
                                        </p:tav>
                                        <p:tav tm="100000">
                                          <p:val>
                                            <p:strVal val="#ppt_h"/>
                                          </p:val>
                                        </p:tav>
                                      </p:tavLst>
                                    </p:anim>
                                    <p:animEffect transition="in" filter="fade">
                                      <p:cBhvr>
                                        <p:cTn id="136" dur="500"/>
                                        <p:tgtEl>
                                          <p:spTgt spid="22"/>
                                        </p:tgtEl>
                                      </p:cBhvr>
                                    </p:animEffect>
                                  </p:childTnLst>
                                </p:cTn>
                              </p:par>
                              <p:par>
                                <p:cTn id="137" presetID="53" presetClass="entr" presetSubtype="16" fill="hold" nodeType="withEffect">
                                  <p:stCondLst>
                                    <p:cond delay="0"/>
                                  </p:stCondLst>
                                  <p:childTnLst>
                                    <p:set>
                                      <p:cBhvr>
                                        <p:cTn id="138" dur="1" fill="hold">
                                          <p:stCondLst>
                                            <p:cond delay="0"/>
                                          </p:stCondLst>
                                        </p:cTn>
                                        <p:tgtEl>
                                          <p:spTgt spid="37"/>
                                        </p:tgtEl>
                                        <p:attrNameLst>
                                          <p:attrName>style.visibility</p:attrName>
                                        </p:attrNameLst>
                                      </p:cBhvr>
                                      <p:to>
                                        <p:strVal val="visible"/>
                                      </p:to>
                                    </p:set>
                                    <p:anim calcmode="lin" valueType="num">
                                      <p:cBhvr>
                                        <p:cTn id="139" dur="500" fill="hold"/>
                                        <p:tgtEl>
                                          <p:spTgt spid="37"/>
                                        </p:tgtEl>
                                        <p:attrNameLst>
                                          <p:attrName>ppt_w</p:attrName>
                                        </p:attrNameLst>
                                      </p:cBhvr>
                                      <p:tavLst>
                                        <p:tav tm="0">
                                          <p:val>
                                            <p:fltVal val="0"/>
                                          </p:val>
                                        </p:tav>
                                        <p:tav tm="100000">
                                          <p:val>
                                            <p:strVal val="#ppt_w"/>
                                          </p:val>
                                        </p:tav>
                                      </p:tavLst>
                                    </p:anim>
                                    <p:anim calcmode="lin" valueType="num">
                                      <p:cBhvr>
                                        <p:cTn id="140" dur="500" fill="hold"/>
                                        <p:tgtEl>
                                          <p:spTgt spid="37"/>
                                        </p:tgtEl>
                                        <p:attrNameLst>
                                          <p:attrName>ppt_h</p:attrName>
                                        </p:attrNameLst>
                                      </p:cBhvr>
                                      <p:tavLst>
                                        <p:tav tm="0">
                                          <p:val>
                                            <p:fltVal val="0"/>
                                          </p:val>
                                        </p:tav>
                                        <p:tav tm="100000">
                                          <p:val>
                                            <p:strVal val="#ppt_h"/>
                                          </p:val>
                                        </p:tav>
                                      </p:tavLst>
                                    </p:anim>
                                    <p:animEffect transition="in" filter="fade">
                                      <p:cBhvr>
                                        <p:cTn id="141" dur="500"/>
                                        <p:tgtEl>
                                          <p:spTgt spid="37"/>
                                        </p:tgtEl>
                                      </p:cBhvr>
                                    </p:animEffect>
                                  </p:childTnLst>
                                </p:cTn>
                              </p:par>
                              <p:par>
                                <p:cTn id="142" presetID="53" presetClass="entr" presetSubtype="16" fill="hold" grpId="0" nodeType="withEffect">
                                  <p:stCondLst>
                                    <p:cond delay="0"/>
                                  </p:stCondLst>
                                  <p:childTnLst>
                                    <p:set>
                                      <p:cBhvr>
                                        <p:cTn id="143" dur="1" fill="hold">
                                          <p:stCondLst>
                                            <p:cond delay="0"/>
                                          </p:stCondLst>
                                        </p:cTn>
                                        <p:tgtEl>
                                          <p:spTgt spid="21"/>
                                        </p:tgtEl>
                                        <p:attrNameLst>
                                          <p:attrName>style.visibility</p:attrName>
                                        </p:attrNameLst>
                                      </p:cBhvr>
                                      <p:to>
                                        <p:strVal val="visible"/>
                                      </p:to>
                                    </p:set>
                                    <p:anim calcmode="lin" valueType="num">
                                      <p:cBhvr>
                                        <p:cTn id="144" dur="500" fill="hold"/>
                                        <p:tgtEl>
                                          <p:spTgt spid="21"/>
                                        </p:tgtEl>
                                        <p:attrNameLst>
                                          <p:attrName>ppt_w</p:attrName>
                                        </p:attrNameLst>
                                      </p:cBhvr>
                                      <p:tavLst>
                                        <p:tav tm="0">
                                          <p:val>
                                            <p:fltVal val="0"/>
                                          </p:val>
                                        </p:tav>
                                        <p:tav tm="100000">
                                          <p:val>
                                            <p:strVal val="#ppt_w"/>
                                          </p:val>
                                        </p:tav>
                                      </p:tavLst>
                                    </p:anim>
                                    <p:anim calcmode="lin" valueType="num">
                                      <p:cBhvr>
                                        <p:cTn id="145" dur="500" fill="hold"/>
                                        <p:tgtEl>
                                          <p:spTgt spid="21"/>
                                        </p:tgtEl>
                                        <p:attrNameLst>
                                          <p:attrName>ppt_h</p:attrName>
                                        </p:attrNameLst>
                                      </p:cBhvr>
                                      <p:tavLst>
                                        <p:tav tm="0">
                                          <p:val>
                                            <p:fltVal val="0"/>
                                          </p:val>
                                        </p:tav>
                                        <p:tav tm="100000">
                                          <p:val>
                                            <p:strVal val="#ppt_h"/>
                                          </p:val>
                                        </p:tav>
                                      </p:tavLst>
                                    </p:anim>
                                    <p:animEffect transition="in" filter="fade">
                                      <p:cBhvr>
                                        <p:cTn id="146" dur="500"/>
                                        <p:tgtEl>
                                          <p:spTgt spid="21"/>
                                        </p:tgtEl>
                                      </p:cBhvr>
                                    </p:animEffect>
                                  </p:childTnLst>
                                </p:cTn>
                              </p:par>
                              <p:par>
                                <p:cTn id="147" presetID="53" presetClass="entr" presetSubtype="16" fill="hold" nodeType="withEffect">
                                  <p:stCondLst>
                                    <p:cond delay="0"/>
                                  </p:stCondLst>
                                  <p:childTnLst>
                                    <p:set>
                                      <p:cBhvr>
                                        <p:cTn id="148" dur="1" fill="hold">
                                          <p:stCondLst>
                                            <p:cond delay="0"/>
                                          </p:stCondLst>
                                        </p:cTn>
                                        <p:tgtEl>
                                          <p:spTgt spid="50"/>
                                        </p:tgtEl>
                                        <p:attrNameLst>
                                          <p:attrName>style.visibility</p:attrName>
                                        </p:attrNameLst>
                                      </p:cBhvr>
                                      <p:to>
                                        <p:strVal val="visible"/>
                                      </p:to>
                                    </p:set>
                                    <p:anim calcmode="lin" valueType="num">
                                      <p:cBhvr>
                                        <p:cTn id="149" dur="500" fill="hold"/>
                                        <p:tgtEl>
                                          <p:spTgt spid="50"/>
                                        </p:tgtEl>
                                        <p:attrNameLst>
                                          <p:attrName>ppt_w</p:attrName>
                                        </p:attrNameLst>
                                      </p:cBhvr>
                                      <p:tavLst>
                                        <p:tav tm="0">
                                          <p:val>
                                            <p:fltVal val="0"/>
                                          </p:val>
                                        </p:tav>
                                        <p:tav tm="100000">
                                          <p:val>
                                            <p:strVal val="#ppt_w"/>
                                          </p:val>
                                        </p:tav>
                                      </p:tavLst>
                                    </p:anim>
                                    <p:anim calcmode="lin" valueType="num">
                                      <p:cBhvr>
                                        <p:cTn id="150" dur="500" fill="hold"/>
                                        <p:tgtEl>
                                          <p:spTgt spid="50"/>
                                        </p:tgtEl>
                                        <p:attrNameLst>
                                          <p:attrName>ppt_h</p:attrName>
                                        </p:attrNameLst>
                                      </p:cBhvr>
                                      <p:tavLst>
                                        <p:tav tm="0">
                                          <p:val>
                                            <p:fltVal val="0"/>
                                          </p:val>
                                        </p:tav>
                                        <p:tav tm="100000">
                                          <p:val>
                                            <p:strVal val="#ppt_h"/>
                                          </p:val>
                                        </p:tav>
                                      </p:tavLst>
                                    </p:anim>
                                    <p:animEffect transition="in" filter="fade">
                                      <p:cBhvr>
                                        <p:cTn id="151" dur="500"/>
                                        <p:tgtEl>
                                          <p:spTgt spid="50"/>
                                        </p:tgtEl>
                                      </p:cBhvr>
                                    </p:animEffect>
                                  </p:childTnLst>
                                </p:cTn>
                              </p:par>
                              <p:par>
                                <p:cTn id="152" presetID="53" presetClass="entr" presetSubtype="16" fill="hold" grpId="0" nodeType="withEffect">
                                  <p:stCondLst>
                                    <p:cond delay="0"/>
                                  </p:stCondLst>
                                  <p:childTnLst>
                                    <p:set>
                                      <p:cBhvr>
                                        <p:cTn id="153" dur="1" fill="hold">
                                          <p:stCondLst>
                                            <p:cond delay="0"/>
                                          </p:stCondLst>
                                        </p:cTn>
                                        <p:tgtEl>
                                          <p:spTgt spid="42"/>
                                        </p:tgtEl>
                                        <p:attrNameLst>
                                          <p:attrName>style.visibility</p:attrName>
                                        </p:attrNameLst>
                                      </p:cBhvr>
                                      <p:to>
                                        <p:strVal val="visible"/>
                                      </p:to>
                                    </p:set>
                                    <p:anim calcmode="lin" valueType="num">
                                      <p:cBhvr>
                                        <p:cTn id="154" dur="500" fill="hold"/>
                                        <p:tgtEl>
                                          <p:spTgt spid="42"/>
                                        </p:tgtEl>
                                        <p:attrNameLst>
                                          <p:attrName>ppt_w</p:attrName>
                                        </p:attrNameLst>
                                      </p:cBhvr>
                                      <p:tavLst>
                                        <p:tav tm="0">
                                          <p:val>
                                            <p:fltVal val="0"/>
                                          </p:val>
                                        </p:tav>
                                        <p:tav tm="100000">
                                          <p:val>
                                            <p:strVal val="#ppt_w"/>
                                          </p:val>
                                        </p:tav>
                                      </p:tavLst>
                                    </p:anim>
                                    <p:anim calcmode="lin" valueType="num">
                                      <p:cBhvr>
                                        <p:cTn id="155" dur="500" fill="hold"/>
                                        <p:tgtEl>
                                          <p:spTgt spid="42"/>
                                        </p:tgtEl>
                                        <p:attrNameLst>
                                          <p:attrName>ppt_h</p:attrName>
                                        </p:attrNameLst>
                                      </p:cBhvr>
                                      <p:tavLst>
                                        <p:tav tm="0">
                                          <p:val>
                                            <p:fltVal val="0"/>
                                          </p:val>
                                        </p:tav>
                                        <p:tav tm="100000">
                                          <p:val>
                                            <p:strVal val="#ppt_h"/>
                                          </p:val>
                                        </p:tav>
                                      </p:tavLst>
                                    </p:anim>
                                    <p:animEffect transition="in" filter="fade">
                                      <p:cBhvr>
                                        <p:cTn id="156" dur="500"/>
                                        <p:tgtEl>
                                          <p:spTgt spid="42"/>
                                        </p:tgtEl>
                                      </p:cBhvr>
                                    </p:animEffect>
                                  </p:childTnLst>
                                </p:cTn>
                              </p:par>
                              <p:par>
                                <p:cTn id="157" presetID="53" presetClass="entr" presetSubtype="16" fill="hold" nodeType="withEffect">
                                  <p:stCondLst>
                                    <p:cond delay="0"/>
                                  </p:stCondLst>
                                  <p:childTnLst>
                                    <p:set>
                                      <p:cBhvr>
                                        <p:cTn id="158" dur="1" fill="hold">
                                          <p:stCondLst>
                                            <p:cond delay="0"/>
                                          </p:stCondLst>
                                        </p:cTn>
                                        <p:tgtEl>
                                          <p:spTgt spid="54"/>
                                        </p:tgtEl>
                                        <p:attrNameLst>
                                          <p:attrName>style.visibility</p:attrName>
                                        </p:attrNameLst>
                                      </p:cBhvr>
                                      <p:to>
                                        <p:strVal val="visible"/>
                                      </p:to>
                                    </p:set>
                                    <p:anim calcmode="lin" valueType="num">
                                      <p:cBhvr>
                                        <p:cTn id="159" dur="500" fill="hold"/>
                                        <p:tgtEl>
                                          <p:spTgt spid="54"/>
                                        </p:tgtEl>
                                        <p:attrNameLst>
                                          <p:attrName>ppt_w</p:attrName>
                                        </p:attrNameLst>
                                      </p:cBhvr>
                                      <p:tavLst>
                                        <p:tav tm="0">
                                          <p:val>
                                            <p:fltVal val="0"/>
                                          </p:val>
                                        </p:tav>
                                        <p:tav tm="100000">
                                          <p:val>
                                            <p:strVal val="#ppt_w"/>
                                          </p:val>
                                        </p:tav>
                                      </p:tavLst>
                                    </p:anim>
                                    <p:anim calcmode="lin" valueType="num">
                                      <p:cBhvr>
                                        <p:cTn id="160" dur="500" fill="hold"/>
                                        <p:tgtEl>
                                          <p:spTgt spid="54"/>
                                        </p:tgtEl>
                                        <p:attrNameLst>
                                          <p:attrName>ppt_h</p:attrName>
                                        </p:attrNameLst>
                                      </p:cBhvr>
                                      <p:tavLst>
                                        <p:tav tm="0">
                                          <p:val>
                                            <p:fltVal val="0"/>
                                          </p:val>
                                        </p:tav>
                                        <p:tav tm="100000">
                                          <p:val>
                                            <p:strVal val="#ppt_h"/>
                                          </p:val>
                                        </p:tav>
                                      </p:tavLst>
                                    </p:anim>
                                    <p:animEffect transition="in" filter="fade">
                                      <p:cBhvr>
                                        <p:cTn id="161" dur="500"/>
                                        <p:tgtEl>
                                          <p:spTgt spid="54"/>
                                        </p:tgtEl>
                                      </p:cBhvr>
                                    </p:animEffect>
                                  </p:childTnLst>
                                </p:cTn>
                              </p:par>
                            </p:childTnLst>
                          </p:cTn>
                        </p:par>
                      </p:childTnLst>
                    </p:cTn>
                  </p:par>
                  <p:par>
                    <p:cTn id="162" fill="hold">
                      <p:stCondLst>
                        <p:cond delay="indefinite"/>
                      </p:stCondLst>
                      <p:childTnLst>
                        <p:par>
                          <p:cTn id="163" fill="hold">
                            <p:stCondLst>
                              <p:cond delay="0"/>
                            </p:stCondLst>
                            <p:childTnLst>
                              <p:par>
                                <p:cTn id="164" presetID="23" presetClass="entr" presetSubtype="16" fill="hold" grpId="0" nodeType="clickEffect">
                                  <p:stCondLst>
                                    <p:cond delay="0"/>
                                  </p:stCondLst>
                                  <p:childTnLst>
                                    <p:set>
                                      <p:cBhvr>
                                        <p:cTn id="165" dur="1" fill="hold">
                                          <p:stCondLst>
                                            <p:cond delay="0"/>
                                          </p:stCondLst>
                                        </p:cTn>
                                        <p:tgtEl>
                                          <p:spTgt spid="34"/>
                                        </p:tgtEl>
                                        <p:attrNameLst>
                                          <p:attrName>style.visibility</p:attrName>
                                        </p:attrNameLst>
                                      </p:cBhvr>
                                      <p:to>
                                        <p:strVal val="visible"/>
                                      </p:to>
                                    </p:set>
                                    <p:anim calcmode="lin" valueType="num">
                                      <p:cBhvr>
                                        <p:cTn id="166" dur="500" fill="hold"/>
                                        <p:tgtEl>
                                          <p:spTgt spid="34"/>
                                        </p:tgtEl>
                                        <p:attrNameLst>
                                          <p:attrName>ppt_w</p:attrName>
                                        </p:attrNameLst>
                                      </p:cBhvr>
                                      <p:tavLst>
                                        <p:tav tm="0">
                                          <p:val>
                                            <p:fltVal val="0"/>
                                          </p:val>
                                        </p:tav>
                                        <p:tav tm="100000">
                                          <p:val>
                                            <p:strVal val="#ppt_w"/>
                                          </p:val>
                                        </p:tav>
                                      </p:tavLst>
                                    </p:anim>
                                    <p:anim calcmode="lin" valueType="num">
                                      <p:cBhvr>
                                        <p:cTn id="167" dur="500" fill="hold"/>
                                        <p:tgtEl>
                                          <p:spTgt spid="34"/>
                                        </p:tgtEl>
                                        <p:attrNameLst>
                                          <p:attrName>ppt_h</p:attrName>
                                        </p:attrNameLst>
                                      </p:cBhvr>
                                      <p:tavLst>
                                        <p:tav tm="0">
                                          <p:val>
                                            <p:fltVal val="0"/>
                                          </p:val>
                                        </p:tav>
                                        <p:tav tm="100000">
                                          <p:val>
                                            <p:strVal val="#ppt_h"/>
                                          </p:val>
                                        </p:tav>
                                      </p:tavLst>
                                    </p:anim>
                                  </p:childTnLst>
                                </p:cTn>
                              </p:par>
                            </p:childTnLst>
                          </p:cTn>
                        </p:par>
                        <p:par>
                          <p:cTn id="168" fill="hold">
                            <p:stCondLst>
                              <p:cond delay="500"/>
                            </p:stCondLst>
                            <p:childTnLst>
                              <p:par>
                                <p:cTn id="169" presetID="53" presetClass="entr" presetSubtype="16" fill="hold" nodeType="afterEffect">
                                  <p:stCondLst>
                                    <p:cond delay="0"/>
                                  </p:stCondLst>
                                  <p:childTnLst>
                                    <p:set>
                                      <p:cBhvr>
                                        <p:cTn id="170" dur="1" fill="hold">
                                          <p:stCondLst>
                                            <p:cond delay="0"/>
                                          </p:stCondLst>
                                        </p:cTn>
                                        <p:tgtEl>
                                          <p:spTgt spid="38"/>
                                        </p:tgtEl>
                                        <p:attrNameLst>
                                          <p:attrName>style.visibility</p:attrName>
                                        </p:attrNameLst>
                                      </p:cBhvr>
                                      <p:to>
                                        <p:strVal val="visible"/>
                                      </p:to>
                                    </p:set>
                                    <p:anim calcmode="lin" valueType="num">
                                      <p:cBhvr>
                                        <p:cTn id="171" dur="500" fill="hold"/>
                                        <p:tgtEl>
                                          <p:spTgt spid="38"/>
                                        </p:tgtEl>
                                        <p:attrNameLst>
                                          <p:attrName>ppt_w</p:attrName>
                                        </p:attrNameLst>
                                      </p:cBhvr>
                                      <p:tavLst>
                                        <p:tav tm="0">
                                          <p:val>
                                            <p:fltVal val="0"/>
                                          </p:val>
                                        </p:tav>
                                        <p:tav tm="100000">
                                          <p:val>
                                            <p:strVal val="#ppt_w"/>
                                          </p:val>
                                        </p:tav>
                                      </p:tavLst>
                                    </p:anim>
                                    <p:anim calcmode="lin" valueType="num">
                                      <p:cBhvr>
                                        <p:cTn id="172" dur="500" fill="hold"/>
                                        <p:tgtEl>
                                          <p:spTgt spid="38"/>
                                        </p:tgtEl>
                                        <p:attrNameLst>
                                          <p:attrName>ppt_h</p:attrName>
                                        </p:attrNameLst>
                                      </p:cBhvr>
                                      <p:tavLst>
                                        <p:tav tm="0">
                                          <p:val>
                                            <p:fltVal val="0"/>
                                          </p:val>
                                        </p:tav>
                                        <p:tav tm="100000">
                                          <p:val>
                                            <p:strVal val="#ppt_h"/>
                                          </p:val>
                                        </p:tav>
                                      </p:tavLst>
                                    </p:anim>
                                    <p:animEffect transition="in" filter="fade">
                                      <p:cBhvr>
                                        <p:cTn id="173" dur="500"/>
                                        <p:tgtEl>
                                          <p:spTgt spid="38"/>
                                        </p:tgtEl>
                                      </p:cBhvr>
                                    </p:animEffect>
                                  </p:childTnLst>
                                </p:cTn>
                              </p:par>
                              <p:par>
                                <p:cTn id="174" presetID="53" presetClass="entr" presetSubtype="16" fill="hold" nodeType="withEffect">
                                  <p:stCondLst>
                                    <p:cond delay="0"/>
                                  </p:stCondLst>
                                  <p:childTnLst>
                                    <p:set>
                                      <p:cBhvr>
                                        <p:cTn id="175" dur="1" fill="hold">
                                          <p:stCondLst>
                                            <p:cond delay="0"/>
                                          </p:stCondLst>
                                        </p:cTn>
                                        <p:tgtEl>
                                          <p:spTgt spid="20"/>
                                        </p:tgtEl>
                                        <p:attrNameLst>
                                          <p:attrName>style.visibility</p:attrName>
                                        </p:attrNameLst>
                                      </p:cBhvr>
                                      <p:to>
                                        <p:strVal val="visible"/>
                                      </p:to>
                                    </p:set>
                                    <p:anim calcmode="lin" valueType="num">
                                      <p:cBhvr>
                                        <p:cTn id="176" dur="500" fill="hold"/>
                                        <p:tgtEl>
                                          <p:spTgt spid="20"/>
                                        </p:tgtEl>
                                        <p:attrNameLst>
                                          <p:attrName>ppt_w</p:attrName>
                                        </p:attrNameLst>
                                      </p:cBhvr>
                                      <p:tavLst>
                                        <p:tav tm="0">
                                          <p:val>
                                            <p:fltVal val="0"/>
                                          </p:val>
                                        </p:tav>
                                        <p:tav tm="100000">
                                          <p:val>
                                            <p:strVal val="#ppt_w"/>
                                          </p:val>
                                        </p:tav>
                                      </p:tavLst>
                                    </p:anim>
                                    <p:anim calcmode="lin" valueType="num">
                                      <p:cBhvr>
                                        <p:cTn id="177" dur="500" fill="hold"/>
                                        <p:tgtEl>
                                          <p:spTgt spid="20"/>
                                        </p:tgtEl>
                                        <p:attrNameLst>
                                          <p:attrName>ppt_h</p:attrName>
                                        </p:attrNameLst>
                                      </p:cBhvr>
                                      <p:tavLst>
                                        <p:tav tm="0">
                                          <p:val>
                                            <p:fltVal val="0"/>
                                          </p:val>
                                        </p:tav>
                                        <p:tav tm="100000">
                                          <p:val>
                                            <p:strVal val="#ppt_h"/>
                                          </p:val>
                                        </p:tav>
                                      </p:tavLst>
                                    </p:anim>
                                    <p:animEffect transition="in" filter="fade">
                                      <p:cBhvr>
                                        <p:cTn id="178" dur="500"/>
                                        <p:tgtEl>
                                          <p:spTgt spid="20"/>
                                        </p:tgtEl>
                                      </p:cBhvr>
                                    </p:animEffect>
                                  </p:childTnLst>
                                </p:cTn>
                              </p:par>
                              <p:par>
                                <p:cTn id="179" presetID="53" presetClass="entr" presetSubtype="16" fill="hold" nodeType="withEffect">
                                  <p:stCondLst>
                                    <p:cond delay="0"/>
                                  </p:stCondLst>
                                  <p:childTnLst>
                                    <p:set>
                                      <p:cBhvr>
                                        <p:cTn id="180" dur="1" fill="hold">
                                          <p:stCondLst>
                                            <p:cond delay="0"/>
                                          </p:stCondLst>
                                        </p:cTn>
                                        <p:tgtEl>
                                          <p:spTgt spid="65"/>
                                        </p:tgtEl>
                                        <p:attrNameLst>
                                          <p:attrName>style.visibility</p:attrName>
                                        </p:attrNameLst>
                                      </p:cBhvr>
                                      <p:to>
                                        <p:strVal val="visible"/>
                                      </p:to>
                                    </p:set>
                                    <p:anim calcmode="lin" valueType="num">
                                      <p:cBhvr>
                                        <p:cTn id="181" dur="500" fill="hold"/>
                                        <p:tgtEl>
                                          <p:spTgt spid="65"/>
                                        </p:tgtEl>
                                        <p:attrNameLst>
                                          <p:attrName>ppt_w</p:attrName>
                                        </p:attrNameLst>
                                      </p:cBhvr>
                                      <p:tavLst>
                                        <p:tav tm="0">
                                          <p:val>
                                            <p:fltVal val="0"/>
                                          </p:val>
                                        </p:tav>
                                        <p:tav tm="100000">
                                          <p:val>
                                            <p:strVal val="#ppt_w"/>
                                          </p:val>
                                        </p:tav>
                                      </p:tavLst>
                                    </p:anim>
                                    <p:anim calcmode="lin" valueType="num">
                                      <p:cBhvr>
                                        <p:cTn id="182" dur="500" fill="hold"/>
                                        <p:tgtEl>
                                          <p:spTgt spid="65"/>
                                        </p:tgtEl>
                                        <p:attrNameLst>
                                          <p:attrName>ppt_h</p:attrName>
                                        </p:attrNameLst>
                                      </p:cBhvr>
                                      <p:tavLst>
                                        <p:tav tm="0">
                                          <p:val>
                                            <p:fltVal val="0"/>
                                          </p:val>
                                        </p:tav>
                                        <p:tav tm="100000">
                                          <p:val>
                                            <p:strVal val="#ppt_h"/>
                                          </p:val>
                                        </p:tav>
                                      </p:tavLst>
                                    </p:anim>
                                    <p:animEffect transition="in" filter="fade">
                                      <p:cBhvr>
                                        <p:cTn id="183" dur="500"/>
                                        <p:tgtEl>
                                          <p:spTgt spid="65"/>
                                        </p:tgtEl>
                                      </p:cBhvr>
                                    </p:animEffect>
                                  </p:childTnLst>
                                </p:cTn>
                              </p:par>
                              <p:par>
                                <p:cTn id="184" presetID="53" presetClass="entr" presetSubtype="16" fill="hold" grpId="0" nodeType="withEffect">
                                  <p:stCondLst>
                                    <p:cond delay="0"/>
                                  </p:stCondLst>
                                  <p:childTnLst>
                                    <p:set>
                                      <p:cBhvr>
                                        <p:cTn id="185" dur="1" fill="hold">
                                          <p:stCondLst>
                                            <p:cond delay="0"/>
                                          </p:stCondLst>
                                        </p:cTn>
                                        <p:tgtEl>
                                          <p:spTgt spid="19"/>
                                        </p:tgtEl>
                                        <p:attrNameLst>
                                          <p:attrName>style.visibility</p:attrName>
                                        </p:attrNameLst>
                                      </p:cBhvr>
                                      <p:to>
                                        <p:strVal val="visible"/>
                                      </p:to>
                                    </p:set>
                                    <p:anim calcmode="lin" valueType="num">
                                      <p:cBhvr>
                                        <p:cTn id="186" dur="500" fill="hold"/>
                                        <p:tgtEl>
                                          <p:spTgt spid="19"/>
                                        </p:tgtEl>
                                        <p:attrNameLst>
                                          <p:attrName>ppt_w</p:attrName>
                                        </p:attrNameLst>
                                      </p:cBhvr>
                                      <p:tavLst>
                                        <p:tav tm="0">
                                          <p:val>
                                            <p:fltVal val="0"/>
                                          </p:val>
                                        </p:tav>
                                        <p:tav tm="100000">
                                          <p:val>
                                            <p:strVal val="#ppt_w"/>
                                          </p:val>
                                        </p:tav>
                                      </p:tavLst>
                                    </p:anim>
                                    <p:anim calcmode="lin" valueType="num">
                                      <p:cBhvr>
                                        <p:cTn id="187" dur="500" fill="hold"/>
                                        <p:tgtEl>
                                          <p:spTgt spid="19"/>
                                        </p:tgtEl>
                                        <p:attrNameLst>
                                          <p:attrName>ppt_h</p:attrName>
                                        </p:attrNameLst>
                                      </p:cBhvr>
                                      <p:tavLst>
                                        <p:tav tm="0">
                                          <p:val>
                                            <p:fltVal val="0"/>
                                          </p:val>
                                        </p:tav>
                                        <p:tav tm="100000">
                                          <p:val>
                                            <p:strVal val="#ppt_h"/>
                                          </p:val>
                                        </p:tav>
                                      </p:tavLst>
                                    </p:anim>
                                    <p:animEffect transition="in" filter="fade">
                                      <p:cBhvr>
                                        <p:cTn id="188" dur="500"/>
                                        <p:tgtEl>
                                          <p:spTgt spid="19"/>
                                        </p:tgtEl>
                                      </p:cBhvr>
                                    </p:animEffect>
                                  </p:childTnLst>
                                </p:cTn>
                              </p:par>
                              <p:par>
                                <p:cTn id="189" presetID="53" presetClass="entr" presetSubtype="16" fill="hold" nodeType="withEffect">
                                  <p:stCondLst>
                                    <p:cond delay="0"/>
                                  </p:stCondLst>
                                  <p:childTnLst>
                                    <p:set>
                                      <p:cBhvr>
                                        <p:cTn id="190" dur="1" fill="hold">
                                          <p:stCondLst>
                                            <p:cond delay="0"/>
                                          </p:stCondLst>
                                        </p:cTn>
                                        <p:tgtEl>
                                          <p:spTgt spid="49"/>
                                        </p:tgtEl>
                                        <p:attrNameLst>
                                          <p:attrName>style.visibility</p:attrName>
                                        </p:attrNameLst>
                                      </p:cBhvr>
                                      <p:to>
                                        <p:strVal val="visible"/>
                                      </p:to>
                                    </p:set>
                                    <p:anim calcmode="lin" valueType="num">
                                      <p:cBhvr>
                                        <p:cTn id="191" dur="500" fill="hold"/>
                                        <p:tgtEl>
                                          <p:spTgt spid="49"/>
                                        </p:tgtEl>
                                        <p:attrNameLst>
                                          <p:attrName>ppt_w</p:attrName>
                                        </p:attrNameLst>
                                      </p:cBhvr>
                                      <p:tavLst>
                                        <p:tav tm="0">
                                          <p:val>
                                            <p:fltVal val="0"/>
                                          </p:val>
                                        </p:tav>
                                        <p:tav tm="100000">
                                          <p:val>
                                            <p:strVal val="#ppt_w"/>
                                          </p:val>
                                        </p:tav>
                                      </p:tavLst>
                                    </p:anim>
                                    <p:anim calcmode="lin" valueType="num">
                                      <p:cBhvr>
                                        <p:cTn id="192" dur="500" fill="hold"/>
                                        <p:tgtEl>
                                          <p:spTgt spid="49"/>
                                        </p:tgtEl>
                                        <p:attrNameLst>
                                          <p:attrName>ppt_h</p:attrName>
                                        </p:attrNameLst>
                                      </p:cBhvr>
                                      <p:tavLst>
                                        <p:tav tm="0">
                                          <p:val>
                                            <p:fltVal val="0"/>
                                          </p:val>
                                        </p:tav>
                                        <p:tav tm="100000">
                                          <p:val>
                                            <p:strVal val="#ppt_h"/>
                                          </p:val>
                                        </p:tav>
                                      </p:tavLst>
                                    </p:anim>
                                    <p:animEffect transition="in" filter="fade">
                                      <p:cBhvr>
                                        <p:cTn id="193" dur="500"/>
                                        <p:tgtEl>
                                          <p:spTgt spid="49"/>
                                        </p:tgtEl>
                                      </p:cBhvr>
                                    </p:animEffect>
                                  </p:childTnLst>
                                </p:cTn>
                              </p:par>
                              <p:par>
                                <p:cTn id="194" presetID="53" presetClass="entr" presetSubtype="16" fill="hold" grpId="0" nodeType="withEffect">
                                  <p:stCondLst>
                                    <p:cond delay="0"/>
                                  </p:stCondLst>
                                  <p:childTnLst>
                                    <p:set>
                                      <p:cBhvr>
                                        <p:cTn id="195" dur="1" fill="hold">
                                          <p:stCondLst>
                                            <p:cond delay="0"/>
                                          </p:stCondLst>
                                        </p:cTn>
                                        <p:tgtEl>
                                          <p:spTgt spid="18"/>
                                        </p:tgtEl>
                                        <p:attrNameLst>
                                          <p:attrName>style.visibility</p:attrName>
                                        </p:attrNameLst>
                                      </p:cBhvr>
                                      <p:to>
                                        <p:strVal val="visible"/>
                                      </p:to>
                                    </p:set>
                                    <p:anim calcmode="lin" valueType="num">
                                      <p:cBhvr>
                                        <p:cTn id="196" dur="500" fill="hold"/>
                                        <p:tgtEl>
                                          <p:spTgt spid="18"/>
                                        </p:tgtEl>
                                        <p:attrNameLst>
                                          <p:attrName>ppt_w</p:attrName>
                                        </p:attrNameLst>
                                      </p:cBhvr>
                                      <p:tavLst>
                                        <p:tav tm="0">
                                          <p:val>
                                            <p:fltVal val="0"/>
                                          </p:val>
                                        </p:tav>
                                        <p:tav tm="100000">
                                          <p:val>
                                            <p:strVal val="#ppt_w"/>
                                          </p:val>
                                        </p:tav>
                                      </p:tavLst>
                                    </p:anim>
                                    <p:anim calcmode="lin" valueType="num">
                                      <p:cBhvr>
                                        <p:cTn id="197" dur="500" fill="hold"/>
                                        <p:tgtEl>
                                          <p:spTgt spid="18"/>
                                        </p:tgtEl>
                                        <p:attrNameLst>
                                          <p:attrName>ppt_h</p:attrName>
                                        </p:attrNameLst>
                                      </p:cBhvr>
                                      <p:tavLst>
                                        <p:tav tm="0">
                                          <p:val>
                                            <p:fltVal val="0"/>
                                          </p:val>
                                        </p:tav>
                                        <p:tav tm="100000">
                                          <p:val>
                                            <p:strVal val="#ppt_h"/>
                                          </p:val>
                                        </p:tav>
                                      </p:tavLst>
                                    </p:anim>
                                    <p:animEffect transition="in" filter="fade">
                                      <p:cBhvr>
                                        <p:cTn id="198" dur="500"/>
                                        <p:tgtEl>
                                          <p:spTgt spid="18"/>
                                        </p:tgtEl>
                                      </p:cBhvr>
                                    </p:animEffect>
                                  </p:childTnLst>
                                </p:cTn>
                              </p:par>
                              <p:par>
                                <p:cTn id="199" presetID="53" presetClass="entr" presetSubtype="16" fill="hold" nodeType="withEffect">
                                  <p:stCondLst>
                                    <p:cond delay="0"/>
                                  </p:stCondLst>
                                  <p:childTnLst>
                                    <p:set>
                                      <p:cBhvr>
                                        <p:cTn id="200" dur="1" fill="hold">
                                          <p:stCondLst>
                                            <p:cond delay="0"/>
                                          </p:stCondLst>
                                        </p:cTn>
                                        <p:tgtEl>
                                          <p:spTgt spid="53"/>
                                        </p:tgtEl>
                                        <p:attrNameLst>
                                          <p:attrName>style.visibility</p:attrName>
                                        </p:attrNameLst>
                                      </p:cBhvr>
                                      <p:to>
                                        <p:strVal val="visible"/>
                                      </p:to>
                                    </p:set>
                                    <p:anim calcmode="lin" valueType="num">
                                      <p:cBhvr>
                                        <p:cTn id="201" dur="500" fill="hold"/>
                                        <p:tgtEl>
                                          <p:spTgt spid="53"/>
                                        </p:tgtEl>
                                        <p:attrNameLst>
                                          <p:attrName>ppt_w</p:attrName>
                                        </p:attrNameLst>
                                      </p:cBhvr>
                                      <p:tavLst>
                                        <p:tav tm="0">
                                          <p:val>
                                            <p:fltVal val="0"/>
                                          </p:val>
                                        </p:tav>
                                        <p:tav tm="100000">
                                          <p:val>
                                            <p:strVal val="#ppt_w"/>
                                          </p:val>
                                        </p:tav>
                                      </p:tavLst>
                                    </p:anim>
                                    <p:anim calcmode="lin" valueType="num">
                                      <p:cBhvr>
                                        <p:cTn id="202" dur="500" fill="hold"/>
                                        <p:tgtEl>
                                          <p:spTgt spid="53"/>
                                        </p:tgtEl>
                                        <p:attrNameLst>
                                          <p:attrName>ppt_h</p:attrName>
                                        </p:attrNameLst>
                                      </p:cBhvr>
                                      <p:tavLst>
                                        <p:tav tm="0">
                                          <p:val>
                                            <p:fltVal val="0"/>
                                          </p:val>
                                        </p:tav>
                                        <p:tav tm="100000">
                                          <p:val>
                                            <p:strVal val="#ppt_h"/>
                                          </p:val>
                                        </p:tav>
                                      </p:tavLst>
                                    </p:anim>
                                    <p:animEffect transition="in" filter="fade">
                                      <p:cBhvr>
                                        <p:cTn id="203" dur="500"/>
                                        <p:tgtEl>
                                          <p:spTgt spid="53"/>
                                        </p:tgtEl>
                                      </p:cBhvr>
                                    </p:animEffect>
                                  </p:childTnLst>
                                </p:cTn>
                              </p:par>
                              <p:par>
                                <p:cTn id="204" presetID="53" presetClass="entr" presetSubtype="16" fill="hold" grpId="0" nodeType="withEffect">
                                  <p:stCondLst>
                                    <p:cond delay="0"/>
                                  </p:stCondLst>
                                  <p:childTnLst>
                                    <p:set>
                                      <p:cBhvr>
                                        <p:cTn id="205" dur="1" fill="hold">
                                          <p:stCondLst>
                                            <p:cond delay="0"/>
                                          </p:stCondLst>
                                        </p:cTn>
                                        <p:tgtEl>
                                          <p:spTgt spid="43"/>
                                        </p:tgtEl>
                                        <p:attrNameLst>
                                          <p:attrName>style.visibility</p:attrName>
                                        </p:attrNameLst>
                                      </p:cBhvr>
                                      <p:to>
                                        <p:strVal val="visible"/>
                                      </p:to>
                                    </p:set>
                                    <p:anim calcmode="lin" valueType="num">
                                      <p:cBhvr>
                                        <p:cTn id="206" dur="500" fill="hold"/>
                                        <p:tgtEl>
                                          <p:spTgt spid="43"/>
                                        </p:tgtEl>
                                        <p:attrNameLst>
                                          <p:attrName>ppt_w</p:attrName>
                                        </p:attrNameLst>
                                      </p:cBhvr>
                                      <p:tavLst>
                                        <p:tav tm="0">
                                          <p:val>
                                            <p:fltVal val="0"/>
                                          </p:val>
                                        </p:tav>
                                        <p:tav tm="100000">
                                          <p:val>
                                            <p:strVal val="#ppt_w"/>
                                          </p:val>
                                        </p:tav>
                                      </p:tavLst>
                                    </p:anim>
                                    <p:anim calcmode="lin" valueType="num">
                                      <p:cBhvr>
                                        <p:cTn id="207" dur="500" fill="hold"/>
                                        <p:tgtEl>
                                          <p:spTgt spid="43"/>
                                        </p:tgtEl>
                                        <p:attrNameLst>
                                          <p:attrName>ppt_h</p:attrName>
                                        </p:attrNameLst>
                                      </p:cBhvr>
                                      <p:tavLst>
                                        <p:tav tm="0">
                                          <p:val>
                                            <p:fltVal val="0"/>
                                          </p:val>
                                        </p:tav>
                                        <p:tav tm="100000">
                                          <p:val>
                                            <p:strVal val="#ppt_h"/>
                                          </p:val>
                                        </p:tav>
                                      </p:tavLst>
                                    </p:anim>
                                    <p:animEffect transition="in" filter="fade">
                                      <p:cBhvr>
                                        <p:cTn id="20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1" grpId="0"/>
      <p:bldP spid="22" grpId="0"/>
      <p:bldP spid="24" grpId="0"/>
      <p:bldP spid="25" grpId="0"/>
      <p:bldP spid="28" grpId="0"/>
      <p:bldP spid="29" grpId="0"/>
      <p:bldP spid="31" grpId="0" animBg="1"/>
      <p:bldP spid="32" grpId="0" animBg="1"/>
      <p:bldP spid="33" grpId="0" animBg="1"/>
      <p:bldP spid="34" grpId="0" animBg="1"/>
      <p:bldP spid="40" grpId="0"/>
      <p:bldP spid="41" grpId="0"/>
      <p:bldP spid="42" grpId="0"/>
      <p:bldP spid="4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7" name="Picture 196">
            <a:extLst>
              <a:ext uri="{FF2B5EF4-FFF2-40B4-BE49-F238E27FC236}">
                <a16:creationId xmlns:a16="http://schemas.microsoft.com/office/drawing/2014/main" id="{433D543E-4A4A-4BFD-8E7D-824B01539647}"/>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97" name="Arc 96">
            <a:extLst>
              <a:ext uri="{FF2B5EF4-FFF2-40B4-BE49-F238E27FC236}">
                <a16:creationId xmlns:a16="http://schemas.microsoft.com/office/drawing/2014/main" id="{D05313CC-4710-4962-92AA-A4B7C6652B6D}"/>
              </a:ext>
            </a:extLst>
          </p:cNvPr>
          <p:cNvSpPr/>
          <p:nvPr/>
        </p:nvSpPr>
        <p:spPr>
          <a:xfrm>
            <a:off x="411735" y="1768349"/>
            <a:ext cx="4234604" cy="4659849"/>
          </a:xfrm>
          <a:prstGeom prst="arc">
            <a:avLst>
              <a:gd name="adj1" fmla="val 16812435"/>
              <a:gd name="adj2" fmla="val 4781030"/>
            </a:avLst>
          </a:prstGeom>
          <a:ln w="25400" cap="rnd">
            <a:solidFill>
              <a:schemeClr val="tx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Arc 97">
            <a:extLst>
              <a:ext uri="{FF2B5EF4-FFF2-40B4-BE49-F238E27FC236}">
                <a16:creationId xmlns:a16="http://schemas.microsoft.com/office/drawing/2014/main" id="{D37ECEF6-85BD-4182-B793-994D3688BECD}"/>
              </a:ext>
            </a:extLst>
          </p:cNvPr>
          <p:cNvSpPr/>
          <p:nvPr/>
        </p:nvSpPr>
        <p:spPr>
          <a:xfrm flipH="1">
            <a:off x="438063" y="1768349"/>
            <a:ext cx="4234604" cy="4659849"/>
          </a:xfrm>
          <a:prstGeom prst="arc">
            <a:avLst>
              <a:gd name="adj1" fmla="val 16812435"/>
              <a:gd name="adj2" fmla="val 4781841"/>
            </a:avLst>
          </a:prstGeom>
          <a:ln w="25400" cap="rnd">
            <a:solidFill>
              <a:schemeClr val="tx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Oval 98">
            <a:extLst>
              <a:ext uri="{FF2B5EF4-FFF2-40B4-BE49-F238E27FC236}">
                <a16:creationId xmlns:a16="http://schemas.microsoft.com/office/drawing/2014/main" id="{BD72F142-11B0-40E4-AD73-9F834CB606B5}"/>
              </a:ext>
            </a:extLst>
          </p:cNvPr>
          <p:cNvSpPr/>
          <p:nvPr/>
        </p:nvSpPr>
        <p:spPr bwMode="gray">
          <a:xfrm>
            <a:off x="657965" y="2004081"/>
            <a:ext cx="3806164" cy="418838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0" name="Oval 99">
            <a:extLst>
              <a:ext uri="{FF2B5EF4-FFF2-40B4-BE49-F238E27FC236}">
                <a16:creationId xmlns:a16="http://schemas.microsoft.com/office/drawing/2014/main" id="{AD4D5844-C9D9-4333-8AB6-25E8CD2EBFEA}"/>
              </a:ext>
            </a:extLst>
          </p:cNvPr>
          <p:cNvSpPr/>
          <p:nvPr/>
        </p:nvSpPr>
        <p:spPr bwMode="gray">
          <a:xfrm>
            <a:off x="825291" y="2183912"/>
            <a:ext cx="3460150" cy="3807623"/>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1" name="Oval 100">
            <a:extLst>
              <a:ext uri="{FF2B5EF4-FFF2-40B4-BE49-F238E27FC236}">
                <a16:creationId xmlns:a16="http://schemas.microsoft.com/office/drawing/2014/main" id="{61C0C6D2-3225-4ECE-A146-B6C396F6F1B5}"/>
              </a:ext>
            </a:extLst>
          </p:cNvPr>
          <p:cNvSpPr/>
          <p:nvPr/>
        </p:nvSpPr>
        <p:spPr bwMode="gray">
          <a:xfrm>
            <a:off x="988252" y="2333541"/>
            <a:ext cx="3145590" cy="346147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2" name="Oval 101">
            <a:extLst>
              <a:ext uri="{FF2B5EF4-FFF2-40B4-BE49-F238E27FC236}">
                <a16:creationId xmlns:a16="http://schemas.microsoft.com/office/drawing/2014/main" id="{8CF9F09D-B251-4877-B939-51EEC00267F2}"/>
              </a:ext>
            </a:extLst>
          </p:cNvPr>
          <p:cNvSpPr/>
          <p:nvPr/>
        </p:nvSpPr>
        <p:spPr bwMode="gray">
          <a:xfrm>
            <a:off x="1131234" y="2524876"/>
            <a:ext cx="2859628" cy="3146796"/>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8" name="Rectangle 107">
            <a:extLst>
              <a:ext uri="{FF2B5EF4-FFF2-40B4-BE49-F238E27FC236}">
                <a16:creationId xmlns:a16="http://schemas.microsoft.com/office/drawing/2014/main" id="{782C5281-52E4-4F4E-86B4-1C2A1F96FE68}"/>
              </a:ext>
            </a:extLst>
          </p:cNvPr>
          <p:cNvSpPr/>
          <p:nvPr/>
        </p:nvSpPr>
        <p:spPr>
          <a:xfrm>
            <a:off x="6756393" y="1463041"/>
            <a:ext cx="6166769" cy="807913"/>
          </a:xfrm>
          <a:prstGeom prst="rect">
            <a:avLst/>
          </a:prstGeom>
        </p:spPr>
        <p:txBody>
          <a:bodyPr wrap="square">
            <a:spAutoFit/>
          </a:bodyPr>
          <a:lstStyle/>
          <a:p>
            <a:pPr lvl="0">
              <a:spcAft>
                <a:spcPts val="300"/>
              </a:spcAft>
            </a:pPr>
            <a:r>
              <a:rPr lang="en-US" sz="1600" b="1" dirty="0">
                <a:solidFill>
                  <a:schemeClr val="accent4"/>
                </a:solidFill>
              </a:rPr>
              <a:t>ÉLABORATION DE LA CYBERSTRATÉGIE</a:t>
            </a:r>
            <a:endParaRPr lang="en-US" sz="1400" kern="0" dirty="0">
              <a:solidFill>
                <a:schemeClr val="accent4"/>
              </a:solidFill>
              <a:sym typeface="Gotham Book" charset="0"/>
            </a:endParaRPr>
          </a:p>
          <a:p>
            <a:pPr lvl="0">
              <a:spcAft>
                <a:spcPts val="300"/>
              </a:spcAft>
            </a:pPr>
            <a:r>
              <a:rPr lang="fr-FR" sz="1400" kern="0" dirty="0">
                <a:ea typeface="ヒラギノ角ゴ ProN W3" charset="0"/>
                <a:sym typeface="Gotham Book" charset="0"/>
              </a:rPr>
              <a:t>Créer une stratégie de cybersécurité spécifique au client en fonction de ses objectifs commerciaux, de ses risques et de ses besoins en matière de conformité.</a:t>
            </a:r>
            <a:endParaRPr lang="en-US" sz="1400" kern="0" dirty="0">
              <a:ea typeface="ヒラギノ角ゴ ProN W3" charset="0"/>
              <a:sym typeface="Gotham Book" charset="0"/>
            </a:endParaRPr>
          </a:p>
        </p:txBody>
      </p:sp>
      <p:sp>
        <p:nvSpPr>
          <p:cNvPr id="109" name="TextBox 108">
            <a:extLst>
              <a:ext uri="{FF2B5EF4-FFF2-40B4-BE49-F238E27FC236}">
                <a16:creationId xmlns:a16="http://schemas.microsoft.com/office/drawing/2014/main" id="{9EB7303C-DB95-48B4-AC44-2E6328845BD1}"/>
              </a:ext>
            </a:extLst>
          </p:cNvPr>
          <p:cNvSpPr txBox="1"/>
          <p:nvPr/>
        </p:nvSpPr>
        <p:spPr>
          <a:xfrm>
            <a:off x="6764975" y="5965827"/>
            <a:ext cx="6158187" cy="1061248"/>
          </a:xfrm>
          <a:prstGeom prst="rect">
            <a:avLst/>
          </a:prstGeom>
          <a:noFill/>
        </p:spPr>
        <p:txBody>
          <a:bodyPr wrap="square" rtlCol="0">
            <a:spAutoFit/>
          </a:bodyPr>
          <a:lstStyle/>
          <a:p>
            <a:pPr lvl="0">
              <a:spcAft>
                <a:spcPts val="300"/>
              </a:spcAft>
            </a:pPr>
            <a:r>
              <a:rPr lang="en-US" sz="1600" b="1" dirty="0">
                <a:solidFill>
                  <a:schemeClr val="accent4"/>
                </a:solidFill>
              </a:rPr>
              <a:t>AMÉLIORATION CONTINUE</a:t>
            </a:r>
          </a:p>
          <a:p>
            <a:pPr lvl="0">
              <a:spcAft>
                <a:spcPts val="300"/>
              </a:spcAft>
            </a:pPr>
            <a:r>
              <a:rPr lang="fr-FR" sz="1400" kern="0" dirty="0">
                <a:ea typeface="ヒラギノ角ゴ ProN W3" charset="0"/>
                <a:sym typeface="Gotham Book" charset="0"/>
              </a:rPr>
              <a:t>Une réévaluation sera effectuée pour déterminer le succès de la phase de mise en œuvre et pour identifier si le niveau de risque a changé et l'impact que cela a sur la stratégie et la feuille de route.</a:t>
            </a:r>
            <a:endParaRPr lang="en-US" sz="1400" kern="0" dirty="0">
              <a:ea typeface="ヒラギノ角ゴ ProN W3" charset="0"/>
              <a:sym typeface="Gotham Book" charset="0"/>
            </a:endParaRPr>
          </a:p>
        </p:txBody>
      </p:sp>
      <p:sp>
        <p:nvSpPr>
          <p:cNvPr id="110" name="TextBox 109">
            <a:extLst>
              <a:ext uri="{FF2B5EF4-FFF2-40B4-BE49-F238E27FC236}">
                <a16:creationId xmlns:a16="http://schemas.microsoft.com/office/drawing/2014/main" id="{A8E66BC6-1DA6-445C-8832-6ECD5CA4C987}"/>
              </a:ext>
            </a:extLst>
          </p:cNvPr>
          <p:cNvSpPr txBox="1"/>
          <p:nvPr/>
        </p:nvSpPr>
        <p:spPr>
          <a:xfrm>
            <a:off x="6756394" y="5036712"/>
            <a:ext cx="6271645" cy="592470"/>
          </a:xfrm>
          <a:prstGeom prst="rect">
            <a:avLst/>
          </a:prstGeom>
          <a:noFill/>
        </p:spPr>
        <p:txBody>
          <a:bodyPr wrap="square" rtlCol="0">
            <a:spAutoFit/>
          </a:bodyPr>
          <a:lstStyle/>
          <a:p>
            <a:pPr lvl="0">
              <a:spcAft>
                <a:spcPts val="300"/>
              </a:spcAft>
            </a:pPr>
            <a:r>
              <a:rPr lang="en-US" sz="1600" b="1" dirty="0">
                <a:solidFill>
                  <a:schemeClr val="accent4"/>
                </a:solidFill>
              </a:rPr>
              <a:t>IMPLEMENTATION DES RECOMMANDATIONS</a:t>
            </a:r>
          </a:p>
          <a:p>
            <a:pPr lvl="0">
              <a:spcAft>
                <a:spcPts val="300"/>
              </a:spcAft>
            </a:pPr>
            <a:r>
              <a:rPr lang="fr-FR" sz="1400" kern="0" dirty="0">
                <a:ea typeface="ヒラギノ角ゴ ProN W3" charset="0"/>
                <a:sym typeface="Gotham Book" charset="0"/>
              </a:rPr>
              <a:t>En fonction des besoins de l'organisation, choisir et appliquer une liste de contrôles.</a:t>
            </a:r>
            <a:endParaRPr lang="en-US" sz="1400" kern="0" dirty="0">
              <a:ea typeface="ヒラギノ角ゴ ProN W3" charset="0"/>
              <a:sym typeface="Gotham Book" charset="0"/>
            </a:endParaRPr>
          </a:p>
        </p:txBody>
      </p:sp>
      <p:sp>
        <p:nvSpPr>
          <p:cNvPr id="111" name="TextBox 110">
            <a:extLst>
              <a:ext uri="{FF2B5EF4-FFF2-40B4-BE49-F238E27FC236}">
                <a16:creationId xmlns:a16="http://schemas.microsoft.com/office/drawing/2014/main" id="{CE24A784-8CB6-45E0-B9FB-6BC03987C927}"/>
              </a:ext>
            </a:extLst>
          </p:cNvPr>
          <p:cNvSpPr txBox="1"/>
          <p:nvPr/>
        </p:nvSpPr>
        <p:spPr>
          <a:xfrm>
            <a:off x="6756393" y="2560551"/>
            <a:ext cx="6166769" cy="807913"/>
          </a:xfrm>
          <a:prstGeom prst="rect">
            <a:avLst/>
          </a:prstGeom>
          <a:noFill/>
        </p:spPr>
        <p:txBody>
          <a:bodyPr wrap="square" rtlCol="0">
            <a:spAutoFit/>
          </a:bodyPr>
          <a:lstStyle/>
          <a:p>
            <a:pPr lvl="0">
              <a:spcAft>
                <a:spcPts val="300"/>
              </a:spcAft>
            </a:pPr>
            <a:r>
              <a:rPr lang="en-US" sz="1600" b="1" dirty="0">
                <a:solidFill>
                  <a:schemeClr val="accent4"/>
                </a:solidFill>
              </a:rPr>
              <a:t>ÉVALUATION DU NIVEAU DE MATURITE</a:t>
            </a:r>
            <a:r>
              <a:rPr lang="en-US" sz="1600" b="1" dirty="0">
                <a:solidFill>
                  <a:srgbClr val="00A3E0"/>
                </a:solidFill>
              </a:rPr>
              <a:t> </a:t>
            </a:r>
          </a:p>
          <a:p>
            <a:pPr lvl="0">
              <a:spcAft>
                <a:spcPts val="300"/>
              </a:spcAft>
            </a:pPr>
            <a:r>
              <a:rPr lang="fr-FR" sz="1400" kern="0" dirty="0">
                <a:ea typeface="ヒラギノ角ゴ ProN W3" charset="0"/>
                <a:sym typeface="Gotham Book" charset="0"/>
              </a:rPr>
              <a:t>Effectuer une évaluation pour déterminer les exigences auxquelles l'organisation doit répondre et pour déterminer sa maturité</a:t>
            </a:r>
            <a:endParaRPr lang="en-US" sz="1400" kern="0" dirty="0">
              <a:ea typeface="ヒラギノ角ゴ ProN W3" charset="0"/>
              <a:sym typeface="Gotham Book" charset="0"/>
            </a:endParaRPr>
          </a:p>
        </p:txBody>
      </p:sp>
      <p:sp>
        <p:nvSpPr>
          <p:cNvPr id="112" name="TextBox 111">
            <a:extLst>
              <a:ext uri="{FF2B5EF4-FFF2-40B4-BE49-F238E27FC236}">
                <a16:creationId xmlns:a16="http://schemas.microsoft.com/office/drawing/2014/main" id="{76152915-D530-4588-9347-19B30FFDA3F5}"/>
              </a:ext>
            </a:extLst>
          </p:cNvPr>
          <p:cNvSpPr txBox="1"/>
          <p:nvPr/>
        </p:nvSpPr>
        <p:spPr>
          <a:xfrm>
            <a:off x="6764974" y="3687959"/>
            <a:ext cx="6166769" cy="1023357"/>
          </a:xfrm>
          <a:prstGeom prst="rect">
            <a:avLst/>
          </a:prstGeom>
          <a:noFill/>
        </p:spPr>
        <p:txBody>
          <a:bodyPr wrap="square" rtlCol="0">
            <a:spAutoFit/>
          </a:bodyPr>
          <a:lstStyle/>
          <a:p>
            <a:pPr lvl="0">
              <a:spcAft>
                <a:spcPts val="300"/>
              </a:spcAft>
            </a:pPr>
            <a:r>
              <a:rPr lang="fr-FR" sz="1600" b="1" dirty="0">
                <a:solidFill>
                  <a:schemeClr val="accent4"/>
                </a:solidFill>
              </a:rPr>
              <a:t>ÉLABORARTION DE LA FEUILLE DE ROUTE</a:t>
            </a:r>
          </a:p>
          <a:p>
            <a:pPr lvl="0">
              <a:spcAft>
                <a:spcPts val="300"/>
              </a:spcAft>
            </a:pPr>
            <a:r>
              <a:rPr lang="fr-FR" sz="1400" kern="0" dirty="0">
                <a:ea typeface="ヒラギノ角ゴ ProN W3" charset="0"/>
                <a:sym typeface="Gotham Book" charset="0"/>
              </a:rPr>
              <a:t>Élaborer un plan de cybersécurité et de gestion des risques qui décrit les processus et les contrôles administratifs, techniques, physiques et opérationnels, ainsi que les politiques, les normes et les mesures de sécurité.</a:t>
            </a:r>
            <a:r>
              <a:rPr lang="en-US" sz="1400" kern="0" dirty="0">
                <a:solidFill>
                  <a:prstClr val="white"/>
                </a:solidFill>
                <a:ea typeface="ヒラギノ角ゴ ProN W3" charset="0"/>
                <a:sym typeface="Gotham Book" charset="0"/>
              </a:rPr>
              <a:t>to show</a:t>
            </a:r>
            <a:r>
              <a:rPr lang="en-US" sz="1200" kern="0" dirty="0">
                <a:solidFill>
                  <a:prstClr val="white"/>
                </a:solidFill>
                <a:ea typeface="ヒラギノ角ゴ ProN W3" charset="0"/>
                <a:sym typeface="Gotham Book" charset="0"/>
              </a:rPr>
              <a:t>.</a:t>
            </a:r>
          </a:p>
        </p:txBody>
      </p:sp>
      <p:cxnSp>
        <p:nvCxnSpPr>
          <p:cNvPr id="113" name="Straight Connector 112">
            <a:extLst>
              <a:ext uri="{FF2B5EF4-FFF2-40B4-BE49-F238E27FC236}">
                <a16:creationId xmlns:a16="http://schemas.microsoft.com/office/drawing/2014/main" id="{1E6E7BF2-796F-4EBB-9302-C3A7D571CC0D}"/>
              </a:ext>
            </a:extLst>
          </p:cNvPr>
          <p:cNvCxnSpPr>
            <a:cxnSpLocks/>
          </p:cNvCxnSpPr>
          <p:nvPr/>
        </p:nvCxnSpPr>
        <p:spPr>
          <a:xfrm>
            <a:off x="6850094" y="2292073"/>
            <a:ext cx="6081649"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0">
                  <a:schemeClr val="accent1">
                    <a:lumMod val="5000"/>
                    <a:lumOff val="95000"/>
                  </a:schemeClr>
                </a:gs>
                <a:gs pos="12000">
                  <a:schemeClr val="accent1">
                    <a:lumMod val="45000"/>
                    <a:lumOff val="55000"/>
                  </a:schemeClr>
                </a:gs>
                <a:gs pos="31000">
                  <a:schemeClr val="accent3"/>
                </a:gs>
                <a:gs pos="100000">
                  <a:schemeClr val="accent1">
                    <a:lumMod val="30000"/>
                    <a:lumOff val="70000"/>
                  </a:schemeClr>
                </a:gs>
              </a:gsLst>
              <a:path path="rect">
                <a:fillToRect l="100000" t="100000"/>
              </a:path>
              <a:tileRect r="-100000" b="-100000"/>
            </a:gradFill>
            <a:miter lim="800000"/>
            <a:headEnd/>
            <a:tailEnd type="none" w="lg" len="lg"/>
          </a:ln>
        </p:spPr>
      </p:cxnSp>
      <p:cxnSp>
        <p:nvCxnSpPr>
          <p:cNvPr id="114" name="Straight Connector 113">
            <a:extLst>
              <a:ext uri="{FF2B5EF4-FFF2-40B4-BE49-F238E27FC236}">
                <a16:creationId xmlns:a16="http://schemas.microsoft.com/office/drawing/2014/main" id="{B75E0AC9-664B-4AD8-8B7B-6A22454CC18D}"/>
              </a:ext>
            </a:extLst>
          </p:cNvPr>
          <p:cNvCxnSpPr>
            <a:cxnSpLocks/>
          </p:cNvCxnSpPr>
          <p:nvPr/>
        </p:nvCxnSpPr>
        <p:spPr>
          <a:xfrm>
            <a:off x="6850094" y="3385203"/>
            <a:ext cx="6073068"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0">
                  <a:schemeClr val="accent1">
                    <a:lumMod val="5000"/>
                    <a:lumOff val="95000"/>
                  </a:schemeClr>
                </a:gs>
                <a:gs pos="12000">
                  <a:schemeClr val="accent1">
                    <a:lumMod val="45000"/>
                    <a:lumOff val="55000"/>
                  </a:schemeClr>
                </a:gs>
                <a:gs pos="31000">
                  <a:schemeClr val="accent3"/>
                </a:gs>
                <a:gs pos="100000">
                  <a:schemeClr val="accent1">
                    <a:lumMod val="30000"/>
                    <a:lumOff val="70000"/>
                  </a:schemeClr>
                </a:gs>
              </a:gsLst>
              <a:path path="rect">
                <a:fillToRect l="100000" t="100000"/>
              </a:path>
              <a:tileRect r="-100000" b="-100000"/>
            </a:gradFill>
            <a:miter lim="800000"/>
            <a:headEnd/>
            <a:tailEnd type="none" w="lg" len="lg"/>
          </a:ln>
        </p:spPr>
      </p:cxnSp>
      <p:cxnSp>
        <p:nvCxnSpPr>
          <p:cNvPr id="115" name="Straight Connector 114">
            <a:extLst>
              <a:ext uri="{FF2B5EF4-FFF2-40B4-BE49-F238E27FC236}">
                <a16:creationId xmlns:a16="http://schemas.microsoft.com/office/drawing/2014/main" id="{095B2AAB-C822-4FC8-B7A6-64ACF0B67093}"/>
              </a:ext>
            </a:extLst>
          </p:cNvPr>
          <p:cNvCxnSpPr>
            <a:cxnSpLocks/>
          </p:cNvCxnSpPr>
          <p:nvPr/>
        </p:nvCxnSpPr>
        <p:spPr>
          <a:xfrm>
            <a:off x="6850094" y="4731936"/>
            <a:ext cx="6073068"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0">
                  <a:schemeClr val="accent1">
                    <a:lumMod val="5000"/>
                    <a:lumOff val="95000"/>
                  </a:schemeClr>
                </a:gs>
                <a:gs pos="12000">
                  <a:schemeClr val="accent1">
                    <a:lumMod val="45000"/>
                    <a:lumOff val="55000"/>
                  </a:schemeClr>
                </a:gs>
                <a:gs pos="31000">
                  <a:schemeClr val="accent3"/>
                </a:gs>
                <a:gs pos="100000">
                  <a:schemeClr val="accent1">
                    <a:lumMod val="30000"/>
                    <a:lumOff val="70000"/>
                  </a:schemeClr>
                </a:gs>
              </a:gsLst>
              <a:path path="rect">
                <a:fillToRect l="100000" t="100000"/>
              </a:path>
              <a:tileRect r="-100000" b="-100000"/>
            </a:gradFill>
            <a:miter lim="800000"/>
            <a:headEnd/>
            <a:tailEnd type="none" w="lg" len="lg"/>
          </a:ln>
        </p:spPr>
      </p:cxnSp>
      <p:cxnSp>
        <p:nvCxnSpPr>
          <p:cNvPr id="116" name="Straight Connector 115">
            <a:extLst>
              <a:ext uri="{FF2B5EF4-FFF2-40B4-BE49-F238E27FC236}">
                <a16:creationId xmlns:a16="http://schemas.microsoft.com/office/drawing/2014/main" id="{B3E1AD7E-FAB4-42CD-A061-838B1AC95181}"/>
              </a:ext>
            </a:extLst>
          </p:cNvPr>
          <p:cNvCxnSpPr>
            <a:cxnSpLocks/>
          </p:cNvCxnSpPr>
          <p:nvPr/>
        </p:nvCxnSpPr>
        <p:spPr>
          <a:xfrm>
            <a:off x="6850094" y="5646504"/>
            <a:ext cx="6073068"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0">
                  <a:schemeClr val="accent1">
                    <a:lumMod val="5000"/>
                    <a:lumOff val="95000"/>
                  </a:schemeClr>
                </a:gs>
                <a:gs pos="12000">
                  <a:schemeClr val="accent1">
                    <a:lumMod val="45000"/>
                    <a:lumOff val="55000"/>
                  </a:schemeClr>
                </a:gs>
                <a:gs pos="31000">
                  <a:schemeClr val="accent3"/>
                </a:gs>
                <a:gs pos="100000">
                  <a:schemeClr val="accent1">
                    <a:lumMod val="30000"/>
                    <a:lumOff val="70000"/>
                  </a:schemeClr>
                </a:gs>
              </a:gsLst>
              <a:path path="rect">
                <a:fillToRect l="100000" t="100000"/>
              </a:path>
              <a:tileRect r="-100000" b="-100000"/>
            </a:gradFill>
            <a:miter lim="800000"/>
            <a:headEnd/>
            <a:tailEnd type="none" w="lg" len="lg"/>
          </a:ln>
        </p:spPr>
      </p:cxnSp>
      <p:grpSp>
        <p:nvGrpSpPr>
          <p:cNvPr id="117" name="Group 74">
            <a:extLst>
              <a:ext uri="{FF2B5EF4-FFF2-40B4-BE49-F238E27FC236}">
                <a16:creationId xmlns:a16="http://schemas.microsoft.com/office/drawing/2014/main" id="{8A30DC2E-D851-465E-986D-E798BE546B6E}"/>
              </a:ext>
            </a:extLst>
          </p:cNvPr>
          <p:cNvGrpSpPr>
            <a:grpSpLocks noChangeAspect="1"/>
          </p:cNvGrpSpPr>
          <p:nvPr/>
        </p:nvGrpSpPr>
        <p:grpSpPr bwMode="auto">
          <a:xfrm>
            <a:off x="5951854" y="2798209"/>
            <a:ext cx="598886" cy="638271"/>
            <a:chOff x="2417" y="4694"/>
            <a:chExt cx="1143" cy="1107"/>
          </a:xfrm>
          <a:solidFill>
            <a:schemeClr val="accent2"/>
          </a:solidFill>
        </p:grpSpPr>
        <p:sp>
          <p:nvSpPr>
            <p:cNvPr id="118" name="Freeform 75">
              <a:extLst>
                <a:ext uri="{FF2B5EF4-FFF2-40B4-BE49-F238E27FC236}">
                  <a16:creationId xmlns:a16="http://schemas.microsoft.com/office/drawing/2014/main" id="{5DE3C119-3C90-4CD2-976D-C065BA615C23}"/>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76">
              <a:extLst>
                <a:ext uri="{FF2B5EF4-FFF2-40B4-BE49-F238E27FC236}">
                  <a16:creationId xmlns:a16="http://schemas.microsoft.com/office/drawing/2014/main" id="{CF82DFE9-E8DA-4642-90F1-8C5474E51AC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77">
              <a:extLst>
                <a:ext uri="{FF2B5EF4-FFF2-40B4-BE49-F238E27FC236}">
                  <a16:creationId xmlns:a16="http://schemas.microsoft.com/office/drawing/2014/main" id="{2E3412C4-27FE-4039-9100-F18164DAB203}"/>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78">
              <a:extLst>
                <a:ext uri="{FF2B5EF4-FFF2-40B4-BE49-F238E27FC236}">
                  <a16:creationId xmlns:a16="http://schemas.microsoft.com/office/drawing/2014/main" id="{1A68188F-BFC6-42DC-8691-DC386894C9C2}"/>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9">
              <a:extLst>
                <a:ext uri="{FF2B5EF4-FFF2-40B4-BE49-F238E27FC236}">
                  <a16:creationId xmlns:a16="http://schemas.microsoft.com/office/drawing/2014/main" id="{07B143DD-7436-4D80-AF88-2E1E52643819}"/>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80">
              <a:extLst>
                <a:ext uri="{FF2B5EF4-FFF2-40B4-BE49-F238E27FC236}">
                  <a16:creationId xmlns:a16="http://schemas.microsoft.com/office/drawing/2014/main" id="{18026A77-140F-43AA-B841-6C02B5EC7121}"/>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81">
              <a:extLst>
                <a:ext uri="{FF2B5EF4-FFF2-40B4-BE49-F238E27FC236}">
                  <a16:creationId xmlns:a16="http://schemas.microsoft.com/office/drawing/2014/main" id="{699EC536-746D-469D-883D-222B9150E008}"/>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82">
              <a:extLst>
                <a:ext uri="{FF2B5EF4-FFF2-40B4-BE49-F238E27FC236}">
                  <a16:creationId xmlns:a16="http://schemas.microsoft.com/office/drawing/2014/main" id="{5E2CCF00-8812-4FCE-ABD0-1883CE52EACB}"/>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83">
              <a:extLst>
                <a:ext uri="{FF2B5EF4-FFF2-40B4-BE49-F238E27FC236}">
                  <a16:creationId xmlns:a16="http://schemas.microsoft.com/office/drawing/2014/main" id="{9307248B-03E6-4011-B10E-5C12BFCF8C5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84">
              <a:extLst>
                <a:ext uri="{FF2B5EF4-FFF2-40B4-BE49-F238E27FC236}">
                  <a16:creationId xmlns:a16="http://schemas.microsoft.com/office/drawing/2014/main" id="{AED5C182-EB74-447A-81D2-304C33ADF6B0}"/>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85">
              <a:extLst>
                <a:ext uri="{FF2B5EF4-FFF2-40B4-BE49-F238E27FC236}">
                  <a16:creationId xmlns:a16="http://schemas.microsoft.com/office/drawing/2014/main" id="{52206205-25DF-4682-ACB7-677EA3892B97}"/>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86">
              <a:extLst>
                <a:ext uri="{FF2B5EF4-FFF2-40B4-BE49-F238E27FC236}">
                  <a16:creationId xmlns:a16="http://schemas.microsoft.com/office/drawing/2014/main" id="{83326B29-A916-443D-92C7-73BF0F98DBD9}"/>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0" name="Group 129">
            <a:extLst>
              <a:ext uri="{FF2B5EF4-FFF2-40B4-BE49-F238E27FC236}">
                <a16:creationId xmlns:a16="http://schemas.microsoft.com/office/drawing/2014/main" id="{D191C6BE-07B7-470D-9C18-1D35E0AF0956}"/>
              </a:ext>
            </a:extLst>
          </p:cNvPr>
          <p:cNvGrpSpPr/>
          <p:nvPr/>
        </p:nvGrpSpPr>
        <p:grpSpPr>
          <a:xfrm rot="5400000">
            <a:off x="5918404" y="5999678"/>
            <a:ext cx="665790" cy="605032"/>
            <a:chOff x="5125249" y="5746282"/>
            <a:chExt cx="398943" cy="398943"/>
          </a:xfrm>
        </p:grpSpPr>
        <p:cxnSp>
          <p:nvCxnSpPr>
            <p:cNvPr id="131" name="Straight Connector 130">
              <a:extLst>
                <a:ext uri="{FF2B5EF4-FFF2-40B4-BE49-F238E27FC236}">
                  <a16:creationId xmlns:a16="http://schemas.microsoft.com/office/drawing/2014/main" id="{7AEDD64B-F6A0-411F-A215-59E360397ED3}"/>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2476D89-3B9C-4A20-B616-70DF2A170F14}"/>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E7C03A8-CDBD-441C-8B57-758728648881}"/>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5C27306-1E5A-40C3-A4CE-CC2879B71DDC}"/>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C9650CE-8A88-4B95-8490-E48504C22BBF}"/>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D555D16-EC2E-4544-840C-B7A8A96BC3E6}"/>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9923987-8152-49E7-A701-CC29BE9203FD}"/>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38" name="Straight Connector 137">
            <a:extLst>
              <a:ext uri="{FF2B5EF4-FFF2-40B4-BE49-F238E27FC236}">
                <a16:creationId xmlns:a16="http://schemas.microsoft.com/office/drawing/2014/main" id="{094DC9AC-4CEA-4543-843A-EACEF94A5898}"/>
              </a:ext>
            </a:extLst>
          </p:cNvPr>
          <p:cNvCxnSpPr>
            <a:cxnSpLocks/>
          </p:cNvCxnSpPr>
          <p:nvPr/>
        </p:nvCxnSpPr>
        <p:spPr>
          <a:xfrm>
            <a:off x="6850094" y="6994176"/>
            <a:ext cx="6081649"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0">
                  <a:schemeClr val="accent1">
                    <a:lumMod val="5000"/>
                    <a:lumOff val="95000"/>
                  </a:schemeClr>
                </a:gs>
                <a:gs pos="12000">
                  <a:schemeClr val="accent1">
                    <a:lumMod val="45000"/>
                    <a:lumOff val="55000"/>
                  </a:schemeClr>
                </a:gs>
                <a:gs pos="31000">
                  <a:schemeClr val="accent3"/>
                </a:gs>
                <a:gs pos="100000">
                  <a:schemeClr val="accent1">
                    <a:lumMod val="30000"/>
                    <a:lumOff val="70000"/>
                  </a:schemeClr>
                </a:gs>
              </a:gsLst>
              <a:path path="rect">
                <a:fillToRect l="100000" t="100000"/>
              </a:path>
              <a:tileRect r="-100000" b="-100000"/>
            </a:gradFill>
            <a:miter lim="800000"/>
            <a:headEnd/>
            <a:tailEnd type="none" w="lg" len="lg"/>
          </a:ln>
        </p:spPr>
      </p:cxnSp>
      <p:grpSp>
        <p:nvGrpSpPr>
          <p:cNvPr id="142" name="Group 9">
            <a:extLst>
              <a:ext uri="{FF2B5EF4-FFF2-40B4-BE49-F238E27FC236}">
                <a16:creationId xmlns:a16="http://schemas.microsoft.com/office/drawing/2014/main" id="{CB89175E-DCC1-4ACE-8BD3-848334B10A1E}"/>
              </a:ext>
            </a:extLst>
          </p:cNvPr>
          <p:cNvGrpSpPr>
            <a:grpSpLocks noChangeAspect="1"/>
          </p:cNvGrpSpPr>
          <p:nvPr/>
        </p:nvGrpSpPr>
        <p:grpSpPr bwMode="auto">
          <a:xfrm>
            <a:off x="5945714" y="4921297"/>
            <a:ext cx="611171" cy="653898"/>
            <a:chOff x="4224" y="4480"/>
            <a:chExt cx="1118" cy="1087"/>
          </a:xfrm>
          <a:solidFill>
            <a:schemeClr val="accent2"/>
          </a:solidFill>
        </p:grpSpPr>
        <p:sp>
          <p:nvSpPr>
            <p:cNvPr id="143" name="Freeform 10">
              <a:extLst>
                <a:ext uri="{FF2B5EF4-FFF2-40B4-BE49-F238E27FC236}">
                  <a16:creationId xmlns:a16="http://schemas.microsoft.com/office/drawing/2014/main" id="{686D01E9-0E77-4B75-AB5E-7573C181D5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a:extLst>
                <a:ext uri="{FF2B5EF4-FFF2-40B4-BE49-F238E27FC236}">
                  <a16:creationId xmlns:a16="http://schemas.microsoft.com/office/drawing/2014/main" id="{BE3ADAFC-275A-4691-94EC-0421150E170F}"/>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a:extLst>
                <a:ext uri="{FF2B5EF4-FFF2-40B4-BE49-F238E27FC236}">
                  <a16:creationId xmlns:a16="http://schemas.microsoft.com/office/drawing/2014/main" id="{AC307DEC-C114-4FD2-8C67-83F661B82F41}"/>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a:extLst>
                <a:ext uri="{FF2B5EF4-FFF2-40B4-BE49-F238E27FC236}">
                  <a16:creationId xmlns:a16="http://schemas.microsoft.com/office/drawing/2014/main" id="{54496EF0-2E9A-45C0-8E6C-21B8D2F6B5A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7" name="Group 16">
            <a:extLst>
              <a:ext uri="{FF2B5EF4-FFF2-40B4-BE49-F238E27FC236}">
                <a16:creationId xmlns:a16="http://schemas.microsoft.com/office/drawing/2014/main" id="{B2DC2AE0-A730-4534-B904-0F9C30D284B2}"/>
              </a:ext>
            </a:extLst>
          </p:cNvPr>
          <p:cNvGrpSpPr>
            <a:grpSpLocks noChangeAspect="1"/>
          </p:cNvGrpSpPr>
          <p:nvPr/>
        </p:nvGrpSpPr>
        <p:grpSpPr bwMode="auto">
          <a:xfrm>
            <a:off x="5952125" y="3854420"/>
            <a:ext cx="598348" cy="638271"/>
            <a:chOff x="3736" y="4411"/>
            <a:chExt cx="1143" cy="1108"/>
          </a:xfrm>
          <a:solidFill>
            <a:schemeClr val="accent2"/>
          </a:solidFill>
        </p:grpSpPr>
        <p:sp>
          <p:nvSpPr>
            <p:cNvPr id="148" name="Freeform 17">
              <a:extLst>
                <a:ext uri="{FF2B5EF4-FFF2-40B4-BE49-F238E27FC236}">
                  <a16:creationId xmlns:a16="http://schemas.microsoft.com/office/drawing/2014/main" id="{F1D00424-9599-4277-B00A-F7805A7B5A17}"/>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8">
              <a:extLst>
                <a:ext uri="{FF2B5EF4-FFF2-40B4-BE49-F238E27FC236}">
                  <a16:creationId xmlns:a16="http://schemas.microsoft.com/office/drawing/2014/main" id="{874099DE-AB52-4827-9E47-A170B336B474}"/>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9">
              <a:extLst>
                <a:ext uri="{FF2B5EF4-FFF2-40B4-BE49-F238E27FC236}">
                  <a16:creationId xmlns:a16="http://schemas.microsoft.com/office/drawing/2014/main" id="{98A83711-F7C2-4B27-B794-650B1CF427AF}"/>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20">
              <a:extLst>
                <a:ext uri="{FF2B5EF4-FFF2-40B4-BE49-F238E27FC236}">
                  <a16:creationId xmlns:a16="http://schemas.microsoft.com/office/drawing/2014/main" id="{6E21E930-2F57-40F5-A848-FD7458518AF6}"/>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21">
              <a:extLst>
                <a:ext uri="{FF2B5EF4-FFF2-40B4-BE49-F238E27FC236}">
                  <a16:creationId xmlns:a16="http://schemas.microsoft.com/office/drawing/2014/main" id="{D1743A77-9F2C-49D1-8DC7-CC923C592DAD}"/>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2">
              <a:extLst>
                <a:ext uri="{FF2B5EF4-FFF2-40B4-BE49-F238E27FC236}">
                  <a16:creationId xmlns:a16="http://schemas.microsoft.com/office/drawing/2014/main" id="{6E41E943-1485-4837-8AB2-52206AB2CF57}"/>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3">
              <a:extLst>
                <a:ext uri="{FF2B5EF4-FFF2-40B4-BE49-F238E27FC236}">
                  <a16:creationId xmlns:a16="http://schemas.microsoft.com/office/drawing/2014/main" id="{2977AE0A-C025-4E30-9C68-7BB900059D11}"/>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4">
              <a:extLst>
                <a:ext uri="{FF2B5EF4-FFF2-40B4-BE49-F238E27FC236}">
                  <a16:creationId xmlns:a16="http://schemas.microsoft.com/office/drawing/2014/main" id="{73A0AD5B-7B8B-4783-BAA9-AD321E4A009B}"/>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25">
              <a:extLst>
                <a:ext uri="{FF2B5EF4-FFF2-40B4-BE49-F238E27FC236}">
                  <a16:creationId xmlns:a16="http://schemas.microsoft.com/office/drawing/2014/main" id="{68E8E546-5395-481E-8E1D-961459AC6B2F}"/>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26">
              <a:extLst>
                <a:ext uri="{FF2B5EF4-FFF2-40B4-BE49-F238E27FC236}">
                  <a16:creationId xmlns:a16="http://schemas.microsoft.com/office/drawing/2014/main" id="{EE40AB5A-5C86-4144-B188-2B2CD881FF85}"/>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27">
              <a:extLst>
                <a:ext uri="{FF2B5EF4-FFF2-40B4-BE49-F238E27FC236}">
                  <a16:creationId xmlns:a16="http://schemas.microsoft.com/office/drawing/2014/main" id="{90A9E827-AAB5-458D-9E9D-B89EB8513BDE}"/>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 name="Oval 158">
            <a:extLst>
              <a:ext uri="{FF2B5EF4-FFF2-40B4-BE49-F238E27FC236}">
                <a16:creationId xmlns:a16="http://schemas.microsoft.com/office/drawing/2014/main" id="{6E646E4A-E37D-4FCD-A6C3-3573160DBBA5}"/>
              </a:ext>
            </a:extLst>
          </p:cNvPr>
          <p:cNvSpPr/>
          <p:nvPr/>
        </p:nvSpPr>
        <p:spPr bwMode="gray">
          <a:xfrm>
            <a:off x="4133156" y="2592148"/>
            <a:ext cx="235569" cy="259225"/>
          </a:xfrm>
          <a:prstGeom prst="ellipse">
            <a:avLst/>
          </a:prstGeom>
          <a:solidFill>
            <a:schemeClr val="accent2">
              <a:alpha val="34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160" name="Group 159">
            <a:extLst>
              <a:ext uri="{FF2B5EF4-FFF2-40B4-BE49-F238E27FC236}">
                <a16:creationId xmlns:a16="http://schemas.microsoft.com/office/drawing/2014/main" id="{650A6878-D095-4EEC-B532-2318EBCFAE48}"/>
              </a:ext>
            </a:extLst>
          </p:cNvPr>
          <p:cNvGrpSpPr/>
          <p:nvPr/>
        </p:nvGrpSpPr>
        <p:grpSpPr>
          <a:xfrm>
            <a:off x="4260612" y="1924840"/>
            <a:ext cx="1385501" cy="791520"/>
            <a:chOff x="4207048" y="2110398"/>
            <a:chExt cx="1337549" cy="694394"/>
          </a:xfrm>
        </p:grpSpPr>
        <p:cxnSp>
          <p:nvCxnSpPr>
            <p:cNvPr id="161" name="Straight Connector 160">
              <a:extLst>
                <a:ext uri="{FF2B5EF4-FFF2-40B4-BE49-F238E27FC236}">
                  <a16:creationId xmlns:a16="http://schemas.microsoft.com/office/drawing/2014/main" id="{7518AE1B-E146-4566-9529-933F9DE87E01}"/>
                </a:ext>
              </a:extLst>
            </p:cNvPr>
            <p:cNvCxnSpPr>
              <a:cxnSpLocks/>
            </p:cNvCxnSpPr>
            <p:nvPr/>
          </p:nvCxnSpPr>
          <p:spPr>
            <a:xfrm>
              <a:off x="4922598" y="2110398"/>
              <a:ext cx="621999" cy="0"/>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D355EBD-9988-4AB5-8246-86B069C73B73}"/>
                </a:ext>
              </a:extLst>
            </p:cNvPr>
            <p:cNvCxnSpPr>
              <a:cxnSpLocks/>
            </p:cNvCxnSpPr>
            <p:nvPr/>
          </p:nvCxnSpPr>
          <p:spPr>
            <a:xfrm flipH="1">
              <a:off x="4207048" y="2129350"/>
              <a:ext cx="696600" cy="675442"/>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163" name="Oval 162">
            <a:extLst>
              <a:ext uri="{FF2B5EF4-FFF2-40B4-BE49-F238E27FC236}">
                <a16:creationId xmlns:a16="http://schemas.microsoft.com/office/drawing/2014/main" id="{04EA910B-941F-47A3-ADE3-338B76E175C4}"/>
              </a:ext>
            </a:extLst>
          </p:cNvPr>
          <p:cNvSpPr/>
          <p:nvPr/>
        </p:nvSpPr>
        <p:spPr bwMode="gray">
          <a:xfrm>
            <a:off x="4461026" y="3324296"/>
            <a:ext cx="235569" cy="259225"/>
          </a:xfrm>
          <a:prstGeom prst="ellipse">
            <a:avLst/>
          </a:prstGeom>
          <a:solidFill>
            <a:schemeClr val="accent2">
              <a:alpha val="34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4" name="Oval 163">
            <a:extLst>
              <a:ext uri="{FF2B5EF4-FFF2-40B4-BE49-F238E27FC236}">
                <a16:creationId xmlns:a16="http://schemas.microsoft.com/office/drawing/2014/main" id="{56CF9B32-396B-48F3-9F1A-5E79C2C4A3D1}"/>
              </a:ext>
            </a:extLst>
          </p:cNvPr>
          <p:cNvSpPr/>
          <p:nvPr/>
        </p:nvSpPr>
        <p:spPr bwMode="gray">
          <a:xfrm>
            <a:off x="4528203" y="4050161"/>
            <a:ext cx="235569" cy="259225"/>
          </a:xfrm>
          <a:prstGeom prst="ellipse">
            <a:avLst/>
          </a:prstGeom>
          <a:solidFill>
            <a:schemeClr val="accent2">
              <a:alpha val="34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5" name="Oval 164">
            <a:extLst>
              <a:ext uri="{FF2B5EF4-FFF2-40B4-BE49-F238E27FC236}">
                <a16:creationId xmlns:a16="http://schemas.microsoft.com/office/drawing/2014/main" id="{B6250C8E-C29A-45A2-ADC8-FA936E09D285}"/>
              </a:ext>
            </a:extLst>
          </p:cNvPr>
          <p:cNvSpPr/>
          <p:nvPr/>
        </p:nvSpPr>
        <p:spPr bwMode="gray">
          <a:xfrm>
            <a:off x="4433842" y="4673600"/>
            <a:ext cx="235569" cy="259225"/>
          </a:xfrm>
          <a:prstGeom prst="ellipse">
            <a:avLst/>
          </a:prstGeom>
          <a:solidFill>
            <a:schemeClr val="accent2">
              <a:alpha val="34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6" name="Oval 165">
            <a:extLst>
              <a:ext uri="{FF2B5EF4-FFF2-40B4-BE49-F238E27FC236}">
                <a16:creationId xmlns:a16="http://schemas.microsoft.com/office/drawing/2014/main" id="{7F408942-2022-46A3-B5A8-6EF2880A7DFF}"/>
              </a:ext>
            </a:extLst>
          </p:cNvPr>
          <p:cNvSpPr/>
          <p:nvPr/>
        </p:nvSpPr>
        <p:spPr bwMode="gray">
          <a:xfrm>
            <a:off x="4147037" y="5315163"/>
            <a:ext cx="235569" cy="259225"/>
          </a:xfrm>
          <a:prstGeom prst="ellipse">
            <a:avLst/>
          </a:prstGeom>
          <a:solidFill>
            <a:schemeClr val="accent2">
              <a:alpha val="34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67" name="Straight Connector 166">
            <a:extLst>
              <a:ext uri="{FF2B5EF4-FFF2-40B4-BE49-F238E27FC236}">
                <a16:creationId xmlns:a16="http://schemas.microsoft.com/office/drawing/2014/main" id="{10A29C1B-9609-4A87-A67F-E0BA614663C8}"/>
              </a:ext>
            </a:extLst>
          </p:cNvPr>
          <p:cNvCxnSpPr>
            <a:cxnSpLocks/>
          </p:cNvCxnSpPr>
          <p:nvPr/>
        </p:nvCxnSpPr>
        <p:spPr>
          <a:xfrm>
            <a:off x="4646339" y="4183348"/>
            <a:ext cx="999774" cy="0"/>
          </a:xfrm>
          <a:prstGeom prst="line">
            <a:avLst/>
          </a:prstGeom>
          <a:ln w="15875" cap="rnd">
            <a:solidFill>
              <a:schemeClr val="tx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17E9269-4352-41AD-B04F-824F08C6D6A0}"/>
              </a:ext>
            </a:extLst>
          </p:cNvPr>
          <p:cNvGrpSpPr/>
          <p:nvPr/>
        </p:nvGrpSpPr>
        <p:grpSpPr>
          <a:xfrm>
            <a:off x="4260613" y="5444775"/>
            <a:ext cx="1443026" cy="851879"/>
            <a:chOff x="4207049" y="5198407"/>
            <a:chExt cx="1393083" cy="747346"/>
          </a:xfrm>
        </p:grpSpPr>
        <p:cxnSp>
          <p:nvCxnSpPr>
            <p:cNvPr id="169" name="Straight Connector 168">
              <a:extLst>
                <a:ext uri="{FF2B5EF4-FFF2-40B4-BE49-F238E27FC236}">
                  <a16:creationId xmlns:a16="http://schemas.microsoft.com/office/drawing/2014/main" id="{CA548332-D96C-48EA-8266-A216FF9AC707}"/>
                </a:ext>
              </a:extLst>
            </p:cNvPr>
            <p:cNvCxnSpPr>
              <a:cxnSpLocks/>
            </p:cNvCxnSpPr>
            <p:nvPr/>
          </p:nvCxnSpPr>
          <p:spPr>
            <a:xfrm>
              <a:off x="4978133" y="5945753"/>
              <a:ext cx="621999" cy="0"/>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3626955-143E-4462-8CF5-375657A1093F}"/>
                </a:ext>
              </a:extLst>
            </p:cNvPr>
            <p:cNvCxnSpPr>
              <a:cxnSpLocks/>
            </p:cNvCxnSpPr>
            <p:nvPr/>
          </p:nvCxnSpPr>
          <p:spPr>
            <a:xfrm flipH="1" flipV="1">
              <a:off x="4207049" y="5198407"/>
              <a:ext cx="741652" cy="747345"/>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171" name="Group 170">
            <a:extLst>
              <a:ext uri="{FF2B5EF4-FFF2-40B4-BE49-F238E27FC236}">
                <a16:creationId xmlns:a16="http://schemas.microsoft.com/office/drawing/2014/main" id="{D648C0DC-B2C0-4D58-964A-B217B2703815}"/>
              </a:ext>
            </a:extLst>
          </p:cNvPr>
          <p:cNvGrpSpPr/>
          <p:nvPr/>
        </p:nvGrpSpPr>
        <p:grpSpPr>
          <a:xfrm>
            <a:off x="4588290" y="3111228"/>
            <a:ext cx="1057822" cy="342681"/>
            <a:chOff x="4523386" y="3151206"/>
            <a:chExt cx="1021211" cy="300631"/>
          </a:xfrm>
        </p:grpSpPr>
        <p:cxnSp>
          <p:nvCxnSpPr>
            <p:cNvPr id="172" name="Straight Connector 171">
              <a:extLst>
                <a:ext uri="{FF2B5EF4-FFF2-40B4-BE49-F238E27FC236}">
                  <a16:creationId xmlns:a16="http://schemas.microsoft.com/office/drawing/2014/main" id="{46289570-E29E-4D75-9EB9-6C2A0D6DC3BA}"/>
                </a:ext>
              </a:extLst>
            </p:cNvPr>
            <p:cNvCxnSpPr>
              <a:cxnSpLocks/>
            </p:cNvCxnSpPr>
            <p:nvPr/>
          </p:nvCxnSpPr>
          <p:spPr>
            <a:xfrm>
              <a:off x="4922598" y="3151712"/>
              <a:ext cx="621999" cy="0"/>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3A8810B1-F86C-46C4-8016-CA1B5A52CB1E}"/>
                </a:ext>
              </a:extLst>
            </p:cNvPr>
            <p:cNvCxnSpPr>
              <a:cxnSpLocks/>
            </p:cNvCxnSpPr>
            <p:nvPr/>
          </p:nvCxnSpPr>
          <p:spPr>
            <a:xfrm flipH="1">
              <a:off x="4523386" y="3151206"/>
              <a:ext cx="371734" cy="300631"/>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174" name="Group 173">
            <a:extLst>
              <a:ext uri="{FF2B5EF4-FFF2-40B4-BE49-F238E27FC236}">
                <a16:creationId xmlns:a16="http://schemas.microsoft.com/office/drawing/2014/main" id="{2BA72605-7A28-4F18-AA66-75A869AB58BC}"/>
              </a:ext>
            </a:extLst>
          </p:cNvPr>
          <p:cNvGrpSpPr/>
          <p:nvPr/>
        </p:nvGrpSpPr>
        <p:grpSpPr>
          <a:xfrm>
            <a:off x="4551627" y="4802348"/>
            <a:ext cx="1094486" cy="446148"/>
            <a:chOff x="4487991" y="4634811"/>
            <a:chExt cx="1056606" cy="391402"/>
          </a:xfrm>
        </p:grpSpPr>
        <p:cxnSp>
          <p:nvCxnSpPr>
            <p:cNvPr id="175" name="Straight Connector 174">
              <a:extLst>
                <a:ext uri="{FF2B5EF4-FFF2-40B4-BE49-F238E27FC236}">
                  <a16:creationId xmlns:a16="http://schemas.microsoft.com/office/drawing/2014/main" id="{BB9EAB84-DB06-4FD7-B592-526B72E33B9A}"/>
                </a:ext>
              </a:extLst>
            </p:cNvPr>
            <p:cNvCxnSpPr>
              <a:cxnSpLocks/>
            </p:cNvCxnSpPr>
            <p:nvPr/>
          </p:nvCxnSpPr>
          <p:spPr>
            <a:xfrm>
              <a:off x="4922598" y="5026213"/>
              <a:ext cx="621999" cy="0"/>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C14E4293-BF6A-4862-8770-EF5AD2FE7B6D}"/>
                </a:ext>
              </a:extLst>
            </p:cNvPr>
            <p:cNvCxnSpPr>
              <a:cxnSpLocks/>
            </p:cNvCxnSpPr>
            <p:nvPr/>
          </p:nvCxnSpPr>
          <p:spPr>
            <a:xfrm flipH="1" flipV="1">
              <a:off x="4487991" y="4634811"/>
              <a:ext cx="419702" cy="391183"/>
            </a:xfrm>
            <a:prstGeom prst="line">
              <a:avLst/>
            </a:prstGeom>
            <a:ln w="158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pic>
        <p:nvPicPr>
          <p:cNvPr id="192" name="Graphic 191" descr="Target outline">
            <a:extLst>
              <a:ext uri="{FF2B5EF4-FFF2-40B4-BE49-F238E27FC236}">
                <a16:creationId xmlns:a16="http://schemas.microsoft.com/office/drawing/2014/main" id="{39C36B60-F718-409D-B01B-67D88AC66C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06131" y="1577028"/>
            <a:ext cx="690332" cy="759656"/>
          </a:xfrm>
          <a:prstGeom prst="rect">
            <a:avLst/>
          </a:prstGeom>
        </p:spPr>
      </p:pic>
      <p:pic>
        <p:nvPicPr>
          <p:cNvPr id="196" name="Graphic 195" descr="Artificial Intelligence outline">
            <a:extLst>
              <a:ext uri="{FF2B5EF4-FFF2-40B4-BE49-F238E27FC236}">
                <a16:creationId xmlns:a16="http://schemas.microsoft.com/office/drawing/2014/main" id="{A71A4240-B3EE-46A5-8914-2B8388675F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2150" y="3351200"/>
            <a:ext cx="1357795" cy="1494147"/>
          </a:xfrm>
          <a:prstGeom prst="rect">
            <a:avLst/>
          </a:prstGeom>
          <a:effectLst>
            <a:glow rad="228600">
              <a:schemeClr val="accent2">
                <a:satMod val="175000"/>
                <a:alpha val="40000"/>
              </a:schemeClr>
            </a:glow>
          </a:effectLst>
        </p:spPr>
      </p:pic>
      <p:grpSp>
        <p:nvGrpSpPr>
          <p:cNvPr id="11" name="Groupe 10">
            <a:extLst>
              <a:ext uri="{FF2B5EF4-FFF2-40B4-BE49-F238E27FC236}">
                <a16:creationId xmlns:a16="http://schemas.microsoft.com/office/drawing/2014/main" id="{A98EF6ED-69CB-4E39-9505-91621956D677}"/>
              </a:ext>
            </a:extLst>
          </p:cNvPr>
          <p:cNvGrpSpPr/>
          <p:nvPr/>
        </p:nvGrpSpPr>
        <p:grpSpPr>
          <a:xfrm>
            <a:off x="3762244" y="519574"/>
            <a:ext cx="924398" cy="544758"/>
            <a:chOff x="8696117" y="519574"/>
            <a:chExt cx="772486" cy="544758"/>
          </a:xfrm>
        </p:grpSpPr>
        <p:sp>
          <p:nvSpPr>
            <p:cNvPr id="91" name="Freeform 926">
              <a:extLst>
                <a:ext uri="{FF2B5EF4-FFF2-40B4-BE49-F238E27FC236}">
                  <a16:creationId xmlns:a16="http://schemas.microsoft.com/office/drawing/2014/main" id="{55CB25D3-D7D9-460A-8DF3-88EDC0259AC7}"/>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95" name="TextBox 220">
              <a:extLst>
                <a:ext uri="{FF2B5EF4-FFF2-40B4-BE49-F238E27FC236}">
                  <a16:creationId xmlns:a16="http://schemas.microsoft.com/office/drawing/2014/main" id="{8D4FAAF9-9C72-4D26-A2C7-1E0EED269558}"/>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Objectifs</a:t>
              </a:r>
            </a:p>
          </p:txBody>
        </p:sp>
      </p:grpSp>
      <p:grpSp>
        <p:nvGrpSpPr>
          <p:cNvPr id="12" name="Groupe 11">
            <a:extLst>
              <a:ext uri="{FF2B5EF4-FFF2-40B4-BE49-F238E27FC236}">
                <a16:creationId xmlns:a16="http://schemas.microsoft.com/office/drawing/2014/main" id="{DECB1828-AE99-4E00-9BA3-15F93521C09A}"/>
              </a:ext>
            </a:extLst>
          </p:cNvPr>
          <p:cNvGrpSpPr/>
          <p:nvPr/>
        </p:nvGrpSpPr>
        <p:grpSpPr>
          <a:xfrm>
            <a:off x="10635530" y="519574"/>
            <a:ext cx="1706324" cy="544758"/>
            <a:chOff x="10635530" y="519574"/>
            <a:chExt cx="1425914" cy="544758"/>
          </a:xfrm>
        </p:grpSpPr>
        <p:sp>
          <p:nvSpPr>
            <p:cNvPr id="93" name="Freeform 926">
              <a:extLst>
                <a:ext uri="{FF2B5EF4-FFF2-40B4-BE49-F238E27FC236}">
                  <a16:creationId xmlns:a16="http://schemas.microsoft.com/office/drawing/2014/main" id="{640CA422-2F34-4744-B13E-466F5B7A02CA}"/>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103" name="TextBox 220">
              <a:extLst>
                <a:ext uri="{FF2B5EF4-FFF2-40B4-BE49-F238E27FC236}">
                  <a16:creationId xmlns:a16="http://schemas.microsoft.com/office/drawing/2014/main" id="{3DB44DA8-F006-42B9-8C1B-5DA9646562DA}"/>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a:solidFill>
                    <a:schemeClr val="tx2"/>
                  </a:solidFill>
                </a:rPr>
                <a:t>Aperçu Framework</a:t>
              </a:r>
            </a:p>
          </p:txBody>
        </p:sp>
      </p:grpSp>
      <p:sp>
        <p:nvSpPr>
          <p:cNvPr id="106" name="ZoneTexte 105">
            <a:extLst>
              <a:ext uri="{FF2B5EF4-FFF2-40B4-BE49-F238E27FC236}">
                <a16:creationId xmlns:a16="http://schemas.microsoft.com/office/drawing/2014/main" id="{FEE791AD-A6C7-44B5-AE27-84459C6A99E9}"/>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3</a:t>
            </a:r>
          </a:p>
        </p:txBody>
      </p:sp>
      <p:grpSp>
        <p:nvGrpSpPr>
          <p:cNvPr id="9" name="Groupe 8">
            <a:extLst>
              <a:ext uri="{FF2B5EF4-FFF2-40B4-BE49-F238E27FC236}">
                <a16:creationId xmlns:a16="http://schemas.microsoft.com/office/drawing/2014/main" id="{07D9E06F-A5EC-4CCF-AA2B-4ADB82A68C24}"/>
              </a:ext>
            </a:extLst>
          </p:cNvPr>
          <p:cNvGrpSpPr/>
          <p:nvPr/>
        </p:nvGrpSpPr>
        <p:grpSpPr>
          <a:xfrm>
            <a:off x="5701658" y="519574"/>
            <a:ext cx="1316886" cy="544812"/>
            <a:chOff x="3625356" y="519574"/>
            <a:chExt cx="1100474" cy="544812"/>
          </a:xfrm>
        </p:grpSpPr>
        <p:sp>
          <p:nvSpPr>
            <p:cNvPr id="107" name="Freeform 926">
              <a:extLst>
                <a:ext uri="{FF2B5EF4-FFF2-40B4-BE49-F238E27FC236}">
                  <a16:creationId xmlns:a16="http://schemas.microsoft.com/office/drawing/2014/main" id="{811B5071-BA95-48FD-ADDC-BCF3A6108A9E}"/>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140" name="TextBox 219">
              <a:extLst>
                <a:ext uri="{FF2B5EF4-FFF2-40B4-BE49-F238E27FC236}">
                  <a16:creationId xmlns:a16="http://schemas.microsoft.com/office/drawing/2014/main" id="{B5552091-D634-42CA-8502-6BF17E90B9D7}"/>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10" name="Groupe 9">
            <a:extLst>
              <a:ext uri="{FF2B5EF4-FFF2-40B4-BE49-F238E27FC236}">
                <a16:creationId xmlns:a16="http://schemas.microsoft.com/office/drawing/2014/main" id="{F072AE2B-AC85-403C-979D-15318FC96A47}"/>
              </a:ext>
            </a:extLst>
          </p:cNvPr>
          <p:cNvGrpSpPr/>
          <p:nvPr/>
        </p:nvGrpSpPr>
        <p:grpSpPr>
          <a:xfrm>
            <a:off x="7969060" y="519574"/>
            <a:ext cx="1794433" cy="544812"/>
            <a:chOff x="5755870" y="519574"/>
            <a:chExt cx="1499543" cy="544812"/>
          </a:xfrm>
        </p:grpSpPr>
        <p:sp>
          <p:nvSpPr>
            <p:cNvPr id="139" name="Freeform 926">
              <a:extLst>
                <a:ext uri="{FF2B5EF4-FFF2-40B4-BE49-F238E27FC236}">
                  <a16:creationId xmlns:a16="http://schemas.microsoft.com/office/drawing/2014/main" id="{969D7887-140C-4C4E-B2A4-4B3C140BBD88}"/>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141" name="TextBox 219">
              <a:extLst>
                <a:ext uri="{FF2B5EF4-FFF2-40B4-BE49-F238E27FC236}">
                  <a16:creationId xmlns:a16="http://schemas.microsoft.com/office/drawing/2014/main" id="{B7868559-DDF1-45B3-974A-B2FB608A8C1C}"/>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a:solidFill>
                    <a:schemeClr val="tx2"/>
                  </a:solidFill>
                </a:rPr>
                <a:t>Normes et standards</a:t>
              </a:r>
            </a:p>
          </p:txBody>
        </p:sp>
      </p:grpSp>
      <p:grpSp>
        <p:nvGrpSpPr>
          <p:cNvPr id="8" name="Groupe 7">
            <a:extLst>
              <a:ext uri="{FF2B5EF4-FFF2-40B4-BE49-F238E27FC236}">
                <a16:creationId xmlns:a16="http://schemas.microsoft.com/office/drawing/2014/main" id="{C170B23B-D3ED-4CED-B508-1323F4A89BD9}"/>
              </a:ext>
            </a:extLst>
          </p:cNvPr>
          <p:cNvGrpSpPr/>
          <p:nvPr/>
        </p:nvGrpSpPr>
        <p:grpSpPr>
          <a:xfrm>
            <a:off x="1378330" y="519574"/>
            <a:ext cx="1456310" cy="544812"/>
            <a:chOff x="1378330" y="519574"/>
            <a:chExt cx="1216986" cy="544812"/>
          </a:xfrm>
        </p:grpSpPr>
        <p:sp>
          <p:nvSpPr>
            <p:cNvPr id="177" name="TextBox 219">
              <a:extLst>
                <a:ext uri="{FF2B5EF4-FFF2-40B4-BE49-F238E27FC236}">
                  <a16:creationId xmlns:a16="http://schemas.microsoft.com/office/drawing/2014/main" id="{5E0767A9-18ED-40D0-AD6F-FA436B3C4563}"/>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178" name="Freeform 926">
              <a:extLst>
                <a:ext uri="{FF2B5EF4-FFF2-40B4-BE49-F238E27FC236}">
                  <a16:creationId xmlns:a16="http://schemas.microsoft.com/office/drawing/2014/main" id="{40698061-C09C-4FDF-A24C-051559BB858B}"/>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sp>
        <p:nvSpPr>
          <p:cNvPr id="96" name="Rectangle 95">
            <a:extLst>
              <a:ext uri="{FF2B5EF4-FFF2-40B4-BE49-F238E27FC236}">
                <a16:creationId xmlns:a16="http://schemas.microsoft.com/office/drawing/2014/main" id="{CA95E5DD-1091-4669-9243-4E12407274E1}"/>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104" name="Rectangle 103">
            <a:extLst>
              <a:ext uri="{FF2B5EF4-FFF2-40B4-BE49-F238E27FC236}">
                <a16:creationId xmlns:a16="http://schemas.microsoft.com/office/drawing/2014/main" id="{6D245B66-390B-42C2-97F2-BB750BE99A99}"/>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105" name="Rectangle 104">
            <a:extLst>
              <a:ext uri="{FF2B5EF4-FFF2-40B4-BE49-F238E27FC236}">
                <a16:creationId xmlns:a16="http://schemas.microsoft.com/office/drawing/2014/main" id="{D8BF6B3A-7035-49C5-80B8-76D1DC8639AA}"/>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179" name="Rectangle 178">
            <a:extLst>
              <a:ext uri="{FF2B5EF4-FFF2-40B4-BE49-F238E27FC236}">
                <a16:creationId xmlns:a16="http://schemas.microsoft.com/office/drawing/2014/main" id="{6B9396BD-D90D-4D8C-AB16-E21BE9BF2CE3}"/>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30696259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childTnLst>
                              </p:cTn>
                            </p:par>
                            <p:par>
                              <p:cTn id="9" fill="hold">
                                <p:stCondLst>
                                  <p:cond delay="0"/>
                                </p:stCondLst>
                                <p:childTnLst>
                                  <p:par>
                                    <p:cTn id="10" presetID="2" presetClass="entr" presetSubtype="2" fill="hold" nodeType="afterEffect" p14:presetBounceEnd="22000">
                                      <p:stCondLst>
                                        <p:cond delay="0"/>
                                      </p:stCondLst>
                                      <p:childTnLst>
                                        <p:set>
                                          <p:cBhvr>
                                            <p:cTn id="11" dur="1" fill="hold">
                                              <p:stCondLst>
                                                <p:cond delay="0"/>
                                              </p:stCondLst>
                                            </p:cTn>
                                            <p:tgtEl>
                                              <p:spTgt spid="192"/>
                                            </p:tgtEl>
                                            <p:attrNameLst>
                                              <p:attrName>style.visibility</p:attrName>
                                            </p:attrNameLst>
                                          </p:cBhvr>
                                          <p:to>
                                            <p:strVal val="visible"/>
                                          </p:to>
                                        </p:set>
                                        <p:anim calcmode="lin" valueType="num" p14:bounceEnd="22000">
                                          <p:cBhvr additive="base">
                                            <p:cTn id="12" dur="500" fill="hold"/>
                                            <p:tgtEl>
                                              <p:spTgt spid="192"/>
                                            </p:tgtEl>
                                            <p:attrNameLst>
                                              <p:attrName>ppt_x</p:attrName>
                                            </p:attrNameLst>
                                          </p:cBhvr>
                                          <p:tavLst>
                                            <p:tav tm="0">
                                              <p:val>
                                                <p:strVal val="1+#ppt_w/2"/>
                                              </p:val>
                                            </p:tav>
                                            <p:tav tm="100000">
                                              <p:val>
                                                <p:strVal val="#ppt_x"/>
                                              </p:val>
                                            </p:tav>
                                          </p:tavLst>
                                        </p:anim>
                                        <p:anim calcmode="lin" valueType="num" p14:bounceEnd="22000">
                                          <p:cBhvr additive="base">
                                            <p:cTn id="13" dur="500" fill="hold"/>
                                            <p:tgtEl>
                                              <p:spTgt spid="192"/>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10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3"/>
                                            </p:tgtEl>
                                            <p:attrNameLst>
                                              <p:attrName>style.visibility</p:attrName>
                                            </p:attrNameLst>
                                          </p:cBhvr>
                                          <p:to>
                                            <p:strVal val="visible"/>
                                          </p:to>
                                        </p:set>
                                      </p:childTnLst>
                                    </p:cTn>
                                  </p:par>
                                </p:childTnLst>
                              </p:cTn>
                            </p:par>
                            <p:par>
                              <p:cTn id="25" fill="hold">
                                <p:stCondLst>
                                  <p:cond delay="0"/>
                                </p:stCondLst>
                                <p:childTnLst>
                                  <p:par>
                                    <p:cTn id="26" presetID="2" presetClass="entr" presetSubtype="2" fill="hold" nodeType="afterEffect" p14:presetBounceEnd="22000">
                                      <p:stCondLst>
                                        <p:cond delay="0"/>
                                      </p:stCondLst>
                                      <p:childTnLst>
                                        <p:set>
                                          <p:cBhvr>
                                            <p:cTn id="27" dur="1" fill="hold">
                                              <p:stCondLst>
                                                <p:cond delay="0"/>
                                              </p:stCondLst>
                                            </p:cTn>
                                            <p:tgtEl>
                                              <p:spTgt spid="117"/>
                                            </p:tgtEl>
                                            <p:attrNameLst>
                                              <p:attrName>style.visibility</p:attrName>
                                            </p:attrNameLst>
                                          </p:cBhvr>
                                          <p:to>
                                            <p:strVal val="visible"/>
                                          </p:to>
                                        </p:set>
                                        <p:anim calcmode="lin" valueType="num" p14:bounceEnd="22000">
                                          <p:cBhvr additive="base">
                                            <p:cTn id="28" dur="500" fill="hold"/>
                                            <p:tgtEl>
                                              <p:spTgt spid="117"/>
                                            </p:tgtEl>
                                            <p:attrNameLst>
                                              <p:attrName>ppt_x</p:attrName>
                                            </p:attrNameLst>
                                          </p:cBhvr>
                                          <p:tavLst>
                                            <p:tav tm="0">
                                              <p:val>
                                                <p:strVal val="1+#ppt_w/2"/>
                                              </p:val>
                                            </p:tav>
                                            <p:tav tm="100000">
                                              <p:val>
                                                <p:strVal val="#ppt_x"/>
                                              </p:val>
                                            </p:tav>
                                          </p:tavLst>
                                        </p:anim>
                                        <p:anim calcmode="lin" valueType="num" p14:bounceEnd="22000">
                                          <p:cBhvr additive="base">
                                            <p:cTn id="29" dur="500" fill="hold"/>
                                            <p:tgtEl>
                                              <p:spTgt spid="117"/>
                                            </p:tgtEl>
                                            <p:attrNameLst>
                                              <p:attrName>ppt_y</p:attrName>
                                            </p:attrNameLst>
                                          </p:cBhvr>
                                          <p:tavLst>
                                            <p:tav tm="0">
                                              <p:val>
                                                <p:strVal val="#ppt_y"/>
                                              </p:val>
                                            </p:tav>
                                            <p:tav tm="100000">
                                              <p:val>
                                                <p:strVal val="#ppt_y"/>
                                              </p:val>
                                            </p:tav>
                                          </p:tavLst>
                                        </p:anim>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11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64"/>
                                            </p:tgtEl>
                                            <p:attrNameLst>
                                              <p:attrName>style.visibility</p:attrName>
                                            </p:attrNameLst>
                                          </p:cBhvr>
                                          <p:to>
                                            <p:strVal val="visible"/>
                                          </p:to>
                                        </p:set>
                                      </p:childTnLst>
                                    </p:cTn>
                                  </p:par>
                                </p:childTnLst>
                              </p:cTn>
                            </p:par>
                            <p:par>
                              <p:cTn id="41" fill="hold">
                                <p:stCondLst>
                                  <p:cond delay="0"/>
                                </p:stCondLst>
                                <p:childTnLst>
                                  <p:par>
                                    <p:cTn id="42" presetID="2" presetClass="entr" presetSubtype="2" fill="hold" nodeType="afterEffect" p14:presetBounceEnd="22000">
                                      <p:stCondLst>
                                        <p:cond delay="0"/>
                                      </p:stCondLst>
                                      <p:childTnLst>
                                        <p:set>
                                          <p:cBhvr>
                                            <p:cTn id="43" dur="1" fill="hold">
                                              <p:stCondLst>
                                                <p:cond delay="0"/>
                                              </p:stCondLst>
                                            </p:cTn>
                                            <p:tgtEl>
                                              <p:spTgt spid="147"/>
                                            </p:tgtEl>
                                            <p:attrNameLst>
                                              <p:attrName>style.visibility</p:attrName>
                                            </p:attrNameLst>
                                          </p:cBhvr>
                                          <p:to>
                                            <p:strVal val="visible"/>
                                          </p:to>
                                        </p:set>
                                        <p:anim calcmode="lin" valueType="num" p14:bounceEnd="22000">
                                          <p:cBhvr additive="base">
                                            <p:cTn id="44" dur="500" fill="hold"/>
                                            <p:tgtEl>
                                              <p:spTgt spid="147"/>
                                            </p:tgtEl>
                                            <p:attrNameLst>
                                              <p:attrName>ppt_x</p:attrName>
                                            </p:attrNameLst>
                                          </p:cBhvr>
                                          <p:tavLst>
                                            <p:tav tm="0">
                                              <p:val>
                                                <p:strVal val="1+#ppt_w/2"/>
                                              </p:val>
                                            </p:tav>
                                            <p:tav tm="100000">
                                              <p:val>
                                                <p:strVal val="#ppt_x"/>
                                              </p:val>
                                            </p:tav>
                                          </p:tavLst>
                                        </p:anim>
                                        <p:anim calcmode="lin" valueType="num" p14:bounceEnd="22000">
                                          <p:cBhvr additive="base">
                                            <p:cTn id="45" dur="500" fill="hold"/>
                                            <p:tgtEl>
                                              <p:spTgt spid="147"/>
                                            </p:tgtEl>
                                            <p:attrNameLst>
                                              <p:attrName>ppt_y</p:attrName>
                                            </p:attrNameLst>
                                          </p:cBhvr>
                                          <p:tavLst>
                                            <p:tav tm="0">
                                              <p:val>
                                                <p:strVal val="#ppt_y"/>
                                              </p:val>
                                            </p:tav>
                                            <p:tav tm="100000">
                                              <p:val>
                                                <p:strVal val="#ppt_y"/>
                                              </p:val>
                                            </p:tav>
                                          </p:tavLst>
                                        </p:anim>
                                      </p:childTnLst>
                                    </p:cTn>
                                  </p:par>
                                </p:childTnLst>
                              </p:cTn>
                            </p:par>
                            <p:par>
                              <p:cTn id="46" fill="hold">
                                <p:stCondLst>
                                  <p:cond delay="500"/>
                                </p:stCondLst>
                                <p:childTnLst>
                                  <p:par>
                                    <p:cTn id="47" presetID="1" presetClass="entr" presetSubtype="0" fill="hold" grpId="0" nodeType="afterEffect">
                                      <p:stCondLst>
                                        <p:cond delay="0"/>
                                      </p:stCondLst>
                                      <p:childTnLst>
                                        <p:set>
                                          <p:cBhvr>
                                            <p:cTn id="48" dur="1" fill="hold">
                                              <p:stCondLst>
                                                <p:cond delay="0"/>
                                              </p:stCondLst>
                                            </p:cTn>
                                            <p:tgtEl>
                                              <p:spTgt spid="1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childTnLst>
                              </p:cTn>
                            </p:par>
                            <p:par>
                              <p:cTn id="57" fill="hold">
                                <p:stCondLst>
                                  <p:cond delay="0"/>
                                </p:stCondLst>
                                <p:childTnLst>
                                  <p:par>
                                    <p:cTn id="58" presetID="2" presetClass="entr" presetSubtype="2" fill="hold" nodeType="afterEffect" p14:presetBounceEnd="22000">
                                      <p:stCondLst>
                                        <p:cond delay="0"/>
                                      </p:stCondLst>
                                      <p:childTnLst>
                                        <p:set>
                                          <p:cBhvr>
                                            <p:cTn id="59" dur="1" fill="hold">
                                              <p:stCondLst>
                                                <p:cond delay="0"/>
                                              </p:stCondLst>
                                            </p:cTn>
                                            <p:tgtEl>
                                              <p:spTgt spid="142"/>
                                            </p:tgtEl>
                                            <p:attrNameLst>
                                              <p:attrName>style.visibility</p:attrName>
                                            </p:attrNameLst>
                                          </p:cBhvr>
                                          <p:to>
                                            <p:strVal val="visible"/>
                                          </p:to>
                                        </p:set>
                                        <p:anim calcmode="lin" valueType="num" p14:bounceEnd="22000">
                                          <p:cBhvr additive="base">
                                            <p:cTn id="60" dur="500" fill="hold"/>
                                            <p:tgtEl>
                                              <p:spTgt spid="142"/>
                                            </p:tgtEl>
                                            <p:attrNameLst>
                                              <p:attrName>ppt_x</p:attrName>
                                            </p:attrNameLst>
                                          </p:cBhvr>
                                          <p:tavLst>
                                            <p:tav tm="0">
                                              <p:val>
                                                <p:strVal val="1+#ppt_w/2"/>
                                              </p:val>
                                            </p:tav>
                                            <p:tav tm="100000">
                                              <p:val>
                                                <p:strVal val="#ppt_x"/>
                                              </p:val>
                                            </p:tav>
                                          </p:tavLst>
                                        </p:anim>
                                        <p:anim calcmode="lin" valueType="num" p14:bounceEnd="22000">
                                          <p:cBhvr additive="base">
                                            <p:cTn id="61" dur="500" fill="hold"/>
                                            <p:tgtEl>
                                              <p:spTgt spid="142"/>
                                            </p:tgtEl>
                                            <p:attrNameLst>
                                              <p:attrName>ppt_y</p:attrName>
                                            </p:attrNameLst>
                                          </p:cBhvr>
                                          <p:tavLst>
                                            <p:tav tm="0">
                                              <p:val>
                                                <p:strVal val="#ppt_y"/>
                                              </p:val>
                                            </p:tav>
                                            <p:tav tm="100000">
                                              <p:val>
                                                <p:strVal val="#ppt_y"/>
                                              </p:val>
                                            </p:tav>
                                          </p:tavLst>
                                        </p:anim>
                                      </p:childTnLst>
                                    </p:cTn>
                                  </p:par>
                                </p:childTnLst>
                              </p:cTn>
                            </p:par>
                            <p:par>
                              <p:cTn id="62" fill="hold">
                                <p:stCondLst>
                                  <p:cond delay="500"/>
                                </p:stCondLst>
                                <p:childTnLst>
                                  <p:par>
                                    <p:cTn id="63" presetID="1" presetClass="entr" presetSubtype="0" fill="hold" grpId="0" nodeType="afterEffect">
                                      <p:stCondLst>
                                        <p:cond delay="0"/>
                                      </p:stCondLst>
                                      <p:childTnLst>
                                        <p:set>
                                          <p:cBhvr>
                                            <p:cTn id="64" dur="1" fill="hold">
                                              <p:stCondLst>
                                                <p:cond delay="0"/>
                                              </p:stCondLst>
                                            </p:cTn>
                                            <p:tgtEl>
                                              <p:spTgt spid="110"/>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66"/>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68"/>
                                            </p:tgtEl>
                                            <p:attrNameLst>
                                              <p:attrName>style.visibility</p:attrName>
                                            </p:attrNameLst>
                                          </p:cBhvr>
                                          <p:to>
                                            <p:strVal val="visible"/>
                                          </p:to>
                                        </p:set>
                                      </p:childTnLst>
                                    </p:cTn>
                                  </p:par>
                                </p:childTnLst>
                              </p:cTn>
                            </p:par>
                            <p:par>
                              <p:cTn id="73" fill="hold">
                                <p:stCondLst>
                                  <p:cond delay="0"/>
                                </p:stCondLst>
                                <p:childTnLst>
                                  <p:par>
                                    <p:cTn id="74" presetID="2" presetClass="entr" presetSubtype="2" fill="hold" nodeType="afterEffect" p14:presetBounceEnd="22000">
                                      <p:stCondLst>
                                        <p:cond delay="0"/>
                                      </p:stCondLst>
                                      <p:childTnLst>
                                        <p:set>
                                          <p:cBhvr>
                                            <p:cTn id="75" dur="1" fill="hold">
                                              <p:stCondLst>
                                                <p:cond delay="0"/>
                                              </p:stCondLst>
                                            </p:cTn>
                                            <p:tgtEl>
                                              <p:spTgt spid="130"/>
                                            </p:tgtEl>
                                            <p:attrNameLst>
                                              <p:attrName>style.visibility</p:attrName>
                                            </p:attrNameLst>
                                          </p:cBhvr>
                                          <p:to>
                                            <p:strVal val="visible"/>
                                          </p:to>
                                        </p:set>
                                        <p:anim calcmode="lin" valueType="num" p14:bounceEnd="22000">
                                          <p:cBhvr additive="base">
                                            <p:cTn id="76" dur="500" fill="hold"/>
                                            <p:tgtEl>
                                              <p:spTgt spid="130"/>
                                            </p:tgtEl>
                                            <p:attrNameLst>
                                              <p:attrName>ppt_x</p:attrName>
                                            </p:attrNameLst>
                                          </p:cBhvr>
                                          <p:tavLst>
                                            <p:tav tm="0">
                                              <p:val>
                                                <p:strVal val="1+#ppt_w/2"/>
                                              </p:val>
                                            </p:tav>
                                            <p:tav tm="100000">
                                              <p:val>
                                                <p:strVal val="#ppt_x"/>
                                              </p:val>
                                            </p:tav>
                                          </p:tavLst>
                                        </p:anim>
                                        <p:anim calcmode="lin" valueType="num" p14:bounceEnd="22000">
                                          <p:cBhvr additive="base">
                                            <p:cTn id="77" dur="500" fill="hold"/>
                                            <p:tgtEl>
                                              <p:spTgt spid="130"/>
                                            </p:tgtEl>
                                            <p:attrNameLst>
                                              <p:attrName>ppt_y</p:attrName>
                                            </p:attrNameLst>
                                          </p:cBhvr>
                                          <p:tavLst>
                                            <p:tav tm="0">
                                              <p:val>
                                                <p:strVal val="#ppt_y"/>
                                              </p:val>
                                            </p:tav>
                                            <p:tav tm="100000">
                                              <p:val>
                                                <p:strVal val="#ppt_y"/>
                                              </p:val>
                                            </p:tav>
                                          </p:tavLst>
                                        </p:anim>
                                      </p:childTnLst>
                                    </p:cTn>
                                  </p:par>
                                </p:childTnLst>
                              </p:cTn>
                            </p:par>
                            <p:par>
                              <p:cTn id="78" fill="hold">
                                <p:stCondLst>
                                  <p:cond delay="500"/>
                                </p:stCondLst>
                                <p:childTnLst>
                                  <p:par>
                                    <p:cTn id="79" presetID="1" presetClass="entr" presetSubtype="0" fill="hold" grpId="0" nodeType="afterEffect">
                                      <p:stCondLst>
                                        <p:cond delay="0"/>
                                      </p:stCondLst>
                                      <p:childTnLst>
                                        <p:set>
                                          <p:cBhvr>
                                            <p:cTn id="80" dur="1" fill="hold">
                                              <p:stCondLst>
                                                <p:cond delay="0"/>
                                              </p:stCondLst>
                                            </p:cTn>
                                            <p:tgtEl>
                                              <p:spTgt spid="10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109" grpId="0"/>
          <p:bldP spid="110" grpId="0"/>
          <p:bldP spid="111" grpId="0"/>
          <p:bldP spid="112" grpId="0"/>
          <p:bldP spid="159" grpId="0" animBg="1"/>
          <p:bldP spid="163" grpId="0" animBg="1"/>
          <p:bldP spid="164" grpId="0" animBg="1"/>
          <p:bldP spid="165" grpId="0" animBg="1"/>
          <p:bldP spid="166"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childTnLst>
                              </p:cTn>
                            </p:par>
                            <p:par>
                              <p:cTn id="9" fill="hold">
                                <p:stCondLst>
                                  <p:cond delay="0"/>
                                </p:stCondLst>
                                <p:childTnLst>
                                  <p:par>
                                    <p:cTn id="10" presetID="2" presetClass="entr" presetSubtype="2" fill="hold" nodeType="afterEffect">
                                      <p:stCondLst>
                                        <p:cond delay="0"/>
                                      </p:stCondLst>
                                      <p:childTnLst>
                                        <p:set>
                                          <p:cBhvr>
                                            <p:cTn id="11" dur="1" fill="hold">
                                              <p:stCondLst>
                                                <p:cond delay="0"/>
                                              </p:stCondLst>
                                            </p:cTn>
                                            <p:tgtEl>
                                              <p:spTgt spid="192"/>
                                            </p:tgtEl>
                                            <p:attrNameLst>
                                              <p:attrName>style.visibility</p:attrName>
                                            </p:attrNameLst>
                                          </p:cBhvr>
                                          <p:to>
                                            <p:strVal val="visible"/>
                                          </p:to>
                                        </p:set>
                                        <p:anim calcmode="lin" valueType="num">
                                          <p:cBhvr additive="base">
                                            <p:cTn id="12" dur="500" fill="hold"/>
                                            <p:tgtEl>
                                              <p:spTgt spid="192"/>
                                            </p:tgtEl>
                                            <p:attrNameLst>
                                              <p:attrName>ppt_x</p:attrName>
                                            </p:attrNameLst>
                                          </p:cBhvr>
                                          <p:tavLst>
                                            <p:tav tm="0">
                                              <p:val>
                                                <p:strVal val="1+#ppt_w/2"/>
                                              </p:val>
                                            </p:tav>
                                            <p:tav tm="100000">
                                              <p:val>
                                                <p:strVal val="#ppt_x"/>
                                              </p:val>
                                            </p:tav>
                                          </p:tavLst>
                                        </p:anim>
                                        <p:anim calcmode="lin" valueType="num">
                                          <p:cBhvr additive="base">
                                            <p:cTn id="13" dur="500" fill="hold"/>
                                            <p:tgtEl>
                                              <p:spTgt spid="192"/>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10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3"/>
                                            </p:tgtEl>
                                            <p:attrNameLst>
                                              <p:attrName>style.visibility</p:attrName>
                                            </p:attrNameLst>
                                          </p:cBhvr>
                                          <p:to>
                                            <p:strVal val="visible"/>
                                          </p:to>
                                        </p:set>
                                      </p:childTnLst>
                                    </p:cTn>
                                  </p:par>
                                </p:childTnLst>
                              </p:cTn>
                            </p:par>
                            <p:par>
                              <p:cTn id="25" fill="hold">
                                <p:stCondLst>
                                  <p:cond delay="0"/>
                                </p:stCondLst>
                                <p:childTnLst>
                                  <p:par>
                                    <p:cTn id="26" presetID="2" presetClass="entr" presetSubtype="2" fill="hold" nodeType="afterEffect">
                                      <p:stCondLst>
                                        <p:cond delay="0"/>
                                      </p:stCondLst>
                                      <p:childTnLst>
                                        <p:set>
                                          <p:cBhvr>
                                            <p:cTn id="27" dur="1" fill="hold">
                                              <p:stCondLst>
                                                <p:cond delay="0"/>
                                              </p:stCondLst>
                                            </p:cTn>
                                            <p:tgtEl>
                                              <p:spTgt spid="117"/>
                                            </p:tgtEl>
                                            <p:attrNameLst>
                                              <p:attrName>style.visibility</p:attrName>
                                            </p:attrNameLst>
                                          </p:cBhvr>
                                          <p:to>
                                            <p:strVal val="visible"/>
                                          </p:to>
                                        </p:set>
                                        <p:anim calcmode="lin" valueType="num">
                                          <p:cBhvr additive="base">
                                            <p:cTn id="28" dur="500" fill="hold"/>
                                            <p:tgtEl>
                                              <p:spTgt spid="117"/>
                                            </p:tgtEl>
                                            <p:attrNameLst>
                                              <p:attrName>ppt_x</p:attrName>
                                            </p:attrNameLst>
                                          </p:cBhvr>
                                          <p:tavLst>
                                            <p:tav tm="0">
                                              <p:val>
                                                <p:strVal val="1+#ppt_w/2"/>
                                              </p:val>
                                            </p:tav>
                                            <p:tav tm="100000">
                                              <p:val>
                                                <p:strVal val="#ppt_x"/>
                                              </p:val>
                                            </p:tav>
                                          </p:tavLst>
                                        </p:anim>
                                        <p:anim calcmode="lin" valueType="num">
                                          <p:cBhvr additive="base">
                                            <p:cTn id="29" dur="500" fill="hold"/>
                                            <p:tgtEl>
                                              <p:spTgt spid="117"/>
                                            </p:tgtEl>
                                            <p:attrNameLst>
                                              <p:attrName>ppt_y</p:attrName>
                                            </p:attrNameLst>
                                          </p:cBhvr>
                                          <p:tavLst>
                                            <p:tav tm="0">
                                              <p:val>
                                                <p:strVal val="#ppt_y"/>
                                              </p:val>
                                            </p:tav>
                                            <p:tav tm="100000">
                                              <p:val>
                                                <p:strVal val="#ppt_y"/>
                                              </p:val>
                                            </p:tav>
                                          </p:tavLst>
                                        </p:anim>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11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64"/>
                                            </p:tgtEl>
                                            <p:attrNameLst>
                                              <p:attrName>style.visibility</p:attrName>
                                            </p:attrNameLst>
                                          </p:cBhvr>
                                          <p:to>
                                            <p:strVal val="visible"/>
                                          </p:to>
                                        </p:set>
                                      </p:childTnLst>
                                    </p:cTn>
                                  </p:par>
                                </p:childTnLst>
                              </p:cTn>
                            </p:par>
                            <p:par>
                              <p:cTn id="41" fill="hold">
                                <p:stCondLst>
                                  <p:cond delay="0"/>
                                </p:stCondLst>
                                <p:childTnLst>
                                  <p:par>
                                    <p:cTn id="42" presetID="2" presetClass="entr" presetSubtype="2" fill="hold" nodeType="afterEffect">
                                      <p:stCondLst>
                                        <p:cond delay="0"/>
                                      </p:stCondLst>
                                      <p:childTnLst>
                                        <p:set>
                                          <p:cBhvr>
                                            <p:cTn id="43" dur="1" fill="hold">
                                              <p:stCondLst>
                                                <p:cond delay="0"/>
                                              </p:stCondLst>
                                            </p:cTn>
                                            <p:tgtEl>
                                              <p:spTgt spid="147"/>
                                            </p:tgtEl>
                                            <p:attrNameLst>
                                              <p:attrName>style.visibility</p:attrName>
                                            </p:attrNameLst>
                                          </p:cBhvr>
                                          <p:to>
                                            <p:strVal val="visible"/>
                                          </p:to>
                                        </p:set>
                                        <p:anim calcmode="lin" valueType="num">
                                          <p:cBhvr additive="base">
                                            <p:cTn id="44" dur="500" fill="hold"/>
                                            <p:tgtEl>
                                              <p:spTgt spid="147"/>
                                            </p:tgtEl>
                                            <p:attrNameLst>
                                              <p:attrName>ppt_x</p:attrName>
                                            </p:attrNameLst>
                                          </p:cBhvr>
                                          <p:tavLst>
                                            <p:tav tm="0">
                                              <p:val>
                                                <p:strVal val="1+#ppt_w/2"/>
                                              </p:val>
                                            </p:tav>
                                            <p:tav tm="100000">
                                              <p:val>
                                                <p:strVal val="#ppt_x"/>
                                              </p:val>
                                            </p:tav>
                                          </p:tavLst>
                                        </p:anim>
                                        <p:anim calcmode="lin" valueType="num">
                                          <p:cBhvr additive="base">
                                            <p:cTn id="45" dur="500" fill="hold"/>
                                            <p:tgtEl>
                                              <p:spTgt spid="147"/>
                                            </p:tgtEl>
                                            <p:attrNameLst>
                                              <p:attrName>ppt_y</p:attrName>
                                            </p:attrNameLst>
                                          </p:cBhvr>
                                          <p:tavLst>
                                            <p:tav tm="0">
                                              <p:val>
                                                <p:strVal val="#ppt_y"/>
                                              </p:val>
                                            </p:tav>
                                            <p:tav tm="100000">
                                              <p:val>
                                                <p:strVal val="#ppt_y"/>
                                              </p:val>
                                            </p:tav>
                                          </p:tavLst>
                                        </p:anim>
                                      </p:childTnLst>
                                    </p:cTn>
                                  </p:par>
                                </p:childTnLst>
                              </p:cTn>
                            </p:par>
                            <p:par>
                              <p:cTn id="46" fill="hold">
                                <p:stCondLst>
                                  <p:cond delay="500"/>
                                </p:stCondLst>
                                <p:childTnLst>
                                  <p:par>
                                    <p:cTn id="47" presetID="1" presetClass="entr" presetSubtype="0" fill="hold" grpId="0" nodeType="afterEffect">
                                      <p:stCondLst>
                                        <p:cond delay="0"/>
                                      </p:stCondLst>
                                      <p:childTnLst>
                                        <p:set>
                                          <p:cBhvr>
                                            <p:cTn id="48" dur="1" fill="hold">
                                              <p:stCondLst>
                                                <p:cond delay="0"/>
                                              </p:stCondLst>
                                            </p:cTn>
                                            <p:tgtEl>
                                              <p:spTgt spid="1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childTnLst>
                              </p:cTn>
                            </p:par>
                            <p:par>
                              <p:cTn id="57" fill="hold">
                                <p:stCondLst>
                                  <p:cond delay="0"/>
                                </p:stCondLst>
                                <p:childTnLst>
                                  <p:par>
                                    <p:cTn id="58" presetID="2" presetClass="entr" presetSubtype="2" fill="hold" nodeType="afterEffect">
                                      <p:stCondLst>
                                        <p:cond delay="0"/>
                                      </p:stCondLst>
                                      <p:childTnLst>
                                        <p:set>
                                          <p:cBhvr>
                                            <p:cTn id="59" dur="1" fill="hold">
                                              <p:stCondLst>
                                                <p:cond delay="0"/>
                                              </p:stCondLst>
                                            </p:cTn>
                                            <p:tgtEl>
                                              <p:spTgt spid="142"/>
                                            </p:tgtEl>
                                            <p:attrNameLst>
                                              <p:attrName>style.visibility</p:attrName>
                                            </p:attrNameLst>
                                          </p:cBhvr>
                                          <p:to>
                                            <p:strVal val="visible"/>
                                          </p:to>
                                        </p:set>
                                        <p:anim calcmode="lin" valueType="num">
                                          <p:cBhvr additive="base">
                                            <p:cTn id="60" dur="500" fill="hold"/>
                                            <p:tgtEl>
                                              <p:spTgt spid="142"/>
                                            </p:tgtEl>
                                            <p:attrNameLst>
                                              <p:attrName>ppt_x</p:attrName>
                                            </p:attrNameLst>
                                          </p:cBhvr>
                                          <p:tavLst>
                                            <p:tav tm="0">
                                              <p:val>
                                                <p:strVal val="1+#ppt_w/2"/>
                                              </p:val>
                                            </p:tav>
                                            <p:tav tm="100000">
                                              <p:val>
                                                <p:strVal val="#ppt_x"/>
                                              </p:val>
                                            </p:tav>
                                          </p:tavLst>
                                        </p:anim>
                                        <p:anim calcmode="lin" valueType="num">
                                          <p:cBhvr additive="base">
                                            <p:cTn id="61" dur="500" fill="hold"/>
                                            <p:tgtEl>
                                              <p:spTgt spid="142"/>
                                            </p:tgtEl>
                                            <p:attrNameLst>
                                              <p:attrName>ppt_y</p:attrName>
                                            </p:attrNameLst>
                                          </p:cBhvr>
                                          <p:tavLst>
                                            <p:tav tm="0">
                                              <p:val>
                                                <p:strVal val="#ppt_y"/>
                                              </p:val>
                                            </p:tav>
                                            <p:tav tm="100000">
                                              <p:val>
                                                <p:strVal val="#ppt_y"/>
                                              </p:val>
                                            </p:tav>
                                          </p:tavLst>
                                        </p:anim>
                                      </p:childTnLst>
                                    </p:cTn>
                                  </p:par>
                                </p:childTnLst>
                              </p:cTn>
                            </p:par>
                            <p:par>
                              <p:cTn id="62" fill="hold">
                                <p:stCondLst>
                                  <p:cond delay="500"/>
                                </p:stCondLst>
                                <p:childTnLst>
                                  <p:par>
                                    <p:cTn id="63" presetID="1" presetClass="entr" presetSubtype="0" fill="hold" grpId="0" nodeType="afterEffect">
                                      <p:stCondLst>
                                        <p:cond delay="0"/>
                                      </p:stCondLst>
                                      <p:childTnLst>
                                        <p:set>
                                          <p:cBhvr>
                                            <p:cTn id="64" dur="1" fill="hold">
                                              <p:stCondLst>
                                                <p:cond delay="0"/>
                                              </p:stCondLst>
                                            </p:cTn>
                                            <p:tgtEl>
                                              <p:spTgt spid="110"/>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66"/>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68"/>
                                            </p:tgtEl>
                                            <p:attrNameLst>
                                              <p:attrName>style.visibility</p:attrName>
                                            </p:attrNameLst>
                                          </p:cBhvr>
                                          <p:to>
                                            <p:strVal val="visible"/>
                                          </p:to>
                                        </p:set>
                                      </p:childTnLst>
                                    </p:cTn>
                                  </p:par>
                                </p:childTnLst>
                              </p:cTn>
                            </p:par>
                            <p:par>
                              <p:cTn id="73" fill="hold">
                                <p:stCondLst>
                                  <p:cond delay="0"/>
                                </p:stCondLst>
                                <p:childTnLst>
                                  <p:par>
                                    <p:cTn id="74" presetID="2" presetClass="entr" presetSubtype="2" fill="hold" nodeType="afterEffect">
                                      <p:stCondLst>
                                        <p:cond delay="0"/>
                                      </p:stCondLst>
                                      <p:childTnLst>
                                        <p:set>
                                          <p:cBhvr>
                                            <p:cTn id="75" dur="1" fill="hold">
                                              <p:stCondLst>
                                                <p:cond delay="0"/>
                                              </p:stCondLst>
                                            </p:cTn>
                                            <p:tgtEl>
                                              <p:spTgt spid="130"/>
                                            </p:tgtEl>
                                            <p:attrNameLst>
                                              <p:attrName>style.visibility</p:attrName>
                                            </p:attrNameLst>
                                          </p:cBhvr>
                                          <p:to>
                                            <p:strVal val="visible"/>
                                          </p:to>
                                        </p:set>
                                        <p:anim calcmode="lin" valueType="num">
                                          <p:cBhvr additive="base">
                                            <p:cTn id="76" dur="500" fill="hold"/>
                                            <p:tgtEl>
                                              <p:spTgt spid="130"/>
                                            </p:tgtEl>
                                            <p:attrNameLst>
                                              <p:attrName>ppt_x</p:attrName>
                                            </p:attrNameLst>
                                          </p:cBhvr>
                                          <p:tavLst>
                                            <p:tav tm="0">
                                              <p:val>
                                                <p:strVal val="1+#ppt_w/2"/>
                                              </p:val>
                                            </p:tav>
                                            <p:tav tm="100000">
                                              <p:val>
                                                <p:strVal val="#ppt_x"/>
                                              </p:val>
                                            </p:tav>
                                          </p:tavLst>
                                        </p:anim>
                                        <p:anim calcmode="lin" valueType="num">
                                          <p:cBhvr additive="base">
                                            <p:cTn id="77" dur="500" fill="hold"/>
                                            <p:tgtEl>
                                              <p:spTgt spid="130"/>
                                            </p:tgtEl>
                                            <p:attrNameLst>
                                              <p:attrName>ppt_y</p:attrName>
                                            </p:attrNameLst>
                                          </p:cBhvr>
                                          <p:tavLst>
                                            <p:tav tm="0">
                                              <p:val>
                                                <p:strVal val="#ppt_y"/>
                                              </p:val>
                                            </p:tav>
                                            <p:tav tm="100000">
                                              <p:val>
                                                <p:strVal val="#ppt_y"/>
                                              </p:val>
                                            </p:tav>
                                          </p:tavLst>
                                        </p:anim>
                                      </p:childTnLst>
                                    </p:cTn>
                                  </p:par>
                                </p:childTnLst>
                              </p:cTn>
                            </p:par>
                            <p:par>
                              <p:cTn id="78" fill="hold">
                                <p:stCondLst>
                                  <p:cond delay="500"/>
                                </p:stCondLst>
                                <p:childTnLst>
                                  <p:par>
                                    <p:cTn id="79" presetID="1" presetClass="entr" presetSubtype="0" fill="hold" grpId="0" nodeType="afterEffect">
                                      <p:stCondLst>
                                        <p:cond delay="0"/>
                                      </p:stCondLst>
                                      <p:childTnLst>
                                        <p:set>
                                          <p:cBhvr>
                                            <p:cTn id="80" dur="1" fill="hold">
                                              <p:stCondLst>
                                                <p:cond delay="0"/>
                                              </p:stCondLst>
                                            </p:cTn>
                                            <p:tgtEl>
                                              <p:spTgt spid="10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109" grpId="0"/>
          <p:bldP spid="110" grpId="0"/>
          <p:bldP spid="111" grpId="0"/>
          <p:bldP spid="112" grpId="0"/>
          <p:bldP spid="159" grpId="0" animBg="1"/>
          <p:bldP spid="163" grpId="0" animBg="1"/>
          <p:bldP spid="164" grpId="0" animBg="1"/>
          <p:bldP spid="165" grpId="0" animBg="1"/>
          <p:bldP spid="166" grpId="0" animBg="1"/>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E72FA804-10E2-4611-9173-323F4A468708}"/>
              </a:ext>
            </a:extLst>
          </p:cNvPr>
          <p:cNvPicPr>
            <a:picLocks noChangeAspect="1"/>
          </p:cNvPicPr>
          <p:nvPr/>
        </p:nvPicPr>
        <p:blipFill rotWithShape="1">
          <a:blip r:embed="rId3"/>
          <a:srcRect l="18381"/>
          <a:stretch/>
        </p:blipFill>
        <p:spPr>
          <a:xfrm>
            <a:off x="0" y="2326220"/>
            <a:ext cx="13439775" cy="4238254"/>
          </a:xfrm>
          <a:prstGeom prst="rect">
            <a:avLst/>
          </a:prstGeom>
        </p:spPr>
      </p:pic>
      <p:cxnSp>
        <p:nvCxnSpPr>
          <p:cNvPr id="16" name="Straight Connector 54">
            <a:extLst>
              <a:ext uri="{FF2B5EF4-FFF2-40B4-BE49-F238E27FC236}">
                <a16:creationId xmlns:a16="http://schemas.microsoft.com/office/drawing/2014/main" id="{3715D5D3-9AC2-42A9-894A-EDF973E67A08}"/>
              </a:ext>
            </a:extLst>
          </p:cNvPr>
          <p:cNvCxnSpPr>
            <a:cxnSpLocks/>
            <a:endCxn id="17" idx="1"/>
          </p:cNvCxnSpPr>
          <p:nvPr/>
        </p:nvCxnSpPr>
        <p:spPr>
          <a:xfrm flipV="1">
            <a:off x="7434680" y="2688778"/>
            <a:ext cx="2007825" cy="875233"/>
          </a:xfrm>
          <a:prstGeom prst="bentConnector3">
            <a:avLst>
              <a:gd name="adj1" fmla="val 50000"/>
            </a:avLst>
          </a:prstGeom>
          <a:ln>
            <a:solidFill>
              <a:srgbClr val="009A44"/>
            </a:solidFill>
            <a:tailEnd type="oval"/>
          </a:ln>
        </p:spPr>
        <p:style>
          <a:lnRef idx="1">
            <a:schemeClr val="accent2"/>
          </a:lnRef>
          <a:fillRef idx="0">
            <a:schemeClr val="accent2"/>
          </a:fillRef>
          <a:effectRef idx="0">
            <a:schemeClr val="accent2"/>
          </a:effectRef>
          <a:fontRef idx="minor">
            <a:schemeClr val="tx1"/>
          </a:fontRef>
        </p:style>
      </p:cxnSp>
      <p:sp>
        <p:nvSpPr>
          <p:cNvPr id="17" name="TextBox 16">
            <a:extLst>
              <a:ext uri="{FF2B5EF4-FFF2-40B4-BE49-F238E27FC236}">
                <a16:creationId xmlns:a16="http://schemas.microsoft.com/office/drawing/2014/main" id="{D4D4EFC9-7158-4F85-9BCE-DF6BA32427CB}"/>
              </a:ext>
            </a:extLst>
          </p:cNvPr>
          <p:cNvSpPr txBox="1"/>
          <p:nvPr/>
        </p:nvSpPr>
        <p:spPr>
          <a:xfrm>
            <a:off x="9442505" y="1783328"/>
            <a:ext cx="3518121" cy="1810899"/>
          </a:xfrm>
          <a:prstGeom prst="rect">
            <a:avLst/>
          </a:prstGeom>
          <a:noFill/>
        </p:spPr>
        <p:txBody>
          <a:bodyPr wrap="square" lIns="160377" tIns="20043" rIns="40086" bIns="20043" rtlCol="0">
            <a:spAutoFit/>
          </a:bodyPr>
          <a:lstStyle/>
          <a:p>
            <a:r>
              <a:rPr lang="fr-FR" sz="1400" b="1" dirty="0">
                <a:solidFill>
                  <a:srgbClr val="00ABAB"/>
                </a:solidFill>
              </a:rPr>
              <a:t>1. Gouvernance</a:t>
            </a:r>
          </a:p>
          <a:p>
            <a:pPr algn="just">
              <a:lnSpc>
                <a:spcPct val="106000"/>
              </a:lnSpc>
            </a:pPr>
            <a:r>
              <a:rPr lang="fr-FR" sz="1200" dirty="0">
                <a:solidFill>
                  <a:schemeClr val="tx1">
                    <a:lumMod val="65000"/>
                    <a:lumOff val="35000"/>
                  </a:schemeClr>
                </a:solidFill>
              </a:rPr>
              <a:t>Fournir un alignement stratégique et opérationnel des activités, de mettre en place des politiques et normes de sécurité de l'information, de gérer les cyber-risques, de prendre des mesures appropriées et de fournir des rapports pertinents, ainsi que de dispenser une formation et une sensibilisation efficaces.</a:t>
            </a:r>
          </a:p>
          <a:p>
            <a:endParaRPr lang="fr-FR" sz="1200" dirty="0"/>
          </a:p>
        </p:txBody>
      </p:sp>
      <p:sp>
        <p:nvSpPr>
          <p:cNvPr id="18" name="TextBox 17">
            <a:extLst>
              <a:ext uri="{FF2B5EF4-FFF2-40B4-BE49-F238E27FC236}">
                <a16:creationId xmlns:a16="http://schemas.microsoft.com/office/drawing/2014/main" id="{2FAE4F4F-219F-4F7D-9CD5-D6CDFFA1A22A}"/>
              </a:ext>
            </a:extLst>
          </p:cNvPr>
          <p:cNvSpPr txBox="1"/>
          <p:nvPr/>
        </p:nvSpPr>
        <p:spPr>
          <a:xfrm>
            <a:off x="9471589" y="3916674"/>
            <a:ext cx="3518121" cy="1226443"/>
          </a:xfrm>
          <a:prstGeom prst="rect">
            <a:avLst/>
          </a:prstGeom>
          <a:noFill/>
        </p:spPr>
        <p:txBody>
          <a:bodyPr wrap="square" lIns="160377" tIns="20043" rIns="40086" bIns="20043" rtlCol="0">
            <a:spAutoFit/>
          </a:bodyPr>
          <a:lstStyle/>
          <a:p>
            <a:r>
              <a:rPr lang="en-US" sz="1400" b="1" dirty="0">
                <a:solidFill>
                  <a:srgbClr val="00ABAB"/>
                </a:solidFill>
              </a:rPr>
              <a:t>2. Risk Management</a:t>
            </a:r>
          </a:p>
          <a:p>
            <a:pPr algn="just">
              <a:lnSpc>
                <a:spcPct val="106000"/>
              </a:lnSpc>
            </a:pPr>
            <a:r>
              <a:rPr lang="fr-FR" sz="1200" dirty="0">
                <a:solidFill>
                  <a:schemeClr val="tx1">
                    <a:lumMod val="65000"/>
                    <a:lumOff val="35000"/>
                  </a:schemeClr>
                </a:solidFill>
              </a:rPr>
              <a:t>Gérer efficacement les risques, à la fois internes et liés aux tiers, en mettant en place des processus et des mesures appropriés pour identifier, évaluer et atténuer les risques, assurant ainsi la protection et la sécurité des activités de l'organisation.</a:t>
            </a:r>
          </a:p>
        </p:txBody>
      </p:sp>
      <p:sp>
        <p:nvSpPr>
          <p:cNvPr id="19" name="TextBox 18">
            <a:extLst>
              <a:ext uri="{FF2B5EF4-FFF2-40B4-BE49-F238E27FC236}">
                <a16:creationId xmlns:a16="http://schemas.microsoft.com/office/drawing/2014/main" id="{D5A1B59A-AED9-4F13-A8BC-55A553C0F6C8}"/>
              </a:ext>
            </a:extLst>
          </p:cNvPr>
          <p:cNvSpPr txBox="1"/>
          <p:nvPr/>
        </p:nvSpPr>
        <p:spPr>
          <a:xfrm>
            <a:off x="9442505" y="5667147"/>
            <a:ext cx="3518121" cy="639168"/>
          </a:xfrm>
          <a:prstGeom prst="rect">
            <a:avLst/>
          </a:prstGeom>
          <a:noFill/>
        </p:spPr>
        <p:txBody>
          <a:bodyPr wrap="square" lIns="160377" tIns="20043" rIns="40086" bIns="20043" rtlCol="0">
            <a:spAutoFit/>
          </a:bodyPr>
          <a:lstStyle/>
          <a:p>
            <a:r>
              <a:rPr lang="fr-FR" sz="1400" b="1" dirty="0">
                <a:solidFill>
                  <a:srgbClr val="00ABAB"/>
                </a:solidFill>
              </a:rPr>
              <a:t>3. Conformité </a:t>
            </a:r>
          </a:p>
          <a:p>
            <a:pPr algn="just">
              <a:lnSpc>
                <a:spcPct val="106000"/>
              </a:lnSpc>
              <a:buFont typeface="Wingdings 2" pitchFamily="18" charset="2"/>
              <a:buNone/>
            </a:pPr>
            <a:r>
              <a:rPr lang="fr-FR" sz="1200" dirty="0">
                <a:solidFill>
                  <a:schemeClr val="tx1">
                    <a:lumMod val="65000"/>
                    <a:lumOff val="35000"/>
                  </a:schemeClr>
                </a:solidFill>
              </a:rPr>
              <a:t>Assurer la conformité de l'organisation aux lois, réglementations, normes et politiques applicables.</a:t>
            </a:r>
            <a:endParaRPr lang="fr-FR" sz="1200" b="1" dirty="0">
              <a:solidFill>
                <a:schemeClr val="tx1">
                  <a:lumMod val="65000"/>
                  <a:lumOff val="35000"/>
                </a:schemeClr>
              </a:solidFill>
            </a:endParaRPr>
          </a:p>
        </p:txBody>
      </p:sp>
      <p:sp>
        <p:nvSpPr>
          <p:cNvPr id="20" name="TextBox 19">
            <a:extLst>
              <a:ext uri="{FF2B5EF4-FFF2-40B4-BE49-F238E27FC236}">
                <a16:creationId xmlns:a16="http://schemas.microsoft.com/office/drawing/2014/main" id="{C34B01CB-F757-4631-ADB8-A458A5E35F2A}"/>
              </a:ext>
            </a:extLst>
          </p:cNvPr>
          <p:cNvSpPr txBox="1"/>
          <p:nvPr/>
        </p:nvSpPr>
        <p:spPr>
          <a:xfrm>
            <a:off x="496957" y="5731594"/>
            <a:ext cx="3463720" cy="1030685"/>
          </a:xfrm>
          <a:prstGeom prst="rect">
            <a:avLst/>
          </a:prstGeom>
          <a:noFill/>
        </p:spPr>
        <p:txBody>
          <a:bodyPr wrap="square" lIns="40094" tIns="20043" rIns="160377" bIns="20043" rtlCol="0">
            <a:spAutoFit/>
          </a:bodyPr>
          <a:lstStyle/>
          <a:p>
            <a:pPr algn="r"/>
            <a:r>
              <a:rPr lang="fr-FR" sz="1400" b="1" dirty="0">
                <a:solidFill>
                  <a:srgbClr val="00ABAB"/>
                </a:solidFill>
              </a:rPr>
              <a:t>4. Sécurité</a:t>
            </a:r>
            <a:r>
              <a:rPr lang="en-US" sz="1400" b="1" dirty="0">
                <a:solidFill>
                  <a:srgbClr val="00ABAB"/>
                </a:solidFill>
              </a:rPr>
              <a:t> </a:t>
            </a:r>
            <a:r>
              <a:rPr lang="fr-FR" sz="1400" b="1" dirty="0">
                <a:solidFill>
                  <a:srgbClr val="00ABAB"/>
                </a:solidFill>
              </a:rPr>
              <a:t>opérationnelle</a:t>
            </a:r>
          </a:p>
          <a:p>
            <a:pPr algn="just">
              <a:lnSpc>
                <a:spcPct val="106000"/>
              </a:lnSpc>
              <a:buFont typeface="Wingdings 2" pitchFamily="18" charset="2"/>
              <a:buNone/>
            </a:pPr>
            <a:r>
              <a:rPr lang="fr-FR" sz="1200" dirty="0">
                <a:solidFill>
                  <a:schemeClr val="tx1">
                    <a:lumMod val="65000"/>
                    <a:lumOff val="35000"/>
                  </a:schemeClr>
                </a:solidFill>
              </a:rPr>
              <a:t>Prévenir et détecter les menaces, en mettant en place des mesures proactives de prévention et une surveillance continue pour identifier et contrer rapidement les menaces éventuelles.</a:t>
            </a:r>
          </a:p>
        </p:txBody>
      </p:sp>
      <p:sp>
        <p:nvSpPr>
          <p:cNvPr id="21" name="TextBox 20">
            <a:extLst>
              <a:ext uri="{FF2B5EF4-FFF2-40B4-BE49-F238E27FC236}">
                <a16:creationId xmlns:a16="http://schemas.microsoft.com/office/drawing/2014/main" id="{A77C1713-2DDA-4727-BEE5-CF0DE1F8B90F}"/>
              </a:ext>
            </a:extLst>
          </p:cNvPr>
          <p:cNvSpPr txBox="1"/>
          <p:nvPr/>
        </p:nvSpPr>
        <p:spPr>
          <a:xfrm>
            <a:off x="496957" y="3912195"/>
            <a:ext cx="3334678" cy="1548583"/>
          </a:xfrm>
          <a:prstGeom prst="rect">
            <a:avLst/>
          </a:prstGeom>
          <a:noFill/>
        </p:spPr>
        <p:txBody>
          <a:bodyPr wrap="square" lIns="40094" tIns="20043" rIns="160377" bIns="20043" rtlCol="0">
            <a:spAutoFit/>
          </a:bodyPr>
          <a:lstStyle/>
          <a:p>
            <a:pPr algn="r"/>
            <a:r>
              <a:rPr lang="fr-FR" sz="1400" b="1" dirty="0">
                <a:solidFill>
                  <a:srgbClr val="00ABAB"/>
                </a:solidFill>
              </a:rPr>
              <a:t>5. Résilience</a:t>
            </a:r>
          </a:p>
          <a:p>
            <a:pPr algn="just"/>
            <a:r>
              <a:rPr lang="fr-FR" sz="1200" dirty="0">
                <a:solidFill>
                  <a:schemeClr val="tx1">
                    <a:lumMod val="65000"/>
                    <a:lumOff val="35000"/>
                  </a:schemeClr>
                </a:solidFill>
              </a:rPr>
              <a:t>Assurer la résilience de l'organisation en préparant et en planifiant les réponses aux crises, en assurant la continuité des activités en cas de perturbations majeures, et en gérant efficacement les incidents pour minimiser les impacts et rétablir rapidement les opérations normales.</a:t>
            </a:r>
            <a:endParaRPr lang="fr-FR" sz="1200" b="1" dirty="0">
              <a:solidFill>
                <a:schemeClr val="tx1">
                  <a:lumMod val="65000"/>
                  <a:lumOff val="35000"/>
                </a:schemeClr>
              </a:solidFill>
            </a:endParaRPr>
          </a:p>
          <a:p>
            <a:pPr algn="r"/>
            <a:endParaRPr lang="fr-FR" sz="1200" b="1" dirty="0"/>
          </a:p>
        </p:txBody>
      </p:sp>
      <p:sp>
        <p:nvSpPr>
          <p:cNvPr id="22" name="TextBox 21">
            <a:extLst>
              <a:ext uri="{FF2B5EF4-FFF2-40B4-BE49-F238E27FC236}">
                <a16:creationId xmlns:a16="http://schemas.microsoft.com/office/drawing/2014/main" id="{FEE672B1-F5C9-4E95-B060-9B053FE7AA61}"/>
              </a:ext>
            </a:extLst>
          </p:cNvPr>
          <p:cNvSpPr txBox="1"/>
          <p:nvPr/>
        </p:nvSpPr>
        <p:spPr>
          <a:xfrm>
            <a:off x="496957" y="2395177"/>
            <a:ext cx="3452007" cy="1179251"/>
          </a:xfrm>
          <a:prstGeom prst="rect">
            <a:avLst/>
          </a:prstGeom>
          <a:noFill/>
        </p:spPr>
        <p:txBody>
          <a:bodyPr wrap="square" lIns="40094" tIns="20043" rIns="160377" bIns="20043" rtlCol="0">
            <a:spAutoFit/>
          </a:bodyPr>
          <a:lstStyle/>
          <a:p>
            <a:pPr algn="r"/>
            <a:r>
              <a:rPr lang="en-US" sz="1400" b="1" dirty="0">
                <a:solidFill>
                  <a:srgbClr val="00ABAB"/>
                </a:solidFill>
              </a:rPr>
              <a:t>6. Project Delivery Lifecycle</a:t>
            </a:r>
          </a:p>
          <a:p>
            <a:pPr algn="just"/>
            <a:r>
              <a:rPr lang="fr-FR" sz="1200" dirty="0">
                <a:solidFill>
                  <a:schemeClr val="tx1">
                    <a:lumMod val="65000"/>
                    <a:lumOff val="35000"/>
                  </a:schemeClr>
                </a:solidFill>
              </a:rPr>
              <a:t>Gérer efficacement toutes les étapes du projet, de la définition à l'exécution, en assurant un contrôle rigoureux, un suivi continu et la réalisation des objectifs fixés.</a:t>
            </a:r>
          </a:p>
          <a:p>
            <a:pPr algn="just"/>
            <a:endParaRPr lang="en-US" sz="1200" b="1" dirty="0"/>
          </a:p>
        </p:txBody>
      </p:sp>
      <p:cxnSp>
        <p:nvCxnSpPr>
          <p:cNvPr id="23" name="Straight Connector 54">
            <a:extLst>
              <a:ext uri="{FF2B5EF4-FFF2-40B4-BE49-F238E27FC236}">
                <a16:creationId xmlns:a16="http://schemas.microsoft.com/office/drawing/2014/main" id="{2BE38258-7AF2-4411-BF2D-545C6933AF9B}"/>
              </a:ext>
            </a:extLst>
          </p:cNvPr>
          <p:cNvCxnSpPr>
            <a:cxnSpLocks/>
            <a:stCxn id="32" idx="0"/>
            <a:endCxn id="18" idx="1"/>
          </p:cNvCxnSpPr>
          <p:nvPr/>
        </p:nvCxnSpPr>
        <p:spPr>
          <a:xfrm flipV="1">
            <a:off x="8494413" y="4529896"/>
            <a:ext cx="977176" cy="562097"/>
          </a:xfrm>
          <a:prstGeom prst="bentConnector3">
            <a:avLst>
              <a:gd name="adj1" fmla="val 50000"/>
            </a:avLst>
          </a:prstGeom>
          <a:ln>
            <a:solidFill>
              <a:srgbClr val="009A44"/>
            </a:solidFill>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54">
            <a:extLst>
              <a:ext uri="{FF2B5EF4-FFF2-40B4-BE49-F238E27FC236}">
                <a16:creationId xmlns:a16="http://schemas.microsoft.com/office/drawing/2014/main" id="{36C33451-875C-4B71-94F9-16A220E9C04E}"/>
              </a:ext>
            </a:extLst>
          </p:cNvPr>
          <p:cNvCxnSpPr>
            <a:cxnSpLocks/>
            <a:endCxn id="19" idx="1"/>
          </p:cNvCxnSpPr>
          <p:nvPr/>
        </p:nvCxnSpPr>
        <p:spPr>
          <a:xfrm flipV="1">
            <a:off x="7931245" y="5986731"/>
            <a:ext cx="1511260" cy="688073"/>
          </a:xfrm>
          <a:prstGeom prst="bentConnector3">
            <a:avLst>
              <a:gd name="adj1" fmla="val 50000"/>
            </a:avLst>
          </a:prstGeom>
          <a:ln>
            <a:solidFill>
              <a:srgbClr val="009A44"/>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54">
            <a:extLst>
              <a:ext uri="{FF2B5EF4-FFF2-40B4-BE49-F238E27FC236}">
                <a16:creationId xmlns:a16="http://schemas.microsoft.com/office/drawing/2014/main" id="{D9C010BA-F032-4CC3-A52B-792A8D32F214}"/>
              </a:ext>
            </a:extLst>
          </p:cNvPr>
          <p:cNvCxnSpPr>
            <a:cxnSpLocks/>
            <a:endCxn id="20" idx="3"/>
          </p:cNvCxnSpPr>
          <p:nvPr/>
        </p:nvCxnSpPr>
        <p:spPr>
          <a:xfrm rot="10800000">
            <a:off x="3960678" y="6246938"/>
            <a:ext cx="1782413" cy="632403"/>
          </a:xfrm>
          <a:prstGeom prst="bentConnector3">
            <a:avLst>
              <a:gd name="adj1" fmla="val 50000"/>
            </a:avLst>
          </a:prstGeom>
          <a:ln>
            <a:solidFill>
              <a:srgbClr val="009A44"/>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54">
            <a:extLst>
              <a:ext uri="{FF2B5EF4-FFF2-40B4-BE49-F238E27FC236}">
                <a16:creationId xmlns:a16="http://schemas.microsoft.com/office/drawing/2014/main" id="{51826EEA-2414-4990-AF19-A14C484192B9}"/>
              </a:ext>
            </a:extLst>
          </p:cNvPr>
          <p:cNvCxnSpPr>
            <a:cxnSpLocks/>
          </p:cNvCxnSpPr>
          <p:nvPr/>
        </p:nvCxnSpPr>
        <p:spPr>
          <a:xfrm rot="10800000">
            <a:off x="3804989" y="4402834"/>
            <a:ext cx="712634" cy="632404"/>
          </a:xfrm>
          <a:prstGeom prst="bentConnector3">
            <a:avLst>
              <a:gd name="adj1" fmla="val 50000"/>
            </a:avLst>
          </a:prstGeom>
          <a:ln>
            <a:solidFill>
              <a:srgbClr val="009A44"/>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54">
            <a:extLst>
              <a:ext uri="{FF2B5EF4-FFF2-40B4-BE49-F238E27FC236}">
                <a16:creationId xmlns:a16="http://schemas.microsoft.com/office/drawing/2014/main" id="{CE12E788-E323-4EAB-8F07-7DD53B4BB0C2}"/>
              </a:ext>
            </a:extLst>
          </p:cNvPr>
          <p:cNvCxnSpPr>
            <a:cxnSpLocks/>
          </p:cNvCxnSpPr>
          <p:nvPr/>
        </p:nvCxnSpPr>
        <p:spPr>
          <a:xfrm rot="10800000">
            <a:off x="3894052" y="2525821"/>
            <a:ext cx="1636053" cy="218409"/>
          </a:xfrm>
          <a:prstGeom prst="bentConnector3">
            <a:avLst>
              <a:gd name="adj1" fmla="val 50000"/>
            </a:avLst>
          </a:prstGeom>
          <a:ln>
            <a:solidFill>
              <a:srgbClr val="009A44"/>
            </a:solidFill>
            <a:tailEnd type="oval"/>
          </a:ln>
        </p:spPr>
        <p:style>
          <a:lnRef idx="1">
            <a:schemeClr val="accent1"/>
          </a:lnRef>
          <a:fillRef idx="0">
            <a:schemeClr val="accent1"/>
          </a:fillRef>
          <a:effectRef idx="0">
            <a:schemeClr val="accent1"/>
          </a:effectRef>
          <a:fontRef idx="minor">
            <a:schemeClr val="tx1"/>
          </a:fontRef>
        </p:style>
      </p:cxnSp>
      <p:sp>
        <p:nvSpPr>
          <p:cNvPr id="29" name="Arc 28">
            <a:extLst>
              <a:ext uri="{FF2B5EF4-FFF2-40B4-BE49-F238E27FC236}">
                <a16:creationId xmlns:a16="http://schemas.microsoft.com/office/drawing/2014/main" id="{C9579617-9855-4B48-929E-18E9DD87E660}"/>
              </a:ext>
            </a:extLst>
          </p:cNvPr>
          <p:cNvSpPr/>
          <p:nvPr/>
        </p:nvSpPr>
        <p:spPr>
          <a:xfrm flipH="1">
            <a:off x="5051684" y="3374984"/>
            <a:ext cx="3365793" cy="3504485"/>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0"/>
          </a:p>
        </p:txBody>
      </p:sp>
      <p:sp>
        <p:nvSpPr>
          <p:cNvPr id="31" name="Partial Circle 30">
            <a:extLst>
              <a:ext uri="{FF2B5EF4-FFF2-40B4-BE49-F238E27FC236}">
                <a16:creationId xmlns:a16="http://schemas.microsoft.com/office/drawing/2014/main" id="{CD168CB9-97E2-4E3F-81D4-B1737D10ED22}"/>
              </a:ext>
            </a:extLst>
          </p:cNvPr>
          <p:cNvSpPr>
            <a:spLocks noChangeAspect="1"/>
          </p:cNvSpPr>
          <p:nvPr/>
        </p:nvSpPr>
        <p:spPr>
          <a:xfrm>
            <a:off x="4736843" y="2994165"/>
            <a:ext cx="3960467" cy="4124201"/>
          </a:xfrm>
          <a:prstGeom prst="pie">
            <a:avLst>
              <a:gd name="adj1" fmla="val 1779985"/>
              <a:gd name="adj2" fmla="val 5352857"/>
            </a:avLst>
          </a:prstGeom>
          <a:solidFill>
            <a:schemeClr val="accent3"/>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solidFill>
                <a:schemeClr val="tx1"/>
              </a:solidFill>
            </a:endParaRPr>
          </a:p>
        </p:txBody>
      </p:sp>
      <p:sp>
        <p:nvSpPr>
          <p:cNvPr id="32" name="Partial Circle 31">
            <a:extLst>
              <a:ext uri="{FF2B5EF4-FFF2-40B4-BE49-F238E27FC236}">
                <a16:creationId xmlns:a16="http://schemas.microsoft.com/office/drawing/2014/main" id="{69D8BA76-2B4B-4E0C-AA01-CDE1785984A5}"/>
              </a:ext>
            </a:extLst>
          </p:cNvPr>
          <p:cNvSpPr>
            <a:spLocks noChangeAspect="1"/>
          </p:cNvSpPr>
          <p:nvPr/>
        </p:nvSpPr>
        <p:spPr>
          <a:xfrm>
            <a:off x="4893988" y="3217356"/>
            <a:ext cx="3600425" cy="3749274"/>
          </a:xfrm>
          <a:prstGeom prst="pie">
            <a:avLst>
              <a:gd name="adj1" fmla="val 19763735"/>
              <a:gd name="adj2" fmla="val 1782084"/>
            </a:avLst>
          </a:prstGeom>
          <a:solidFill>
            <a:schemeClr val="accent4"/>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solidFill>
                <a:schemeClr val="tx1"/>
              </a:solidFill>
            </a:endParaRPr>
          </a:p>
        </p:txBody>
      </p:sp>
      <p:sp>
        <p:nvSpPr>
          <p:cNvPr id="33" name="Partial Circle 32">
            <a:extLst>
              <a:ext uri="{FF2B5EF4-FFF2-40B4-BE49-F238E27FC236}">
                <a16:creationId xmlns:a16="http://schemas.microsoft.com/office/drawing/2014/main" id="{150A2988-F7B2-4AA5-820F-61C8452E5370}"/>
              </a:ext>
            </a:extLst>
          </p:cNvPr>
          <p:cNvSpPr>
            <a:spLocks noChangeAspect="1"/>
          </p:cNvSpPr>
          <p:nvPr/>
        </p:nvSpPr>
        <p:spPr>
          <a:xfrm>
            <a:off x="5096086" y="3374984"/>
            <a:ext cx="3273113" cy="3408431"/>
          </a:xfrm>
          <a:prstGeom prst="pie">
            <a:avLst>
              <a:gd name="adj1" fmla="val 16194588"/>
              <a:gd name="adj2" fmla="val 19760967"/>
            </a:avLst>
          </a:prstGeom>
          <a:solidFill>
            <a:schemeClr val="accent5"/>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solidFill>
                <a:schemeClr val="tx1"/>
              </a:solidFill>
            </a:endParaRPr>
          </a:p>
        </p:txBody>
      </p:sp>
      <p:sp>
        <p:nvSpPr>
          <p:cNvPr id="34" name="Oval 33">
            <a:extLst>
              <a:ext uri="{FF2B5EF4-FFF2-40B4-BE49-F238E27FC236}">
                <a16:creationId xmlns:a16="http://schemas.microsoft.com/office/drawing/2014/main" id="{1FFBBFC7-3BB0-4A6B-8328-842A109A4400}"/>
              </a:ext>
            </a:extLst>
          </p:cNvPr>
          <p:cNvSpPr/>
          <p:nvPr/>
        </p:nvSpPr>
        <p:spPr>
          <a:xfrm>
            <a:off x="5622580" y="3952245"/>
            <a:ext cx="2234743" cy="232713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p>
        </p:txBody>
      </p:sp>
      <p:sp>
        <p:nvSpPr>
          <p:cNvPr id="35" name="Oval 34">
            <a:extLst>
              <a:ext uri="{FF2B5EF4-FFF2-40B4-BE49-F238E27FC236}">
                <a16:creationId xmlns:a16="http://schemas.microsoft.com/office/drawing/2014/main" id="{0A325634-C869-4452-B56F-EAE2C487CD58}"/>
              </a:ext>
            </a:extLst>
          </p:cNvPr>
          <p:cNvSpPr/>
          <p:nvPr/>
        </p:nvSpPr>
        <p:spPr>
          <a:xfrm>
            <a:off x="5622580" y="3952245"/>
            <a:ext cx="2234743" cy="2327133"/>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p>
        </p:txBody>
      </p:sp>
      <p:sp>
        <p:nvSpPr>
          <p:cNvPr id="36" name="Partial Circle 35">
            <a:extLst>
              <a:ext uri="{FF2B5EF4-FFF2-40B4-BE49-F238E27FC236}">
                <a16:creationId xmlns:a16="http://schemas.microsoft.com/office/drawing/2014/main" id="{8ADB9DC0-2482-400D-891D-42B8F0FF431F}"/>
              </a:ext>
            </a:extLst>
          </p:cNvPr>
          <p:cNvSpPr>
            <a:spLocks noChangeAspect="1"/>
          </p:cNvSpPr>
          <p:nvPr/>
        </p:nvSpPr>
        <p:spPr>
          <a:xfrm>
            <a:off x="4161306" y="2402506"/>
            <a:ext cx="5157292" cy="5370507"/>
          </a:xfrm>
          <a:prstGeom prst="pie">
            <a:avLst>
              <a:gd name="adj1" fmla="val 12576914"/>
              <a:gd name="adj2" fmla="val 16200000"/>
            </a:avLst>
          </a:prstGeom>
          <a:solidFill>
            <a:schemeClr val="accent6"/>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solidFill>
                <a:schemeClr val="tx1"/>
              </a:solidFill>
            </a:endParaRPr>
          </a:p>
        </p:txBody>
      </p:sp>
      <p:sp>
        <p:nvSpPr>
          <p:cNvPr id="37" name="Partial Circle 36">
            <a:extLst>
              <a:ext uri="{FF2B5EF4-FFF2-40B4-BE49-F238E27FC236}">
                <a16:creationId xmlns:a16="http://schemas.microsoft.com/office/drawing/2014/main" id="{9EEA9F21-2BCC-4D94-9D44-6200AC31CF6C}"/>
              </a:ext>
            </a:extLst>
          </p:cNvPr>
          <p:cNvSpPr>
            <a:spLocks noChangeAspect="1"/>
          </p:cNvSpPr>
          <p:nvPr/>
        </p:nvSpPr>
        <p:spPr>
          <a:xfrm>
            <a:off x="4343016" y="2581093"/>
            <a:ext cx="4792166" cy="4990284"/>
          </a:xfrm>
          <a:prstGeom prst="pie">
            <a:avLst>
              <a:gd name="adj1" fmla="val 9010219"/>
              <a:gd name="adj2" fmla="val 12565274"/>
            </a:avLst>
          </a:prstGeom>
          <a:solidFill>
            <a:schemeClr val="accent1"/>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solidFill>
                <a:schemeClr val="tx1"/>
              </a:solidFill>
            </a:endParaRPr>
          </a:p>
        </p:txBody>
      </p:sp>
      <p:sp>
        <p:nvSpPr>
          <p:cNvPr id="38" name="Partial Circle 37">
            <a:extLst>
              <a:ext uri="{FF2B5EF4-FFF2-40B4-BE49-F238E27FC236}">
                <a16:creationId xmlns:a16="http://schemas.microsoft.com/office/drawing/2014/main" id="{74788E54-2801-4667-BD62-1C8A6915E445}"/>
              </a:ext>
            </a:extLst>
          </p:cNvPr>
          <p:cNvSpPr>
            <a:spLocks noChangeAspect="1"/>
          </p:cNvSpPr>
          <p:nvPr/>
        </p:nvSpPr>
        <p:spPr>
          <a:xfrm>
            <a:off x="4549417" y="2805831"/>
            <a:ext cx="4356514" cy="4536621"/>
          </a:xfrm>
          <a:prstGeom prst="pie">
            <a:avLst>
              <a:gd name="adj1" fmla="val 5348895"/>
              <a:gd name="adj2" fmla="val 8995523"/>
            </a:avLst>
          </a:prstGeom>
          <a:solidFill>
            <a:schemeClr val="accent2"/>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0">
              <a:solidFill>
                <a:schemeClr val="tx1"/>
              </a:solidFill>
            </a:endParaRPr>
          </a:p>
        </p:txBody>
      </p:sp>
      <p:sp>
        <p:nvSpPr>
          <p:cNvPr id="39" name="Freeform 5">
            <a:extLst>
              <a:ext uri="{FF2B5EF4-FFF2-40B4-BE49-F238E27FC236}">
                <a16:creationId xmlns:a16="http://schemas.microsoft.com/office/drawing/2014/main" id="{2B4A6A26-FA08-4FA0-8302-AD814CE54B25}"/>
              </a:ext>
            </a:extLst>
          </p:cNvPr>
          <p:cNvSpPr>
            <a:spLocks noEditPoints="1"/>
          </p:cNvSpPr>
          <p:nvPr/>
        </p:nvSpPr>
        <p:spPr bwMode="auto">
          <a:xfrm>
            <a:off x="5430482" y="3751471"/>
            <a:ext cx="2618940" cy="2728680"/>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bg1"/>
          </a:solidFill>
          <a:ln>
            <a:noFill/>
          </a:ln>
          <a:effectLst>
            <a:outerShdw blurRad="1092200" sx="102000" sy="102000" algn="ctr" rotWithShape="0">
              <a:prstClr val="black">
                <a:alpha val="40000"/>
              </a:prstClr>
            </a:outerShdw>
          </a:effectLst>
          <a:scene3d>
            <a:camera prst="orthographicFront"/>
            <a:lightRig rig="threePt" dir="t"/>
          </a:scene3d>
          <a:sp3d>
            <a:bevelT/>
          </a:sp3d>
        </p:spPr>
        <p:txBody>
          <a:bodyPr vert="horz" wrap="square" lIns="40086" tIns="20043" rIns="40086" bIns="20043" numCol="1" anchor="t" anchorCtr="0" compatLnSpc="1">
            <a:prstTxWarp prst="textNoShape">
              <a:avLst/>
            </a:prstTxWarp>
          </a:bodyPr>
          <a:lstStyle/>
          <a:p>
            <a:endParaRPr lang="en-US" sz="1140"/>
          </a:p>
        </p:txBody>
      </p:sp>
      <p:sp>
        <p:nvSpPr>
          <p:cNvPr id="40" name="Oval 39">
            <a:extLst>
              <a:ext uri="{FF2B5EF4-FFF2-40B4-BE49-F238E27FC236}">
                <a16:creationId xmlns:a16="http://schemas.microsoft.com/office/drawing/2014/main" id="{08E64557-6D28-470C-8E2E-62BDCA2FBE95}"/>
              </a:ext>
            </a:extLst>
          </p:cNvPr>
          <p:cNvSpPr/>
          <p:nvPr/>
        </p:nvSpPr>
        <p:spPr>
          <a:xfrm>
            <a:off x="5622580" y="3952245"/>
            <a:ext cx="2234743" cy="2327133"/>
          </a:xfrm>
          <a:prstGeom prst="ellipse">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40086" tIns="20043" rIns="40086" bIns="20043" rtlCol="0" anchor="ctr"/>
          <a:lstStyle/>
          <a:p>
            <a:pPr algn="ctr"/>
            <a:r>
              <a:rPr lang="en-US" sz="3200">
                <a:solidFill>
                  <a:schemeClr val="bg1">
                    <a:lumMod val="50000"/>
                  </a:schemeClr>
                </a:solidFill>
                <a:ea typeface="Batang" panose="020B0503020000020004" pitchFamily="18" charset="-127"/>
              </a:rPr>
              <a:t>CISO</a:t>
            </a:r>
            <a:r>
              <a:rPr lang="en-US" sz="1140">
                <a:solidFill>
                  <a:schemeClr val="bg1">
                    <a:lumMod val="50000"/>
                  </a:schemeClr>
                </a:solidFill>
              </a:rPr>
              <a:t> </a:t>
            </a:r>
          </a:p>
        </p:txBody>
      </p:sp>
      <p:sp>
        <p:nvSpPr>
          <p:cNvPr id="47" name="TextBox 46">
            <a:extLst>
              <a:ext uri="{FF2B5EF4-FFF2-40B4-BE49-F238E27FC236}">
                <a16:creationId xmlns:a16="http://schemas.microsoft.com/office/drawing/2014/main" id="{096E8A6B-283E-47FA-AF6B-B5DE189E125F}"/>
              </a:ext>
            </a:extLst>
          </p:cNvPr>
          <p:cNvSpPr txBox="1"/>
          <p:nvPr/>
        </p:nvSpPr>
        <p:spPr>
          <a:xfrm>
            <a:off x="1107827" y="1312738"/>
            <a:ext cx="11224121" cy="307777"/>
          </a:xfrm>
          <a:prstGeom prst="rect">
            <a:avLst/>
          </a:prstGeom>
          <a:noFill/>
        </p:spPr>
        <p:txBody>
          <a:bodyPr wrap="square">
            <a:spAutoFit/>
          </a:bodyPr>
          <a:lstStyle/>
          <a:p>
            <a:pPr algn="just"/>
            <a:r>
              <a:rPr lang="fr-FR" sz="1400" dirty="0"/>
              <a:t>Les services CISO que nous offrons sont variés et s'adressent à différents aspects de la sécurité des systèmes d’informations au sein d’une organisation.</a:t>
            </a:r>
          </a:p>
        </p:txBody>
      </p:sp>
      <p:sp>
        <p:nvSpPr>
          <p:cNvPr id="56" name="ZoneTexte 55">
            <a:extLst>
              <a:ext uri="{FF2B5EF4-FFF2-40B4-BE49-F238E27FC236}">
                <a16:creationId xmlns:a16="http://schemas.microsoft.com/office/drawing/2014/main" id="{D356383B-216F-4856-B293-B416EEDDE6E9}"/>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8</a:t>
            </a:r>
          </a:p>
        </p:txBody>
      </p:sp>
      <p:grpSp>
        <p:nvGrpSpPr>
          <p:cNvPr id="51" name="Groupe 50">
            <a:extLst>
              <a:ext uri="{FF2B5EF4-FFF2-40B4-BE49-F238E27FC236}">
                <a16:creationId xmlns:a16="http://schemas.microsoft.com/office/drawing/2014/main" id="{ADDC32A1-AF26-45F9-B517-138E86D655AA}"/>
              </a:ext>
            </a:extLst>
          </p:cNvPr>
          <p:cNvGrpSpPr/>
          <p:nvPr/>
        </p:nvGrpSpPr>
        <p:grpSpPr>
          <a:xfrm>
            <a:off x="10635529" y="519574"/>
            <a:ext cx="1747638" cy="544758"/>
            <a:chOff x="10635530" y="519574"/>
            <a:chExt cx="1425914" cy="544758"/>
          </a:xfrm>
        </p:grpSpPr>
        <p:sp>
          <p:nvSpPr>
            <p:cNvPr id="52" name="Freeform 926">
              <a:extLst>
                <a:ext uri="{FF2B5EF4-FFF2-40B4-BE49-F238E27FC236}">
                  <a16:creationId xmlns:a16="http://schemas.microsoft.com/office/drawing/2014/main" id="{AE65E22B-0A36-4A6C-9C11-442202CA8F63}"/>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53" name="TextBox 220">
              <a:extLst>
                <a:ext uri="{FF2B5EF4-FFF2-40B4-BE49-F238E27FC236}">
                  <a16:creationId xmlns:a16="http://schemas.microsoft.com/office/drawing/2014/main" id="{84F91566-C20B-44C0-B0FA-AE952A876320}"/>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a:solidFill>
                    <a:schemeClr val="tx2"/>
                  </a:solidFill>
                </a:rPr>
                <a:t>Aperçu Framework</a:t>
              </a:r>
            </a:p>
          </p:txBody>
        </p:sp>
      </p:grpSp>
      <p:grpSp>
        <p:nvGrpSpPr>
          <p:cNvPr id="54" name="Groupe 53">
            <a:extLst>
              <a:ext uri="{FF2B5EF4-FFF2-40B4-BE49-F238E27FC236}">
                <a16:creationId xmlns:a16="http://schemas.microsoft.com/office/drawing/2014/main" id="{F7AFBD09-1C2F-488D-8C85-34C2AD9970FC}"/>
              </a:ext>
            </a:extLst>
          </p:cNvPr>
          <p:cNvGrpSpPr/>
          <p:nvPr/>
        </p:nvGrpSpPr>
        <p:grpSpPr>
          <a:xfrm>
            <a:off x="5701658" y="519574"/>
            <a:ext cx="1348770" cy="544812"/>
            <a:chOff x="3625356" y="519574"/>
            <a:chExt cx="1100474" cy="544812"/>
          </a:xfrm>
        </p:grpSpPr>
        <p:sp>
          <p:nvSpPr>
            <p:cNvPr id="55" name="Freeform 926">
              <a:extLst>
                <a:ext uri="{FF2B5EF4-FFF2-40B4-BE49-F238E27FC236}">
                  <a16:creationId xmlns:a16="http://schemas.microsoft.com/office/drawing/2014/main" id="{67C73588-FA69-4A22-9471-9803A9B27819}"/>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57" name="TextBox 219">
              <a:extLst>
                <a:ext uri="{FF2B5EF4-FFF2-40B4-BE49-F238E27FC236}">
                  <a16:creationId xmlns:a16="http://schemas.microsoft.com/office/drawing/2014/main" id="{0182D316-7D95-49A4-B05E-EEF6E5503CB9}"/>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Services CISO</a:t>
              </a:r>
            </a:p>
          </p:txBody>
        </p:sp>
      </p:grpSp>
      <p:grpSp>
        <p:nvGrpSpPr>
          <p:cNvPr id="58" name="Groupe 57">
            <a:extLst>
              <a:ext uri="{FF2B5EF4-FFF2-40B4-BE49-F238E27FC236}">
                <a16:creationId xmlns:a16="http://schemas.microsoft.com/office/drawing/2014/main" id="{B5C0B1A0-5D7C-4A52-A5BE-BE639FD8C821}"/>
              </a:ext>
            </a:extLst>
          </p:cNvPr>
          <p:cNvGrpSpPr/>
          <p:nvPr/>
        </p:nvGrpSpPr>
        <p:grpSpPr>
          <a:xfrm>
            <a:off x="7969060" y="519574"/>
            <a:ext cx="1837880" cy="544812"/>
            <a:chOff x="5755870" y="519574"/>
            <a:chExt cx="1499543" cy="544812"/>
          </a:xfrm>
        </p:grpSpPr>
        <p:sp>
          <p:nvSpPr>
            <p:cNvPr id="59" name="Freeform 926">
              <a:extLst>
                <a:ext uri="{FF2B5EF4-FFF2-40B4-BE49-F238E27FC236}">
                  <a16:creationId xmlns:a16="http://schemas.microsoft.com/office/drawing/2014/main" id="{D4C6D226-6226-40EB-BA3E-E3C27D7F5018}"/>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0" name="TextBox 219">
              <a:extLst>
                <a:ext uri="{FF2B5EF4-FFF2-40B4-BE49-F238E27FC236}">
                  <a16:creationId xmlns:a16="http://schemas.microsoft.com/office/drawing/2014/main" id="{8AEB41AE-81C7-424E-B3B3-449C0A23D980}"/>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grpSp>
        <p:nvGrpSpPr>
          <p:cNvPr id="61" name="Groupe 60">
            <a:extLst>
              <a:ext uri="{FF2B5EF4-FFF2-40B4-BE49-F238E27FC236}">
                <a16:creationId xmlns:a16="http://schemas.microsoft.com/office/drawing/2014/main" id="{F19F88C1-7730-4F5B-B443-973CE9F84FF3}"/>
              </a:ext>
            </a:extLst>
          </p:cNvPr>
          <p:cNvGrpSpPr/>
          <p:nvPr/>
        </p:nvGrpSpPr>
        <p:grpSpPr>
          <a:xfrm>
            <a:off x="1378329" y="519574"/>
            <a:ext cx="1491571" cy="544812"/>
            <a:chOff x="1378330" y="519574"/>
            <a:chExt cx="1216986" cy="544812"/>
          </a:xfrm>
        </p:grpSpPr>
        <p:sp>
          <p:nvSpPr>
            <p:cNvPr id="62" name="TextBox 219">
              <a:extLst>
                <a:ext uri="{FF2B5EF4-FFF2-40B4-BE49-F238E27FC236}">
                  <a16:creationId xmlns:a16="http://schemas.microsoft.com/office/drawing/2014/main" id="{81AA9868-D173-4024-9208-36D806A33B8E}"/>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63" name="Freeform 926">
              <a:extLst>
                <a:ext uri="{FF2B5EF4-FFF2-40B4-BE49-F238E27FC236}">
                  <a16:creationId xmlns:a16="http://schemas.microsoft.com/office/drawing/2014/main" id="{5CC6D0D4-6977-4750-8534-E62D1419D7B6}"/>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64" name="Groupe 63">
            <a:extLst>
              <a:ext uri="{FF2B5EF4-FFF2-40B4-BE49-F238E27FC236}">
                <a16:creationId xmlns:a16="http://schemas.microsoft.com/office/drawing/2014/main" id="{E173BDB1-9A6C-44B1-8875-0589ECAA2FCB}"/>
              </a:ext>
            </a:extLst>
          </p:cNvPr>
          <p:cNvGrpSpPr/>
          <p:nvPr/>
        </p:nvGrpSpPr>
        <p:grpSpPr>
          <a:xfrm>
            <a:off x="3762244" y="519574"/>
            <a:ext cx="946780" cy="544758"/>
            <a:chOff x="8696117" y="519574"/>
            <a:chExt cx="772486" cy="544758"/>
          </a:xfrm>
        </p:grpSpPr>
        <p:sp>
          <p:nvSpPr>
            <p:cNvPr id="80" name="Freeform 926">
              <a:extLst>
                <a:ext uri="{FF2B5EF4-FFF2-40B4-BE49-F238E27FC236}">
                  <a16:creationId xmlns:a16="http://schemas.microsoft.com/office/drawing/2014/main" id="{99E35916-A16A-439A-8632-31CC31588FDF}"/>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81" name="TextBox 220">
              <a:extLst>
                <a:ext uri="{FF2B5EF4-FFF2-40B4-BE49-F238E27FC236}">
                  <a16:creationId xmlns:a16="http://schemas.microsoft.com/office/drawing/2014/main" id="{803B9675-03C5-4CCB-B610-3D07C3FB6090}"/>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sp>
        <p:nvSpPr>
          <p:cNvPr id="85" name="Rectangle 84">
            <a:extLst>
              <a:ext uri="{FF2B5EF4-FFF2-40B4-BE49-F238E27FC236}">
                <a16:creationId xmlns:a16="http://schemas.microsoft.com/office/drawing/2014/main" id="{7F1944A9-D9E1-4B74-9D52-5BD0A0C15E31}"/>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86" name="Rectangle 85">
            <a:extLst>
              <a:ext uri="{FF2B5EF4-FFF2-40B4-BE49-F238E27FC236}">
                <a16:creationId xmlns:a16="http://schemas.microsoft.com/office/drawing/2014/main" id="{FE4645E8-E5C0-48D5-BB82-66D62BE2FA13}"/>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7" name="Rectangle 86">
            <a:extLst>
              <a:ext uri="{FF2B5EF4-FFF2-40B4-BE49-F238E27FC236}">
                <a16:creationId xmlns:a16="http://schemas.microsoft.com/office/drawing/2014/main" id="{13F673D3-76FC-4224-A59C-809436C4244D}"/>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8" name="Rectangle 87">
            <a:extLst>
              <a:ext uri="{FF2B5EF4-FFF2-40B4-BE49-F238E27FC236}">
                <a16:creationId xmlns:a16="http://schemas.microsoft.com/office/drawing/2014/main" id="{0CB2A2EB-9E7A-4FD8-929C-4E16EB462908}"/>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3729411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49" presetClass="entr" presetSubtype="0" decel="10000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anim calcmode="lin" valueType="num">
                                      <p:cBhvr>
                                        <p:cTn id="9" dur="500" fill="hold"/>
                                        <p:tgtEl>
                                          <p:spTgt spid="39"/>
                                        </p:tgtEl>
                                        <p:attrNameLst>
                                          <p:attrName>ppt_w</p:attrName>
                                        </p:attrNameLst>
                                      </p:cBhvr>
                                      <p:tavLst>
                                        <p:tav tm="0">
                                          <p:val>
                                            <p:fltVal val="0"/>
                                          </p:val>
                                        </p:tav>
                                        <p:tav tm="100000">
                                          <p:val>
                                            <p:strVal val="#ppt_w"/>
                                          </p:val>
                                        </p:tav>
                                      </p:tavLst>
                                    </p:anim>
                                    <p:anim calcmode="lin" valueType="num">
                                      <p:cBhvr>
                                        <p:cTn id="10" dur="500" fill="hold"/>
                                        <p:tgtEl>
                                          <p:spTgt spid="39"/>
                                        </p:tgtEl>
                                        <p:attrNameLst>
                                          <p:attrName>ppt_h</p:attrName>
                                        </p:attrNameLst>
                                      </p:cBhvr>
                                      <p:tavLst>
                                        <p:tav tm="0">
                                          <p:val>
                                            <p:fltVal val="0"/>
                                          </p:val>
                                        </p:tav>
                                        <p:tav tm="100000">
                                          <p:val>
                                            <p:strVal val="#ppt_h"/>
                                          </p:val>
                                        </p:tav>
                                      </p:tavLst>
                                    </p:anim>
                                    <p:anim calcmode="lin" valueType="num">
                                      <p:cBhvr>
                                        <p:cTn id="11" dur="500" fill="hold"/>
                                        <p:tgtEl>
                                          <p:spTgt spid="39"/>
                                        </p:tgtEl>
                                        <p:attrNameLst>
                                          <p:attrName>style.rotation</p:attrName>
                                        </p:attrNameLst>
                                      </p:cBhvr>
                                      <p:tavLst>
                                        <p:tav tm="0">
                                          <p:val>
                                            <p:fltVal val="360"/>
                                          </p:val>
                                        </p:tav>
                                        <p:tav tm="100000">
                                          <p:val>
                                            <p:fltVal val="0"/>
                                          </p:val>
                                        </p:tav>
                                      </p:tavLst>
                                    </p:anim>
                                    <p:animEffect transition="in" filter="fade">
                                      <p:cBhvr>
                                        <p:cTn id="12" dur="500"/>
                                        <p:tgtEl>
                                          <p:spTgt spid="39"/>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33"/>
                                        </p:tgtEl>
                                        <p:attrNameLst>
                                          <p:attrName>style.visibility</p:attrName>
                                        </p:attrNameLst>
                                      </p:cBhvr>
                                      <p:to>
                                        <p:strVal val="visible"/>
                                      </p:to>
                                    </p:set>
                                    <p:anim calcmode="lin" valueType="num">
                                      <p:cBhvr>
                                        <p:cTn id="16" dur="500" fill="hold"/>
                                        <p:tgtEl>
                                          <p:spTgt spid="33"/>
                                        </p:tgtEl>
                                        <p:attrNameLst>
                                          <p:attrName>ppt_w</p:attrName>
                                        </p:attrNameLst>
                                      </p:cBhvr>
                                      <p:tavLst>
                                        <p:tav tm="0">
                                          <p:val>
                                            <p:fltVal val="0"/>
                                          </p:val>
                                        </p:tav>
                                        <p:tav tm="100000">
                                          <p:val>
                                            <p:strVal val="#ppt_w"/>
                                          </p:val>
                                        </p:tav>
                                      </p:tavLst>
                                    </p:anim>
                                    <p:anim calcmode="lin" valueType="num">
                                      <p:cBhvr>
                                        <p:cTn id="17" dur="500" fill="hold"/>
                                        <p:tgtEl>
                                          <p:spTgt spid="33"/>
                                        </p:tgtEl>
                                        <p:attrNameLst>
                                          <p:attrName>ppt_h</p:attrName>
                                        </p:attrNameLst>
                                      </p:cBhvr>
                                      <p:tavLst>
                                        <p:tav tm="0">
                                          <p:val>
                                            <p:fltVal val="0"/>
                                          </p:val>
                                        </p:tav>
                                        <p:tav tm="100000">
                                          <p:val>
                                            <p:strVal val="#ppt_h"/>
                                          </p:val>
                                        </p:tav>
                                      </p:tavLst>
                                    </p:anim>
                                    <p:animEffect transition="in" filter="fade">
                                      <p:cBhvr>
                                        <p:cTn id="18" dur="500"/>
                                        <p:tgtEl>
                                          <p:spTgt spid="33"/>
                                        </p:tgtEl>
                                      </p:cBhvr>
                                    </p:animEffect>
                                  </p:childTnLst>
                                </p:cTn>
                              </p:par>
                            </p:childTnLst>
                          </p:cTn>
                        </p:par>
                        <p:par>
                          <p:cTn id="19" fill="hold">
                            <p:stCondLst>
                              <p:cond delay="1000"/>
                            </p:stCondLst>
                            <p:childTnLst>
                              <p:par>
                                <p:cTn id="20" presetID="1" presetClass="entr" presetSubtype="0" fill="hold" nodeType="afterEffect">
                                  <p:stCondLst>
                                    <p:cond delay="0"/>
                                  </p:stCondLst>
                                  <p:childTnLst>
                                    <p:set>
                                      <p:cBhvr>
                                        <p:cTn id="21" dur="1" fill="hold">
                                          <p:stCondLst>
                                            <p:cond delay="0"/>
                                          </p:stCondLst>
                                        </p:cTn>
                                        <p:tgtEl>
                                          <p:spTgt spid="16"/>
                                        </p:tgtEl>
                                        <p:attrNameLst>
                                          <p:attrName>style.visibility</p:attrName>
                                        </p:attrNameLst>
                                      </p:cBhvr>
                                      <p:to>
                                        <p:strVal val="visible"/>
                                      </p:to>
                                    </p:set>
                                  </p:childTnLst>
                                </p:cTn>
                              </p:par>
                            </p:childTnLst>
                          </p:cTn>
                        </p:par>
                        <p:par>
                          <p:cTn id="22" fill="hold">
                            <p:stCondLst>
                              <p:cond delay="1000"/>
                            </p:stCondLst>
                            <p:childTnLst>
                              <p:par>
                                <p:cTn id="23" presetID="1" presetClass="entr" presetSubtype="0"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grpId="0" nodeType="clickEffect">
                                  <p:stCondLst>
                                    <p:cond delay="0"/>
                                  </p:stCondLst>
                                  <p:childTnLst>
                                    <p:set>
                                      <p:cBhvr>
                                        <p:cTn id="28" dur="1" fill="hold">
                                          <p:stCondLst>
                                            <p:cond delay="0"/>
                                          </p:stCondLst>
                                        </p:cTn>
                                        <p:tgtEl>
                                          <p:spTgt spid="32"/>
                                        </p:tgtEl>
                                        <p:attrNameLst>
                                          <p:attrName>style.visibility</p:attrName>
                                        </p:attrNameLst>
                                      </p:cBhvr>
                                      <p:to>
                                        <p:strVal val="visible"/>
                                      </p:to>
                                    </p:set>
                                    <p:anim calcmode="lin" valueType="num">
                                      <p:cBhvr>
                                        <p:cTn id="29" dur="500" fill="hold"/>
                                        <p:tgtEl>
                                          <p:spTgt spid="32"/>
                                        </p:tgtEl>
                                        <p:attrNameLst>
                                          <p:attrName>ppt_w</p:attrName>
                                        </p:attrNameLst>
                                      </p:cBhvr>
                                      <p:tavLst>
                                        <p:tav tm="0">
                                          <p:val>
                                            <p:fltVal val="0"/>
                                          </p:val>
                                        </p:tav>
                                        <p:tav tm="100000">
                                          <p:val>
                                            <p:strVal val="#ppt_w"/>
                                          </p:val>
                                        </p:tav>
                                      </p:tavLst>
                                    </p:anim>
                                    <p:anim calcmode="lin" valueType="num">
                                      <p:cBhvr>
                                        <p:cTn id="30" dur="500" fill="hold"/>
                                        <p:tgtEl>
                                          <p:spTgt spid="32"/>
                                        </p:tgtEl>
                                        <p:attrNameLst>
                                          <p:attrName>ppt_h</p:attrName>
                                        </p:attrNameLst>
                                      </p:cBhvr>
                                      <p:tavLst>
                                        <p:tav tm="0">
                                          <p:val>
                                            <p:fltVal val="0"/>
                                          </p:val>
                                        </p:tav>
                                        <p:tav tm="100000">
                                          <p:val>
                                            <p:strVal val="#ppt_h"/>
                                          </p:val>
                                        </p:tav>
                                      </p:tavLst>
                                    </p:anim>
                                    <p:animEffect transition="in" filter="fade">
                                      <p:cBhvr>
                                        <p:cTn id="31" dur="500"/>
                                        <p:tgtEl>
                                          <p:spTgt spid="32"/>
                                        </p:tgtEl>
                                      </p:cBhvr>
                                    </p:animEffect>
                                  </p:childTnLst>
                                </p:cTn>
                              </p:par>
                            </p:childTnLst>
                          </p:cTn>
                        </p:par>
                        <p:par>
                          <p:cTn id="32" fill="hold">
                            <p:stCondLst>
                              <p:cond delay="500"/>
                            </p:stCondLst>
                            <p:childTnLst>
                              <p:par>
                                <p:cTn id="33" presetID="1" presetClass="entr" presetSubtype="0"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par>
                          <p:cTn id="35" fill="hold">
                            <p:stCondLst>
                              <p:cond delay="500"/>
                            </p:stCondLst>
                            <p:childTnLst>
                              <p:par>
                                <p:cTn id="36" presetID="1" presetClass="entr" presetSubtype="0" fill="hold" grpId="0" nodeType="after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31"/>
                                        </p:tgtEl>
                                        <p:attrNameLst>
                                          <p:attrName>style.visibility</p:attrName>
                                        </p:attrNameLst>
                                      </p:cBhvr>
                                      <p:to>
                                        <p:strVal val="visible"/>
                                      </p:to>
                                    </p:set>
                                    <p:anim calcmode="lin" valueType="num">
                                      <p:cBhvr>
                                        <p:cTn id="42" dur="500" fill="hold"/>
                                        <p:tgtEl>
                                          <p:spTgt spid="31"/>
                                        </p:tgtEl>
                                        <p:attrNameLst>
                                          <p:attrName>ppt_w</p:attrName>
                                        </p:attrNameLst>
                                      </p:cBhvr>
                                      <p:tavLst>
                                        <p:tav tm="0">
                                          <p:val>
                                            <p:fltVal val="0"/>
                                          </p:val>
                                        </p:tav>
                                        <p:tav tm="100000">
                                          <p:val>
                                            <p:strVal val="#ppt_w"/>
                                          </p:val>
                                        </p:tav>
                                      </p:tavLst>
                                    </p:anim>
                                    <p:anim calcmode="lin" valueType="num">
                                      <p:cBhvr>
                                        <p:cTn id="43" dur="500" fill="hold"/>
                                        <p:tgtEl>
                                          <p:spTgt spid="31"/>
                                        </p:tgtEl>
                                        <p:attrNameLst>
                                          <p:attrName>ppt_h</p:attrName>
                                        </p:attrNameLst>
                                      </p:cBhvr>
                                      <p:tavLst>
                                        <p:tav tm="0">
                                          <p:val>
                                            <p:fltVal val="0"/>
                                          </p:val>
                                        </p:tav>
                                        <p:tav tm="100000">
                                          <p:val>
                                            <p:strVal val="#ppt_h"/>
                                          </p:val>
                                        </p:tav>
                                      </p:tavLst>
                                    </p:anim>
                                    <p:animEffect transition="in" filter="fade">
                                      <p:cBhvr>
                                        <p:cTn id="44" dur="500"/>
                                        <p:tgtEl>
                                          <p:spTgt spid="31"/>
                                        </p:tgtEl>
                                      </p:cBhvr>
                                    </p:animEffect>
                                  </p:childTnLst>
                                </p:cTn>
                              </p:par>
                            </p:childTnLst>
                          </p:cTn>
                        </p:par>
                        <p:par>
                          <p:cTn id="45" fill="hold">
                            <p:stCondLst>
                              <p:cond delay="500"/>
                            </p:stCondLst>
                            <p:childTnLst>
                              <p:par>
                                <p:cTn id="46" presetID="1" presetClass="entr" presetSubtype="0" fill="hold" nodeType="afterEffect">
                                  <p:stCondLst>
                                    <p:cond delay="0"/>
                                  </p:stCondLst>
                                  <p:childTnLst>
                                    <p:set>
                                      <p:cBhvr>
                                        <p:cTn id="47" dur="1" fill="hold">
                                          <p:stCondLst>
                                            <p:cond delay="0"/>
                                          </p:stCondLst>
                                        </p:cTn>
                                        <p:tgtEl>
                                          <p:spTgt spid="25"/>
                                        </p:tgtEl>
                                        <p:attrNameLst>
                                          <p:attrName>style.visibility</p:attrName>
                                        </p:attrNameLst>
                                      </p:cBhvr>
                                      <p:to>
                                        <p:strVal val="visible"/>
                                      </p:to>
                                    </p:set>
                                  </p:childTnLst>
                                </p:cTn>
                              </p:par>
                            </p:childTnLst>
                          </p:cTn>
                        </p:par>
                        <p:par>
                          <p:cTn id="48" fill="hold">
                            <p:stCondLst>
                              <p:cond delay="500"/>
                            </p:stCondLst>
                            <p:childTnLst>
                              <p:par>
                                <p:cTn id="49" presetID="1"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53" presetClass="entr" presetSubtype="16" fill="hold" grpId="0" nodeType="clickEffect">
                                  <p:stCondLst>
                                    <p:cond delay="0"/>
                                  </p:stCondLst>
                                  <p:childTnLst>
                                    <p:set>
                                      <p:cBhvr>
                                        <p:cTn id="54" dur="1" fill="hold">
                                          <p:stCondLst>
                                            <p:cond delay="0"/>
                                          </p:stCondLst>
                                        </p:cTn>
                                        <p:tgtEl>
                                          <p:spTgt spid="38"/>
                                        </p:tgtEl>
                                        <p:attrNameLst>
                                          <p:attrName>style.visibility</p:attrName>
                                        </p:attrNameLst>
                                      </p:cBhvr>
                                      <p:to>
                                        <p:strVal val="visible"/>
                                      </p:to>
                                    </p:set>
                                    <p:anim calcmode="lin" valueType="num">
                                      <p:cBhvr>
                                        <p:cTn id="55" dur="500" fill="hold"/>
                                        <p:tgtEl>
                                          <p:spTgt spid="38"/>
                                        </p:tgtEl>
                                        <p:attrNameLst>
                                          <p:attrName>ppt_w</p:attrName>
                                        </p:attrNameLst>
                                      </p:cBhvr>
                                      <p:tavLst>
                                        <p:tav tm="0">
                                          <p:val>
                                            <p:fltVal val="0"/>
                                          </p:val>
                                        </p:tav>
                                        <p:tav tm="100000">
                                          <p:val>
                                            <p:strVal val="#ppt_w"/>
                                          </p:val>
                                        </p:tav>
                                      </p:tavLst>
                                    </p:anim>
                                    <p:anim calcmode="lin" valueType="num">
                                      <p:cBhvr>
                                        <p:cTn id="56" dur="500" fill="hold"/>
                                        <p:tgtEl>
                                          <p:spTgt spid="38"/>
                                        </p:tgtEl>
                                        <p:attrNameLst>
                                          <p:attrName>ppt_h</p:attrName>
                                        </p:attrNameLst>
                                      </p:cBhvr>
                                      <p:tavLst>
                                        <p:tav tm="0">
                                          <p:val>
                                            <p:fltVal val="0"/>
                                          </p:val>
                                        </p:tav>
                                        <p:tav tm="100000">
                                          <p:val>
                                            <p:strVal val="#ppt_h"/>
                                          </p:val>
                                        </p:tav>
                                      </p:tavLst>
                                    </p:anim>
                                    <p:animEffect transition="in" filter="fade">
                                      <p:cBhvr>
                                        <p:cTn id="57" dur="500"/>
                                        <p:tgtEl>
                                          <p:spTgt spid="38"/>
                                        </p:tgtEl>
                                      </p:cBhvr>
                                    </p:animEffect>
                                  </p:childTnLst>
                                </p:cTn>
                              </p:par>
                            </p:childTnLst>
                          </p:cTn>
                        </p:par>
                        <p:par>
                          <p:cTn id="58" fill="hold">
                            <p:stCondLst>
                              <p:cond delay="500"/>
                            </p:stCondLst>
                            <p:childTnLst>
                              <p:par>
                                <p:cTn id="59" presetID="1" presetClass="entr" presetSubtype="0" fill="hold" nodeType="after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grpId="0" nodeType="afterEffect">
                                  <p:stCondLst>
                                    <p:cond delay="0"/>
                                  </p:stCondLst>
                                  <p:childTnLst>
                                    <p:set>
                                      <p:cBhvr>
                                        <p:cTn id="63" dur="1" fill="hold">
                                          <p:stCondLst>
                                            <p:cond delay="0"/>
                                          </p:stCondLst>
                                        </p:cTn>
                                        <p:tgtEl>
                                          <p:spTgt spid="20"/>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53" presetClass="entr" presetSubtype="16" fill="hold" grpId="0" nodeType="clickEffect">
                                  <p:stCondLst>
                                    <p:cond delay="0"/>
                                  </p:stCondLst>
                                  <p:childTnLst>
                                    <p:set>
                                      <p:cBhvr>
                                        <p:cTn id="67" dur="1" fill="hold">
                                          <p:stCondLst>
                                            <p:cond delay="0"/>
                                          </p:stCondLst>
                                        </p:cTn>
                                        <p:tgtEl>
                                          <p:spTgt spid="37"/>
                                        </p:tgtEl>
                                        <p:attrNameLst>
                                          <p:attrName>style.visibility</p:attrName>
                                        </p:attrNameLst>
                                      </p:cBhvr>
                                      <p:to>
                                        <p:strVal val="visible"/>
                                      </p:to>
                                    </p:set>
                                    <p:anim calcmode="lin" valueType="num">
                                      <p:cBhvr>
                                        <p:cTn id="68" dur="500" fill="hold"/>
                                        <p:tgtEl>
                                          <p:spTgt spid="37"/>
                                        </p:tgtEl>
                                        <p:attrNameLst>
                                          <p:attrName>ppt_w</p:attrName>
                                        </p:attrNameLst>
                                      </p:cBhvr>
                                      <p:tavLst>
                                        <p:tav tm="0">
                                          <p:val>
                                            <p:fltVal val="0"/>
                                          </p:val>
                                        </p:tav>
                                        <p:tav tm="100000">
                                          <p:val>
                                            <p:strVal val="#ppt_w"/>
                                          </p:val>
                                        </p:tav>
                                      </p:tavLst>
                                    </p:anim>
                                    <p:anim calcmode="lin" valueType="num">
                                      <p:cBhvr>
                                        <p:cTn id="69" dur="500" fill="hold"/>
                                        <p:tgtEl>
                                          <p:spTgt spid="37"/>
                                        </p:tgtEl>
                                        <p:attrNameLst>
                                          <p:attrName>ppt_h</p:attrName>
                                        </p:attrNameLst>
                                      </p:cBhvr>
                                      <p:tavLst>
                                        <p:tav tm="0">
                                          <p:val>
                                            <p:fltVal val="0"/>
                                          </p:val>
                                        </p:tav>
                                        <p:tav tm="100000">
                                          <p:val>
                                            <p:strVal val="#ppt_h"/>
                                          </p:val>
                                        </p:tav>
                                      </p:tavLst>
                                    </p:anim>
                                    <p:animEffect transition="in" filter="fade">
                                      <p:cBhvr>
                                        <p:cTn id="70" dur="500"/>
                                        <p:tgtEl>
                                          <p:spTgt spid="37"/>
                                        </p:tgtEl>
                                      </p:cBhvr>
                                    </p:animEffect>
                                  </p:childTnLst>
                                </p:cTn>
                              </p:par>
                            </p:childTnLst>
                          </p:cTn>
                        </p:par>
                        <p:par>
                          <p:cTn id="71" fill="hold">
                            <p:stCondLst>
                              <p:cond delay="500"/>
                            </p:stCondLst>
                            <p:childTnLst>
                              <p:par>
                                <p:cTn id="72" presetID="1" presetClass="entr" presetSubtype="0" fill="hold" nodeType="afterEffect">
                                  <p:stCondLst>
                                    <p:cond delay="0"/>
                                  </p:stCondLst>
                                  <p:childTnLst>
                                    <p:set>
                                      <p:cBhvr>
                                        <p:cTn id="73" dur="1" fill="hold">
                                          <p:stCondLst>
                                            <p:cond delay="0"/>
                                          </p:stCondLst>
                                        </p:cTn>
                                        <p:tgtEl>
                                          <p:spTgt spid="27"/>
                                        </p:tgtEl>
                                        <p:attrNameLst>
                                          <p:attrName>style.visibility</p:attrName>
                                        </p:attrNameLst>
                                      </p:cBhvr>
                                      <p:to>
                                        <p:strVal val="visible"/>
                                      </p:to>
                                    </p:set>
                                  </p:childTnLst>
                                </p:cTn>
                              </p:par>
                            </p:childTnLst>
                          </p:cTn>
                        </p:par>
                        <p:par>
                          <p:cTn id="74" fill="hold">
                            <p:stCondLst>
                              <p:cond delay="500"/>
                            </p:stCondLst>
                            <p:childTnLst>
                              <p:par>
                                <p:cTn id="75" presetID="1" presetClass="entr" presetSubtype="0" fill="hold" grpId="0" nodeType="afterEffect">
                                  <p:stCondLst>
                                    <p:cond delay="0"/>
                                  </p:stCondLst>
                                  <p:childTnLst>
                                    <p:set>
                                      <p:cBhvr>
                                        <p:cTn id="76" dur="1" fill="hold">
                                          <p:stCondLst>
                                            <p:cond delay="0"/>
                                          </p:stCondLst>
                                        </p:cTn>
                                        <p:tgtEl>
                                          <p:spTgt spid="21"/>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36"/>
                                        </p:tgtEl>
                                        <p:attrNameLst>
                                          <p:attrName>style.visibility</p:attrName>
                                        </p:attrNameLst>
                                      </p:cBhvr>
                                      <p:to>
                                        <p:strVal val="visible"/>
                                      </p:to>
                                    </p:set>
                                    <p:anim calcmode="lin" valueType="num">
                                      <p:cBhvr>
                                        <p:cTn id="81" dur="500" fill="hold"/>
                                        <p:tgtEl>
                                          <p:spTgt spid="36"/>
                                        </p:tgtEl>
                                        <p:attrNameLst>
                                          <p:attrName>ppt_w</p:attrName>
                                        </p:attrNameLst>
                                      </p:cBhvr>
                                      <p:tavLst>
                                        <p:tav tm="0">
                                          <p:val>
                                            <p:fltVal val="0"/>
                                          </p:val>
                                        </p:tav>
                                        <p:tav tm="100000">
                                          <p:val>
                                            <p:strVal val="#ppt_w"/>
                                          </p:val>
                                        </p:tav>
                                      </p:tavLst>
                                    </p:anim>
                                    <p:anim calcmode="lin" valueType="num">
                                      <p:cBhvr>
                                        <p:cTn id="82" dur="500" fill="hold"/>
                                        <p:tgtEl>
                                          <p:spTgt spid="36"/>
                                        </p:tgtEl>
                                        <p:attrNameLst>
                                          <p:attrName>ppt_h</p:attrName>
                                        </p:attrNameLst>
                                      </p:cBhvr>
                                      <p:tavLst>
                                        <p:tav tm="0">
                                          <p:val>
                                            <p:fltVal val="0"/>
                                          </p:val>
                                        </p:tav>
                                        <p:tav tm="100000">
                                          <p:val>
                                            <p:strVal val="#ppt_h"/>
                                          </p:val>
                                        </p:tav>
                                      </p:tavLst>
                                    </p:anim>
                                    <p:animEffect transition="in" filter="fade">
                                      <p:cBhvr>
                                        <p:cTn id="83" dur="500"/>
                                        <p:tgtEl>
                                          <p:spTgt spid="36"/>
                                        </p:tgtEl>
                                      </p:cBhvr>
                                    </p:animEffect>
                                  </p:childTnLst>
                                </p:cTn>
                              </p:par>
                            </p:childTnLst>
                          </p:cTn>
                        </p:par>
                        <p:par>
                          <p:cTn id="84" fill="hold">
                            <p:stCondLst>
                              <p:cond delay="500"/>
                            </p:stCondLst>
                            <p:childTnLst>
                              <p:par>
                                <p:cTn id="85" presetID="1" presetClass="entr" presetSubtype="0" fill="hold" nodeType="afterEffect">
                                  <p:stCondLst>
                                    <p:cond delay="0"/>
                                  </p:stCondLst>
                                  <p:childTnLst>
                                    <p:set>
                                      <p:cBhvr>
                                        <p:cTn id="86" dur="1" fill="hold">
                                          <p:stCondLst>
                                            <p:cond delay="0"/>
                                          </p:stCondLst>
                                        </p:cTn>
                                        <p:tgtEl>
                                          <p:spTgt spid="28"/>
                                        </p:tgtEl>
                                        <p:attrNameLst>
                                          <p:attrName>style.visibility</p:attrName>
                                        </p:attrNameLst>
                                      </p:cBhvr>
                                      <p:to>
                                        <p:strVal val="visible"/>
                                      </p:to>
                                    </p:set>
                                  </p:childTnLst>
                                </p:cTn>
                              </p:par>
                            </p:childTnLst>
                          </p:cTn>
                        </p:par>
                        <p:par>
                          <p:cTn id="87" fill="hold">
                            <p:stCondLst>
                              <p:cond delay="500"/>
                            </p:stCondLst>
                            <p:childTnLst>
                              <p:par>
                                <p:cTn id="88" presetID="1" presetClass="entr" presetSubtype="0" fill="hold" grpId="0" nodeType="afterEffect">
                                  <p:stCondLst>
                                    <p:cond delay="0"/>
                                  </p:stCondLst>
                                  <p:childTnLst>
                                    <p:set>
                                      <p:cBhvr>
                                        <p:cTn id="89"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31" grpId="0" animBg="1"/>
      <p:bldP spid="32" grpId="0" animBg="1"/>
      <p:bldP spid="33" grpId="0" animBg="1"/>
      <p:bldP spid="36" grpId="0" animBg="1"/>
      <p:bldP spid="37" grpId="0" animBg="1"/>
      <p:bldP spid="38" grpId="0" animBg="1"/>
      <p:bldP spid="39" grpId="0" animBg="1"/>
      <p:bldP spid="4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C84CA876-13C9-411C-9624-285A4251D3FE}"/>
              </a:ext>
            </a:extLst>
          </p:cNvPr>
          <p:cNvSpPr/>
          <p:nvPr/>
        </p:nvSpPr>
        <p:spPr bwMode="gray">
          <a:xfrm>
            <a:off x="-1" y="1303229"/>
            <a:ext cx="13439775" cy="6256392"/>
          </a:xfrm>
          <a:prstGeom prst="rect">
            <a:avLst/>
          </a:prstGeom>
          <a:solidFill>
            <a:srgbClr val="F4FAF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20" name="Rectangle 19">
            <a:extLst>
              <a:ext uri="{FF2B5EF4-FFF2-40B4-BE49-F238E27FC236}">
                <a16:creationId xmlns:a16="http://schemas.microsoft.com/office/drawing/2014/main" id="{4BDC13F8-FF45-4747-82D1-66D3B6F0B152}"/>
              </a:ext>
            </a:extLst>
          </p:cNvPr>
          <p:cNvSpPr/>
          <p:nvPr/>
        </p:nvSpPr>
        <p:spPr bwMode="gray">
          <a:xfrm>
            <a:off x="4389141" y="1303231"/>
            <a:ext cx="4566355" cy="6256445"/>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dirty="0">
              <a:solidFill>
                <a:schemeClr val="bg1"/>
              </a:solidFill>
              <a:latin typeface="Bahnschrift" panose="020B0502040204020203" pitchFamily="34" charset="0"/>
            </a:endParaRPr>
          </a:p>
        </p:txBody>
      </p:sp>
      <p:sp>
        <p:nvSpPr>
          <p:cNvPr id="19" name="Rectangle 18">
            <a:extLst>
              <a:ext uri="{FF2B5EF4-FFF2-40B4-BE49-F238E27FC236}">
                <a16:creationId xmlns:a16="http://schemas.microsoft.com/office/drawing/2014/main" id="{B30F652F-B4AB-4663-B9DF-0896119C5242}"/>
              </a:ext>
            </a:extLst>
          </p:cNvPr>
          <p:cNvSpPr/>
          <p:nvPr/>
        </p:nvSpPr>
        <p:spPr bwMode="gray">
          <a:xfrm>
            <a:off x="8940324" y="1303229"/>
            <a:ext cx="4492965" cy="6256446"/>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dirty="0">
              <a:solidFill>
                <a:schemeClr val="bg1"/>
              </a:solidFill>
              <a:latin typeface="Bahnschrift" panose="020B0502040204020203" pitchFamily="34" charset="0"/>
            </a:endParaRPr>
          </a:p>
        </p:txBody>
      </p:sp>
      <p:sp>
        <p:nvSpPr>
          <p:cNvPr id="21" name="Rectangle 20">
            <a:extLst>
              <a:ext uri="{FF2B5EF4-FFF2-40B4-BE49-F238E27FC236}">
                <a16:creationId xmlns:a16="http://schemas.microsoft.com/office/drawing/2014/main" id="{22A3CDB1-151E-4AB1-AD86-3A0348E9CF8B}"/>
              </a:ext>
            </a:extLst>
          </p:cNvPr>
          <p:cNvSpPr/>
          <p:nvPr/>
        </p:nvSpPr>
        <p:spPr bwMode="gray">
          <a:xfrm>
            <a:off x="14514" y="1303229"/>
            <a:ext cx="4376902" cy="6256392"/>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dirty="0">
              <a:latin typeface="Bahnschrift" panose="020B0502040204020203" pitchFamily="34" charset="0"/>
            </a:endParaRPr>
          </a:p>
        </p:txBody>
      </p:sp>
      <p:pic>
        <p:nvPicPr>
          <p:cNvPr id="61" name="Picture 27" descr="A picture containing text, logo, circle, font&#10;&#10;Description automatically generated">
            <a:extLst>
              <a:ext uri="{FF2B5EF4-FFF2-40B4-BE49-F238E27FC236}">
                <a16:creationId xmlns:a16="http://schemas.microsoft.com/office/drawing/2014/main" id="{FA605B42-612F-4B31-840C-6681A093DFBC}"/>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12826" y1="9007" x2="217" y2="9272"/>
                        <a14:backgroundMark x1="217" y1="9272" x2="217" y2="9272"/>
                        <a14:backgroundMark x1="435" y1="44503" x2="5217" y2="27682"/>
                        <a14:backgroundMark x1="5217" y1="27682" x2="19457" y2="8874"/>
                        <a14:backgroundMark x1="19457" y1="8874" x2="28696" y2="1060"/>
                        <a14:backgroundMark x1="28696" y1="1060" x2="30652" y2="397"/>
                      </a14:backgroundRemoval>
                    </a14:imgEffect>
                  </a14:imgLayer>
                </a14:imgProps>
              </a:ext>
            </a:extLst>
          </a:blip>
          <a:stretch>
            <a:fillRect/>
          </a:stretch>
        </p:blipFill>
        <p:spPr>
          <a:xfrm>
            <a:off x="836487" y="3131719"/>
            <a:ext cx="3293845" cy="2599412"/>
          </a:xfrm>
          <a:prstGeom prst="rect">
            <a:avLst/>
          </a:prstGeom>
        </p:spPr>
      </p:pic>
      <p:pic>
        <p:nvPicPr>
          <p:cNvPr id="70" name="Picture 29" descr="A black background with white text&#10;&#10;Description automatically generated with low confidence">
            <a:extLst>
              <a:ext uri="{FF2B5EF4-FFF2-40B4-BE49-F238E27FC236}">
                <a16:creationId xmlns:a16="http://schemas.microsoft.com/office/drawing/2014/main" id="{D786A6DE-DDA4-4C1A-8276-9CEC24986212}"/>
              </a:ext>
            </a:extLst>
          </p:cNvPr>
          <p:cNvPicPr>
            <a:picLocks noChangeAspect="1"/>
          </p:cNvPicPr>
          <p:nvPr/>
        </p:nvPicPr>
        <p:blipFill>
          <a:blip r:embed="rId5"/>
          <a:stretch>
            <a:fillRect/>
          </a:stretch>
        </p:blipFill>
        <p:spPr>
          <a:xfrm>
            <a:off x="5003313" y="2837240"/>
            <a:ext cx="3188426" cy="3188426"/>
          </a:xfrm>
          <a:prstGeom prst="rect">
            <a:avLst/>
          </a:prstGeom>
        </p:spPr>
      </p:pic>
      <p:pic>
        <p:nvPicPr>
          <p:cNvPr id="71" name="Picture 33" descr="A blue and pink text on a black background&#10;&#10;Description automatically generated with medium confidence">
            <a:extLst>
              <a:ext uri="{FF2B5EF4-FFF2-40B4-BE49-F238E27FC236}">
                <a16:creationId xmlns:a16="http://schemas.microsoft.com/office/drawing/2014/main" id="{3CDC4641-9AEC-4762-9839-63C4FDD6B2C8}"/>
              </a:ext>
            </a:extLst>
          </p:cNvPr>
          <p:cNvPicPr>
            <a:picLocks noChangeAspect="1"/>
          </p:cNvPicPr>
          <p:nvPr/>
        </p:nvPicPr>
        <p:blipFill>
          <a:blip r:embed="rId6"/>
          <a:stretch>
            <a:fillRect/>
          </a:stretch>
        </p:blipFill>
        <p:spPr>
          <a:xfrm>
            <a:off x="8940324" y="3416552"/>
            <a:ext cx="4565526" cy="2029800"/>
          </a:xfrm>
          <a:prstGeom prst="rect">
            <a:avLst/>
          </a:prstGeom>
        </p:spPr>
      </p:pic>
      <p:grpSp>
        <p:nvGrpSpPr>
          <p:cNvPr id="27" name="Groupe 26">
            <a:extLst>
              <a:ext uri="{FF2B5EF4-FFF2-40B4-BE49-F238E27FC236}">
                <a16:creationId xmlns:a16="http://schemas.microsoft.com/office/drawing/2014/main" id="{41854F46-0634-4184-80B8-951E34F9BFCC}"/>
              </a:ext>
            </a:extLst>
          </p:cNvPr>
          <p:cNvGrpSpPr/>
          <p:nvPr/>
        </p:nvGrpSpPr>
        <p:grpSpPr>
          <a:xfrm>
            <a:off x="10635530" y="519574"/>
            <a:ext cx="1823720" cy="544758"/>
            <a:chOff x="10635530" y="519574"/>
            <a:chExt cx="1425914" cy="544758"/>
          </a:xfrm>
        </p:grpSpPr>
        <p:sp>
          <p:nvSpPr>
            <p:cNvPr id="28" name="Freeform 926">
              <a:extLst>
                <a:ext uri="{FF2B5EF4-FFF2-40B4-BE49-F238E27FC236}">
                  <a16:creationId xmlns:a16="http://schemas.microsoft.com/office/drawing/2014/main" id="{0E447923-0DAF-443C-8CA5-15C6939296DF}"/>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29" name="TextBox 220">
              <a:extLst>
                <a:ext uri="{FF2B5EF4-FFF2-40B4-BE49-F238E27FC236}">
                  <a16:creationId xmlns:a16="http://schemas.microsoft.com/office/drawing/2014/main" id="{810C7577-621C-42AF-A3D0-913EEFDFDE0F}"/>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a:solidFill>
                    <a:schemeClr val="tx2"/>
                  </a:solidFill>
                </a:rPr>
                <a:t>Aperçu Framework</a:t>
              </a:r>
            </a:p>
          </p:txBody>
        </p:sp>
      </p:grpSp>
      <p:grpSp>
        <p:nvGrpSpPr>
          <p:cNvPr id="33" name="Groupe 32">
            <a:extLst>
              <a:ext uri="{FF2B5EF4-FFF2-40B4-BE49-F238E27FC236}">
                <a16:creationId xmlns:a16="http://schemas.microsoft.com/office/drawing/2014/main" id="{02B16C39-B691-4070-9D46-B5111E49A3F7}"/>
              </a:ext>
            </a:extLst>
          </p:cNvPr>
          <p:cNvGrpSpPr/>
          <p:nvPr/>
        </p:nvGrpSpPr>
        <p:grpSpPr>
          <a:xfrm>
            <a:off x="7969060" y="519574"/>
            <a:ext cx="1917890" cy="544812"/>
            <a:chOff x="5755870" y="519574"/>
            <a:chExt cx="1499543" cy="544812"/>
          </a:xfrm>
        </p:grpSpPr>
        <p:sp>
          <p:nvSpPr>
            <p:cNvPr id="34" name="Freeform 926">
              <a:extLst>
                <a:ext uri="{FF2B5EF4-FFF2-40B4-BE49-F238E27FC236}">
                  <a16:creationId xmlns:a16="http://schemas.microsoft.com/office/drawing/2014/main" id="{F2AF327C-3057-4819-B6AC-8E668963DF6A}"/>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35" name="TextBox 219">
              <a:extLst>
                <a:ext uri="{FF2B5EF4-FFF2-40B4-BE49-F238E27FC236}">
                  <a16:creationId xmlns:a16="http://schemas.microsoft.com/office/drawing/2014/main" id="{1D2F8AA0-1D44-4E48-8300-023DBF0FF789}"/>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Normes et standards</a:t>
              </a:r>
            </a:p>
          </p:txBody>
        </p:sp>
      </p:grpSp>
      <p:grpSp>
        <p:nvGrpSpPr>
          <p:cNvPr id="36" name="Groupe 35">
            <a:extLst>
              <a:ext uri="{FF2B5EF4-FFF2-40B4-BE49-F238E27FC236}">
                <a16:creationId xmlns:a16="http://schemas.microsoft.com/office/drawing/2014/main" id="{FF83321C-BCC8-4D5B-A053-92F05B24DA37}"/>
              </a:ext>
            </a:extLst>
          </p:cNvPr>
          <p:cNvGrpSpPr/>
          <p:nvPr/>
        </p:nvGrpSpPr>
        <p:grpSpPr>
          <a:xfrm>
            <a:off x="1378330" y="519574"/>
            <a:ext cx="1556504" cy="544812"/>
            <a:chOff x="1378330" y="519574"/>
            <a:chExt cx="1216986" cy="544812"/>
          </a:xfrm>
        </p:grpSpPr>
        <p:sp>
          <p:nvSpPr>
            <p:cNvPr id="37" name="TextBox 219">
              <a:extLst>
                <a:ext uri="{FF2B5EF4-FFF2-40B4-BE49-F238E27FC236}">
                  <a16:creationId xmlns:a16="http://schemas.microsoft.com/office/drawing/2014/main" id="{D173D27B-F797-4AD7-9EE4-8C2A2A474CEB}"/>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38" name="Freeform 926">
              <a:extLst>
                <a:ext uri="{FF2B5EF4-FFF2-40B4-BE49-F238E27FC236}">
                  <a16:creationId xmlns:a16="http://schemas.microsoft.com/office/drawing/2014/main" id="{075D034B-FFE3-4793-A8CD-7EC6F97008C0}"/>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39" name="Groupe 38">
            <a:extLst>
              <a:ext uri="{FF2B5EF4-FFF2-40B4-BE49-F238E27FC236}">
                <a16:creationId xmlns:a16="http://schemas.microsoft.com/office/drawing/2014/main" id="{EDE43C17-0458-453D-A12D-206428EC7619}"/>
              </a:ext>
            </a:extLst>
          </p:cNvPr>
          <p:cNvGrpSpPr/>
          <p:nvPr/>
        </p:nvGrpSpPr>
        <p:grpSpPr>
          <a:xfrm>
            <a:off x="3762244" y="519574"/>
            <a:ext cx="987996" cy="544758"/>
            <a:chOff x="8696117" y="519574"/>
            <a:chExt cx="772486" cy="544758"/>
          </a:xfrm>
        </p:grpSpPr>
        <p:sp>
          <p:nvSpPr>
            <p:cNvPr id="40" name="Freeform 926">
              <a:extLst>
                <a:ext uri="{FF2B5EF4-FFF2-40B4-BE49-F238E27FC236}">
                  <a16:creationId xmlns:a16="http://schemas.microsoft.com/office/drawing/2014/main" id="{9D39B2DD-53B4-4233-8ECF-1D6E88AD7D22}"/>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41" name="TextBox 220">
              <a:extLst>
                <a:ext uri="{FF2B5EF4-FFF2-40B4-BE49-F238E27FC236}">
                  <a16:creationId xmlns:a16="http://schemas.microsoft.com/office/drawing/2014/main" id="{39BCE31F-9799-4020-B7A9-61C29FED9A00}"/>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42" name="Groupe 41">
            <a:extLst>
              <a:ext uri="{FF2B5EF4-FFF2-40B4-BE49-F238E27FC236}">
                <a16:creationId xmlns:a16="http://schemas.microsoft.com/office/drawing/2014/main" id="{AA225D5A-0444-49B4-9A0D-4E6E081D4B67}"/>
              </a:ext>
            </a:extLst>
          </p:cNvPr>
          <p:cNvGrpSpPr/>
          <p:nvPr/>
        </p:nvGrpSpPr>
        <p:grpSpPr>
          <a:xfrm>
            <a:off x="5701658" y="519574"/>
            <a:ext cx="1407488" cy="544812"/>
            <a:chOff x="3625356" y="519574"/>
            <a:chExt cx="1100474" cy="544812"/>
          </a:xfrm>
        </p:grpSpPr>
        <p:sp>
          <p:nvSpPr>
            <p:cNvPr id="43" name="Freeform 926">
              <a:extLst>
                <a:ext uri="{FF2B5EF4-FFF2-40B4-BE49-F238E27FC236}">
                  <a16:creationId xmlns:a16="http://schemas.microsoft.com/office/drawing/2014/main" id="{17541500-C1A5-4A02-B213-B9E2BA5D9D0C}"/>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44" name="TextBox 219">
              <a:extLst>
                <a:ext uri="{FF2B5EF4-FFF2-40B4-BE49-F238E27FC236}">
                  <a16:creationId xmlns:a16="http://schemas.microsoft.com/office/drawing/2014/main" id="{C41FE689-31B8-4A5D-9702-EAA8520BFBD3}"/>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sp>
        <p:nvSpPr>
          <p:cNvPr id="45" name="Rectangle 44">
            <a:extLst>
              <a:ext uri="{FF2B5EF4-FFF2-40B4-BE49-F238E27FC236}">
                <a16:creationId xmlns:a16="http://schemas.microsoft.com/office/drawing/2014/main" id="{76C10883-D2A3-45C7-A2D3-68CEA48E9C78}"/>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46" name="Rectangle 45">
            <a:extLst>
              <a:ext uri="{FF2B5EF4-FFF2-40B4-BE49-F238E27FC236}">
                <a16:creationId xmlns:a16="http://schemas.microsoft.com/office/drawing/2014/main" id="{669B2295-3210-4A18-9585-4375DC65406E}"/>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47" name="Rectangle 46">
            <a:extLst>
              <a:ext uri="{FF2B5EF4-FFF2-40B4-BE49-F238E27FC236}">
                <a16:creationId xmlns:a16="http://schemas.microsoft.com/office/drawing/2014/main" id="{CED8A6C6-240C-4B07-B70E-24EB42056522}"/>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48" name="Rectangle 47">
            <a:extLst>
              <a:ext uri="{FF2B5EF4-FFF2-40B4-BE49-F238E27FC236}">
                <a16:creationId xmlns:a16="http://schemas.microsoft.com/office/drawing/2014/main" id="{7D897B77-2771-47F2-95B8-98C7D191FCCB}"/>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3820940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C84CA876-13C9-411C-9624-285A4251D3FE}"/>
              </a:ext>
            </a:extLst>
          </p:cNvPr>
          <p:cNvSpPr/>
          <p:nvPr/>
        </p:nvSpPr>
        <p:spPr bwMode="gray">
          <a:xfrm>
            <a:off x="-1" y="1303229"/>
            <a:ext cx="13439775" cy="6256392"/>
          </a:xfrm>
          <a:prstGeom prst="rect">
            <a:avLst/>
          </a:prstGeom>
          <a:solidFill>
            <a:srgbClr val="F4FAF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grpSp>
        <p:nvGrpSpPr>
          <p:cNvPr id="91" name="Group 90">
            <a:extLst>
              <a:ext uri="{FF2B5EF4-FFF2-40B4-BE49-F238E27FC236}">
                <a16:creationId xmlns:a16="http://schemas.microsoft.com/office/drawing/2014/main" id="{24316474-87E9-4408-B0B3-B925860EDC47}"/>
              </a:ext>
            </a:extLst>
          </p:cNvPr>
          <p:cNvGrpSpPr/>
          <p:nvPr/>
        </p:nvGrpSpPr>
        <p:grpSpPr>
          <a:xfrm>
            <a:off x="4555517" y="4425491"/>
            <a:ext cx="4285874" cy="1988847"/>
            <a:chOff x="4594706" y="4425491"/>
            <a:chExt cx="4285874" cy="1988847"/>
          </a:xfrm>
        </p:grpSpPr>
        <p:sp>
          <p:nvSpPr>
            <p:cNvPr id="62" name="Rectangle 61">
              <a:extLst>
                <a:ext uri="{FF2B5EF4-FFF2-40B4-BE49-F238E27FC236}">
                  <a16:creationId xmlns:a16="http://schemas.microsoft.com/office/drawing/2014/main" id="{1472F870-7566-4F04-814F-173BAFF6BF3C}"/>
                </a:ext>
              </a:extLst>
            </p:cNvPr>
            <p:cNvSpPr/>
            <p:nvPr/>
          </p:nvSpPr>
          <p:spPr bwMode="gray">
            <a:xfrm>
              <a:off x="4598589" y="4425491"/>
              <a:ext cx="821752"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rgbClr val="00ABAB"/>
                  </a:solidFill>
                </a:rPr>
                <a:t>IDENTIFY</a:t>
              </a:r>
            </a:p>
          </p:txBody>
        </p:sp>
        <p:sp>
          <p:nvSpPr>
            <p:cNvPr id="63" name="Rectangle 62">
              <a:extLst>
                <a:ext uri="{FF2B5EF4-FFF2-40B4-BE49-F238E27FC236}">
                  <a16:creationId xmlns:a16="http://schemas.microsoft.com/office/drawing/2014/main" id="{F305D4A3-C710-47DD-AAB8-6088388E6F39}"/>
                </a:ext>
              </a:extLst>
            </p:cNvPr>
            <p:cNvSpPr/>
            <p:nvPr/>
          </p:nvSpPr>
          <p:spPr bwMode="gray">
            <a:xfrm>
              <a:off x="5499123" y="4425491"/>
              <a:ext cx="753747"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chemeClr val="accent6"/>
                  </a:solidFill>
                </a:rPr>
                <a:t>PROTECT</a:t>
              </a:r>
            </a:p>
          </p:txBody>
        </p:sp>
        <p:sp>
          <p:nvSpPr>
            <p:cNvPr id="64" name="Rectangle 63">
              <a:extLst>
                <a:ext uri="{FF2B5EF4-FFF2-40B4-BE49-F238E27FC236}">
                  <a16:creationId xmlns:a16="http://schemas.microsoft.com/office/drawing/2014/main" id="{E3974D9E-4148-47A8-949A-7E46DE717CBE}"/>
                </a:ext>
              </a:extLst>
            </p:cNvPr>
            <p:cNvSpPr/>
            <p:nvPr/>
          </p:nvSpPr>
          <p:spPr bwMode="gray">
            <a:xfrm>
              <a:off x="6331652" y="4425491"/>
              <a:ext cx="753747"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rgbClr val="DA291C"/>
                  </a:solidFill>
                </a:rPr>
                <a:t>DETECT</a:t>
              </a:r>
            </a:p>
          </p:txBody>
        </p:sp>
        <p:sp>
          <p:nvSpPr>
            <p:cNvPr id="65" name="Rectangle 64">
              <a:extLst>
                <a:ext uri="{FF2B5EF4-FFF2-40B4-BE49-F238E27FC236}">
                  <a16:creationId xmlns:a16="http://schemas.microsoft.com/office/drawing/2014/main" id="{5B1F11C9-BBCB-40B4-92CE-1C818FB3BD6C}"/>
                </a:ext>
              </a:extLst>
            </p:cNvPr>
            <p:cNvSpPr/>
            <p:nvPr/>
          </p:nvSpPr>
          <p:spPr bwMode="gray">
            <a:xfrm>
              <a:off x="7164181" y="4425491"/>
              <a:ext cx="844777"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rgbClr val="ED8B00"/>
                  </a:solidFill>
                </a:rPr>
                <a:t>RESPOND</a:t>
              </a:r>
            </a:p>
          </p:txBody>
        </p:sp>
        <p:sp>
          <p:nvSpPr>
            <p:cNvPr id="66" name="Rectangle 65">
              <a:extLst>
                <a:ext uri="{FF2B5EF4-FFF2-40B4-BE49-F238E27FC236}">
                  <a16:creationId xmlns:a16="http://schemas.microsoft.com/office/drawing/2014/main" id="{E22BB615-445D-4208-9AC1-9396D35C4645}"/>
                </a:ext>
              </a:extLst>
            </p:cNvPr>
            <p:cNvSpPr/>
            <p:nvPr/>
          </p:nvSpPr>
          <p:spPr bwMode="gray">
            <a:xfrm>
              <a:off x="8087741" y="4425491"/>
              <a:ext cx="780348"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chemeClr val="accent2"/>
                  </a:solidFill>
                </a:rPr>
                <a:t>RECOVER</a:t>
              </a:r>
            </a:p>
          </p:txBody>
        </p:sp>
        <p:grpSp>
          <p:nvGrpSpPr>
            <p:cNvPr id="82" name="Group 81">
              <a:extLst>
                <a:ext uri="{FF2B5EF4-FFF2-40B4-BE49-F238E27FC236}">
                  <a16:creationId xmlns:a16="http://schemas.microsoft.com/office/drawing/2014/main" id="{F20C9858-5B37-418D-BD49-37ED40577EAF}"/>
                </a:ext>
              </a:extLst>
            </p:cNvPr>
            <p:cNvGrpSpPr/>
            <p:nvPr/>
          </p:nvGrpSpPr>
          <p:grpSpPr>
            <a:xfrm>
              <a:off x="4594706" y="4788152"/>
              <a:ext cx="821753" cy="1626186"/>
              <a:chOff x="4594706" y="4788152"/>
              <a:chExt cx="821753" cy="1626186"/>
            </a:xfrm>
          </p:grpSpPr>
          <p:sp>
            <p:nvSpPr>
              <p:cNvPr id="67" name="Rectangle 66">
                <a:extLst>
                  <a:ext uri="{FF2B5EF4-FFF2-40B4-BE49-F238E27FC236}">
                    <a16:creationId xmlns:a16="http://schemas.microsoft.com/office/drawing/2014/main" id="{0FD5997F-3E67-4636-B82E-3F1673A023C4}"/>
                  </a:ext>
                </a:extLst>
              </p:cNvPr>
              <p:cNvSpPr/>
              <p:nvPr/>
            </p:nvSpPr>
            <p:spPr bwMode="gray">
              <a:xfrm>
                <a:off x="4594706" y="4788152"/>
                <a:ext cx="821753" cy="162618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75" name="TextBox 74">
                <a:extLst>
                  <a:ext uri="{FF2B5EF4-FFF2-40B4-BE49-F238E27FC236}">
                    <a16:creationId xmlns:a16="http://schemas.microsoft.com/office/drawing/2014/main" id="{AA431DA0-5C43-4108-8E3C-041115FDB660}"/>
                  </a:ext>
                </a:extLst>
              </p:cNvPr>
              <p:cNvSpPr txBox="1"/>
              <p:nvPr/>
            </p:nvSpPr>
            <p:spPr>
              <a:xfrm>
                <a:off x="4660782" y="4942892"/>
                <a:ext cx="689600" cy="1169551"/>
              </a:xfrm>
              <a:prstGeom prst="rect">
                <a:avLst/>
              </a:prstGeom>
              <a:noFill/>
            </p:spPr>
            <p:txBody>
              <a:bodyPr wrap="square" lIns="0" tIns="0" rIns="0" bIns="0" rtlCol="0">
                <a:spAutoFit/>
              </a:bodyPr>
              <a:lstStyle/>
              <a:p>
                <a:pPr>
                  <a:spcBef>
                    <a:spcPts val="600"/>
                  </a:spcBef>
                  <a:buSzPct val="100000"/>
                </a:pPr>
                <a:r>
                  <a:rPr lang="fr-FR" sz="700">
                    <a:solidFill>
                      <a:srgbClr val="313131"/>
                    </a:solidFill>
                  </a:rPr>
                  <a:t>Asset management</a:t>
                </a:r>
              </a:p>
              <a:p>
                <a:pPr>
                  <a:spcBef>
                    <a:spcPts val="600"/>
                  </a:spcBef>
                  <a:buSzPct val="100000"/>
                </a:pPr>
                <a:r>
                  <a:rPr lang="fr-FR" sz="700">
                    <a:solidFill>
                      <a:srgbClr val="313131"/>
                    </a:solidFill>
                  </a:rPr>
                  <a:t>Business environnement</a:t>
                </a:r>
              </a:p>
              <a:p>
                <a:pPr>
                  <a:spcBef>
                    <a:spcPts val="600"/>
                  </a:spcBef>
                  <a:buSzPct val="100000"/>
                </a:pPr>
                <a:r>
                  <a:rPr lang="fr-FR" sz="700">
                    <a:solidFill>
                      <a:srgbClr val="313131"/>
                    </a:solidFill>
                  </a:rPr>
                  <a:t>Gouvernance</a:t>
                </a:r>
              </a:p>
              <a:p>
                <a:pPr>
                  <a:spcBef>
                    <a:spcPts val="600"/>
                  </a:spcBef>
                  <a:buSzPct val="100000"/>
                </a:pPr>
                <a:r>
                  <a:rPr lang="fr-FR" sz="700">
                    <a:solidFill>
                      <a:srgbClr val="313131"/>
                    </a:solidFill>
                  </a:rPr>
                  <a:t>Risk Assessment</a:t>
                </a:r>
              </a:p>
              <a:p>
                <a:pPr>
                  <a:spcBef>
                    <a:spcPts val="600"/>
                  </a:spcBef>
                  <a:buSzPct val="100000"/>
                </a:pPr>
                <a:r>
                  <a:rPr lang="fr-FR" sz="700">
                    <a:solidFill>
                      <a:srgbClr val="313131"/>
                    </a:solidFill>
                  </a:rPr>
                  <a:t>Stratégie de gestion de risques</a:t>
                </a:r>
              </a:p>
            </p:txBody>
          </p:sp>
        </p:grpSp>
        <p:grpSp>
          <p:nvGrpSpPr>
            <p:cNvPr id="83" name="Group 82">
              <a:extLst>
                <a:ext uri="{FF2B5EF4-FFF2-40B4-BE49-F238E27FC236}">
                  <a16:creationId xmlns:a16="http://schemas.microsoft.com/office/drawing/2014/main" id="{03743DC6-DA9A-4A61-A5EE-7BD2BEF45E02}"/>
                </a:ext>
              </a:extLst>
            </p:cNvPr>
            <p:cNvGrpSpPr/>
            <p:nvPr/>
          </p:nvGrpSpPr>
          <p:grpSpPr>
            <a:xfrm>
              <a:off x="5498816" y="4788152"/>
              <a:ext cx="753747" cy="1626186"/>
              <a:chOff x="5518217" y="4788152"/>
              <a:chExt cx="753747" cy="1626186"/>
            </a:xfrm>
          </p:grpSpPr>
          <p:sp>
            <p:nvSpPr>
              <p:cNvPr id="68" name="Rectangle 67">
                <a:extLst>
                  <a:ext uri="{FF2B5EF4-FFF2-40B4-BE49-F238E27FC236}">
                    <a16:creationId xmlns:a16="http://schemas.microsoft.com/office/drawing/2014/main" id="{E328BE95-C5F8-4F72-B36A-05ED790C2ACE}"/>
                  </a:ext>
                </a:extLst>
              </p:cNvPr>
              <p:cNvSpPr/>
              <p:nvPr/>
            </p:nvSpPr>
            <p:spPr bwMode="gray">
              <a:xfrm>
                <a:off x="5518217" y="4788152"/>
                <a:ext cx="753747" cy="162618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78" name="TextBox 77">
                <a:extLst>
                  <a:ext uri="{FF2B5EF4-FFF2-40B4-BE49-F238E27FC236}">
                    <a16:creationId xmlns:a16="http://schemas.microsoft.com/office/drawing/2014/main" id="{A0CE316F-CFD4-4D0E-8A57-C49B10493FA6}"/>
                  </a:ext>
                </a:extLst>
              </p:cNvPr>
              <p:cNvSpPr txBox="1"/>
              <p:nvPr/>
            </p:nvSpPr>
            <p:spPr>
              <a:xfrm>
                <a:off x="5550290" y="4942892"/>
                <a:ext cx="689600" cy="1384995"/>
              </a:xfrm>
              <a:prstGeom prst="rect">
                <a:avLst/>
              </a:prstGeom>
              <a:noFill/>
            </p:spPr>
            <p:txBody>
              <a:bodyPr wrap="square" lIns="0" tIns="0" rIns="0" bIns="0" rtlCol="0">
                <a:spAutoFit/>
              </a:bodyPr>
              <a:lstStyle/>
              <a:p>
                <a:pPr>
                  <a:spcBef>
                    <a:spcPts val="600"/>
                  </a:spcBef>
                  <a:buSzPct val="100000"/>
                </a:pPr>
                <a:r>
                  <a:rPr lang="fr-FR" sz="700">
                    <a:solidFill>
                      <a:srgbClr val="313131"/>
                    </a:solidFill>
                  </a:rPr>
                  <a:t>Formation et sensibilisation</a:t>
                </a:r>
              </a:p>
              <a:p>
                <a:pPr>
                  <a:spcBef>
                    <a:spcPts val="600"/>
                  </a:spcBef>
                  <a:buSzPct val="100000"/>
                </a:pPr>
                <a:r>
                  <a:rPr lang="fr-FR" sz="700">
                    <a:solidFill>
                      <a:srgbClr val="313131"/>
                    </a:solidFill>
                  </a:rPr>
                  <a:t>Sécurité des données</a:t>
                </a:r>
              </a:p>
              <a:p>
                <a:pPr>
                  <a:spcBef>
                    <a:spcPts val="600"/>
                  </a:spcBef>
                  <a:buSzPct val="100000"/>
                </a:pPr>
                <a:r>
                  <a:rPr lang="fr-FR" sz="700">
                    <a:solidFill>
                      <a:srgbClr val="313131"/>
                    </a:solidFill>
                  </a:rPr>
                  <a:t>Protection et procédures de l’information</a:t>
                </a:r>
              </a:p>
              <a:p>
                <a:pPr>
                  <a:spcBef>
                    <a:spcPts val="600"/>
                  </a:spcBef>
                  <a:buSzPct val="100000"/>
                </a:pPr>
                <a:r>
                  <a:rPr lang="fr-FR" sz="700">
                    <a:solidFill>
                      <a:srgbClr val="313131"/>
                    </a:solidFill>
                  </a:rPr>
                  <a:t>Maintenance</a:t>
                </a:r>
              </a:p>
              <a:p>
                <a:pPr>
                  <a:spcBef>
                    <a:spcPts val="600"/>
                  </a:spcBef>
                  <a:buSzPct val="100000"/>
                </a:pPr>
                <a:r>
                  <a:rPr lang="fr-FR" sz="700">
                    <a:solidFill>
                      <a:srgbClr val="313131"/>
                    </a:solidFill>
                  </a:rPr>
                  <a:t>Technologie protective</a:t>
                </a:r>
              </a:p>
            </p:txBody>
          </p:sp>
        </p:grpSp>
        <p:grpSp>
          <p:nvGrpSpPr>
            <p:cNvPr id="86" name="Group 85">
              <a:extLst>
                <a:ext uri="{FF2B5EF4-FFF2-40B4-BE49-F238E27FC236}">
                  <a16:creationId xmlns:a16="http://schemas.microsoft.com/office/drawing/2014/main" id="{743A6C26-DB4E-4C05-AD25-638CCA117BEB}"/>
                </a:ext>
              </a:extLst>
            </p:cNvPr>
            <p:cNvGrpSpPr/>
            <p:nvPr/>
          </p:nvGrpSpPr>
          <p:grpSpPr>
            <a:xfrm>
              <a:off x="6334920" y="4788152"/>
              <a:ext cx="753747" cy="1626186"/>
              <a:chOff x="6356698" y="4788152"/>
              <a:chExt cx="753747" cy="1626186"/>
            </a:xfrm>
          </p:grpSpPr>
          <p:sp>
            <p:nvSpPr>
              <p:cNvPr id="69" name="Rectangle 68">
                <a:extLst>
                  <a:ext uri="{FF2B5EF4-FFF2-40B4-BE49-F238E27FC236}">
                    <a16:creationId xmlns:a16="http://schemas.microsoft.com/office/drawing/2014/main" id="{9F65515E-FC92-4096-8D24-8E8AD0BDEA0A}"/>
                  </a:ext>
                </a:extLst>
              </p:cNvPr>
              <p:cNvSpPr/>
              <p:nvPr/>
            </p:nvSpPr>
            <p:spPr bwMode="gray">
              <a:xfrm>
                <a:off x="6356698" y="4788152"/>
                <a:ext cx="753747" cy="162618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79" name="TextBox 78">
                <a:extLst>
                  <a:ext uri="{FF2B5EF4-FFF2-40B4-BE49-F238E27FC236}">
                    <a16:creationId xmlns:a16="http://schemas.microsoft.com/office/drawing/2014/main" id="{58DFAE7D-71D8-4231-AA3E-777181BC4BFA}"/>
                  </a:ext>
                </a:extLst>
              </p:cNvPr>
              <p:cNvSpPr txBox="1"/>
              <p:nvPr/>
            </p:nvSpPr>
            <p:spPr>
              <a:xfrm>
                <a:off x="6388771" y="4942892"/>
                <a:ext cx="689600" cy="800219"/>
              </a:xfrm>
              <a:prstGeom prst="rect">
                <a:avLst/>
              </a:prstGeom>
              <a:noFill/>
            </p:spPr>
            <p:txBody>
              <a:bodyPr wrap="square" lIns="0" tIns="0" rIns="0" bIns="0" rtlCol="0">
                <a:spAutoFit/>
              </a:bodyPr>
              <a:lstStyle/>
              <a:p>
                <a:pPr>
                  <a:spcBef>
                    <a:spcPts val="600"/>
                  </a:spcBef>
                  <a:buSzPct val="100000"/>
                </a:pPr>
                <a:r>
                  <a:rPr lang="fr-FR" sz="700">
                    <a:solidFill>
                      <a:srgbClr val="313131"/>
                    </a:solidFill>
                  </a:rPr>
                  <a:t>Anomalies et événements</a:t>
                </a:r>
              </a:p>
              <a:p>
                <a:pPr>
                  <a:spcBef>
                    <a:spcPts val="600"/>
                  </a:spcBef>
                  <a:buSzPct val="100000"/>
                </a:pPr>
                <a:r>
                  <a:rPr lang="fr-FR" sz="700">
                    <a:solidFill>
                      <a:srgbClr val="313131"/>
                    </a:solidFill>
                  </a:rPr>
                  <a:t>Surveillance continue</a:t>
                </a:r>
              </a:p>
              <a:p>
                <a:pPr>
                  <a:spcBef>
                    <a:spcPts val="600"/>
                  </a:spcBef>
                  <a:buSzPct val="100000"/>
                </a:pPr>
                <a:r>
                  <a:rPr lang="fr-FR" sz="700">
                    <a:solidFill>
                      <a:srgbClr val="313131"/>
                    </a:solidFill>
                  </a:rPr>
                  <a:t>Process de détection </a:t>
                </a:r>
              </a:p>
            </p:txBody>
          </p:sp>
        </p:grpSp>
        <p:grpSp>
          <p:nvGrpSpPr>
            <p:cNvPr id="87" name="Group 86">
              <a:extLst>
                <a:ext uri="{FF2B5EF4-FFF2-40B4-BE49-F238E27FC236}">
                  <a16:creationId xmlns:a16="http://schemas.microsoft.com/office/drawing/2014/main" id="{C64BC34A-2CB6-4FA2-811C-0235D7144086}"/>
                </a:ext>
              </a:extLst>
            </p:cNvPr>
            <p:cNvGrpSpPr/>
            <p:nvPr/>
          </p:nvGrpSpPr>
          <p:grpSpPr>
            <a:xfrm>
              <a:off x="7171024" y="4788152"/>
              <a:ext cx="846000" cy="1626186"/>
              <a:chOff x="7171024" y="4788152"/>
              <a:chExt cx="846000" cy="1626186"/>
            </a:xfrm>
          </p:grpSpPr>
          <p:sp>
            <p:nvSpPr>
              <p:cNvPr id="73" name="Rectangle 72">
                <a:extLst>
                  <a:ext uri="{FF2B5EF4-FFF2-40B4-BE49-F238E27FC236}">
                    <a16:creationId xmlns:a16="http://schemas.microsoft.com/office/drawing/2014/main" id="{BBBF150F-D08C-491B-B94E-96BCAE1418FC}"/>
                  </a:ext>
                </a:extLst>
              </p:cNvPr>
              <p:cNvSpPr/>
              <p:nvPr/>
            </p:nvSpPr>
            <p:spPr bwMode="gray">
              <a:xfrm>
                <a:off x="7171024" y="4788152"/>
                <a:ext cx="846000" cy="162618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80" name="TextBox 79">
                <a:extLst>
                  <a:ext uri="{FF2B5EF4-FFF2-40B4-BE49-F238E27FC236}">
                    <a16:creationId xmlns:a16="http://schemas.microsoft.com/office/drawing/2014/main" id="{F2457589-7FF8-4C8F-9D12-339142745AC9}"/>
                  </a:ext>
                </a:extLst>
              </p:cNvPr>
              <p:cNvSpPr txBox="1"/>
              <p:nvPr/>
            </p:nvSpPr>
            <p:spPr>
              <a:xfrm>
                <a:off x="7249224" y="4942892"/>
                <a:ext cx="689600" cy="846386"/>
              </a:xfrm>
              <a:prstGeom prst="rect">
                <a:avLst/>
              </a:prstGeom>
              <a:noFill/>
            </p:spPr>
            <p:txBody>
              <a:bodyPr wrap="square" lIns="0" tIns="0" rIns="0" bIns="0" rtlCol="0">
                <a:spAutoFit/>
              </a:bodyPr>
              <a:lstStyle/>
              <a:p>
                <a:pPr>
                  <a:spcBef>
                    <a:spcPts val="600"/>
                  </a:spcBef>
                  <a:buSzPct val="100000"/>
                </a:pPr>
                <a:r>
                  <a:rPr lang="fr-FR" sz="700">
                    <a:solidFill>
                      <a:srgbClr val="313131"/>
                    </a:solidFill>
                  </a:rPr>
                  <a:t>Plan de réponse</a:t>
                </a:r>
              </a:p>
              <a:p>
                <a:pPr>
                  <a:spcBef>
                    <a:spcPts val="600"/>
                  </a:spcBef>
                  <a:buSzPct val="100000"/>
                </a:pPr>
                <a:r>
                  <a:rPr lang="fr-FR" sz="700">
                    <a:solidFill>
                      <a:srgbClr val="313131"/>
                    </a:solidFill>
                  </a:rPr>
                  <a:t>Communication</a:t>
                </a:r>
              </a:p>
              <a:p>
                <a:pPr>
                  <a:spcBef>
                    <a:spcPts val="600"/>
                  </a:spcBef>
                  <a:buSzPct val="100000"/>
                </a:pPr>
                <a:r>
                  <a:rPr lang="fr-FR" sz="700">
                    <a:solidFill>
                      <a:srgbClr val="313131"/>
                    </a:solidFill>
                  </a:rPr>
                  <a:t>Analyse</a:t>
                </a:r>
              </a:p>
              <a:p>
                <a:pPr>
                  <a:spcBef>
                    <a:spcPts val="600"/>
                  </a:spcBef>
                  <a:buSzPct val="100000"/>
                </a:pPr>
                <a:r>
                  <a:rPr lang="fr-FR" sz="700">
                    <a:solidFill>
                      <a:srgbClr val="313131"/>
                    </a:solidFill>
                  </a:rPr>
                  <a:t>Atténuation</a:t>
                </a:r>
              </a:p>
              <a:p>
                <a:pPr>
                  <a:spcBef>
                    <a:spcPts val="600"/>
                  </a:spcBef>
                  <a:buSzPct val="100000"/>
                </a:pPr>
                <a:r>
                  <a:rPr lang="fr-FR" sz="700">
                    <a:solidFill>
                      <a:srgbClr val="313131"/>
                    </a:solidFill>
                  </a:rPr>
                  <a:t>Amélioration</a:t>
                </a:r>
              </a:p>
            </p:txBody>
          </p:sp>
        </p:grpSp>
        <p:grpSp>
          <p:nvGrpSpPr>
            <p:cNvPr id="88" name="Group 87">
              <a:extLst>
                <a:ext uri="{FF2B5EF4-FFF2-40B4-BE49-F238E27FC236}">
                  <a16:creationId xmlns:a16="http://schemas.microsoft.com/office/drawing/2014/main" id="{1A60F772-BE2A-459A-BE28-053275AF54AC}"/>
                </a:ext>
              </a:extLst>
            </p:cNvPr>
            <p:cNvGrpSpPr/>
            <p:nvPr/>
          </p:nvGrpSpPr>
          <p:grpSpPr>
            <a:xfrm>
              <a:off x="8099380" y="4788152"/>
              <a:ext cx="781200" cy="1626186"/>
              <a:chOff x="8099380" y="4788152"/>
              <a:chExt cx="781200" cy="1626186"/>
            </a:xfrm>
          </p:grpSpPr>
          <p:sp>
            <p:nvSpPr>
              <p:cNvPr id="74" name="Rectangle 73">
                <a:extLst>
                  <a:ext uri="{FF2B5EF4-FFF2-40B4-BE49-F238E27FC236}">
                    <a16:creationId xmlns:a16="http://schemas.microsoft.com/office/drawing/2014/main" id="{CF745C1E-2821-4B94-9781-EC7A0DAF508E}"/>
                  </a:ext>
                </a:extLst>
              </p:cNvPr>
              <p:cNvSpPr/>
              <p:nvPr/>
            </p:nvSpPr>
            <p:spPr bwMode="gray">
              <a:xfrm>
                <a:off x="8099380" y="4788152"/>
                <a:ext cx="781200" cy="162618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81" name="TextBox 80">
                <a:extLst>
                  <a:ext uri="{FF2B5EF4-FFF2-40B4-BE49-F238E27FC236}">
                    <a16:creationId xmlns:a16="http://schemas.microsoft.com/office/drawing/2014/main" id="{B3750413-4A1C-4007-BD88-DB153EC520B3}"/>
                  </a:ext>
                </a:extLst>
              </p:cNvPr>
              <p:cNvSpPr txBox="1"/>
              <p:nvPr/>
            </p:nvSpPr>
            <p:spPr>
              <a:xfrm>
                <a:off x="8145180" y="4942892"/>
                <a:ext cx="689600" cy="584775"/>
              </a:xfrm>
              <a:prstGeom prst="rect">
                <a:avLst/>
              </a:prstGeom>
              <a:noFill/>
            </p:spPr>
            <p:txBody>
              <a:bodyPr wrap="square" lIns="0" tIns="0" rIns="0" bIns="0" rtlCol="0">
                <a:spAutoFit/>
              </a:bodyPr>
              <a:lstStyle/>
              <a:p>
                <a:pPr>
                  <a:spcBef>
                    <a:spcPts val="600"/>
                  </a:spcBef>
                  <a:buSzPct val="100000"/>
                </a:pPr>
                <a:r>
                  <a:rPr lang="fr-FR" sz="700">
                    <a:solidFill>
                      <a:srgbClr val="313131"/>
                    </a:solidFill>
                  </a:rPr>
                  <a:t>Plan de récupération</a:t>
                </a:r>
              </a:p>
              <a:p>
                <a:pPr>
                  <a:spcBef>
                    <a:spcPts val="600"/>
                  </a:spcBef>
                  <a:buSzPct val="100000"/>
                </a:pPr>
                <a:r>
                  <a:rPr lang="fr-FR" sz="700">
                    <a:solidFill>
                      <a:srgbClr val="313131"/>
                    </a:solidFill>
                  </a:rPr>
                  <a:t>Améliorations</a:t>
                </a:r>
              </a:p>
              <a:p>
                <a:pPr>
                  <a:spcBef>
                    <a:spcPts val="600"/>
                  </a:spcBef>
                  <a:buSzPct val="100000"/>
                </a:pPr>
                <a:r>
                  <a:rPr lang="fr-FR" sz="700">
                    <a:solidFill>
                      <a:srgbClr val="313131"/>
                    </a:solidFill>
                  </a:rPr>
                  <a:t>Communications </a:t>
                </a:r>
              </a:p>
            </p:txBody>
          </p:sp>
        </p:grpSp>
      </p:grpSp>
      <p:pic>
        <p:nvPicPr>
          <p:cNvPr id="30" name="Picture 29" descr="A black background with white text&#10;&#10;Description automatically generated with low confidence">
            <a:extLst>
              <a:ext uri="{FF2B5EF4-FFF2-40B4-BE49-F238E27FC236}">
                <a16:creationId xmlns:a16="http://schemas.microsoft.com/office/drawing/2014/main" id="{E4EE3A98-AFF2-40BD-8BA0-FEFCD4A7176A}"/>
              </a:ext>
            </a:extLst>
          </p:cNvPr>
          <p:cNvPicPr>
            <a:picLocks noChangeAspect="1"/>
          </p:cNvPicPr>
          <p:nvPr/>
        </p:nvPicPr>
        <p:blipFill>
          <a:blip r:embed="rId3"/>
          <a:stretch>
            <a:fillRect/>
          </a:stretch>
        </p:blipFill>
        <p:spPr>
          <a:xfrm>
            <a:off x="5036580" y="526602"/>
            <a:ext cx="3188426" cy="3188426"/>
          </a:xfrm>
          <a:prstGeom prst="rect">
            <a:avLst/>
          </a:prstGeom>
        </p:spPr>
      </p:pic>
      <p:sp>
        <p:nvSpPr>
          <p:cNvPr id="58" name="TextBox 57">
            <a:extLst>
              <a:ext uri="{FF2B5EF4-FFF2-40B4-BE49-F238E27FC236}">
                <a16:creationId xmlns:a16="http://schemas.microsoft.com/office/drawing/2014/main" id="{E17C9726-2768-4E3A-B34F-9F094D35D113}"/>
              </a:ext>
            </a:extLst>
          </p:cNvPr>
          <p:cNvSpPr txBox="1"/>
          <p:nvPr/>
        </p:nvSpPr>
        <p:spPr>
          <a:xfrm>
            <a:off x="4797822" y="2982379"/>
            <a:ext cx="3731622" cy="1015663"/>
          </a:xfrm>
          <a:prstGeom prst="rect">
            <a:avLst/>
          </a:prstGeom>
          <a:noFill/>
        </p:spPr>
        <p:txBody>
          <a:bodyPr wrap="square">
            <a:spAutoFit/>
          </a:bodyPr>
          <a:lstStyle/>
          <a:p>
            <a:pPr algn="just"/>
            <a:r>
              <a:rPr lang="fr-FR" sz="1200" b="0" i="0">
                <a:effectLst/>
              </a:rPr>
              <a:t>NIST SP 800-53 est un ensemble de contrôles de sécurité informatique complets qui fournissent un cadre solide pour protéger les systèmes d'information. Il est largement utilisé comme référence pour évaluer et améliorer la sécurité des organisations.</a:t>
            </a:r>
            <a:endParaRPr lang="fr-FR" sz="1200"/>
          </a:p>
        </p:txBody>
      </p:sp>
      <p:sp>
        <p:nvSpPr>
          <p:cNvPr id="20" name="Rectangle 19">
            <a:extLst>
              <a:ext uri="{FF2B5EF4-FFF2-40B4-BE49-F238E27FC236}">
                <a16:creationId xmlns:a16="http://schemas.microsoft.com/office/drawing/2014/main" id="{4BDC13F8-FF45-4747-82D1-66D3B6F0B152}"/>
              </a:ext>
            </a:extLst>
          </p:cNvPr>
          <p:cNvSpPr/>
          <p:nvPr/>
        </p:nvSpPr>
        <p:spPr bwMode="gray">
          <a:xfrm>
            <a:off x="4380455" y="1303231"/>
            <a:ext cx="4566355" cy="6256445"/>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dirty="0">
              <a:solidFill>
                <a:schemeClr val="bg1"/>
              </a:solidFill>
              <a:latin typeface="Bahnschrift" panose="020B0502040204020203" pitchFamily="34" charset="0"/>
            </a:endParaRPr>
          </a:p>
        </p:txBody>
      </p:sp>
      <p:sp>
        <p:nvSpPr>
          <p:cNvPr id="19" name="Rectangle 18">
            <a:extLst>
              <a:ext uri="{FF2B5EF4-FFF2-40B4-BE49-F238E27FC236}">
                <a16:creationId xmlns:a16="http://schemas.microsoft.com/office/drawing/2014/main" id="{B30F652F-B4AB-4663-B9DF-0896119C5242}"/>
              </a:ext>
            </a:extLst>
          </p:cNvPr>
          <p:cNvSpPr/>
          <p:nvPr/>
        </p:nvSpPr>
        <p:spPr bwMode="gray">
          <a:xfrm>
            <a:off x="8961181" y="1303229"/>
            <a:ext cx="4492965" cy="6256446"/>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dirty="0">
              <a:solidFill>
                <a:schemeClr val="bg1"/>
              </a:solidFill>
              <a:latin typeface="Bahnschrift" panose="020B0502040204020203" pitchFamily="34" charset="0"/>
            </a:endParaRPr>
          </a:p>
        </p:txBody>
      </p:sp>
      <p:sp>
        <p:nvSpPr>
          <p:cNvPr id="35" name="TextBox 34">
            <a:extLst>
              <a:ext uri="{FF2B5EF4-FFF2-40B4-BE49-F238E27FC236}">
                <a16:creationId xmlns:a16="http://schemas.microsoft.com/office/drawing/2014/main" id="{D7F05C52-B6CD-4272-B90F-E61A2348F4CC}"/>
              </a:ext>
            </a:extLst>
          </p:cNvPr>
          <p:cNvSpPr txBox="1"/>
          <p:nvPr/>
        </p:nvSpPr>
        <p:spPr>
          <a:xfrm>
            <a:off x="264634" y="3333028"/>
            <a:ext cx="3868930" cy="1077218"/>
          </a:xfrm>
          <a:prstGeom prst="rect">
            <a:avLst/>
          </a:prstGeom>
          <a:noFill/>
        </p:spPr>
        <p:txBody>
          <a:bodyPr wrap="square" lIns="0" tIns="0" rIns="0" bIns="0" rtlCol="0">
            <a:spAutoFit/>
          </a:bodyPr>
          <a:lstStyle/>
          <a:p>
            <a:pPr algn="just">
              <a:spcBef>
                <a:spcPts val="600"/>
              </a:spcBef>
              <a:buSzPct val="100000"/>
            </a:pPr>
            <a:r>
              <a:rPr lang="fr-FR" sz="1400" b="0" i="0" dirty="0">
                <a:effectLst/>
              </a:rPr>
              <a:t>ISO 27001 est une norme internationale de gestion de la sécurité de l'information. Elle définit les meilleures pratiques pour établir, mettre en œuvre, maintenir et améliorer un système de gestion de la sécurité de l'information au sein d'une organisation.</a:t>
            </a:r>
            <a:endParaRPr lang="fr-FR" sz="1400" dirty="0"/>
          </a:p>
        </p:txBody>
      </p:sp>
      <p:grpSp>
        <p:nvGrpSpPr>
          <p:cNvPr id="54" name="Group 53">
            <a:extLst>
              <a:ext uri="{FF2B5EF4-FFF2-40B4-BE49-F238E27FC236}">
                <a16:creationId xmlns:a16="http://schemas.microsoft.com/office/drawing/2014/main" id="{C2495E2B-7615-4E05-86AC-C162B4618BD5}"/>
              </a:ext>
            </a:extLst>
          </p:cNvPr>
          <p:cNvGrpSpPr/>
          <p:nvPr/>
        </p:nvGrpSpPr>
        <p:grpSpPr>
          <a:xfrm>
            <a:off x="229879" y="4505501"/>
            <a:ext cx="3917223" cy="2683103"/>
            <a:chOff x="4369478" y="4351283"/>
            <a:chExt cx="5292853" cy="2730196"/>
          </a:xfrm>
        </p:grpSpPr>
        <p:sp>
          <p:nvSpPr>
            <p:cNvPr id="39" name="Rectangle: Rounded Corners 38">
              <a:extLst>
                <a:ext uri="{FF2B5EF4-FFF2-40B4-BE49-F238E27FC236}">
                  <a16:creationId xmlns:a16="http://schemas.microsoft.com/office/drawing/2014/main" id="{66E043FD-4289-41AA-BC1D-C25928184B44}"/>
                </a:ext>
              </a:extLst>
            </p:cNvPr>
            <p:cNvSpPr/>
            <p:nvPr/>
          </p:nvSpPr>
          <p:spPr bwMode="gray">
            <a:xfrm>
              <a:off x="4369479" y="4431425"/>
              <a:ext cx="1371713" cy="213972"/>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Introduction</a:t>
              </a:r>
            </a:p>
          </p:txBody>
        </p:sp>
        <p:sp>
          <p:nvSpPr>
            <p:cNvPr id="40" name="Rectangle: Rounded Corners 39">
              <a:extLst>
                <a:ext uri="{FF2B5EF4-FFF2-40B4-BE49-F238E27FC236}">
                  <a16:creationId xmlns:a16="http://schemas.microsoft.com/office/drawing/2014/main" id="{2862FA95-2F25-4EF6-AB08-BF1FAE120B1B}"/>
                </a:ext>
              </a:extLst>
            </p:cNvPr>
            <p:cNvSpPr/>
            <p:nvPr/>
          </p:nvSpPr>
          <p:spPr bwMode="gray">
            <a:xfrm>
              <a:off x="4369478" y="4744594"/>
              <a:ext cx="1371713" cy="32219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4 Contexte de l’organisation</a:t>
              </a:r>
            </a:p>
          </p:txBody>
        </p:sp>
        <p:sp>
          <p:nvSpPr>
            <p:cNvPr id="41" name="Rectangle: Rounded Corners 40">
              <a:extLst>
                <a:ext uri="{FF2B5EF4-FFF2-40B4-BE49-F238E27FC236}">
                  <a16:creationId xmlns:a16="http://schemas.microsoft.com/office/drawing/2014/main" id="{485684A1-2F0B-488E-AEB1-7E7D13ED7B0A}"/>
                </a:ext>
              </a:extLst>
            </p:cNvPr>
            <p:cNvSpPr/>
            <p:nvPr/>
          </p:nvSpPr>
          <p:spPr bwMode="gray">
            <a:xfrm>
              <a:off x="4369478" y="5158543"/>
              <a:ext cx="1371713" cy="22141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5 Leadership</a:t>
              </a:r>
            </a:p>
          </p:txBody>
        </p:sp>
        <p:sp>
          <p:nvSpPr>
            <p:cNvPr id="42" name="Rectangle: Rounded Corners 41">
              <a:extLst>
                <a:ext uri="{FF2B5EF4-FFF2-40B4-BE49-F238E27FC236}">
                  <a16:creationId xmlns:a16="http://schemas.microsoft.com/office/drawing/2014/main" id="{288711E4-B736-43A7-992E-BBF728FCFBBC}"/>
                </a:ext>
              </a:extLst>
            </p:cNvPr>
            <p:cNvSpPr/>
            <p:nvPr/>
          </p:nvSpPr>
          <p:spPr bwMode="gray">
            <a:xfrm>
              <a:off x="4369478" y="5471712"/>
              <a:ext cx="1371713" cy="22141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6 Planification</a:t>
              </a:r>
            </a:p>
          </p:txBody>
        </p:sp>
        <p:sp>
          <p:nvSpPr>
            <p:cNvPr id="43" name="Rectangle: Rounded Corners 42">
              <a:extLst>
                <a:ext uri="{FF2B5EF4-FFF2-40B4-BE49-F238E27FC236}">
                  <a16:creationId xmlns:a16="http://schemas.microsoft.com/office/drawing/2014/main" id="{1D2CEB91-AF19-4606-9653-51D6F2277CDA}"/>
                </a:ext>
              </a:extLst>
            </p:cNvPr>
            <p:cNvSpPr/>
            <p:nvPr/>
          </p:nvSpPr>
          <p:spPr bwMode="gray">
            <a:xfrm>
              <a:off x="4369478" y="5784881"/>
              <a:ext cx="1371713" cy="22141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7 Support</a:t>
              </a:r>
            </a:p>
          </p:txBody>
        </p:sp>
        <p:sp>
          <p:nvSpPr>
            <p:cNvPr id="44" name="Rectangle: Rounded Corners 43">
              <a:extLst>
                <a:ext uri="{FF2B5EF4-FFF2-40B4-BE49-F238E27FC236}">
                  <a16:creationId xmlns:a16="http://schemas.microsoft.com/office/drawing/2014/main" id="{587E2448-34B5-46E5-8470-B8C66576DFD9}"/>
                </a:ext>
              </a:extLst>
            </p:cNvPr>
            <p:cNvSpPr/>
            <p:nvPr/>
          </p:nvSpPr>
          <p:spPr bwMode="gray">
            <a:xfrm>
              <a:off x="4369478" y="6098050"/>
              <a:ext cx="1371713" cy="276988"/>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8</a:t>
              </a:r>
            </a:p>
            <a:p>
              <a:pPr algn="ctr">
                <a:lnSpc>
                  <a:spcPct val="106000"/>
                </a:lnSpc>
                <a:buFont typeface="Wingdings 2" pitchFamily="18" charset="2"/>
                <a:buNone/>
              </a:pPr>
              <a:r>
                <a:rPr lang="fr-FR" sz="900"/>
                <a:t>Fonctionnement</a:t>
              </a:r>
            </a:p>
          </p:txBody>
        </p:sp>
        <p:sp>
          <p:nvSpPr>
            <p:cNvPr id="45" name="Rectangle: Rounded Corners 44">
              <a:extLst>
                <a:ext uri="{FF2B5EF4-FFF2-40B4-BE49-F238E27FC236}">
                  <a16:creationId xmlns:a16="http://schemas.microsoft.com/office/drawing/2014/main" id="{888FFA3B-8B91-4849-8051-F09B866A53A6}"/>
                </a:ext>
              </a:extLst>
            </p:cNvPr>
            <p:cNvSpPr/>
            <p:nvPr/>
          </p:nvSpPr>
          <p:spPr bwMode="gray">
            <a:xfrm>
              <a:off x="4369478" y="6453996"/>
              <a:ext cx="1371713" cy="357092"/>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9 Évaluation des performances</a:t>
              </a:r>
            </a:p>
          </p:txBody>
        </p:sp>
        <p:sp>
          <p:nvSpPr>
            <p:cNvPr id="46" name="Rectangle: Rounded Corners 45">
              <a:extLst>
                <a:ext uri="{FF2B5EF4-FFF2-40B4-BE49-F238E27FC236}">
                  <a16:creationId xmlns:a16="http://schemas.microsoft.com/office/drawing/2014/main" id="{FA6EC5CA-A469-49C9-BD65-133A2C097C2A}"/>
                </a:ext>
              </a:extLst>
            </p:cNvPr>
            <p:cNvSpPr/>
            <p:nvPr/>
          </p:nvSpPr>
          <p:spPr bwMode="gray">
            <a:xfrm>
              <a:off x="4369478" y="6867507"/>
              <a:ext cx="1371713" cy="213972"/>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10 Amélioration</a:t>
              </a:r>
            </a:p>
          </p:txBody>
        </p:sp>
        <p:grpSp>
          <p:nvGrpSpPr>
            <p:cNvPr id="53" name="Group 52">
              <a:extLst>
                <a:ext uri="{FF2B5EF4-FFF2-40B4-BE49-F238E27FC236}">
                  <a16:creationId xmlns:a16="http://schemas.microsoft.com/office/drawing/2014/main" id="{09AB5DE4-D469-4FD0-9AD1-BEA21E0EF57A}"/>
                </a:ext>
              </a:extLst>
            </p:cNvPr>
            <p:cNvGrpSpPr/>
            <p:nvPr/>
          </p:nvGrpSpPr>
          <p:grpSpPr>
            <a:xfrm>
              <a:off x="5803449" y="4351283"/>
              <a:ext cx="3858882" cy="2730196"/>
              <a:chOff x="5929907" y="4256358"/>
              <a:chExt cx="3858882" cy="2825121"/>
            </a:xfrm>
          </p:grpSpPr>
          <p:sp>
            <p:nvSpPr>
              <p:cNvPr id="47" name="Rectangle: Rounded Corners 46">
                <a:extLst>
                  <a:ext uri="{FF2B5EF4-FFF2-40B4-BE49-F238E27FC236}">
                    <a16:creationId xmlns:a16="http://schemas.microsoft.com/office/drawing/2014/main" id="{AC8579D9-770D-4F06-B0B7-9ED067422D48}"/>
                  </a:ext>
                </a:extLst>
              </p:cNvPr>
              <p:cNvSpPr/>
              <p:nvPr/>
            </p:nvSpPr>
            <p:spPr bwMode="gray">
              <a:xfrm>
                <a:off x="5929907" y="4256358"/>
                <a:ext cx="3858882" cy="282512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52" name="TextBox 51">
                <a:extLst>
                  <a:ext uri="{FF2B5EF4-FFF2-40B4-BE49-F238E27FC236}">
                    <a16:creationId xmlns:a16="http://schemas.microsoft.com/office/drawing/2014/main" id="{966F75DA-13A5-43D1-A0B7-C877930E7FD1}"/>
                  </a:ext>
                </a:extLst>
              </p:cNvPr>
              <p:cNvSpPr txBox="1"/>
              <p:nvPr/>
            </p:nvSpPr>
            <p:spPr>
              <a:xfrm>
                <a:off x="6053988" y="4267324"/>
                <a:ext cx="3503403" cy="2624946"/>
              </a:xfrm>
              <a:prstGeom prst="rect">
                <a:avLst/>
              </a:prstGeom>
              <a:noFill/>
            </p:spPr>
            <p:txBody>
              <a:bodyPr wrap="square">
                <a:spAutoFit/>
              </a:bodyPr>
              <a:lstStyle/>
              <a:p>
                <a:pPr algn="ctr"/>
                <a:r>
                  <a:rPr lang="fr-FR" sz="1200" b="1" i="0" u="none" strike="noStrike" baseline="0" dirty="0"/>
                  <a:t>Annexe A</a:t>
                </a:r>
              </a:p>
              <a:p>
                <a:r>
                  <a:rPr lang="fr-FR" sz="900" i="0" u="none" strike="noStrike" baseline="0" dirty="0"/>
                  <a:t>A.5 Politiques de sécurité de l’information</a:t>
                </a:r>
              </a:p>
              <a:p>
                <a:r>
                  <a:rPr lang="fr-FR" sz="900" i="0" u="none" strike="noStrike" baseline="0" dirty="0"/>
                  <a:t>A.6 Organisation de la sécurité de l’information</a:t>
                </a:r>
                <a:endParaRPr lang="fr-FR" sz="900" dirty="0"/>
              </a:p>
              <a:p>
                <a:r>
                  <a:rPr lang="fr-FR" sz="900" i="0" u="none" strike="noStrike" baseline="0" dirty="0"/>
                  <a:t>A.7 Sécurité des ressources humaines</a:t>
                </a:r>
              </a:p>
              <a:p>
                <a:r>
                  <a:rPr lang="fr-FR" sz="900" i="0" u="none" strike="noStrike" baseline="0" dirty="0"/>
                  <a:t>A.8 Gestion des actifs</a:t>
                </a:r>
                <a:endParaRPr lang="fr-FR" sz="900" dirty="0"/>
              </a:p>
              <a:p>
                <a:r>
                  <a:rPr lang="fr-FR" sz="900" i="0" u="none" strike="noStrike" baseline="0" dirty="0"/>
                  <a:t>A.9 Contrôle d’accès</a:t>
                </a:r>
              </a:p>
              <a:p>
                <a:r>
                  <a:rPr lang="fr-FR" sz="900" i="0" u="none" strike="noStrike" baseline="0" dirty="0"/>
                  <a:t>A.10 Cryptographie</a:t>
                </a:r>
                <a:endParaRPr lang="fr-FR" sz="900" dirty="0"/>
              </a:p>
              <a:p>
                <a:r>
                  <a:rPr lang="fr-FR" sz="900" i="0" u="none" strike="noStrike" baseline="0" dirty="0"/>
                  <a:t>A.11 Sécurité physique et environnementale</a:t>
                </a:r>
              </a:p>
              <a:p>
                <a:r>
                  <a:rPr lang="fr-FR" sz="900" i="0" u="none" strike="noStrike" baseline="0" dirty="0"/>
                  <a:t>A.12 Sécurité liée à l’exploitation</a:t>
                </a:r>
                <a:endParaRPr lang="fr-FR" sz="900" dirty="0"/>
              </a:p>
              <a:p>
                <a:r>
                  <a:rPr lang="fr-FR" sz="900" i="0" u="none" strike="noStrike" baseline="0" dirty="0"/>
                  <a:t>A.13 Sécurité des communications</a:t>
                </a:r>
              </a:p>
              <a:p>
                <a:r>
                  <a:rPr lang="fr-FR" sz="900" i="0" u="none" strike="noStrike" baseline="0" dirty="0"/>
                  <a:t>A.14 Acquisition, développement et maintenance des systèmes d’information</a:t>
                </a:r>
                <a:endParaRPr lang="fr-FR" sz="900" dirty="0"/>
              </a:p>
              <a:p>
                <a:r>
                  <a:rPr lang="fr-FR" sz="900" i="0" u="none" strike="noStrike" baseline="0" dirty="0"/>
                  <a:t>A.15 Relations avec les fournisseurs</a:t>
                </a:r>
              </a:p>
              <a:p>
                <a:r>
                  <a:rPr lang="fr-FR" sz="900" i="0" u="none" strike="noStrike" baseline="0" dirty="0"/>
                  <a:t>A.16 Gestion des incidents liés à la sécurité de l’information</a:t>
                </a:r>
                <a:endParaRPr lang="fr-FR" sz="900" dirty="0"/>
              </a:p>
              <a:p>
                <a:r>
                  <a:rPr lang="fr-FR" sz="900" i="0" u="none" strike="noStrike" baseline="0" dirty="0"/>
                  <a:t>A.17 Aspects de la sécurité de l’information dans la gestion de la continuité de l’activité</a:t>
                </a:r>
              </a:p>
              <a:p>
                <a:r>
                  <a:rPr lang="fr-FR" sz="900" i="0" u="none" strike="noStrike" baseline="0" dirty="0"/>
                  <a:t>A.18 Conformité</a:t>
                </a:r>
                <a:endParaRPr lang="fr-FR" sz="900" dirty="0"/>
              </a:p>
            </p:txBody>
          </p:sp>
        </p:grpSp>
      </p:grpSp>
      <p:pic>
        <p:nvPicPr>
          <p:cNvPr id="28" name="Picture 27" descr="A picture containing text, logo, circle, font&#10;&#10;Description automatically generated">
            <a:extLst>
              <a:ext uri="{FF2B5EF4-FFF2-40B4-BE49-F238E27FC236}">
                <a16:creationId xmlns:a16="http://schemas.microsoft.com/office/drawing/2014/main" id="{B4D9BF0D-FA21-46A6-84F3-A7C17F817668}"/>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backgroundMark x1="12826" y1="9007" x2="217" y2="9272"/>
                        <a14:backgroundMark x1="217" y1="9272" x2="217" y2="9272"/>
                        <a14:backgroundMark x1="435" y1="44503" x2="5217" y2="27682"/>
                        <a14:backgroundMark x1="5217" y1="27682" x2="19457" y2="8874"/>
                        <a14:backgroundMark x1="19457" y1="8874" x2="28696" y2="1060"/>
                        <a14:backgroundMark x1="28696" y1="1060" x2="30652" y2="397"/>
                      </a14:backgroundRemoval>
                    </a14:imgEffect>
                  </a14:imgLayer>
                </a14:imgProps>
              </a:ext>
            </a:extLst>
          </a:blip>
          <a:stretch>
            <a:fillRect/>
          </a:stretch>
        </p:blipFill>
        <p:spPr>
          <a:xfrm>
            <a:off x="682000" y="1115616"/>
            <a:ext cx="3293845" cy="2599412"/>
          </a:xfrm>
          <a:prstGeom prst="rect">
            <a:avLst/>
          </a:prstGeom>
        </p:spPr>
      </p:pic>
      <p:sp>
        <p:nvSpPr>
          <p:cNvPr id="21" name="Rectangle 20">
            <a:extLst>
              <a:ext uri="{FF2B5EF4-FFF2-40B4-BE49-F238E27FC236}">
                <a16:creationId xmlns:a16="http://schemas.microsoft.com/office/drawing/2014/main" id="{22A3CDB1-151E-4AB1-AD86-3A0348E9CF8B}"/>
              </a:ext>
            </a:extLst>
          </p:cNvPr>
          <p:cNvSpPr/>
          <p:nvPr/>
        </p:nvSpPr>
        <p:spPr bwMode="gray">
          <a:xfrm>
            <a:off x="4267863" y="1303229"/>
            <a:ext cx="157238" cy="6256392"/>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a:latin typeface="Bahnschrift" panose="020B0502040204020203" pitchFamily="34" charset="0"/>
            </a:endParaRPr>
          </a:p>
        </p:txBody>
      </p:sp>
      <p:pic>
        <p:nvPicPr>
          <p:cNvPr id="110" name="Picture 29" descr="A black background with white text&#10;&#10;Description automatically generated with low confidence">
            <a:extLst>
              <a:ext uri="{FF2B5EF4-FFF2-40B4-BE49-F238E27FC236}">
                <a16:creationId xmlns:a16="http://schemas.microsoft.com/office/drawing/2014/main" id="{F1ED0EA8-F7B6-4295-81C2-E134A87EE922}"/>
              </a:ext>
            </a:extLst>
          </p:cNvPr>
          <p:cNvPicPr>
            <a:picLocks noChangeAspect="1"/>
          </p:cNvPicPr>
          <p:nvPr/>
        </p:nvPicPr>
        <p:blipFill>
          <a:blip r:embed="rId3"/>
          <a:stretch>
            <a:fillRect/>
          </a:stretch>
        </p:blipFill>
        <p:spPr>
          <a:xfrm>
            <a:off x="5003313" y="2837240"/>
            <a:ext cx="3188426" cy="3188426"/>
          </a:xfrm>
          <a:prstGeom prst="rect">
            <a:avLst/>
          </a:prstGeom>
        </p:spPr>
      </p:pic>
      <p:pic>
        <p:nvPicPr>
          <p:cNvPr id="111" name="Picture 33" descr="A blue and pink text on a black background&#10;&#10;Description automatically generated with medium confidence">
            <a:extLst>
              <a:ext uri="{FF2B5EF4-FFF2-40B4-BE49-F238E27FC236}">
                <a16:creationId xmlns:a16="http://schemas.microsoft.com/office/drawing/2014/main" id="{0A9B24F4-7D21-48BE-91F8-091F2EC87567}"/>
              </a:ext>
            </a:extLst>
          </p:cNvPr>
          <p:cNvPicPr>
            <a:picLocks noChangeAspect="1"/>
          </p:cNvPicPr>
          <p:nvPr/>
        </p:nvPicPr>
        <p:blipFill>
          <a:blip r:embed="rId6"/>
          <a:stretch>
            <a:fillRect/>
          </a:stretch>
        </p:blipFill>
        <p:spPr>
          <a:xfrm>
            <a:off x="8940324" y="3416552"/>
            <a:ext cx="4565526" cy="2029800"/>
          </a:xfrm>
          <a:prstGeom prst="rect">
            <a:avLst/>
          </a:prstGeom>
        </p:spPr>
      </p:pic>
      <p:grpSp>
        <p:nvGrpSpPr>
          <p:cNvPr id="70" name="Groupe 69">
            <a:extLst>
              <a:ext uri="{FF2B5EF4-FFF2-40B4-BE49-F238E27FC236}">
                <a16:creationId xmlns:a16="http://schemas.microsoft.com/office/drawing/2014/main" id="{9DD4DB26-E813-483D-A86E-AF2865FC722E}"/>
              </a:ext>
            </a:extLst>
          </p:cNvPr>
          <p:cNvGrpSpPr/>
          <p:nvPr/>
        </p:nvGrpSpPr>
        <p:grpSpPr>
          <a:xfrm>
            <a:off x="10635530" y="519574"/>
            <a:ext cx="1823720" cy="544758"/>
            <a:chOff x="10635530" y="519574"/>
            <a:chExt cx="1425914" cy="544758"/>
          </a:xfrm>
        </p:grpSpPr>
        <p:sp>
          <p:nvSpPr>
            <p:cNvPr id="71" name="Freeform 926">
              <a:extLst>
                <a:ext uri="{FF2B5EF4-FFF2-40B4-BE49-F238E27FC236}">
                  <a16:creationId xmlns:a16="http://schemas.microsoft.com/office/drawing/2014/main" id="{0CBACD19-E2CB-4938-ABAF-977D44DCEB54}"/>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104" name="TextBox 220">
              <a:extLst>
                <a:ext uri="{FF2B5EF4-FFF2-40B4-BE49-F238E27FC236}">
                  <a16:creationId xmlns:a16="http://schemas.microsoft.com/office/drawing/2014/main" id="{2C7AA036-72F3-45FE-A6E7-CA74C5052DB9}"/>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a:solidFill>
                    <a:schemeClr val="tx2"/>
                  </a:solidFill>
                </a:rPr>
                <a:t>Aperçu Framework</a:t>
              </a:r>
            </a:p>
          </p:txBody>
        </p:sp>
      </p:grpSp>
      <p:grpSp>
        <p:nvGrpSpPr>
          <p:cNvPr id="105" name="Groupe 104">
            <a:extLst>
              <a:ext uri="{FF2B5EF4-FFF2-40B4-BE49-F238E27FC236}">
                <a16:creationId xmlns:a16="http://schemas.microsoft.com/office/drawing/2014/main" id="{516948B8-33D1-4803-B1DA-274E69350CAF}"/>
              </a:ext>
            </a:extLst>
          </p:cNvPr>
          <p:cNvGrpSpPr/>
          <p:nvPr/>
        </p:nvGrpSpPr>
        <p:grpSpPr>
          <a:xfrm>
            <a:off x="7969060" y="519574"/>
            <a:ext cx="1917890" cy="544812"/>
            <a:chOff x="5755870" y="519574"/>
            <a:chExt cx="1499543" cy="544812"/>
          </a:xfrm>
        </p:grpSpPr>
        <p:sp>
          <p:nvSpPr>
            <p:cNvPr id="106" name="Freeform 926">
              <a:extLst>
                <a:ext uri="{FF2B5EF4-FFF2-40B4-BE49-F238E27FC236}">
                  <a16:creationId xmlns:a16="http://schemas.microsoft.com/office/drawing/2014/main" id="{D316417D-C3A0-4DCE-B720-C950DC12801A}"/>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107" name="TextBox 219">
              <a:extLst>
                <a:ext uri="{FF2B5EF4-FFF2-40B4-BE49-F238E27FC236}">
                  <a16:creationId xmlns:a16="http://schemas.microsoft.com/office/drawing/2014/main" id="{86E46E19-F351-412F-AB3D-EE80E4B803D3}"/>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Normes et standards</a:t>
              </a:r>
            </a:p>
          </p:txBody>
        </p:sp>
      </p:grpSp>
      <p:grpSp>
        <p:nvGrpSpPr>
          <p:cNvPr id="108" name="Groupe 107">
            <a:extLst>
              <a:ext uri="{FF2B5EF4-FFF2-40B4-BE49-F238E27FC236}">
                <a16:creationId xmlns:a16="http://schemas.microsoft.com/office/drawing/2014/main" id="{4BBA4667-5350-4CF5-BFF1-4690123FACD5}"/>
              </a:ext>
            </a:extLst>
          </p:cNvPr>
          <p:cNvGrpSpPr/>
          <p:nvPr/>
        </p:nvGrpSpPr>
        <p:grpSpPr>
          <a:xfrm>
            <a:off x="1378330" y="519574"/>
            <a:ext cx="1556504" cy="544812"/>
            <a:chOff x="1378330" y="519574"/>
            <a:chExt cx="1216986" cy="544812"/>
          </a:xfrm>
        </p:grpSpPr>
        <p:sp>
          <p:nvSpPr>
            <p:cNvPr id="109" name="TextBox 219">
              <a:extLst>
                <a:ext uri="{FF2B5EF4-FFF2-40B4-BE49-F238E27FC236}">
                  <a16:creationId xmlns:a16="http://schemas.microsoft.com/office/drawing/2014/main" id="{6D7A77B2-9706-42AD-A25F-ECF2F75BD10C}"/>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112" name="Freeform 926">
              <a:extLst>
                <a:ext uri="{FF2B5EF4-FFF2-40B4-BE49-F238E27FC236}">
                  <a16:creationId xmlns:a16="http://schemas.microsoft.com/office/drawing/2014/main" id="{AF228337-9A73-4D4D-89C3-37B2A4AF09A7}"/>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113" name="Groupe 112">
            <a:extLst>
              <a:ext uri="{FF2B5EF4-FFF2-40B4-BE49-F238E27FC236}">
                <a16:creationId xmlns:a16="http://schemas.microsoft.com/office/drawing/2014/main" id="{84F607ED-7EFB-4ABD-9E1E-9DAD43F4F7ED}"/>
              </a:ext>
            </a:extLst>
          </p:cNvPr>
          <p:cNvGrpSpPr/>
          <p:nvPr/>
        </p:nvGrpSpPr>
        <p:grpSpPr>
          <a:xfrm>
            <a:off x="3762244" y="519574"/>
            <a:ext cx="987996" cy="544758"/>
            <a:chOff x="8696117" y="519574"/>
            <a:chExt cx="772486" cy="544758"/>
          </a:xfrm>
        </p:grpSpPr>
        <p:sp>
          <p:nvSpPr>
            <p:cNvPr id="114" name="Freeform 926">
              <a:extLst>
                <a:ext uri="{FF2B5EF4-FFF2-40B4-BE49-F238E27FC236}">
                  <a16:creationId xmlns:a16="http://schemas.microsoft.com/office/drawing/2014/main" id="{E4CF8C8F-F269-4C08-AE1A-9841D36B2D36}"/>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115" name="TextBox 220">
              <a:extLst>
                <a:ext uri="{FF2B5EF4-FFF2-40B4-BE49-F238E27FC236}">
                  <a16:creationId xmlns:a16="http://schemas.microsoft.com/office/drawing/2014/main" id="{D22149F3-016D-4F76-890A-984FC4E24D40}"/>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116" name="Groupe 115">
            <a:extLst>
              <a:ext uri="{FF2B5EF4-FFF2-40B4-BE49-F238E27FC236}">
                <a16:creationId xmlns:a16="http://schemas.microsoft.com/office/drawing/2014/main" id="{01A2E24E-955A-41C8-A960-7E92B5A4E73B}"/>
              </a:ext>
            </a:extLst>
          </p:cNvPr>
          <p:cNvGrpSpPr/>
          <p:nvPr/>
        </p:nvGrpSpPr>
        <p:grpSpPr>
          <a:xfrm>
            <a:off x="5701658" y="519574"/>
            <a:ext cx="1407488" cy="544812"/>
            <a:chOff x="3625356" y="519574"/>
            <a:chExt cx="1100474" cy="544812"/>
          </a:xfrm>
        </p:grpSpPr>
        <p:sp>
          <p:nvSpPr>
            <p:cNvPr id="117" name="Freeform 926">
              <a:extLst>
                <a:ext uri="{FF2B5EF4-FFF2-40B4-BE49-F238E27FC236}">
                  <a16:creationId xmlns:a16="http://schemas.microsoft.com/office/drawing/2014/main" id="{0690B61A-A930-4606-BE7C-15EA3E21EE9E}"/>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118" name="TextBox 219">
              <a:extLst>
                <a:ext uri="{FF2B5EF4-FFF2-40B4-BE49-F238E27FC236}">
                  <a16:creationId xmlns:a16="http://schemas.microsoft.com/office/drawing/2014/main" id="{1FEC239F-E3A1-4F4A-BC1B-7C9B86CF8032}"/>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sp>
        <p:nvSpPr>
          <p:cNvPr id="119" name="Rectangle 118">
            <a:extLst>
              <a:ext uri="{FF2B5EF4-FFF2-40B4-BE49-F238E27FC236}">
                <a16:creationId xmlns:a16="http://schemas.microsoft.com/office/drawing/2014/main" id="{8BA245EB-0201-4350-AAE1-20E9049CA360}"/>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120" name="Rectangle 119">
            <a:extLst>
              <a:ext uri="{FF2B5EF4-FFF2-40B4-BE49-F238E27FC236}">
                <a16:creationId xmlns:a16="http://schemas.microsoft.com/office/drawing/2014/main" id="{321A0897-1BD0-431F-98BE-187EAD2E7BB4}"/>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121" name="Rectangle 120">
            <a:extLst>
              <a:ext uri="{FF2B5EF4-FFF2-40B4-BE49-F238E27FC236}">
                <a16:creationId xmlns:a16="http://schemas.microsoft.com/office/drawing/2014/main" id="{760A69E0-139C-4BDB-8A57-39A91C0590AC}"/>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122" name="Rectangle 121">
            <a:extLst>
              <a:ext uri="{FF2B5EF4-FFF2-40B4-BE49-F238E27FC236}">
                <a16:creationId xmlns:a16="http://schemas.microsoft.com/office/drawing/2014/main" id="{574DD903-FD7A-42FA-AC28-AB4CD5981DB1}"/>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1265683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1081F09C-1CB6-45DB-8815-693E65CD5859}"/>
              </a:ext>
            </a:extLst>
          </p:cNvPr>
          <p:cNvSpPr/>
          <p:nvPr/>
        </p:nvSpPr>
        <p:spPr bwMode="gray">
          <a:xfrm>
            <a:off x="1174072" y="3266838"/>
            <a:ext cx="159172" cy="162074"/>
          </a:xfrm>
          <a:prstGeom prst="ellipse">
            <a:avLst/>
          </a:prstGeom>
          <a:solidFill>
            <a:schemeClr val="bg1"/>
          </a:solidFill>
          <a:ln w="34925" algn="ctr">
            <a:solidFill>
              <a:schemeClr val="accent1"/>
            </a:solidFill>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pic>
        <p:nvPicPr>
          <p:cNvPr id="5" name="Picture 4" descr="Abstract green and blue painting">
            <a:extLst>
              <a:ext uri="{FF2B5EF4-FFF2-40B4-BE49-F238E27FC236}">
                <a16:creationId xmlns:a16="http://schemas.microsoft.com/office/drawing/2014/main" id="{B91189E4-3152-41C0-9F69-CE5D36ECD280}"/>
              </a:ext>
            </a:extLst>
          </p:cNvPr>
          <p:cNvPicPr>
            <a:picLocks noChangeAspect="1"/>
          </p:cNvPicPr>
          <p:nvPr/>
        </p:nvPicPr>
        <p:blipFill>
          <a:blip r:embed="rId3"/>
          <a:stretch>
            <a:fillRect/>
          </a:stretch>
        </p:blipFill>
        <p:spPr>
          <a:xfrm>
            <a:off x="0" y="-1"/>
            <a:ext cx="13439775" cy="7559675"/>
          </a:xfrm>
          <a:prstGeom prst="rect">
            <a:avLst/>
          </a:prstGeom>
        </p:spPr>
      </p:pic>
      <p:grpSp>
        <p:nvGrpSpPr>
          <p:cNvPr id="7" name="Groupe 6">
            <a:extLst>
              <a:ext uri="{FF2B5EF4-FFF2-40B4-BE49-F238E27FC236}">
                <a16:creationId xmlns:a16="http://schemas.microsoft.com/office/drawing/2014/main" id="{9D6DA7C5-DB27-48AF-9EF4-8FA91E31C730}"/>
              </a:ext>
            </a:extLst>
          </p:cNvPr>
          <p:cNvGrpSpPr/>
          <p:nvPr/>
        </p:nvGrpSpPr>
        <p:grpSpPr>
          <a:xfrm>
            <a:off x="326685" y="1901370"/>
            <a:ext cx="12786405" cy="3139556"/>
            <a:chOff x="220326" y="1901370"/>
            <a:chExt cx="12786405" cy="3139556"/>
          </a:xfrm>
        </p:grpSpPr>
        <p:grpSp>
          <p:nvGrpSpPr>
            <p:cNvPr id="3" name="Groupe 2">
              <a:extLst>
                <a:ext uri="{FF2B5EF4-FFF2-40B4-BE49-F238E27FC236}">
                  <a16:creationId xmlns:a16="http://schemas.microsoft.com/office/drawing/2014/main" id="{2EEF368F-4D68-4E1C-89FB-20B5CB2D4348}"/>
                </a:ext>
              </a:extLst>
            </p:cNvPr>
            <p:cNvGrpSpPr/>
            <p:nvPr/>
          </p:nvGrpSpPr>
          <p:grpSpPr>
            <a:xfrm>
              <a:off x="6757396" y="1901370"/>
              <a:ext cx="2980800" cy="3139555"/>
              <a:chOff x="6757396" y="1901370"/>
              <a:chExt cx="2980800" cy="3139555"/>
            </a:xfrm>
            <a:effectLst>
              <a:reflection blurRad="6350" stA="52000" endA="300" endPos="35000" dir="5400000" sy="-100000" algn="bl" rotWithShape="0"/>
            </a:effectLst>
          </p:grpSpPr>
          <p:sp>
            <p:nvSpPr>
              <p:cNvPr id="20" name="Rectangle 19">
                <a:extLst>
                  <a:ext uri="{FF2B5EF4-FFF2-40B4-BE49-F238E27FC236}">
                    <a16:creationId xmlns:a16="http://schemas.microsoft.com/office/drawing/2014/main" id="{859403AE-A728-4C60-B8EA-1E7F215DE12B}"/>
                  </a:ext>
                </a:extLst>
              </p:cNvPr>
              <p:cNvSpPr/>
              <p:nvPr/>
            </p:nvSpPr>
            <p:spPr bwMode="gray">
              <a:xfrm>
                <a:off x="6757396" y="1901370"/>
                <a:ext cx="2980800" cy="313955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41" name="Content Placeholder 2">
                <a:extLst>
                  <a:ext uri="{FF2B5EF4-FFF2-40B4-BE49-F238E27FC236}">
                    <a16:creationId xmlns:a16="http://schemas.microsoft.com/office/drawing/2014/main" id="{06A8CDE4-41F6-4993-9716-2ACC00301977}"/>
                  </a:ext>
                </a:extLst>
              </p:cNvPr>
              <p:cNvSpPr txBox="1">
                <a:spLocks/>
              </p:cNvSpPr>
              <p:nvPr/>
            </p:nvSpPr>
            <p:spPr>
              <a:xfrm>
                <a:off x="7159349" y="3264743"/>
                <a:ext cx="2176895" cy="984885"/>
              </a:xfrm>
              <a:prstGeom prst="rect">
                <a:avLst/>
              </a:prstGeom>
              <a:solidFill>
                <a:schemeClr val="bg1"/>
              </a:solidFill>
            </p:spPr>
            <p:txBody>
              <a:bodyPr vert="horz" wrap="square" lIns="0" tIns="0" rIns="0" bIns="0" rtlCol="0">
                <a:spAutoFit/>
              </a:bodyPr>
              <a:lstStyle>
                <a:lvl1pPr marL="0" indent="0" algn="l" defTabSz="1481485" rtl="0" eaLnBrk="1" latinLnBrk="0" hangingPunct="1">
                  <a:spcBef>
                    <a:spcPts val="0"/>
                  </a:spcBef>
                  <a:spcAft>
                    <a:spcPts val="1620"/>
                  </a:spcAft>
                  <a:buSzPct val="100000"/>
                  <a:buFont typeface="Arial" panose="020B0604020202020204" pitchFamily="34" charset="0"/>
                  <a:buNone/>
                  <a:defRPr sz="1760" b="0" kern="1200">
                    <a:solidFill>
                      <a:schemeClr val="tx1"/>
                    </a:solidFill>
                    <a:latin typeface="+mn-lt"/>
                    <a:ea typeface="+mn-ea"/>
                    <a:cs typeface="Calibri Light" panose="020F0302020204030204" pitchFamily="34" charset="0"/>
                  </a:defRPr>
                </a:lvl1pPr>
                <a:lvl2pPr marL="0" indent="0" algn="l" defTabSz="1481485" rtl="0" eaLnBrk="1" latinLnBrk="0" hangingPunct="1">
                  <a:spcBef>
                    <a:spcPts val="0"/>
                  </a:spcBef>
                  <a:spcAft>
                    <a:spcPts val="1620"/>
                  </a:spcAft>
                  <a:buClrTx/>
                  <a:buSzPct val="100000"/>
                  <a:buFont typeface="Arial"/>
                  <a:buNone/>
                  <a:defRPr lang="en-US" sz="1760" b="1" kern="1200" dirty="0" smtClean="0">
                    <a:solidFill>
                      <a:schemeClr val="tx1"/>
                    </a:solidFill>
                    <a:latin typeface="+mj-lt"/>
                    <a:ea typeface="+mn-ea"/>
                    <a:cs typeface="Calibri Light" panose="020F0302020204030204" pitchFamily="34" charset="0"/>
                  </a:defRPr>
                </a:lvl2pPr>
                <a:lvl3pPr marL="285799" indent="-285799" algn="l" defTabSz="1481485" rtl="0" eaLnBrk="1" latinLnBrk="0" hangingPunct="1">
                  <a:spcBef>
                    <a:spcPts val="0"/>
                  </a:spcBef>
                  <a:spcAft>
                    <a:spcPts val="1620"/>
                  </a:spcAft>
                  <a:buClrTx/>
                  <a:buSzPct val="100000"/>
                  <a:buFont typeface="Arial" panose="020B0604020202020204" pitchFamily="34" charset="0"/>
                  <a:buChar char="•"/>
                  <a:defRPr lang="en-US" sz="1760" kern="1200" dirty="0" smtClean="0">
                    <a:solidFill>
                      <a:schemeClr val="tx1"/>
                    </a:solidFill>
                    <a:latin typeface="+mn-lt"/>
                    <a:ea typeface="+mn-ea"/>
                    <a:cs typeface="Calibri Light" panose="020F0302020204030204" pitchFamily="34" charset="0"/>
                  </a:defRPr>
                </a:lvl3pPr>
                <a:lvl4pPr marL="577429" indent="-285799" algn="l" defTabSz="1481485" rtl="0" eaLnBrk="1" latinLnBrk="0" hangingPunct="1">
                  <a:spcBef>
                    <a:spcPts val="0"/>
                  </a:spcBef>
                  <a:spcAft>
                    <a:spcPts val="1620"/>
                  </a:spcAft>
                  <a:buClrTx/>
                  <a:buSzPct val="100000"/>
                  <a:buFont typeface="Verdana" panose="020B0604030504040204" pitchFamily="34" charset="0"/>
                  <a:buChar char="−"/>
                  <a:defRPr lang="en-US" sz="1760" kern="1200" baseline="0" dirty="0" smtClean="0">
                    <a:solidFill>
                      <a:schemeClr val="tx1"/>
                    </a:solidFill>
                    <a:latin typeface="+mn-lt"/>
                    <a:ea typeface="+mn-ea"/>
                    <a:cs typeface="Calibri Light" panose="020F0302020204030204" pitchFamily="34" charset="0"/>
                  </a:defRPr>
                </a:lvl4pPr>
                <a:lvl5pPr marL="863227" indent="-285799" algn="l" defTabSz="1293728" rtl="0" eaLnBrk="1" latinLnBrk="0" hangingPunct="1">
                  <a:spcBef>
                    <a:spcPts val="0"/>
                  </a:spcBef>
                  <a:spcAft>
                    <a:spcPts val="1620"/>
                  </a:spcAft>
                  <a:buClrTx/>
                  <a:buSzPct val="100000"/>
                  <a:buFont typeface="Verdana" panose="020B0604030504040204" pitchFamily="34" charset="0"/>
                  <a:buChar char="−"/>
                  <a:tabLst/>
                  <a:defRPr lang="en-US" sz="1760" kern="1200" baseline="0" dirty="0" smtClean="0">
                    <a:solidFill>
                      <a:schemeClr val="tx1"/>
                    </a:solidFill>
                    <a:latin typeface="+mn-lt"/>
                    <a:ea typeface="+mn-ea"/>
                    <a:cs typeface="Calibri Light" panose="020F0302020204030204" pitchFamily="34" charset="0"/>
                  </a:defRPr>
                </a:lvl5pPr>
                <a:lvl6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6pPr>
                <a:lvl7pPr marL="863227" indent="-285799" algn="l" defTabSz="1481485" rtl="0" eaLnBrk="1" latinLnBrk="0" hangingPunct="1">
                  <a:spcBef>
                    <a:spcPts val="0"/>
                  </a:spcBef>
                  <a:spcAft>
                    <a:spcPts val="1620"/>
                  </a:spcAft>
                  <a:buFont typeface="Verdana" panose="020B0604030504040204" pitchFamily="34" charset="0"/>
                  <a:buChar char="−"/>
                  <a:defRPr sz="1945" kern="1200">
                    <a:solidFill>
                      <a:schemeClr val="tx1"/>
                    </a:solidFill>
                    <a:latin typeface="+mn-lt"/>
                    <a:ea typeface="+mn-ea"/>
                    <a:cs typeface="+mn-cs"/>
                  </a:defRPr>
                </a:lvl7pPr>
                <a:lvl8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8pPr>
                <a:lvl9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9pPr>
              </a:lstStyle>
              <a:p>
                <a:pPr marL="342900" indent="-342900">
                  <a:spcAft>
                    <a:spcPts val="0"/>
                  </a:spcAft>
                  <a:buFont typeface="+mj-lt"/>
                  <a:buAutoNum type="arabicPeriod"/>
                </a:pPr>
                <a:r>
                  <a:rPr lang="fr-FR" sz="1600" dirty="0">
                    <a:solidFill>
                      <a:schemeClr val="tx1">
                        <a:lumMod val="85000"/>
                        <a:lumOff val="15000"/>
                      </a:schemeClr>
                    </a:solidFill>
                  </a:rPr>
                  <a:t>Contexte et objectifs</a:t>
                </a:r>
              </a:p>
              <a:p>
                <a:pPr marL="342900" indent="-342900">
                  <a:spcAft>
                    <a:spcPts val="0"/>
                  </a:spcAft>
                  <a:buFont typeface="+mj-lt"/>
                  <a:buAutoNum type="arabicPeriod"/>
                </a:pPr>
                <a:r>
                  <a:rPr lang="fr-FR" sz="1600" dirty="0">
                    <a:solidFill>
                      <a:schemeClr val="tx1">
                        <a:lumMod val="85000"/>
                        <a:lumOff val="15000"/>
                      </a:schemeClr>
                    </a:solidFill>
                  </a:rPr>
                  <a:t>Approche et résultat</a:t>
                </a:r>
              </a:p>
              <a:p>
                <a:pPr marL="342900" indent="-342900">
                  <a:spcAft>
                    <a:spcPts val="0"/>
                  </a:spcAft>
                  <a:buFont typeface="+mj-lt"/>
                  <a:buAutoNum type="arabicPeriod"/>
                </a:pPr>
                <a:r>
                  <a:rPr lang="fr-FR" sz="1600" dirty="0">
                    <a:solidFill>
                      <a:schemeClr val="tx1">
                        <a:lumMod val="85000"/>
                        <a:lumOff val="15000"/>
                      </a:schemeClr>
                    </a:solidFill>
                  </a:rPr>
                  <a:t>Continuité de la mission</a:t>
                </a:r>
              </a:p>
            </p:txBody>
          </p:sp>
          <p:sp>
            <p:nvSpPr>
              <p:cNvPr id="45" name="TextBox 44">
                <a:extLst>
                  <a:ext uri="{FF2B5EF4-FFF2-40B4-BE49-F238E27FC236}">
                    <a16:creationId xmlns:a16="http://schemas.microsoft.com/office/drawing/2014/main" id="{B78287DF-417A-4129-80D6-173AF165856B}"/>
                  </a:ext>
                </a:extLst>
              </p:cNvPr>
              <p:cNvSpPr txBox="1"/>
              <p:nvPr/>
            </p:nvSpPr>
            <p:spPr>
              <a:xfrm>
                <a:off x="7034475" y="2333791"/>
                <a:ext cx="2426643" cy="461665"/>
              </a:xfrm>
              <a:prstGeom prst="rect">
                <a:avLst/>
              </a:prstGeom>
              <a:solidFill>
                <a:schemeClr val="bg1"/>
              </a:solidFill>
            </p:spPr>
            <p:txBody>
              <a:bodyPr wrap="square">
                <a:spAutoFit/>
              </a:bodyPr>
              <a:lstStyle/>
              <a:p>
                <a:pPr algn="ctr">
                  <a:spcAft>
                    <a:spcPts val="0"/>
                  </a:spcAft>
                </a:pPr>
                <a:r>
                  <a:rPr lang="fr-FR" altLang="zh-CN" sz="2400" b="1" dirty="0"/>
                  <a:t>III. Etude de cas</a:t>
                </a:r>
              </a:p>
            </p:txBody>
          </p:sp>
        </p:grpSp>
        <p:grpSp>
          <p:nvGrpSpPr>
            <p:cNvPr id="6" name="Groupe 5">
              <a:extLst>
                <a:ext uri="{FF2B5EF4-FFF2-40B4-BE49-F238E27FC236}">
                  <a16:creationId xmlns:a16="http://schemas.microsoft.com/office/drawing/2014/main" id="{F372AD97-4FA3-4EC9-A7A3-46D9A846F94B}"/>
                </a:ext>
              </a:extLst>
            </p:cNvPr>
            <p:cNvGrpSpPr/>
            <p:nvPr/>
          </p:nvGrpSpPr>
          <p:grpSpPr>
            <a:xfrm>
              <a:off x="220326" y="1901371"/>
              <a:ext cx="2980800" cy="3139555"/>
              <a:chOff x="-3929591" y="1859134"/>
              <a:chExt cx="3808023" cy="3139555"/>
            </a:xfrm>
            <a:effectLst>
              <a:reflection blurRad="6350" stA="52000" endA="300" endPos="35000" dir="5400000" sy="-100000" algn="bl" rotWithShape="0"/>
            </a:effectLst>
          </p:grpSpPr>
          <p:sp>
            <p:nvSpPr>
              <p:cNvPr id="4" name="Rectangle 3">
                <a:extLst>
                  <a:ext uri="{FF2B5EF4-FFF2-40B4-BE49-F238E27FC236}">
                    <a16:creationId xmlns:a16="http://schemas.microsoft.com/office/drawing/2014/main" id="{B97323CA-AA5E-4DFE-B208-8FB9158EA0D0}"/>
                  </a:ext>
                </a:extLst>
              </p:cNvPr>
              <p:cNvSpPr/>
              <p:nvPr/>
            </p:nvSpPr>
            <p:spPr bwMode="gray">
              <a:xfrm>
                <a:off x="-3929591" y="1859134"/>
                <a:ext cx="3808023" cy="31395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39" name="Content Placeholder 2">
                <a:extLst>
                  <a:ext uri="{FF2B5EF4-FFF2-40B4-BE49-F238E27FC236}">
                    <a16:creationId xmlns:a16="http://schemas.microsoft.com/office/drawing/2014/main" id="{CE79FB6D-48E1-4F12-8AB2-8B1F28799D80}"/>
                  </a:ext>
                </a:extLst>
              </p:cNvPr>
              <p:cNvSpPr txBox="1">
                <a:spLocks/>
              </p:cNvSpPr>
              <p:nvPr/>
            </p:nvSpPr>
            <p:spPr>
              <a:xfrm>
                <a:off x="-3523300" y="3266838"/>
                <a:ext cx="2829491" cy="738664"/>
              </a:xfrm>
              <a:prstGeom prst="rect">
                <a:avLst/>
              </a:prstGeom>
            </p:spPr>
            <p:txBody>
              <a:bodyPr vert="horz" wrap="square" lIns="0" tIns="0" rIns="0" bIns="0" rtlCol="0">
                <a:spAutoFit/>
              </a:bodyPr>
              <a:lstStyle>
                <a:lvl1pPr marL="0" indent="0" algn="l" defTabSz="1481485" rtl="0" eaLnBrk="1" latinLnBrk="0" hangingPunct="1">
                  <a:spcBef>
                    <a:spcPts val="0"/>
                  </a:spcBef>
                  <a:spcAft>
                    <a:spcPts val="1620"/>
                  </a:spcAft>
                  <a:buSzPct val="100000"/>
                  <a:buFont typeface="Arial" panose="020B0604020202020204" pitchFamily="34" charset="0"/>
                  <a:buNone/>
                  <a:defRPr sz="1760" b="0" kern="1200">
                    <a:solidFill>
                      <a:schemeClr val="tx1"/>
                    </a:solidFill>
                    <a:latin typeface="+mn-lt"/>
                    <a:ea typeface="+mn-ea"/>
                    <a:cs typeface="Calibri Light" panose="020F0302020204030204" pitchFamily="34" charset="0"/>
                  </a:defRPr>
                </a:lvl1pPr>
                <a:lvl2pPr marL="0" indent="0" algn="l" defTabSz="1481485" rtl="0" eaLnBrk="1" latinLnBrk="0" hangingPunct="1">
                  <a:spcBef>
                    <a:spcPts val="0"/>
                  </a:spcBef>
                  <a:spcAft>
                    <a:spcPts val="1620"/>
                  </a:spcAft>
                  <a:buClrTx/>
                  <a:buSzPct val="100000"/>
                  <a:buFont typeface="Arial"/>
                  <a:buNone/>
                  <a:defRPr lang="en-US" sz="1760" b="1" kern="1200" dirty="0" smtClean="0">
                    <a:solidFill>
                      <a:schemeClr val="tx1"/>
                    </a:solidFill>
                    <a:latin typeface="+mj-lt"/>
                    <a:ea typeface="+mn-ea"/>
                    <a:cs typeface="Calibri Light" panose="020F0302020204030204" pitchFamily="34" charset="0"/>
                  </a:defRPr>
                </a:lvl2pPr>
                <a:lvl3pPr marL="285799" indent="-285799" algn="l" defTabSz="1481485" rtl="0" eaLnBrk="1" latinLnBrk="0" hangingPunct="1">
                  <a:spcBef>
                    <a:spcPts val="0"/>
                  </a:spcBef>
                  <a:spcAft>
                    <a:spcPts val="1620"/>
                  </a:spcAft>
                  <a:buClrTx/>
                  <a:buSzPct val="100000"/>
                  <a:buFont typeface="Arial" panose="020B0604020202020204" pitchFamily="34" charset="0"/>
                  <a:buChar char="•"/>
                  <a:defRPr lang="en-US" sz="1760" kern="1200" dirty="0" smtClean="0">
                    <a:solidFill>
                      <a:schemeClr val="tx1"/>
                    </a:solidFill>
                    <a:latin typeface="+mn-lt"/>
                    <a:ea typeface="+mn-ea"/>
                    <a:cs typeface="Calibri Light" panose="020F0302020204030204" pitchFamily="34" charset="0"/>
                  </a:defRPr>
                </a:lvl3pPr>
                <a:lvl4pPr marL="577429" indent="-285799" algn="l" defTabSz="1481485" rtl="0" eaLnBrk="1" latinLnBrk="0" hangingPunct="1">
                  <a:spcBef>
                    <a:spcPts val="0"/>
                  </a:spcBef>
                  <a:spcAft>
                    <a:spcPts val="1620"/>
                  </a:spcAft>
                  <a:buClrTx/>
                  <a:buSzPct val="100000"/>
                  <a:buFont typeface="Verdana" panose="020B0604030504040204" pitchFamily="34" charset="0"/>
                  <a:buChar char="−"/>
                  <a:defRPr lang="en-US" sz="1760" kern="1200" baseline="0" dirty="0" smtClean="0">
                    <a:solidFill>
                      <a:schemeClr val="tx1"/>
                    </a:solidFill>
                    <a:latin typeface="+mn-lt"/>
                    <a:ea typeface="+mn-ea"/>
                    <a:cs typeface="Calibri Light" panose="020F0302020204030204" pitchFamily="34" charset="0"/>
                  </a:defRPr>
                </a:lvl4pPr>
                <a:lvl5pPr marL="863227" indent="-285799" algn="l" defTabSz="1293728" rtl="0" eaLnBrk="1" latinLnBrk="0" hangingPunct="1">
                  <a:spcBef>
                    <a:spcPts val="0"/>
                  </a:spcBef>
                  <a:spcAft>
                    <a:spcPts val="1620"/>
                  </a:spcAft>
                  <a:buClrTx/>
                  <a:buSzPct val="100000"/>
                  <a:buFont typeface="Verdana" panose="020B0604030504040204" pitchFamily="34" charset="0"/>
                  <a:buChar char="−"/>
                  <a:tabLst/>
                  <a:defRPr lang="en-US" sz="1760" kern="1200" baseline="0" dirty="0" smtClean="0">
                    <a:solidFill>
                      <a:schemeClr val="tx1"/>
                    </a:solidFill>
                    <a:latin typeface="+mn-lt"/>
                    <a:ea typeface="+mn-ea"/>
                    <a:cs typeface="Calibri Light" panose="020F0302020204030204" pitchFamily="34" charset="0"/>
                  </a:defRPr>
                </a:lvl5pPr>
                <a:lvl6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6pPr>
                <a:lvl7pPr marL="863227" indent="-285799" algn="l" defTabSz="1481485" rtl="0" eaLnBrk="1" latinLnBrk="0" hangingPunct="1">
                  <a:spcBef>
                    <a:spcPts val="0"/>
                  </a:spcBef>
                  <a:spcAft>
                    <a:spcPts val="1620"/>
                  </a:spcAft>
                  <a:buFont typeface="Verdana" panose="020B0604030504040204" pitchFamily="34" charset="0"/>
                  <a:buChar char="−"/>
                  <a:defRPr sz="1945" kern="1200">
                    <a:solidFill>
                      <a:schemeClr val="tx1"/>
                    </a:solidFill>
                    <a:latin typeface="+mn-lt"/>
                    <a:ea typeface="+mn-ea"/>
                    <a:cs typeface="+mn-cs"/>
                  </a:defRPr>
                </a:lvl7pPr>
                <a:lvl8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8pPr>
                <a:lvl9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9pPr>
              </a:lstStyle>
              <a:p>
                <a:pPr marL="457200" indent="-457200">
                  <a:spcAft>
                    <a:spcPts val="0"/>
                  </a:spcAft>
                  <a:buFont typeface="+mj-lt"/>
                  <a:buAutoNum type="arabicPeriod"/>
                </a:pPr>
                <a:r>
                  <a:rPr lang="fr-FR" altLang="zh-CN" sz="1600" dirty="0">
                    <a:solidFill>
                      <a:schemeClr val="tx1">
                        <a:lumMod val="75000"/>
                        <a:lumOff val="25000"/>
                      </a:schemeClr>
                    </a:solidFill>
                  </a:rPr>
                  <a:t>Organisme d’accueil</a:t>
                </a:r>
              </a:p>
              <a:p>
                <a:pPr marL="457200" indent="-457200">
                  <a:spcAft>
                    <a:spcPts val="0"/>
                  </a:spcAft>
                  <a:buFont typeface="+mj-lt"/>
                  <a:buAutoNum type="arabicPeriod"/>
                </a:pPr>
                <a:r>
                  <a:rPr lang="fr-FR" altLang="zh-CN" sz="1600" dirty="0">
                    <a:solidFill>
                      <a:schemeClr val="tx1">
                        <a:lumMod val="75000"/>
                        <a:lumOff val="25000"/>
                      </a:schemeClr>
                    </a:solidFill>
                  </a:rPr>
                  <a:t>Problématique et objectifs</a:t>
                </a:r>
              </a:p>
              <a:p>
                <a:pPr marL="457200" indent="-457200">
                  <a:spcAft>
                    <a:spcPts val="0"/>
                  </a:spcAft>
                  <a:buFont typeface="+mj-lt"/>
                  <a:buAutoNum type="arabicPeriod"/>
                </a:pPr>
                <a:r>
                  <a:rPr lang="fr-FR" altLang="zh-CN" sz="1600" dirty="0">
                    <a:solidFill>
                      <a:schemeClr val="tx1">
                        <a:lumMod val="75000"/>
                        <a:lumOff val="25000"/>
                      </a:schemeClr>
                    </a:solidFill>
                  </a:rPr>
                  <a:t>Conduite du projet</a:t>
                </a:r>
              </a:p>
            </p:txBody>
          </p:sp>
          <p:sp>
            <p:nvSpPr>
              <p:cNvPr id="43" name="TextBox 42">
                <a:extLst>
                  <a:ext uri="{FF2B5EF4-FFF2-40B4-BE49-F238E27FC236}">
                    <a16:creationId xmlns:a16="http://schemas.microsoft.com/office/drawing/2014/main" id="{99B8748E-E8C6-48F9-8C6A-D5F14347E275}"/>
                  </a:ext>
                </a:extLst>
              </p:cNvPr>
              <p:cNvSpPr txBox="1"/>
              <p:nvPr/>
            </p:nvSpPr>
            <p:spPr>
              <a:xfrm>
                <a:off x="-3815423" y="2291556"/>
                <a:ext cx="3413739" cy="461665"/>
              </a:xfrm>
              <a:prstGeom prst="rect">
                <a:avLst/>
              </a:prstGeom>
              <a:noFill/>
            </p:spPr>
            <p:txBody>
              <a:bodyPr wrap="square">
                <a:spAutoFit/>
              </a:bodyPr>
              <a:lstStyle/>
              <a:p>
                <a:pPr>
                  <a:spcAft>
                    <a:spcPts val="0"/>
                  </a:spcAft>
                </a:pPr>
                <a:r>
                  <a:rPr lang="fr-FR" altLang="zh-CN" sz="2400" b="1" dirty="0"/>
                  <a:t>I.  Contexte général</a:t>
                </a:r>
              </a:p>
            </p:txBody>
          </p:sp>
        </p:grpSp>
        <p:grpSp>
          <p:nvGrpSpPr>
            <p:cNvPr id="24" name="Groupe 23">
              <a:extLst>
                <a:ext uri="{FF2B5EF4-FFF2-40B4-BE49-F238E27FC236}">
                  <a16:creationId xmlns:a16="http://schemas.microsoft.com/office/drawing/2014/main" id="{A9596510-9FAF-45F6-85A3-87A636B8988A}"/>
                </a:ext>
              </a:extLst>
            </p:cNvPr>
            <p:cNvGrpSpPr/>
            <p:nvPr/>
          </p:nvGrpSpPr>
          <p:grpSpPr>
            <a:xfrm>
              <a:off x="3488861" y="1901370"/>
              <a:ext cx="2980800" cy="3139555"/>
              <a:chOff x="-4073993" y="1859134"/>
              <a:chExt cx="3806580" cy="3139555"/>
            </a:xfrm>
            <a:effectLst>
              <a:reflection blurRad="6350" stA="52000" endA="300" endPos="35000" dir="5400000" sy="-100000" algn="bl" rotWithShape="0"/>
            </a:effectLst>
          </p:grpSpPr>
          <p:sp>
            <p:nvSpPr>
              <p:cNvPr id="25" name="Rectangle 24">
                <a:extLst>
                  <a:ext uri="{FF2B5EF4-FFF2-40B4-BE49-F238E27FC236}">
                    <a16:creationId xmlns:a16="http://schemas.microsoft.com/office/drawing/2014/main" id="{ED089B82-7E89-448D-AF49-D046D6270AD1}"/>
                  </a:ext>
                </a:extLst>
              </p:cNvPr>
              <p:cNvSpPr/>
              <p:nvPr/>
            </p:nvSpPr>
            <p:spPr bwMode="gray">
              <a:xfrm>
                <a:off x="-4073993" y="1859134"/>
                <a:ext cx="3806580" cy="31395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26" name="Content Placeholder 2">
                <a:extLst>
                  <a:ext uri="{FF2B5EF4-FFF2-40B4-BE49-F238E27FC236}">
                    <a16:creationId xmlns:a16="http://schemas.microsoft.com/office/drawing/2014/main" id="{85E62A2B-7747-4B54-9573-B5460ED3DAA8}"/>
                  </a:ext>
                </a:extLst>
              </p:cNvPr>
              <p:cNvSpPr txBox="1">
                <a:spLocks/>
              </p:cNvSpPr>
              <p:nvPr/>
            </p:nvSpPr>
            <p:spPr>
              <a:xfrm>
                <a:off x="-3523300" y="3266838"/>
                <a:ext cx="2829491" cy="1231106"/>
              </a:xfrm>
              <a:prstGeom prst="rect">
                <a:avLst/>
              </a:prstGeom>
            </p:spPr>
            <p:txBody>
              <a:bodyPr vert="horz" wrap="square" lIns="0" tIns="0" rIns="0" bIns="0" rtlCol="0">
                <a:spAutoFit/>
              </a:bodyPr>
              <a:lstStyle>
                <a:lvl1pPr marL="0" indent="0" algn="l" defTabSz="1481485" rtl="0" eaLnBrk="1" latinLnBrk="0" hangingPunct="1">
                  <a:spcBef>
                    <a:spcPts val="0"/>
                  </a:spcBef>
                  <a:spcAft>
                    <a:spcPts val="1620"/>
                  </a:spcAft>
                  <a:buSzPct val="100000"/>
                  <a:buFont typeface="Arial" panose="020B0604020202020204" pitchFamily="34" charset="0"/>
                  <a:buNone/>
                  <a:defRPr sz="1760" b="0" kern="1200">
                    <a:solidFill>
                      <a:schemeClr val="tx1"/>
                    </a:solidFill>
                    <a:latin typeface="+mn-lt"/>
                    <a:ea typeface="+mn-ea"/>
                    <a:cs typeface="Calibri Light" panose="020F0302020204030204" pitchFamily="34" charset="0"/>
                  </a:defRPr>
                </a:lvl1pPr>
                <a:lvl2pPr marL="0" indent="0" algn="l" defTabSz="1481485" rtl="0" eaLnBrk="1" latinLnBrk="0" hangingPunct="1">
                  <a:spcBef>
                    <a:spcPts val="0"/>
                  </a:spcBef>
                  <a:spcAft>
                    <a:spcPts val="1620"/>
                  </a:spcAft>
                  <a:buClrTx/>
                  <a:buSzPct val="100000"/>
                  <a:buFont typeface="Arial"/>
                  <a:buNone/>
                  <a:defRPr lang="en-US" sz="1760" b="1" kern="1200" dirty="0" smtClean="0">
                    <a:solidFill>
                      <a:schemeClr val="tx1"/>
                    </a:solidFill>
                    <a:latin typeface="+mj-lt"/>
                    <a:ea typeface="+mn-ea"/>
                    <a:cs typeface="Calibri Light" panose="020F0302020204030204" pitchFamily="34" charset="0"/>
                  </a:defRPr>
                </a:lvl2pPr>
                <a:lvl3pPr marL="285799" indent="-285799" algn="l" defTabSz="1481485" rtl="0" eaLnBrk="1" latinLnBrk="0" hangingPunct="1">
                  <a:spcBef>
                    <a:spcPts val="0"/>
                  </a:spcBef>
                  <a:spcAft>
                    <a:spcPts val="1620"/>
                  </a:spcAft>
                  <a:buClrTx/>
                  <a:buSzPct val="100000"/>
                  <a:buFont typeface="Arial" panose="020B0604020202020204" pitchFamily="34" charset="0"/>
                  <a:buChar char="•"/>
                  <a:defRPr lang="en-US" sz="1760" kern="1200" dirty="0" smtClean="0">
                    <a:solidFill>
                      <a:schemeClr val="tx1"/>
                    </a:solidFill>
                    <a:latin typeface="+mn-lt"/>
                    <a:ea typeface="+mn-ea"/>
                    <a:cs typeface="Calibri Light" panose="020F0302020204030204" pitchFamily="34" charset="0"/>
                  </a:defRPr>
                </a:lvl3pPr>
                <a:lvl4pPr marL="577429" indent="-285799" algn="l" defTabSz="1481485" rtl="0" eaLnBrk="1" latinLnBrk="0" hangingPunct="1">
                  <a:spcBef>
                    <a:spcPts val="0"/>
                  </a:spcBef>
                  <a:spcAft>
                    <a:spcPts val="1620"/>
                  </a:spcAft>
                  <a:buClrTx/>
                  <a:buSzPct val="100000"/>
                  <a:buFont typeface="Verdana" panose="020B0604030504040204" pitchFamily="34" charset="0"/>
                  <a:buChar char="−"/>
                  <a:defRPr lang="en-US" sz="1760" kern="1200" baseline="0" dirty="0" smtClean="0">
                    <a:solidFill>
                      <a:schemeClr val="tx1"/>
                    </a:solidFill>
                    <a:latin typeface="+mn-lt"/>
                    <a:ea typeface="+mn-ea"/>
                    <a:cs typeface="Calibri Light" panose="020F0302020204030204" pitchFamily="34" charset="0"/>
                  </a:defRPr>
                </a:lvl4pPr>
                <a:lvl5pPr marL="863227" indent="-285799" algn="l" defTabSz="1293728" rtl="0" eaLnBrk="1" latinLnBrk="0" hangingPunct="1">
                  <a:spcBef>
                    <a:spcPts val="0"/>
                  </a:spcBef>
                  <a:spcAft>
                    <a:spcPts val="1620"/>
                  </a:spcAft>
                  <a:buClrTx/>
                  <a:buSzPct val="100000"/>
                  <a:buFont typeface="Verdana" panose="020B0604030504040204" pitchFamily="34" charset="0"/>
                  <a:buChar char="−"/>
                  <a:tabLst/>
                  <a:defRPr lang="en-US" sz="1760" kern="1200" baseline="0" dirty="0" smtClean="0">
                    <a:solidFill>
                      <a:schemeClr val="tx1"/>
                    </a:solidFill>
                    <a:latin typeface="+mn-lt"/>
                    <a:ea typeface="+mn-ea"/>
                    <a:cs typeface="Calibri Light" panose="020F0302020204030204" pitchFamily="34" charset="0"/>
                  </a:defRPr>
                </a:lvl5pPr>
                <a:lvl6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6pPr>
                <a:lvl7pPr marL="863227" indent="-285799" algn="l" defTabSz="1481485" rtl="0" eaLnBrk="1" latinLnBrk="0" hangingPunct="1">
                  <a:spcBef>
                    <a:spcPts val="0"/>
                  </a:spcBef>
                  <a:spcAft>
                    <a:spcPts val="1620"/>
                  </a:spcAft>
                  <a:buFont typeface="Verdana" panose="020B0604030504040204" pitchFamily="34" charset="0"/>
                  <a:buChar char="−"/>
                  <a:defRPr sz="1945" kern="1200">
                    <a:solidFill>
                      <a:schemeClr val="tx1"/>
                    </a:solidFill>
                    <a:latin typeface="+mn-lt"/>
                    <a:ea typeface="+mn-ea"/>
                    <a:cs typeface="+mn-cs"/>
                  </a:defRPr>
                </a:lvl7pPr>
                <a:lvl8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8pPr>
                <a:lvl9pPr marL="863227" indent="-285799" algn="l" defTabSz="1481485" rtl="0" eaLnBrk="1" latinLnBrk="0" hangingPunct="1">
                  <a:spcBef>
                    <a:spcPts val="0"/>
                  </a:spcBef>
                  <a:spcAft>
                    <a:spcPts val="1620"/>
                  </a:spcAft>
                  <a:buFont typeface="Verdana" panose="020B0604030504040204" pitchFamily="34" charset="0"/>
                  <a:buChar char="−"/>
                  <a:defRPr sz="1945" kern="1200" baseline="0">
                    <a:solidFill>
                      <a:schemeClr val="tx1"/>
                    </a:solidFill>
                    <a:latin typeface="+mn-lt"/>
                    <a:ea typeface="+mn-ea"/>
                    <a:cs typeface="+mn-cs"/>
                  </a:defRPr>
                </a:lvl9pPr>
              </a:lstStyle>
              <a:p>
                <a:pPr marL="457200" indent="-457200">
                  <a:spcAft>
                    <a:spcPts val="0"/>
                  </a:spcAft>
                  <a:buFont typeface="+mj-lt"/>
                  <a:buAutoNum type="arabicPeriod"/>
                </a:pPr>
                <a:r>
                  <a:rPr lang="fr-FR" sz="1600" dirty="0">
                    <a:solidFill>
                      <a:schemeClr val="tx1">
                        <a:lumMod val="75000"/>
                        <a:lumOff val="25000"/>
                      </a:schemeClr>
                    </a:solidFill>
                  </a:rPr>
                  <a:t>Approche suivie</a:t>
                </a:r>
              </a:p>
              <a:p>
                <a:pPr marL="457200" indent="-457200">
                  <a:spcAft>
                    <a:spcPts val="0"/>
                  </a:spcAft>
                  <a:buFont typeface="+mj-lt"/>
                  <a:buAutoNum type="arabicPeriod"/>
                </a:pPr>
                <a:r>
                  <a:rPr lang="fr-FR" sz="1600" dirty="0">
                    <a:solidFill>
                      <a:schemeClr val="tx1">
                        <a:lumMod val="75000"/>
                        <a:lumOff val="25000"/>
                      </a:schemeClr>
                    </a:solidFill>
                  </a:rPr>
                  <a:t>Objectifs</a:t>
                </a:r>
              </a:p>
              <a:p>
                <a:pPr marL="457200" indent="-457200">
                  <a:spcAft>
                    <a:spcPts val="0"/>
                  </a:spcAft>
                  <a:buFont typeface="+mj-lt"/>
                  <a:buAutoNum type="arabicPeriod"/>
                </a:pPr>
                <a:r>
                  <a:rPr lang="fr-FR" sz="1600" dirty="0">
                    <a:solidFill>
                      <a:schemeClr val="tx1">
                        <a:lumMod val="75000"/>
                        <a:lumOff val="25000"/>
                      </a:schemeClr>
                    </a:solidFill>
                  </a:rPr>
                  <a:t>Services CISO</a:t>
                </a:r>
              </a:p>
              <a:p>
                <a:pPr marL="457200" indent="-457200">
                  <a:spcAft>
                    <a:spcPts val="0"/>
                  </a:spcAft>
                  <a:buFont typeface="+mj-lt"/>
                  <a:buAutoNum type="arabicPeriod"/>
                </a:pPr>
                <a:r>
                  <a:rPr lang="fr-FR" sz="1600" dirty="0">
                    <a:solidFill>
                      <a:schemeClr val="tx1">
                        <a:lumMod val="75000"/>
                        <a:lumOff val="25000"/>
                      </a:schemeClr>
                    </a:solidFill>
                  </a:rPr>
                  <a:t>Normes et standards</a:t>
                </a:r>
              </a:p>
              <a:p>
                <a:pPr marL="457200" indent="-457200">
                  <a:spcAft>
                    <a:spcPts val="0"/>
                  </a:spcAft>
                  <a:buFont typeface="+mj-lt"/>
                  <a:buAutoNum type="arabicPeriod"/>
                </a:pPr>
                <a:r>
                  <a:rPr lang="fr-FR" sz="1600" dirty="0">
                    <a:solidFill>
                      <a:schemeClr val="tx1">
                        <a:lumMod val="75000"/>
                        <a:lumOff val="25000"/>
                      </a:schemeClr>
                    </a:solidFill>
                  </a:rPr>
                  <a:t>Aperçu Framework</a:t>
                </a:r>
              </a:p>
            </p:txBody>
          </p:sp>
          <p:sp>
            <p:nvSpPr>
              <p:cNvPr id="27" name="TextBox 42">
                <a:extLst>
                  <a:ext uri="{FF2B5EF4-FFF2-40B4-BE49-F238E27FC236}">
                    <a16:creationId xmlns:a16="http://schemas.microsoft.com/office/drawing/2014/main" id="{24A14519-010C-4D59-BAF6-0FECAA95E629}"/>
                  </a:ext>
                </a:extLst>
              </p:cNvPr>
              <p:cNvSpPr txBox="1"/>
              <p:nvPr/>
            </p:nvSpPr>
            <p:spPr>
              <a:xfrm>
                <a:off x="-3829600" y="2147488"/>
                <a:ext cx="3442093" cy="830997"/>
              </a:xfrm>
              <a:prstGeom prst="rect">
                <a:avLst/>
              </a:prstGeom>
              <a:noFill/>
            </p:spPr>
            <p:txBody>
              <a:bodyPr wrap="square">
                <a:spAutoFit/>
              </a:bodyPr>
              <a:lstStyle/>
              <a:p>
                <a:pPr algn="ctr">
                  <a:spcAft>
                    <a:spcPts val="0"/>
                  </a:spcAft>
                </a:pPr>
                <a:r>
                  <a:rPr lang="fr-FR" altLang="zh-CN" sz="2400" b="1" dirty="0"/>
                  <a:t>II. Développement du toolkit</a:t>
                </a:r>
              </a:p>
            </p:txBody>
          </p:sp>
        </p:grpSp>
        <p:grpSp>
          <p:nvGrpSpPr>
            <p:cNvPr id="16" name="Groupe 15">
              <a:extLst>
                <a:ext uri="{FF2B5EF4-FFF2-40B4-BE49-F238E27FC236}">
                  <a16:creationId xmlns:a16="http://schemas.microsoft.com/office/drawing/2014/main" id="{A261D73C-7B65-4D46-8374-F0C9AD1B8717}"/>
                </a:ext>
              </a:extLst>
            </p:cNvPr>
            <p:cNvGrpSpPr/>
            <p:nvPr/>
          </p:nvGrpSpPr>
          <p:grpSpPr>
            <a:xfrm>
              <a:off x="10025931" y="1901370"/>
              <a:ext cx="2980800" cy="3139555"/>
              <a:chOff x="13489120" y="1859134"/>
              <a:chExt cx="3806580" cy="3139555"/>
            </a:xfrm>
            <a:solidFill>
              <a:schemeClr val="bg1"/>
            </a:solidFill>
            <a:effectLst>
              <a:reflection blurRad="6350" stA="52000" endA="300" endPos="35000" dir="5400000" sy="-100000" algn="bl" rotWithShape="0"/>
            </a:effectLst>
          </p:grpSpPr>
          <p:sp>
            <p:nvSpPr>
              <p:cNvPr id="17" name="Rectangle 16">
                <a:extLst>
                  <a:ext uri="{FF2B5EF4-FFF2-40B4-BE49-F238E27FC236}">
                    <a16:creationId xmlns:a16="http://schemas.microsoft.com/office/drawing/2014/main" id="{C85D00BC-F8B8-4CE8-A93F-F6B78A0CFEBB}"/>
                  </a:ext>
                </a:extLst>
              </p:cNvPr>
              <p:cNvSpPr/>
              <p:nvPr/>
            </p:nvSpPr>
            <p:spPr bwMode="gray">
              <a:xfrm>
                <a:off x="13489120" y="1859134"/>
                <a:ext cx="3806580" cy="3139555"/>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9" name="TextBox 44">
                <a:extLst>
                  <a:ext uri="{FF2B5EF4-FFF2-40B4-BE49-F238E27FC236}">
                    <a16:creationId xmlns:a16="http://schemas.microsoft.com/office/drawing/2014/main" id="{DB2AD1CB-6A8B-485B-8029-EB74E9CC5A6C}"/>
                  </a:ext>
                </a:extLst>
              </p:cNvPr>
              <p:cNvSpPr txBox="1"/>
              <p:nvPr/>
            </p:nvSpPr>
            <p:spPr>
              <a:xfrm>
                <a:off x="13861076" y="2291556"/>
                <a:ext cx="3098903" cy="830997"/>
              </a:xfrm>
              <a:prstGeom prst="rect">
                <a:avLst/>
              </a:prstGeom>
              <a:grpFill/>
            </p:spPr>
            <p:txBody>
              <a:bodyPr wrap="square">
                <a:spAutoFit/>
              </a:bodyPr>
              <a:lstStyle/>
              <a:p>
                <a:pPr algn="ctr">
                  <a:spcAft>
                    <a:spcPts val="0"/>
                  </a:spcAft>
                </a:pPr>
                <a:r>
                  <a:rPr lang="fr-FR" altLang="zh-CN" sz="2400" b="1" dirty="0"/>
                  <a:t>IV. Conclusion et perspectives</a:t>
                </a:r>
              </a:p>
            </p:txBody>
          </p:sp>
        </p:grpSp>
      </p:grpSp>
    </p:spTree>
    <p:extLst>
      <p:ext uri="{BB962C8B-B14F-4D97-AF65-F5344CB8AC3E}">
        <p14:creationId xmlns:p14="http://schemas.microsoft.com/office/powerpoint/2010/main" val="1062052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A839E4-2279-465D-BDC5-03FE0C71ECA2}"/>
              </a:ext>
            </a:extLst>
          </p:cNvPr>
          <p:cNvSpPr/>
          <p:nvPr/>
        </p:nvSpPr>
        <p:spPr bwMode="gray">
          <a:xfrm>
            <a:off x="-1" y="1301911"/>
            <a:ext cx="13439775" cy="6495297"/>
          </a:xfrm>
          <a:prstGeom prst="rect">
            <a:avLst/>
          </a:prstGeom>
          <a:solidFill>
            <a:srgbClr val="F4FAF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pic>
        <p:nvPicPr>
          <p:cNvPr id="28" name="Picture 27" descr="A picture containing text, logo, circle, font&#10;&#10;Description automatically generated">
            <a:extLst>
              <a:ext uri="{FF2B5EF4-FFF2-40B4-BE49-F238E27FC236}">
                <a16:creationId xmlns:a16="http://schemas.microsoft.com/office/drawing/2014/main" id="{B4D9BF0D-FA21-46A6-84F3-A7C17F817668}"/>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12826" y1="9007" x2="217" y2="9272"/>
                        <a14:backgroundMark x1="217" y1="9272" x2="217" y2="9272"/>
                        <a14:backgroundMark x1="435" y1="44503" x2="5217" y2="27682"/>
                        <a14:backgroundMark x1="5217" y1="27682" x2="19457" y2="8874"/>
                        <a14:backgroundMark x1="19457" y1="8874" x2="28696" y2="1060"/>
                        <a14:backgroundMark x1="28696" y1="1060" x2="30652" y2="397"/>
                      </a14:backgroundRemoval>
                    </a14:imgEffect>
                  </a14:imgLayer>
                </a14:imgProps>
              </a:ext>
            </a:extLst>
          </a:blip>
          <a:stretch>
            <a:fillRect/>
          </a:stretch>
        </p:blipFill>
        <p:spPr>
          <a:xfrm>
            <a:off x="696905" y="1115616"/>
            <a:ext cx="3188426" cy="2599412"/>
          </a:xfrm>
          <a:prstGeom prst="rect">
            <a:avLst/>
          </a:prstGeom>
        </p:spPr>
      </p:pic>
      <p:sp>
        <p:nvSpPr>
          <p:cNvPr id="35" name="TextBox 34">
            <a:extLst>
              <a:ext uri="{FF2B5EF4-FFF2-40B4-BE49-F238E27FC236}">
                <a16:creationId xmlns:a16="http://schemas.microsoft.com/office/drawing/2014/main" id="{D7F05C52-B6CD-4272-B90F-E61A2348F4CC}"/>
              </a:ext>
            </a:extLst>
          </p:cNvPr>
          <p:cNvSpPr txBox="1"/>
          <p:nvPr/>
        </p:nvSpPr>
        <p:spPr>
          <a:xfrm>
            <a:off x="430650" y="3333028"/>
            <a:ext cx="3454681" cy="923330"/>
          </a:xfrm>
          <a:prstGeom prst="rect">
            <a:avLst/>
          </a:prstGeom>
          <a:noFill/>
        </p:spPr>
        <p:txBody>
          <a:bodyPr wrap="square" lIns="0" tIns="0" rIns="0" bIns="0" rtlCol="0">
            <a:spAutoFit/>
          </a:bodyPr>
          <a:lstStyle/>
          <a:p>
            <a:pPr algn="just">
              <a:spcBef>
                <a:spcPts val="600"/>
              </a:spcBef>
              <a:buSzPct val="100000"/>
            </a:pPr>
            <a:r>
              <a:rPr lang="fr-FR" sz="1200" b="0" i="0">
                <a:effectLst/>
              </a:rPr>
              <a:t>ISO 27001 est une norme internationale de gestion de la sécurité de l'information. Elle définit les meilleures pratiques pour établir, mettre en œuvre, maintenir et améliorer un système de gestion de la sécurité de l'information au sein d'une organisation.</a:t>
            </a:r>
            <a:endParaRPr lang="fr-FR" sz="1200"/>
          </a:p>
        </p:txBody>
      </p:sp>
      <p:grpSp>
        <p:nvGrpSpPr>
          <p:cNvPr id="54" name="Group 53">
            <a:extLst>
              <a:ext uri="{FF2B5EF4-FFF2-40B4-BE49-F238E27FC236}">
                <a16:creationId xmlns:a16="http://schemas.microsoft.com/office/drawing/2014/main" id="{C2495E2B-7615-4E05-86AC-C162B4618BD5}"/>
              </a:ext>
            </a:extLst>
          </p:cNvPr>
          <p:cNvGrpSpPr/>
          <p:nvPr/>
        </p:nvGrpSpPr>
        <p:grpSpPr>
          <a:xfrm>
            <a:off x="189187" y="4353187"/>
            <a:ext cx="4025462" cy="2833003"/>
            <a:chOff x="4314496" y="4277710"/>
            <a:chExt cx="5439103" cy="2882727"/>
          </a:xfrm>
        </p:grpSpPr>
        <p:sp>
          <p:nvSpPr>
            <p:cNvPr id="38" name="Rectangle 37">
              <a:extLst>
                <a:ext uri="{FF2B5EF4-FFF2-40B4-BE49-F238E27FC236}">
                  <a16:creationId xmlns:a16="http://schemas.microsoft.com/office/drawing/2014/main" id="{B0AC1D4B-D8D5-4000-A051-5DC2E2082866}"/>
                </a:ext>
              </a:extLst>
            </p:cNvPr>
            <p:cNvSpPr/>
            <p:nvPr/>
          </p:nvSpPr>
          <p:spPr bwMode="gray">
            <a:xfrm>
              <a:off x="4314496" y="4277710"/>
              <a:ext cx="5439103" cy="2882727"/>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39" name="Rectangle: Rounded Corners 38">
              <a:extLst>
                <a:ext uri="{FF2B5EF4-FFF2-40B4-BE49-F238E27FC236}">
                  <a16:creationId xmlns:a16="http://schemas.microsoft.com/office/drawing/2014/main" id="{66E043FD-4289-41AA-BC1D-C25928184B44}"/>
                </a:ext>
              </a:extLst>
            </p:cNvPr>
            <p:cNvSpPr/>
            <p:nvPr/>
          </p:nvSpPr>
          <p:spPr bwMode="gray">
            <a:xfrm>
              <a:off x="4369479" y="4431425"/>
              <a:ext cx="1371713" cy="213972"/>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Introduction</a:t>
              </a:r>
            </a:p>
          </p:txBody>
        </p:sp>
        <p:sp>
          <p:nvSpPr>
            <p:cNvPr id="40" name="Rectangle: Rounded Corners 39">
              <a:extLst>
                <a:ext uri="{FF2B5EF4-FFF2-40B4-BE49-F238E27FC236}">
                  <a16:creationId xmlns:a16="http://schemas.microsoft.com/office/drawing/2014/main" id="{2862FA95-2F25-4EF6-AB08-BF1FAE120B1B}"/>
                </a:ext>
              </a:extLst>
            </p:cNvPr>
            <p:cNvSpPr/>
            <p:nvPr/>
          </p:nvSpPr>
          <p:spPr bwMode="gray">
            <a:xfrm>
              <a:off x="4369478" y="4744594"/>
              <a:ext cx="1371713" cy="322191"/>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4 Contexte de l’organisation</a:t>
              </a:r>
            </a:p>
          </p:txBody>
        </p:sp>
        <p:sp>
          <p:nvSpPr>
            <p:cNvPr id="41" name="Rectangle: Rounded Corners 40">
              <a:extLst>
                <a:ext uri="{FF2B5EF4-FFF2-40B4-BE49-F238E27FC236}">
                  <a16:creationId xmlns:a16="http://schemas.microsoft.com/office/drawing/2014/main" id="{485684A1-2F0B-488E-AEB1-7E7D13ED7B0A}"/>
                </a:ext>
              </a:extLst>
            </p:cNvPr>
            <p:cNvSpPr/>
            <p:nvPr/>
          </p:nvSpPr>
          <p:spPr bwMode="gray">
            <a:xfrm>
              <a:off x="4369478" y="5158543"/>
              <a:ext cx="1371713" cy="221411"/>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5 Leadership</a:t>
              </a:r>
            </a:p>
          </p:txBody>
        </p:sp>
        <p:sp>
          <p:nvSpPr>
            <p:cNvPr id="42" name="Rectangle: Rounded Corners 41">
              <a:extLst>
                <a:ext uri="{FF2B5EF4-FFF2-40B4-BE49-F238E27FC236}">
                  <a16:creationId xmlns:a16="http://schemas.microsoft.com/office/drawing/2014/main" id="{288711E4-B736-43A7-992E-BBF728FCFBBC}"/>
                </a:ext>
              </a:extLst>
            </p:cNvPr>
            <p:cNvSpPr/>
            <p:nvPr/>
          </p:nvSpPr>
          <p:spPr bwMode="gray">
            <a:xfrm>
              <a:off x="4369478" y="5471712"/>
              <a:ext cx="1371713" cy="221411"/>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6 Planification</a:t>
              </a:r>
            </a:p>
          </p:txBody>
        </p:sp>
        <p:sp>
          <p:nvSpPr>
            <p:cNvPr id="43" name="Rectangle: Rounded Corners 42">
              <a:extLst>
                <a:ext uri="{FF2B5EF4-FFF2-40B4-BE49-F238E27FC236}">
                  <a16:creationId xmlns:a16="http://schemas.microsoft.com/office/drawing/2014/main" id="{1D2CEB91-AF19-4606-9653-51D6F2277CDA}"/>
                </a:ext>
              </a:extLst>
            </p:cNvPr>
            <p:cNvSpPr/>
            <p:nvPr/>
          </p:nvSpPr>
          <p:spPr bwMode="gray">
            <a:xfrm>
              <a:off x="4369478" y="5784881"/>
              <a:ext cx="1371713" cy="221411"/>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7 Support</a:t>
              </a:r>
            </a:p>
          </p:txBody>
        </p:sp>
        <p:sp>
          <p:nvSpPr>
            <p:cNvPr id="44" name="Rectangle: Rounded Corners 43">
              <a:extLst>
                <a:ext uri="{FF2B5EF4-FFF2-40B4-BE49-F238E27FC236}">
                  <a16:creationId xmlns:a16="http://schemas.microsoft.com/office/drawing/2014/main" id="{587E2448-34B5-46E5-8470-B8C66576DFD9}"/>
                </a:ext>
              </a:extLst>
            </p:cNvPr>
            <p:cNvSpPr/>
            <p:nvPr/>
          </p:nvSpPr>
          <p:spPr bwMode="gray">
            <a:xfrm>
              <a:off x="4369478" y="6098050"/>
              <a:ext cx="1371713" cy="276988"/>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8</a:t>
              </a:r>
            </a:p>
            <a:p>
              <a:pPr algn="ctr">
                <a:lnSpc>
                  <a:spcPct val="106000"/>
                </a:lnSpc>
                <a:buFont typeface="Wingdings 2" pitchFamily="18" charset="2"/>
                <a:buNone/>
              </a:pPr>
              <a:r>
                <a:rPr lang="fr-FR" sz="900"/>
                <a:t>Fonctionnement</a:t>
              </a:r>
            </a:p>
          </p:txBody>
        </p:sp>
        <p:sp>
          <p:nvSpPr>
            <p:cNvPr id="45" name="Rectangle: Rounded Corners 44">
              <a:extLst>
                <a:ext uri="{FF2B5EF4-FFF2-40B4-BE49-F238E27FC236}">
                  <a16:creationId xmlns:a16="http://schemas.microsoft.com/office/drawing/2014/main" id="{888FFA3B-8B91-4849-8051-F09B866A53A6}"/>
                </a:ext>
              </a:extLst>
            </p:cNvPr>
            <p:cNvSpPr/>
            <p:nvPr/>
          </p:nvSpPr>
          <p:spPr bwMode="gray">
            <a:xfrm>
              <a:off x="4369478" y="6453996"/>
              <a:ext cx="1371713" cy="357092"/>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9 Évaluation des performances</a:t>
              </a:r>
            </a:p>
          </p:txBody>
        </p:sp>
        <p:sp>
          <p:nvSpPr>
            <p:cNvPr id="46" name="Rectangle: Rounded Corners 45">
              <a:extLst>
                <a:ext uri="{FF2B5EF4-FFF2-40B4-BE49-F238E27FC236}">
                  <a16:creationId xmlns:a16="http://schemas.microsoft.com/office/drawing/2014/main" id="{FA6EC5CA-A469-49C9-BD65-133A2C097C2A}"/>
                </a:ext>
              </a:extLst>
            </p:cNvPr>
            <p:cNvSpPr/>
            <p:nvPr/>
          </p:nvSpPr>
          <p:spPr bwMode="gray">
            <a:xfrm>
              <a:off x="4369478" y="6867507"/>
              <a:ext cx="1371713" cy="213972"/>
            </a:xfrm>
            <a:prstGeom prst="roundRect">
              <a:avLst/>
            </a:prstGeom>
            <a:solidFill>
              <a:srgbClr val="FFF1B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900"/>
                <a:t>10 Amélioration</a:t>
              </a:r>
            </a:p>
          </p:txBody>
        </p:sp>
        <p:grpSp>
          <p:nvGrpSpPr>
            <p:cNvPr id="53" name="Group 52">
              <a:extLst>
                <a:ext uri="{FF2B5EF4-FFF2-40B4-BE49-F238E27FC236}">
                  <a16:creationId xmlns:a16="http://schemas.microsoft.com/office/drawing/2014/main" id="{09AB5DE4-D469-4FD0-9AD1-BEA21E0EF57A}"/>
                </a:ext>
              </a:extLst>
            </p:cNvPr>
            <p:cNvGrpSpPr/>
            <p:nvPr/>
          </p:nvGrpSpPr>
          <p:grpSpPr>
            <a:xfrm>
              <a:off x="5803449" y="4351283"/>
              <a:ext cx="3858882" cy="2730196"/>
              <a:chOff x="5929907" y="4256358"/>
              <a:chExt cx="3858882" cy="2825121"/>
            </a:xfrm>
          </p:grpSpPr>
          <p:sp>
            <p:nvSpPr>
              <p:cNvPr id="47" name="Rectangle: Rounded Corners 46">
                <a:extLst>
                  <a:ext uri="{FF2B5EF4-FFF2-40B4-BE49-F238E27FC236}">
                    <a16:creationId xmlns:a16="http://schemas.microsoft.com/office/drawing/2014/main" id="{AC8579D9-770D-4F06-B0B7-9ED067422D48}"/>
                  </a:ext>
                </a:extLst>
              </p:cNvPr>
              <p:cNvSpPr/>
              <p:nvPr/>
            </p:nvSpPr>
            <p:spPr bwMode="gray">
              <a:xfrm>
                <a:off x="5929907" y="4256358"/>
                <a:ext cx="3858882" cy="282512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52" name="TextBox 51">
                <a:extLst>
                  <a:ext uri="{FF2B5EF4-FFF2-40B4-BE49-F238E27FC236}">
                    <a16:creationId xmlns:a16="http://schemas.microsoft.com/office/drawing/2014/main" id="{966F75DA-13A5-43D1-A0B7-C877930E7FD1}"/>
                  </a:ext>
                </a:extLst>
              </p:cNvPr>
              <p:cNvSpPr txBox="1"/>
              <p:nvPr/>
            </p:nvSpPr>
            <p:spPr>
              <a:xfrm>
                <a:off x="6053988" y="4267324"/>
                <a:ext cx="3503403" cy="2624946"/>
              </a:xfrm>
              <a:prstGeom prst="rect">
                <a:avLst/>
              </a:prstGeom>
              <a:noFill/>
            </p:spPr>
            <p:txBody>
              <a:bodyPr wrap="square">
                <a:spAutoFit/>
              </a:bodyPr>
              <a:lstStyle/>
              <a:p>
                <a:pPr algn="ctr"/>
                <a:r>
                  <a:rPr lang="fr-FR" sz="1200" b="1" i="0" u="none" strike="noStrike" baseline="0"/>
                  <a:t>Annexe A</a:t>
                </a:r>
              </a:p>
              <a:p>
                <a:r>
                  <a:rPr lang="fr-FR" sz="900" i="0" u="none" strike="noStrike" baseline="0"/>
                  <a:t>A.5 Politiques de sécurité de l’information</a:t>
                </a:r>
              </a:p>
              <a:p>
                <a:r>
                  <a:rPr lang="fr-FR" sz="900" i="0" u="none" strike="noStrike" baseline="0"/>
                  <a:t>A.6 Organisation de la sécurité de l’information</a:t>
                </a:r>
                <a:endParaRPr lang="fr-FR" sz="900"/>
              </a:p>
              <a:p>
                <a:r>
                  <a:rPr lang="fr-FR" sz="900" i="0" u="none" strike="noStrike" baseline="0"/>
                  <a:t>A.7 Sécurité des ressources humaines</a:t>
                </a:r>
              </a:p>
              <a:p>
                <a:r>
                  <a:rPr lang="fr-FR" sz="900" i="0" u="none" strike="noStrike" baseline="0"/>
                  <a:t>A.8 Gestion des actifs</a:t>
                </a:r>
                <a:endParaRPr lang="fr-FR" sz="900"/>
              </a:p>
              <a:p>
                <a:r>
                  <a:rPr lang="fr-FR" sz="900" i="0" u="none" strike="noStrike" baseline="0"/>
                  <a:t>A.9 Contrôle d’accès</a:t>
                </a:r>
              </a:p>
              <a:p>
                <a:r>
                  <a:rPr lang="fr-FR" sz="900" i="0" u="none" strike="noStrike" baseline="0"/>
                  <a:t>A.10 Cryptographie</a:t>
                </a:r>
                <a:endParaRPr lang="fr-FR" sz="900"/>
              </a:p>
              <a:p>
                <a:r>
                  <a:rPr lang="fr-FR" sz="900" i="0" u="none" strike="noStrike" baseline="0"/>
                  <a:t>A.11 Sécurité physique et environnementale</a:t>
                </a:r>
              </a:p>
              <a:p>
                <a:r>
                  <a:rPr lang="fr-FR" sz="900" i="0" u="none" strike="noStrike" baseline="0"/>
                  <a:t>A.12 Sécurité liée à l’exploitation</a:t>
                </a:r>
                <a:endParaRPr lang="fr-FR" sz="900"/>
              </a:p>
              <a:p>
                <a:r>
                  <a:rPr lang="fr-FR" sz="900" i="0" u="none" strike="noStrike" baseline="0"/>
                  <a:t>A.13 Sécurité des communications</a:t>
                </a:r>
              </a:p>
              <a:p>
                <a:r>
                  <a:rPr lang="fr-FR" sz="900" i="0" u="none" strike="noStrike" baseline="0"/>
                  <a:t>A.14 Acquisition, développement et maintenance des systèmes d’information</a:t>
                </a:r>
                <a:endParaRPr lang="fr-FR" sz="900"/>
              </a:p>
              <a:p>
                <a:r>
                  <a:rPr lang="fr-FR" sz="900" i="0" u="none" strike="noStrike" baseline="0"/>
                  <a:t>A.15 Relations avec les fournisseurs</a:t>
                </a:r>
              </a:p>
              <a:p>
                <a:r>
                  <a:rPr lang="fr-FR" sz="900" i="0" u="none" strike="noStrike" baseline="0"/>
                  <a:t>A.16 Gestion des incidents liés à la sécurité de l’information</a:t>
                </a:r>
                <a:endParaRPr lang="fr-FR" sz="900"/>
              </a:p>
              <a:p>
                <a:r>
                  <a:rPr lang="fr-FR" sz="900" i="0" u="none" strike="noStrike" baseline="0"/>
                  <a:t>A.17 Aspects de la sécurité de l’information dans la gestion de la continuité de l’activité</a:t>
                </a:r>
              </a:p>
              <a:p>
                <a:r>
                  <a:rPr lang="fr-FR" sz="900" i="0" u="none" strike="noStrike" baseline="0"/>
                  <a:t>A.18 Conformité</a:t>
                </a:r>
                <a:endParaRPr lang="fr-FR" sz="900"/>
              </a:p>
            </p:txBody>
          </p:sp>
        </p:grpSp>
      </p:grpSp>
      <p:grpSp>
        <p:nvGrpSpPr>
          <p:cNvPr id="91" name="Group 90">
            <a:extLst>
              <a:ext uri="{FF2B5EF4-FFF2-40B4-BE49-F238E27FC236}">
                <a16:creationId xmlns:a16="http://schemas.microsoft.com/office/drawing/2014/main" id="{24316474-87E9-4408-B0B3-B925860EDC47}"/>
              </a:ext>
            </a:extLst>
          </p:cNvPr>
          <p:cNvGrpSpPr/>
          <p:nvPr/>
        </p:nvGrpSpPr>
        <p:grpSpPr>
          <a:xfrm>
            <a:off x="4555517" y="4425491"/>
            <a:ext cx="4285874" cy="2517949"/>
            <a:chOff x="4594706" y="4425491"/>
            <a:chExt cx="4285874" cy="2517949"/>
          </a:xfrm>
        </p:grpSpPr>
        <p:sp>
          <p:nvSpPr>
            <p:cNvPr id="62" name="Rectangle 61">
              <a:extLst>
                <a:ext uri="{FF2B5EF4-FFF2-40B4-BE49-F238E27FC236}">
                  <a16:creationId xmlns:a16="http://schemas.microsoft.com/office/drawing/2014/main" id="{1472F870-7566-4F04-814F-173BAFF6BF3C}"/>
                </a:ext>
              </a:extLst>
            </p:cNvPr>
            <p:cNvSpPr/>
            <p:nvPr/>
          </p:nvSpPr>
          <p:spPr bwMode="gray">
            <a:xfrm>
              <a:off x="4598589" y="4425491"/>
              <a:ext cx="821752"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dirty="0">
                  <a:solidFill>
                    <a:srgbClr val="00ABAB"/>
                  </a:solidFill>
                </a:rPr>
                <a:t>IDENTIFY</a:t>
              </a:r>
            </a:p>
          </p:txBody>
        </p:sp>
        <p:sp>
          <p:nvSpPr>
            <p:cNvPr id="63" name="Rectangle 62">
              <a:extLst>
                <a:ext uri="{FF2B5EF4-FFF2-40B4-BE49-F238E27FC236}">
                  <a16:creationId xmlns:a16="http://schemas.microsoft.com/office/drawing/2014/main" id="{F305D4A3-C710-47DD-AAB8-6088388E6F39}"/>
                </a:ext>
              </a:extLst>
            </p:cNvPr>
            <p:cNvSpPr/>
            <p:nvPr/>
          </p:nvSpPr>
          <p:spPr bwMode="gray">
            <a:xfrm>
              <a:off x="5499123" y="4425491"/>
              <a:ext cx="753747"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chemeClr val="accent6"/>
                  </a:solidFill>
                </a:rPr>
                <a:t>PROTECT</a:t>
              </a:r>
            </a:p>
          </p:txBody>
        </p:sp>
        <p:sp>
          <p:nvSpPr>
            <p:cNvPr id="64" name="Rectangle 63">
              <a:extLst>
                <a:ext uri="{FF2B5EF4-FFF2-40B4-BE49-F238E27FC236}">
                  <a16:creationId xmlns:a16="http://schemas.microsoft.com/office/drawing/2014/main" id="{E3974D9E-4148-47A8-949A-7E46DE717CBE}"/>
                </a:ext>
              </a:extLst>
            </p:cNvPr>
            <p:cNvSpPr/>
            <p:nvPr/>
          </p:nvSpPr>
          <p:spPr bwMode="gray">
            <a:xfrm>
              <a:off x="6331652" y="4425491"/>
              <a:ext cx="753747"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rgbClr val="DA291C"/>
                  </a:solidFill>
                </a:rPr>
                <a:t>DETECT</a:t>
              </a:r>
            </a:p>
          </p:txBody>
        </p:sp>
        <p:sp>
          <p:nvSpPr>
            <p:cNvPr id="65" name="Rectangle 64">
              <a:extLst>
                <a:ext uri="{FF2B5EF4-FFF2-40B4-BE49-F238E27FC236}">
                  <a16:creationId xmlns:a16="http://schemas.microsoft.com/office/drawing/2014/main" id="{5B1F11C9-BBCB-40B4-92CE-1C818FB3BD6C}"/>
                </a:ext>
              </a:extLst>
            </p:cNvPr>
            <p:cNvSpPr/>
            <p:nvPr/>
          </p:nvSpPr>
          <p:spPr bwMode="gray">
            <a:xfrm>
              <a:off x="7164181" y="4425491"/>
              <a:ext cx="844777" cy="28904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a:solidFill>
                    <a:srgbClr val="ED8B00"/>
                  </a:solidFill>
                </a:rPr>
                <a:t>RESPOND</a:t>
              </a:r>
            </a:p>
          </p:txBody>
        </p:sp>
        <p:sp>
          <p:nvSpPr>
            <p:cNvPr id="66" name="Rectangle 65">
              <a:extLst>
                <a:ext uri="{FF2B5EF4-FFF2-40B4-BE49-F238E27FC236}">
                  <a16:creationId xmlns:a16="http://schemas.microsoft.com/office/drawing/2014/main" id="{E22BB615-445D-4208-9AC1-9396D35C4645}"/>
                </a:ext>
              </a:extLst>
            </p:cNvPr>
            <p:cNvSpPr/>
            <p:nvPr/>
          </p:nvSpPr>
          <p:spPr bwMode="gray">
            <a:xfrm>
              <a:off x="8053636" y="4425491"/>
              <a:ext cx="814453" cy="334768"/>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dirty="0">
                  <a:solidFill>
                    <a:schemeClr val="accent2"/>
                  </a:solidFill>
                </a:rPr>
                <a:t>RECOVER</a:t>
              </a:r>
            </a:p>
          </p:txBody>
        </p:sp>
        <p:grpSp>
          <p:nvGrpSpPr>
            <p:cNvPr id="82" name="Group 81">
              <a:extLst>
                <a:ext uri="{FF2B5EF4-FFF2-40B4-BE49-F238E27FC236}">
                  <a16:creationId xmlns:a16="http://schemas.microsoft.com/office/drawing/2014/main" id="{F20C9858-5B37-418D-BD49-37ED40577EAF}"/>
                </a:ext>
              </a:extLst>
            </p:cNvPr>
            <p:cNvGrpSpPr/>
            <p:nvPr/>
          </p:nvGrpSpPr>
          <p:grpSpPr>
            <a:xfrm>
              <a:off x="4594706" y="4788152"/>
              <a:ext cx="877094" cy="2155288"/>
              <a:chOff x="4594706" y="4788152"/>
              <a:chExt cx="877094" cy="2155288"/>
            </a:xfrm>
          </p:grpSpPr>
          <p:sp>
            <p:nvSpPr>
              <p:cNvPr id="67" name="Rectangle 66">
                <a:extLst>
                  <a:ext uri="{FF2B5EF4-FFF2-40B4-BE49-F238E27FC236}">
                    <a16:creationId xmlns:a16="http://schemas.microsoft.com/office/drawing/2014/main" id="{0FD5997F-3E67-4636-B82E-3F1673A023C4}"/>
                  </a:ext>
                </a:extLst>
              </p:cNvPr>
              <p:cNvSpPr/>
              <p:nvPr/>
            </p:nvSpPr>
            <p:spPr bwMode="gray">
              <a:xfrm>
                <a:off x="4594706" y="4788152"/>
                <a:ext cx="821753" cy="2155288"/>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75" name="TextBox 74">
                <a:extLst>
                  <a:ext uri="{FF2B5EF4-FFF2-40B4-BE49-F238E27FC236}">
                    <a16:creationId xmlns:a16="http://schemas.microsoft.com/office/drawing/2014/main" id="{AA431DA0-5C43-4108-8E3C-041115FDB660}"/>
                  </a:ext>
                </a:extLst>
              </p:cNvPr>
              <p:cNvSpPr txBox="1"/>
              <p:nvPr/>
            </p:nvSpPr>
            <p:spPr>
              <a:xfrm>
                <a:off x="4651235" y="4942892"/>
                <a:ext cx="820565" cy="1846659"/>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Asset management</a:t>
                </a:r>
              </a:p>
              <a:p>
                <a:pPr>
                  <a:spcBef>
                    <a:spcPts val="600"/>
                  </a:spcBef>
                  <a:buSzPct val="100000"/>
                </a:pPr>
                <a:r>
                  <a:rPr lang="fr-FR" sz="1000" dirty="0">
                    <a:solidFill>
                      <a:srgbClr val="313131"/>
                    </a:solidFill>
                  </a:rPr>
                  <a:t>Business environnement</a:t>
                </a:r>
              </a:p>
              <a:p>
                <a:pPr>
                  <a:spcBef>
                    <a:spcPts val="600"/>
                  </a:spcBef>
                  <a:buSzPct val="100000"/>
                </a:pPr>
                <a:r>
                  <a:rPr lang="fr-FR" sz="1000" dirty="0">
                    <a:solidFill>
                      <a:srgbClr val="313131"/>
                    </a:solidFill>
                  </a:rPr>
                  <a:t>Gouvernance</a:t>
                </a:r>
              </a:p>
              <a:p>
                <a:pPr>
                  <a:spcBef>
                    <a:spcPts val="600"/>
                  </a:spcBef>
                  <a:buSzPct val="100000"/>
                </a:pPr>
                <a:r>
                  <a:rPr lang="fr-FR" sz="1000" dirty="0">
                    <a:solidFill>
                      <a:srgbClr val="313131"/>
                    </a:solidFill>
                  </a:rPr>
                  <a:t>Risk Assessment</a:t>
                </a:r>
              </a:p>
              <a:p>
                <a:pPr>
                  <a:spcBef>
                    <a:spcPts val="600"/>
                  </a:spcBef>
                  <a:buSzPct val="100000"/>
                </a:pPr>
                <a:r>
                  <a:rPr lang="fr-FR" sz="1000" dirty="0">
                    <a:solidFill>
                      <a:srgbClr val="313131"/>
                    </a:solidFill>
                  </a:rPr>
                  <a:t>Stratégie de gestion de risques</a:t>
                </a:r>
              </a:p>
            </p:txBody>
          </p:sp>
        </p:grpSp>
        <p:grpSp>
          <p:nvGrpSpPr>
            <p:cNvPr id="83" name="Group 82">
              <a:extLst>
                <a:ext uri="{FF2B5EF4-FFF2-40B4-BE49-F238E27FC236}">
                  <a16:creationId xmlns:a16="http://schemas.microsoft.com/office/drawing/2014/main" id="{03743DC6-DA9A-4A61-A5EE-7BD2BEF45E02}"/>
                </a:ext>
              </a:extLst>
            </p:cNvPr>
            <p:cNvGrpSpPr/>
            <p:nvPr/>
          </p:nvGrpSpPr>
          <p:grpSpPr>
            <a:xfrm>
              <a:off x="5498816" y="4788151"/>
              <a:ext cx="769723" cy="2155289"/>
              <a:chOff x="5518217" y="4788151"/>
              <a:chExt cx="769723" cy="2155289"/>
            </a:xfrm>
          </p:grpSpPr>
          <p:sp>
            <p:nvSpPr>
              <p:cNvPr id="68" name="Rectangle 67">
                <a:extLst>
                  <a:ext uri="{FF2B5EF4-FFF2-40B4-BE49-F238E27FC236}">
                    <a16:creationId xmlns:a16="http://schemas.microsoft.com/office/drawing/2014/main" id="{E328BE95-C5F8-4F72-B36A-05ED790C2ACE}"/>
                  </a:ext>
                </a:extLst>
              </p:cNvPr>
              <p:cNvSpPr/>
              <p:nvPr/>
            </p:nvSpPr>
            <p:spPr bwMode="gray">
              <a:xfrm>
                <a:off x="5518217" y="4788151"/>
                <a:ext cx="753747" cy="215528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78" name="TextBox 77">
                <a:extLst>
                  <a:ext uri="{FF2B5EF4-FFF2-40B4-BE49-F238E27FC236}">
                    <a16:creationId xmlns:a16="http://schemas.microsoft.com/office/drawing/2014/main" id="{A0CE316F-CFD4-4D0E-8A57-C49B10493FA6}"/>
                  </a:ext>
                </a:extLst>
              </p:cNvPr>
              <p:cNvSpPr txBox="1"/>
              <p:nvPr/>
            </p:nvSpPr>
            <p:spPr>
              <a:xfrm>
                <a:off x="5550289" y="4942892"/>
                <a:ext cx="737651" cy="200054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Formation et sensibilisation</a:t>
                </a:r>
              </a:p>
              <a:p>
                <a:pPr>
                  <a:spcBef>
                    <a:spcPts val="600"/>
                  </a:spcBef>
                  <a:buSzPct val="100000"/>
                </a:pPr>
                <a:r>
                  <a:rPr lang="fr-FR" sz="1000" dirty="0">
                    <a:solidFill>
                      <a:srgbClr val="313131"/>
                    </a:solidFill>
                  </a:rPr>
                  <a:t>Sécurité des données</a:t>
                </a:r>
              </a:p>
              <a:p>
                <a:pPr>
                  <a:spcBef>
                    <a:spcPts val="600"/>
                  </a:spcBef>
                  <a:buSzPct val="100000"/>
                </a:pPr>
                <a:r>
                  <a:rPr lang="fr-FR" sz="1000" dirty="0">
                    <a:solidFill>
                      <a:srgbClr val="313131"/>
                    </a:solidFill>
                  </a:rPr>
                  <a:t>Protection et procédures de l’information</a:t>
                </a:r>
              </a:p>
              <a:p>
                <a:pPr>
                  <a:spcBef>
                    <a:spcPts val="600"/>
                  </a:spcBef>
                  <a:buSzPct val="100000"/>
                </a:pPr>
                <a:r>
                  <a:rPr lang="fr-FR" sz="1000" dirty="0">
                    <a:solidFill>
                      <a:srgbClr val="313131"/>
                    </a:solidFill>
                  </a:rPr>
                  <a:t>Maintenance</a:t>
                </a:r>
              </a:p>
              <a:p>
                <a:pPr>
                  <a:spcBef>
                    <a:spcPts val="600"/>
                  </a:spcBef>
                  <a:buSzPct val="100000"/>
                </a:pPr>
                <a:r>
                  <a:rPr lang="fr-FR" sz="1000" dirty="0">
                    <a:solidFill>
                      <a:srgbClr val="313131"/>
                    </a:solidFill>
                  </a:rPr>
                  <a:t>Technologie protective</a:t>
                </a:r>
              </a:p>
            </p:txBody>
          </p:sp>
        </p:grpSp>
        <p:grpSp>
          <p:nvGrpSpPr>
            <p:cNvPr id="86" name="Group 85">
              <a:extLst>
                <a:ext uri="{FF2B5EF4-FFF2-40B4-BE49-F238E27FC236}">
                  <a16:creationId xmlns:a16="http://schemas.microsoft.com/office/drawing/2014/main" id="{743A6C26-DB4E-4C05-AD25-638CCA117BEB}"/>
                </a:ext>
              </a:extLst>
            </p:cNvPr>
            <p:cNvGrpSpPr/>
            <p:nvPr/>
          </p:nvGrpSpPr>
          <p:grpSpPr>
            <a:xfrm>
              <a:off x="6334920" y="4788151"/>
              <a:ext cx="753747" cy="2110161"/>
              <a:chOff x="6356698" y="4788151"/>
              <a:chExt cx="753747" cy="2110161"/>
            </a:xfrm>
          </p:grpSpPr>
          <p:sp>
            <p:nvSpPr>
              <p:cNvPr id="69" name="Rectangle 68">
                <a:extLst>
                  <a:ext uri="{FF2B5EF4-FFF2-40B4-BE49-F238E27FC236}">
                    <a16:creationId xmlns:a16="http://schemas.microsoft.com/office/drawing/2014/main" id="{9F65515E-FC92-4096-8D24-8E8AD0BDEA0A}"/>
                  </a:ext>
                </a:extLst>
              </p:cNvPr>
              <p:cNvSpPr/>
              <p:nvPr/>
            </p:nvSpPr>
            <p:spPr bwMode="gray">
              <a:xfrm>
                <a:off x="6356698" y="4788151"/>
                <a:ext cx="753747" cy="211016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79" name="TextBox 78">
                <a:extLst>
                  <a:ext uri="{FF2B5EF4-FFF2-40B4-BE49-F238E27FC236}">
                    <a16:creationId xmlns:a16="http://schemas.microsoft.com/office/drawing/2014/main" id="{58DFAE7D-71D8-4231-AA3E-777181BC4BFA}"/>
                  </a:ext>
                </a:extLst>
              </p:cNvPr>
              <p:cNvSpPr txBox="1"/>
              <p:nvPr/>
            </p:nvSpPr>
            <p:spPr>
              <a:xfrm>
                <a:off x="6388771" y="4942892"/>
                <a:ext cx="689600" cy="107721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Anomalies et événements</a:t>
                </a:r>
              </a:p>
              <a:p>
                <a:pPr>
                  <a:spcBef>
                    <a:spcPts val="600"/>
                  </a:spcBef>
                  <a:buSzPct val="100000"/>
                </a:pPr>
                <a:r>
                  <a:rPr lang="fr-FR" sz="1000" dirty="0">
                    <a:solidFill>
                      <a:srgbClr val="313131"/>
                    </a:solidFill>
                  </a:rPr>
                  <a:t>Surveillance continue</a:t>
                </a:r>
              </a:p>
              <a:p>
                <a:pPr>
                  <a:spcBef>
                    <a:spcPts val="600"/>
                  </a:spcBef>
                  <a:buSzPct val="100000"/>
                </a:pPr>
                <a:r>
                  <a:rPr lang="fr-FR" sz="1000" dirty="0">
                    <a:solidFill>
                      <a:srgbClr val="313131"/>
                    </a:solidFill>
                  </a:rPr>
                  <a:t>Process de détection </a:t>
                </a:r>
              </a:p>
            </p:txBody>
          </p:sp>
        </p:grpSp>
        <p:grpSp>
          <p:nvGrpSpPr>
            <p:cNvPr id="87" name="Group 86">
              <a:extLst>
                <a:ext uri="{FF2B5EF4-FFF2-40B4-BE49-F238E27FC236}">
                  <a16:creationId xmlns:a16="http://schemas.microsoft.com/office/drawing/2014/main" id="{C64BC34A-2CB6-4FA2-811C-0235D7144086}"/>
                </a:ext>
              </a:extLst>
            </p:cNvPr>
            <p:cNvGrpSpPr/>
            <p:nvPr/>
          </p:nvGrpSpPr>
          <p:grpSpPr>
            <a:xfrm>
              <a:off x="7171024" y="4788152"/>
              <a:ext cx="882556" cy="2110160"/>
              <a:chOff x="7171024" y="4788152"/>
              <a:chExt cx="882556" cy="2110160"/>
            </a:xfrm>
          </p:grpSpPr>
          <p:sp>
            <p:nvSpPr>
              <p:cNvPr id="73" name="Rectangle 72">
                <a:extLst>
                  <a:ext uri="{FF2B5EF4-FFF2-40B4-BE49-F238E27FC236}">
                    <a16:creationId xmlns:a16="http://schemas.microsoft.com/office/drawing/2014/main" id="{BBBF150F-D08C-491B-B94E-96BCAE1418FC}"/>
                  </a:ext>
                </a:extLst>
              </p:cNvPr>
              <p:cNvSpPr/>
              <p:nvPr/>
            </p:nvSpPr>
            <p:spPr bwMode="gray">
              <a:xfrm>
                <a:off x="7171024" y="4788152"/>
                <a:ext cx="846000" cy="211016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80" name="TextBox 79">
                <a:extLst>
                  <a:ext uri="{FF2B5EF4-FFF2-40B4-BE49-F238E27FC236}">
                    <a16:creationId xmlns:a16="http://schemas.microsoft.com/office/drawing/2014/main" id="{F2457589-7FF8-4C8F-9D12-339142745AC9}"/>
                  </a:ext>
                </a:extLst>
              </p:cNvPr>
              <p:cNvSpPr txBox="1"/>
              <p:nvPr/>
            </p:nvSpPr>
            <p:spPr>
              <a:xfrm>
                <a:off x="7198052" y="4942892"/>
                <a:ext cx="855528" cy="107721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Plan de réponse</a:t>
                </a:r>
              </a:p>
              <a:p>
                <a:pPr>
                  <a:spcBef>
                    <a:spcPts val="600"/>
                  </a:spcBef>
                  <a:buSzPct val="100000"/>
                </a:pPr>
                <a:r>
                  <a:rPr lang="fr-FR" sz="1000" dirty="0">
                    <a:solidFill>
                      <a:srgbClr val="313131"/>
                    </a:solidFill>
                  </a:rPr>
                  <a:t>Communication</a:t>
                </a:r>
              </a:p>
              <a:p>
                <a:pPr>
                  <a:spcBef>
                    <a:spcPts val="600"/>
                  </a:spcBef>
                  <a:buSzPct val="100000"/>
                </a:pPr>
                <a:r>
                  <a:rPr lang="fr-FR" sz="1000" dirty="0">
                    <a:solidFill>
                      <a:srgbClr val="313131"/>
                    </a:solidFill>
                  </a:rPr>
                  <a:t>Analyse</a:t>
                </a:r>
              </a:p>
              <a:p>
                <a:pPr>
                  <a:spcBef>
                    <a:spcPts val="600"/>
                  </a:spcBef>
                  <a:buSzPct val="100000"/>
                </a:pPr>
                <a:r>
                  <a:rPr lang="fr-FR" sz="1000" dirty="0">
                    <a:solidFill>
                      <a:srgbClr val="313131"/>
                    </a:solidFill>
                  </a:rPr>
                  <a:t>Atténuation</a:t>
                </a:r>
              </a:p>
              <a:p>
                <a:pPr>
                  <a:spcBef>
                    <a:spcPts val="600"/>
                  </a:spcBef>
                  <a:buSzPct val="100000"/>
                </a:pPr>
                <a:r>
                  <a:rPr lang="fr-FR" sz="1000" dirty="0">
                    <a:solidFill>
                      <a:srgbClr val="313131"/>
                    </a:solidFill>
                  </a:rPr>
                  <a:t>Amélioration</a:t>
                </a:r>
              </a:p>
            </p:txBody>
          </p:sp>
        </p:grpSp>
        <p:grpSp>
          <p:nvGrpSpPr>
            <p:cNvPr id="88" name="Group 87">
              <a:extLst>
                <a:ext uri="{FF2B5EF4-FFF2-40B4-BE49-F238E27FC236}">
                  <a16:creationId xmlns:a16="http://schemas.microsoft.com/office/drawing/2014/main" id="{1A60F772-BE2A-459A-BE28-053275AF54AC}"/>
                </a:ext>
              </a:extLst>
            </p:cNvPr>
            <p:cNvGrpSpPr/>
            <p:nvPr/>
          </p:nvGrpSpPr>
          <p:grpSpPr>
            <a:xfrm>
              <a:off x="8053580" y="4788152"/>
              <a:ext cx="827000" cy="2110160"/>
              <a:chOff x="8053580" y="4788152"/>
              <a:chExt cx="827000" cy="2110160"/>
            </a:xfrm>
          </p:grpSpPr>
          <p:sp>
            <p:nvSpPr>
              <p:cNvPr id="74" name="Rectangle 73">
                <a:extLst>
                  <a:ext uri="{FF2B5EF4-FFF2-40B4-BE49-F238E27FC236}">
                    <a16:creationId xmlns:a16="http://schemas.microsoft.com/office/drawing/2014/main" id="{CF745C1E-2821-4B94-9781-EC7A0DAF508E}"/>
                  </a:ext>
                </a:extLst>
              </p:cNvPr>
              <p:cNvSpPr/>
              <p:nvPr/>
            </p:nvSpPr>
            <p:spPr bwMode="gray">
              <a:xfrm>
                <a:off x="8053580" y="4788152"/>
                <a:ext cx="827000" cy="211016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81" name="TextBox 80">
                <a:extLst>
                  <a:ext uri="{FF2B5EF4-FFF2-40B4-BE49-F238E27FC236}">
                    <a16:creationId xmlns:a16="http://schemas.microsoft.com/office/drawing/2014/main" id="{B3750413-4A1C-4007-BD88-DB153EC520B3}"/>
                  </a:ext>
                </a:extLst>
              </p:cNvPr>
              <p:cNvSpPr txBox="1"/>
              <p:nvPr/>
            </p:nvSpPr>
            <p:spPr>
              <a:xfrm>
                <a:off x="8145180" y="4942892"/>
                <a:ext cx="689600" cy="107721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Plan de récupération</a:t>
                </a:r>
              </a:p>
              <a:p>
                <a:pPr>
                  <a:spcBef>
                    <a:spcPts val="600"/>
                  </a:spcBef>
                  <a:buSzPct val="100000"/>
                </a:pPr>
                <a:r>
                  <a:rPr lang="fr-FR" sz="1000" dirty="0">
                    <a:solidFill>
                      <a:srgbClr val="313131"/>
                    </a:solidFill>
                  </a:rPr>
                  <a:t>Améliorations</a:t>
                </a:r>
              </a:p>
              <a:p>
                <a:pPr>
                  <a:spcBef>
                    <a:spcPts val="600"/>
                  </a:spcBef>
                  <a:buSzPct val="100000"/>
                </a:pPr>
                <a:r>
                  <a:rPr lang="fr-FR" sz="1000" dirty="0">
                    <a:solidFill>
                      <a:srgbClr val="313131"/>
                    </a:solidFill>
                  </a:rPr>
                  <a:t>Communications </a:t>
                </a:r>
              </a:p>
            </p:txBody>
          </p:sp>
        </p:grpSp>
      </p:grpSp>
      <p:pic>
        <p:nvPicPr>
          <p:cNvPr id="30" name="Picture 29" descr="A black background with white text&#10;&#10;Description automatically generated with low confidence">
            <a:extLst>
              <a:ext uri="{FF2B5EF4-FFF2-40B4-BE49-F238E27FC236}">
                <a16:creationId xmlns:a16="http://schemas.microsoft.com/office/drawing/2014/main" id="{E4EE3A98-AFF2-40BD-8BA0-FEFCD4A7176A}"/>
              </a:ext>
            </a:extLst>
          </p:cNvPr>
          <p:cNvPicPr>
            <a:picLocks noChangeAspect="1"/>
          </p:cNvPicPr>
          <p:nvPr/>
        </p:nvPicPr>
        <p:blipFill>
          <a:blip r:embed="rId5"/>
          <a:stretch>
            <a:fillRect/>
          </a:stretch>
        </p:blipFill>
        <p:spPr>
          <a:xfrm>
            <a:off x="5036580" y="526602"/>
            <a:ext cx="3188426" cy="3188426"/>
          </a:xfrm>
          <a:prstGeom prst="rect">
            <a:avLst/>
          </a:prstGeom>
        </p:spPr>
      </p:pic>
      <p:sp>
        <p:nvSpPr>
          <p:cNvPr id="58" name="TextBox 57">
            <a:extLst>
              <a:ext uri="{FF2B5EF4-FFF2-40B4-BE49-F238E27FC236}">
                <a16:creationId xmlns:a16="http://schemas.microsoft.com/office/drawing/2014/main" id="{E17C9726-2768-4E3A-B34F-9F094D35D113}"/>
              </a:ext>
            </a:extLst>
          </p:cNvPr>
          <p:cNvSpPr txBox="1"/>
          <p:nvPr/>
        </p:nvSpPr>
        <p:spPr>
          <a:xfrm>
            <a:off x="4797822" y="2982379"/>
            <a:ext cx="3731622" cy="1384995"/>
          </a:xfrm>
          <a:prstGeom prst="rect">
            <a:avLst/>
          </a:prstGeom>
          <a:noFill/>
        </p:spPr>
        <p:txBody>
          <a:bodyPr wrap="square">
            <a:spAutoFit/>
          </a:bodyPr>
          <a:lstStyle/>
          <a:p>
            <a:pPr algn="just"/>
            <a:r>
              <a:rPr lang="fr-FR" sz="1400" b="0" i="0" dirty="0">
                <a:effectLst/>
              </a:rPr>
              <a:t>NIST SP 800-53 est un ensemble de contrôles de sécurité informatique complets qui fournissent un cadre solide pour protéger les systèmes d'information. Il est largement utilisé comme référence pour évaluer et améliorer la sécurité des organisations.</a:t>
            </a:r>
            <a:endParaRPr lang="fr-FR" sz="1400" dirty="0"/>
          </a:p>
        </p:txBody>
      </p:sp>
      <p:sp>
        <p:nvSpPr>
          <p:cNvPr id="21" name="Rectangle 20">
            <a:extLst>
              <a:ext uri="{FF2B5EF4-FFF2-40B4-BE49-F238E27FC236}">
                <a16:creationId xmlns:a16="http://schemas.microsoft.com/office/drawing/2014/main" id="{22A3CDB1-151E-4AB1-AD86-3A0348E9CF8B}"/>
              </a:ext>
            </a:extLst>
          </p:cNvPr>
          <p:cNvSpPr/>
          <p:nvPr/>
        </p:nvSpPr>
        <p:spPr bwMode="gray">
          <a:xfrm>
            <a:off x="0" y="1316290"/>
            <a:ext cx="4409401" cy="6256392"/>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dirty="0">
              <a:latin typeface="Bahnschrift" panose="020B0502040204020203" pitchFamily="34" charset="0"/>
            </a:endParaRPr>
          </a:p>
        </p:txBody>
      </p:sp>
      <p:sp>
        <p:nvSpPr>
          <p:cNvPr id="20" name="Rectangle 19">
            <a:extLst>
              <a:ext uri="{FF2B5EF4-FFF2-40B4-BE49-F238E27FC236}">
                <a16:creationId xmlns:a16="http://schemas.microsoft.com/office/drawing/2014/main" id="{4BDC13F8-FF45-4747-82D1-66D3B6F0B152}"/>
              </a:ext>
            </a:extLst>
          </p:cNvPr>
          <p:cNvSpPr/>
          <p:nvPr/>
        </p:nvSpPr>
        <p:spPr bwMode="gray">
          <a:xfrm>
            <a:off x="8775730" y="1316290"/>
            <a:ext cx="171080" cy="6256445"/>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a:solidFill>
                <a:schemeClr val="bg1"/>
              </a:solidFill>
              <a:latin typeface="Bahnschrift" panose="020B0502040204020203" pitchFamily="34" charset="0"/>
            </a:endParaRPr>
          </a:p>
        </p:txBody>
      </p:sp>
      <p:sp>
        <p:nvSpPr>
          <p:cNvPr id="19" name="Rectangle 18">
            <a:extLst>
              <a:ext uri="{FF2B5EF4-FFF2-40B4-BE49-F238E27FC236}">
                <a16:creationId xmlns:a16="http://schemas.microsoft.com/office/drawing/2014/main" id="{B30F652F-B4AB-4663-B9DF-0896119C5242}"/>
              </a:ext>
            </a:extLst>
          </p:cNvPr>
          <p:cNvSpPr/>
          <p:nvPr/>
        </p:nvSpPr>
        <p:spPr bwMode="gray">
          <a:xfrm>
            <a:off x="8939844" y="1316425"/>
            <a:ext cx="4492965" cy="6256446"/>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dirty="0">
              <a:solidFill>
                <a:schemeClr val="bg1"/>
              </a:solidFill>
              <a:latin typeface="Bahnschrift" panose="020B0502040204020203" pitchFamily="34" charset="0"/>
            </a:endParaRPr>
          </a:p>
        </p:txBody>
      </p:sp>
      <p:pic>
        <p:nvPicPr>
          <p:cNvPr id="104" name="Picture 33" descr="A blue and pink text on a black background&#10;&#10;Description automatically generated with medium confidence">
            <a:extLst>
              <a:ext uri="{FF2B5EF4-FFF2-40B4-BE49-F238E27FC236}">
                <a16:creationId xmlns:a16="http://schemas.microsoft.com/office/drawing/2014/main" id="{8E64A53E-8B21-48A4-915E-0596671D8081}"/>
              </a:ext>
            </a:extLst>
          </p:cNvPr>
          <p:cNvPicPr>
            <a:picLocks noChangeAspect="1"/>
          </p:cNvPicPr>
          <p:nvPr/>
        </p:nvPicPr>
        <p:blipFill>
          <a:blip r:embed="rId6"/>
          <a:stretch>
            <a:fillRect/>
          </a:stretch>
        </p:blipFill>
        <p:spPr>
          <a:xfrm>
            <a:off x="8940324" y="3416552"/>
            <a:ext cx="4565526" cy="2029800"/>
          </a:xfrm>
          <a:prstGeom prst="rect">
            <a:avLst/>
          </a:prstGeom>
        </p:spPr>
      </p:pic>
      <p:pic>
        <p:nvPicPr>
          <p:cNvPr id="105" name="Picture 27" descr="A picture containing text, logo, circle, font&#10;&#10;Description automatically generated">
            <a:extLst>
              <a:ext uri="{FF2B5EF4-FFF2-40B4-BE49-F238E27FC236}">
                <a16:creationId xmlns:a16="http://schemas.microsoft.com/office/drawing/2014/main" id="{32BC3B97-793A-47F3-96FD-A89FD17BC91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12826" y1="9007" x2="217" y2="9272"/>
                        <a14:backgroundMark x1="217" y1="9272" x2="217" y2="9272"/>
                        <a14:backgroundMark x1="435" y1="44503" x2="5217" y2="27682"/>
                        <a14:backgroundMark x1="5217" y1="27682" x2="19457" y2="8874"/>
                        <a14:backgroundMark x1="19457" y1="8874" x2="28696" y2="1060"/>
                        <a14:backgroundMark x1="28696" y1="1060" x2="30652" y2="397"/>
                      </a14:backgroundRemoval>
                    </a14:imgEffect>
                  </a14:imgLayer>
                </a14:imgProps>
              </a:ext>
            </a:extLst>
          </a:blip>
          <a:stretch>
            <a:fillRect/>
          </a:stretch>
        </p:blipFill>
        <p:spPr>
          <a:xfrm>
            <a:off x="836487" y="3131719"/>
            <a:ext cx="3293845" cy="2599412"/>
          </a:xfrm>
          <a:prstGeom prst="rect">
            <a:avLst/>
          </a:prstGeom>
        </p:spPr>
      </p:pic>
      <p:grpSp>
        <p:nvGrpSpPr>
          <p:cNvPr id="85" name="Groupe 84">
            <a:extLst>
              <a:ext uri="{FF2B5EF4-FFF2-40B4-BE49-F238E27FC236}">
                <a16:creationId xmlns:a16="http://schemas.microsoft.com/office/drawing/2014/main" id="{2A83CC0A-8A82-4C6A-BBA4-713E41683872}"/>
              </a:ext>
            </a:extLst>
          </p:cNvPr>
          <p:cNvGrpSpPr/>
          <p:nvPr/>
        </p:nvGrpSpPr>
        <p:grpSpPr>
          <a:xfrm>
            <a:off x="10635530" y="519574"/>
            <a:ext cx="1823720" cy="544758"/>
            <a:chOff x="10635530" y="519574"/>
            <a:chExt cx="1425914" cy="544758"/>
          </a:xfrm>
        </p:grpSpPr>
        <p:sp>
          <p:nvSpPr>
            <p:cNvPr id="89" name="Freeform 926">
              <a:extLst>
                <a:ext uri="{FF2B5EF4-FFF2-40B4-BE49-F238E27FC236}">
                  <a16:creationId xmlns:a16="http://schemas.microsoft.com/office/drawing/2014/main" id="{B783DE2B-B9B1-4502-9F0C-92E3EE39FDB2}"/>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90" name="TextBox 220">
              <a:extLst>
                <a:ext uri="{FF2B5EF4-FFF2-40B4-BE49-F238E27FC236}">
                  <a16:creationId xmlns:a16="http://schemas.microsoft.com/office/drawing/2014/main" id="{DA285C04-98A1-4540-9BF2-8A4D344F2A3F}"/>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a:solidFill>
                    <a:schemeClr val="tx2"/>
                  </a:solidFill>
                </a:rPr>
                <a:t>Aperçu Framework</a:t>
              </a:r>
            </a:p>
          </p:txBody>
        </p:sp>
      </p:grpSp>
      <p:grpSp>
        <p:nvGrpSpPr>
          <p:cNvPr id="107" name="Groupe 106">
            <a:extLst>
              <a:ext uri="{FF2B5EF4-FFF2-40B4-BE49-F238E27FC236}">
                <a16:creationId xmlns:a16="http://schemas.microsoft.com/office/drawing/2014/main" id="{59CFBAC3-A761-485C-BBBB-C3FD1924AB38}"/>
              </a:ext>
            </a:extLst>
          </p:cNvPr>
          <p:cNvGrpSpPr/>
          <p:nvPr/>
        </p:nvGrpSpPr>
        <p:grpSpPr>
          <a:xfrm>
            <a:off x="7969060" y="519574"/>
            <a:ext cx="1917890" cy="544812"/>
            <a:chOff x="5755870" y="519574"/>
            <a:chExt cx="1499543" cy="544812"/>
          </a:xfrm>
        </p:grpSpPr>
        <p:sp>
          <p:nvSpPr>
            <p:cNvPr id="108" name="Freeform 926">
              <a:extLst>
                <a:ext uri="{FF2B5EF4-FFF2-40B4-BE49-F238E27FC236}">
                  <a16:creationId xmlns:a16="http://schemas.microsoft.com/office/drawing/2014/main" id="{94F9BD86-0460-43F8-B0A6-DF9E92F6E3FB}"/>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109" name="TextBox 219">
              <a:extLst>
                <a:ext uri="{FF2B5EF4-FFF2-40B4-BE49-F238E27FC236}">
                  <a16:creationId xmlns:a16="http://schemas.microsoft.com/office/drawing/2014/main" id="{A4546A2D-F940-4F3A-A741-8B265DEE9CC2}"/>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Normes et standards</a:t>
              </a:r>
            </a:p>
          </p:txBody>
        </p:sp>
      </p:grpSp>
      <p:grpSp>
        <p:nvGrpSpPr>
          <p:cNvPr id="110" name="Groupe 109">
            <a:extLst>
              <a:ext uri="{FF2B5EF4-FFF2-40B4-BE49-F238E27FC236}">
                <a16:creationId xmlns:a16="http://schemas.microsoft.com/office/drawing/2014/main" id="{3531C33B-D92B-40CE-B07C-A1EB4B615D4C}"/>
              </a:ext>
            </a:extLst>
          </p:cNvPr>
          <p:cNvGrpSpPr/>
          <p:nvPr/>
        </p:nvGrpSpPr>
        <p:grpSpPr>
          <a:xfrm>
            <a:off x="1378330" y="519574"/>
            <a:ext cx="1556504" cy="544812"/>
            <a:chOff x="1378330" y="519574"/>
            <a:chExt cx="1216986" cy="544812"/>
          </a:xfrm>
        </p:grpSpPr>
        <p:sp>
          <p:nvSpPr>
            <p:cNvPr id="111" name="TextBox 219">
              <a:extLst>
                <a:ext uri="{FF2B5EF4-FFF2-40B4-BE49-F238E27FC236}">
                  <a16:creationId xmlns:a16="http://schemas.microsoft.com/office/drawing/2014/main" id="{3DC6392F-4C74-4940-9AF4-BDF0538291BB}"/>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112" name="Freeform 926">
              <a:extLst>
                <a:ext uri="{FF2B5EF4-FFF2-40B4-BE49-F238E27FC236}">
                  <a16:creationId xmlns:a16="http://schemas.microsoft.com/office/drawing/2014/main" id="{D5091EDF-D909-46A1-BC29-5B935A3BF977}"/>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113" name="Groupe 112">
            <a:extLst>
              <a:ext uri="{FF2B5EF4-FFF2-40B4-BE49-F238E27FC236}">
                <a16:creationId xmlns:a16="http://schemas.microsoft.com/office/drawing/2014/main" id="{CE8CA703-4926-4AAC-86CC-62DD48D9FF2E}"/>
              </a:ext>
            </a:extLst>
          </p:cNvPr>
          <p:cNvGrpSpPr/>
          <p:nvPr/>
        </p:nvGrpSpPr>
        <p:grpSpPr>
          <a:xfrm>
            <a:off x="3762244" y="519574"/>
            <a:ext cx="987996" cy="544758"/>
            <a:chOff x="8696117" y="519574"/>
            <a:chExt cx="772486" cy="544758"/>
          </a:xfrm>
        </p:grpSpPr>
        <p:sp>
          <p:nvSpPr>
            <p:cNvPr id="114" name="Freeform 926">
              <a:extLst>
                <a:ext uri="{FF2B5EF4-FFF2-40B4-BE49-F238E27FC236}">
                  <a16:creationId xmlns:a16="http://schemas.microsoft.com/office/drawing/2014/main" id="{344F1C18-51AA-4F82-A4C6-B1BDBF04F9D8}"/>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115" name="TextBox 220">
              <a:extLst>
                <a:ext uri="{FF2B5EF4-FFF2-40B4-BE49-F238E27FC236}">
                  <a16:creationId xmlns:a16="http://schemas.microsoft.com/office/drawing/2014/main" id="{94F7CE44-1D94-408B-9790-13CD9188CC09}"/>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116" name="Groupe 115">
            <a:extLst>
              <a:ext uri="{FF2B5EF4-FFF2-40B4-BE49-F238E27FC236}">
                <a16:creationId xmlns:a16="http://schemas.microsoft.com/office/drawing/2014/main" id="{7998843B-2724-4615-8647-58F4428D0453}"/>
              </a:ext>
            </a:extLst>
          </p:cNvPr>
          <p:cNvGrpSpPr/>
          <p:nvPr/>
        </p:nvGrpSpPr>
        <p:grpSpPr>
          <a:xfrm>
            <a:off x="5701658" y="519574"/>
            <a:ext cx="1407488" cy="544812"/>
            <a:chOff x="3625356" y="519574"/>
            <a:chExt cx="1100474" cy="544812"/>
          </a:xfrm>
        </p:grpSpPr>
        <p:sp>
          <p:nvSpPr>
            <p:cNvPr id="117" name="Freeform 926">
              <a:extLst>
                <a:ext uri="{FF2B5EF4-FFF2-40B4-BE49-F238E27FC236}">
                  <a16:creationId xmlns:a16="http://schemas.microsoft.com/office/drawing/2014/main" id="{4C0CC1A7-DAB2-4D09-A5FB-870920404D4C}"/>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118" name="TextBox 219">
              <a:extLst>
                <a:ext uri="{FF2B5EF4-FFF2-40B4-BE49-F238E27FC236}">
                  <a16:creationId xmlns:a16="http://schemas.microsoft.com/office/drawing/2014/main" id="{D192ACDF-DD47-47B2-B345-14001E09EF5B}"/>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sp>
        <p:nvSpPr>
          <p:cNvPr id="119" name="Rectangle 118">
            <a:extLst>
              <a:ext uri="{FF2B5EF4-FFF2-40B4-BE49-F238E27FC236}">
                <a16:creationId xmlns:a16="http://schemas.microsoft.com/office/drawing/2014/main" id="{052D692A-E1DF-4226-A0BF-24805C39A4B3}"/>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120" name="Rectangle 119">
            <a:extLst>
              <a:ext uri="{FF2B5EF4-FFF2-40B4-BE49-F238E27FC236}">
                <a16:creationId xmlns:a16="http://schemas.microsoft.com/office/drawing/2014/main" id="{578F7E25-A00B-49A3-B711-D9C07D9ED02E}"/>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121" name="Rectangle 120">
            <a:extLst>
              <a:ext uri="{FF2B5EF4-FFF2-40B4-BE49-F238E27FC236}">
                <a16:creationId xmlns:a16="http://schemas.microsoft.com/office/drawing/2014/main" id="{94DF42BB-B79D-4BAE-B752-C94668BF8C08}"/>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122" name="Rectangle 121">
            <a:extLst>
              <a:ext uri="{FF2B5EF4-FFF2-40B4-BE49-F238E27FC236}">
                <a16:creationId xmlns:a16="http://schemas.microsoft.com/office/drawing/2014/main" id="{233A5612-AA5A-4880-9951-74AC809CDE3C}"/>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2249715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A839E4-2279-465D-BDC5-03FE0C71ECA2}"/>
              </a:ext>
            </a:extLst>
          </p:cNvPr>
          <p:cNvSpPr/>
          <p:nvPr/>
        </p:nvSpPr>
        <p:spPr bwMode="gray">
          <a:xfrm>
            <a:off x="12755" y="1322362"/>
            <a:ext cx="13439775" cy="6495297"/>
          </a:xfrm>
          <a:prstGeom prst="rect">
            <a:avLst/>
          </a:prstGeom>
          <a:solidFill>
            <a:srgbClr val="F4FAF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96" name="TextBox 95">
            <a:extLst>
              <a:ext uri="{FF2B5EF4-FFF2-40B4-BE49-F238E27FC236}">
                <a16:creationId xmlns:a16="http://schemas.microsoft.com/office/drawing/2014/main" id="{07D4BAF4-F56E-4561-88D3-A1F7DE5E190E}"/>
              </a:ext>
            </a:extLst>
          </p:cNvPr>
          <p:cNvSpPr txBox="1"/>
          <p:nvPr/>
        </p:nvSpPr>
        <p:spPr>
          <a:xfrm>
            <a:off x="9058190" y="3884544"/>
            <a:ext cx="4135734" cy="1600438"/>
          </a:xfrm>
          <a:prstGeom prst="rect">
            <a:avLst/>
          </a:prstGeom>
          <a:noFill/>
        </p:spPr>
        <p:txBody>
          <a:bodyPr wrap="square">
            <a:spAutoFit/>
          </a:bodyPr>
          <a:lstStyle/>
          <a:p>
            <a:pPr algn="just"/>
            <a:r>
              <a:rPr lang="fr-FR" sz="1400" b="0" i="0" dirty="0">
                <a:effectLst/>
              </a:rPr>
              <a:t>COBIT 2019 est un cadre de référence pour la gouvernance et la gestion des technologies de l'information. Il offre aux organisations des directives et des objectifs de contrôle pour aligner les Technologies de l'Information sur les besoins de l'entreprise, améliorer la création de valeur et renforcer la maturité des processus de TI.</a:t>
            </a:r>
            <a:endParaRPr lang="fr-FR" sz="1400" dirty="0"/>
          </a:p>
        </p:txBody>
      </p:sp>
      <p:sp>
        <p:nvSpPr>
          <p:cNvPr id="21" name="Rectangle 20">
            <a:extLst>
              <a:ext uri="{FF2B5EF4-FFF2-40B4-BE49-F238E27FC236}">
                <a16:creationId xmlns:a16="http://schemas.microsoft.com/office/drawing/2014/main" id="{22A3CDB1-151E-4AB1-AD86-3A0348E9CF8B}"/>
              </a:ext>
            </a:extLst>
          </p:cNvPr>
          <p:cNvSpPr/>
          <p:nvPr/>
        </p:nvSpPr>
        <p:spPr bwMode="gray">
          <a:xfrm>
            <a:off x="12755" y="1316290"/>
            <a:ext cx="4409401" cy="6256392"/>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dirty="0">
              <a:latin typeface="Bahnschrift" panose="020B0502040204020203" pitchFamily="34" charset="0"/>
            </a:endParaRPr>
          </a:p>
        </p:txBody>
      </p:sp>
      <p:sp>
        <p:nvSpPr>
          <p:cNvPr id="20" name="Rectangle 19">
            <a:extLst>
              <a:ext uri="{FF2B5EF4-FFF2-40B4-BE49-F238E27FC236}">
                <a16:creationId xmlns:a16="http://schemas.microsoft.com/office/drawing/2014/main" id="{4BDC13F8-FF45-4747-82D1-66D3B6F0B152}"/>
              </a:ext>
            </a:extLst>
          </p:cNvPr>
          <p:cNvSpPr/>
          <p:nvPr/>
        </p:nvSpPr>
        <p:spPr bwMode="gray">
          <a:xfrm>
            <a:off x="4422156" y="1316290"/>
            <a:ext cx="4566355" cy="6256445"/>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dirty="0">
              <a:solidFill>
                <a:schemeClr val="bg1"/>
              </a:solidFill>
              <a:latin typeface="Bahnschrift" panose="020B0502040204020203" pitchFamily="34" charset="0"/>
            </a:endParaRPr>
          </a:p>
        </p:txBody>
      </p:sp>
      <p:pic>
        <p:nvPicPr>
          <p:cNvPr id="34" name="Picture 33" descr="A blue and pink text on a black background&#10;&#10;Description automatically generated with medium confidence">
            <a:extLst>
              <a:ext uri="{FF2B5EF4-FFF2-40B4-BE49-F238E27FC236}">
                <a16:creationId xmlns:a16="http://schemas.microsoft.com/office/drawing/2014/main" id="{D564EC6A-F3F4-4B76-8AAB-763C9CFA7863}"/>
              </a:ext>
            </a:extLst>
          </p:cNvPr>
          <p:cNvPicPr>
            <a:picLocks noChangeAspect="1"/>
          </p:cNvPicPr>
          <p:nvPr/>
        </p:nvPicPr>
        <p:blipFill>
          <a:blip r:embed="rId3"/>
          <a:stretch>
            <a:fillRect/>
          </a:stretch>
        </p:blipFill>
        <p:spPr>
          <a:xfrm>
            <a:off x="8826049" y="1303228"/>
            <a:ext cx="4565526" cy="2029800"/>
          </a:xfrm>
          <a:prstGeom prst="rect">
            <a:avLst/>
          </a:prstGeom>
        </p:spPr>
      </p:pic>
      <p:sp>
        <p:nvSpPr>
          <p:cNvPr id="19" name="Rectangle 18">
            <a:extLst>
              <a:ext uri="{FF2B5EF4-FFF2-40B4-BE49-F238E27FC236}">
                <a16:creationId xmlns:a16="http://schemas.microsoft.com/office/drawing/2014/main" id="{B30F652F-B4AB-4663-B9DF-0896119C5242}"/>
              </a:ext>
            </a:extLst>
          </p:cNvPr>
          <p:cNvSpPr/>
          <p:nvPr/>
        </p:nvSpPr>
        <p:spPr bwMode="gray">
          <a:xfrm>
            <a:off x="13209895" y="1318534"/>
            <a:ext cx="222448" cy="6256446"/>
          </a:xfrm>
          <a:prstGeom prst="rect">
            <a:avLst/>
          </a:prstGeom>
          <a:solidFill>
            <a:srgbClr val="DDEFE8"/>
          </a:solidFill>
          <a:ln w="19050" algn="ctr">
            <a:noFill/>
            <a:miter lim="800000"/>
            <a:headEnd/>
            <a:tailEnd/>
          </a:ln>
          <a:effectLst>
            <a:innerShdw blurRad="63500" dist="50800" dir="8100000">
              <a:prstClr val="black">
                <a:alpha val="50000"/>
              </a:prstClr>
            </a:innerShdw>
            <a:reflection blurRad="6350" stA="50000" endA="275" endPos="40000" dist="1016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fr-FR" sz="4000" b="1">
              <a:solidFill>
                <a:schemeClr val="bg1"/>
              </a:solidFill>
              <a:latin typeface="Bahnschrift" panose="020B0502040204020203" pitchFamily="34" charset="0"/>
            </a:endParaRPr>
          </a:p>
        </p:txBody>
      </p:sp>
      <p:pic>
        <p:nvPicPr>
          <p:cNvPr id="103" name="Picture 29" descr="A black background with white text&#10;&#10;Description automatically generated with low confidence">
            <a:extLst>
              <a:ext uri="{FF2B5EF4-FFF2-40B4-BE49-F238E27FC236}">
                <a16:creationId xmlns:a16="http://schemas.microsoft.com/office/drawing/2014/main" id="{D2E21863-B995-4240-8A58-B52B9ECC5097}"/>
              </a:ext>
            </a:extLst>
          </p:cNvPr>
          <p:cNvPicPr>
            <a:picLocks noChangeAspect="1"/>
          </p:cNvPicPr>
          <p:nvPr/>
        </p:nvPicPr>
        <p:blipFill>
          <a:blip r:embed="rId4"/>
          <a:stretch>
            <a:fillRect/>
          </a:stretch>
        </p:blipFill>
        <p:spPr>
          <a:xfrm>
            <a:off x="5003313" y="2837240"/>
            <a:ext cx="3188426" cy="3188426"/>
          </a:xfrm>
          <a:prstGeom prst="rect">
            <a:avLst/>
          </a:prstGeom>
        </p:spPr>
      </p:pic>
      <p:pic>
        <p:nvPicPr>
          <p:cNvPr id="104" name="Picture 27" descr="A picture containing text, logo, circle, font&#10;&#10;Description automatically generated">
            <a:extLst>
              <a:ext uri="{FF2B5EF4-FFF2-40B4-BE49-F238E27FC236}">
                <a16:creationId xmlns:a16="http://schemas.microsoft.com/office/drawing/2014/main" id="{78439ED9-160F-42E0-9A78-C5572C43CB0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backgroundMark x1="12826" y1="9007" x2="217" y2="9272"/>
                        <a14:backgroundMark x1="217" y1="9272" x2="217" y2="9272"/>
                        <a14:backgroundMark x1="435" y1="44503" x2="5217" y2="27682"/>
                        <a14:backgroundMark x1="5217" y1="27682" x2="19457" y2="8874"/>
                        <a14:backgroundMark x1="19457" y1="8874" x2="28696" y2="1060"/>
                        <a14:backgroundMark x1="28696" y1="1060" x2="30652" y2="397"/>
                      </a14:backgroundRemoval>
                    </a14:imgEffect>
                  </a14:imgLayer>
                </a14:imgProps>
              </a:ext>
            </a:extLst>
          </a:blip>
          <a:stretch>
            <a:fillRect/>
          </a:stretch>
        </p:blipFill>
        <p:spPr>
          <a:xfrm>
            <a:off x="836487" y="3131719"/>
            <a:ext cx="3293845" cy="2599412"/>
          </a:xfrm>
          <a:prstGeom prst="rect">
            <a:avLst/>
          </a:prstGeom>
        </p:spPr>
      </p:pic>
      <p:grpSp>
        <p:nvGrpSpPr>
          <p:cNvPr id="58" name="Groupe 57">
            <a:extLst>
              <a:ext uri="{FF2B5EF4-FFF2-40B4-BE49-F238E27FC236}">
                <a16:creationId xmlns:a16="http://schemas.microsoft.com/office/drawing/2014/main" id="{37101EBB-EB9A-4A42-B1E5-D99B88E804BE}"/>
              </a:ext>
            </a:extLst>
          </p:cNvPr>
          <p:cNvGrpSpPr/>
          <p:nvPr/>
        </p:nvGrpSpPr>
        <p:grpSpPr>
          <a:xfrm>
            <a:off x="10635530" y="519574"/>
            <a:ext cx="1823720" cy="544758"/>
            <a:chOff x="10635530" y="519574"/>
            <a:chExt cx="1425914" cy="544758"/>
          </a:xfrm>
        </p:grpSpPr>
        <p:sp>
          <p:nvSpPr>
            <p:cNvPr id="62" name="Freeform 926">
              <a:extLst>
                <a:ext uri="{FF2B5EF4-FFF2-40B4-BE49-F238E27FC236}">
                  <a16:creationId xmlns:a16="http://schemas.microsoft.com/office/drawing/2014/main" id="{3F8D297A-9152-4313-BB4B-C1A07E3D6B53}"/>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3" name="TextBox 220">
              <a:extLst>
                <a:ext uri="{FF2B5EF4-FFF2-40B4-BE49-F238E27FC236}">
                  <a16:creationId xmlns:a16="http://schemas.microsoft.com/office/drawing/2014/main" id="{373AADFA-B61C-4B7B-86FD-9EA27AD87E9D}"/>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a:solidFill>
                    <a:schemeClr val="tx2"/>
                  </a:solidFill>
                </a:rPr>
                <a:t>Aperçu Framework</a:t>
              </a:r>
            </a:p>
          </p:txBody>
        </p:sp>
      </p:grpSp>
      <p:grpSp>
        <p:nvGrpSpPr>
          <p:cNvPr id="64" name="Groupe 63">
            <a:extLst>
              <a:ext uri="{FF2B5EF4-FFF2-40B4-BE49-F238E27FC236}">
                <a16:creationId xmlns:a16="http://schemas.microsoft.com/office/drawing/2014/main" id="{BFEE3097-3664-454D-8C27-997D2A9D39CE}"/>
              </a:ext>
            </a:extLst>
          </p:cNvPr>
          <p:cNvGrpSpPr/>
          <p:nvPr/>
        </p:nvGrpSpPr>
        <p:grpSpPr>
          <a:xfrm>
            <a:off x="7969060" y="519574"/>
            <a:ext cx="1917890" cy="544812"/>
            <a:chOff x="5755870" y="519574"/>
            <a:chExt cx="1499543" cy="544812"/>
          </a:xfrm>
        </p:grpSpPr>
        <p:sp>
          <p:nvSpPr>
            <p:cNvPr id="65" name="Freeform 926">
              <a:extLst>
                <a:ext uri="{FF2B5EF4-FFF2-40B4-BE49-F238E27FC236}">
                  <a16:creationId xmlns:a16="http://schemas.microsoft.com/office/drawing/2014/main" id="{11827859-C956-494B-9FDB-617581B2C654}"/>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6" name="TextBox 219">
              <a:extLst>
                <a:ext uri="{FF2B5EF4-FFF2-40B4-BE49-F238E27FC236}">
                  <a16:creationId xmlns:a16="http://schemas.microsoft.com/office/drawing/2014/main" id="{D7DE20DD-93D3-4A45-9F96-EA08C98735FF}"/>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Normes et standards</a:t>
              </a:r>
            </a:p>
          </p:txBody>
        </p:sp>
      </p:grpSp>
      <p:grpSp>
        <p:nvGrpSpPr>
          <p:cNvPr id="67" name="Groupe 66">
            <a:extLst>
              <a:ext uri="{FF2B5EF4-FFF2-40B4-BE49-F238E27FC236}">
                <a16:creationId xmlns:a16="http://schemas.microsoft.com/office/drawing/2014/main" id="{88808B91-EED0-4DF4-A26B-6E5A0E0EE87E}"/>
              </a:ext>
            </a:extLst>
          </p:cNvPr>
          <p:cNvGrpSpPr/>
          <p:nvPr/>
        </p:nvGrpSpPr>
        <p:grpSpPr>
          <a:xfrm>
            <a:off x="1378330" y="519574"/>
            <a:ext cx="1556504" cy="544812"/>
            <a:chOff x="1378330" y="519574"/>
            <a:chExt cx="1216986" cy="544812"/>
          </a:xfrm>
        </p:grpSpPr>
        <p:sp>
          <p:nvSpPr>
            <p:cNvPr id="68" name="TextBox 219">
              <a:extLst>
                <a:ext uri="{FF2B5EF4-FFF2-40B4-BE49-F238E27FC236}">
                  <a16:creationId xmlns:a16="http://schemas.microsoft.com/office/drawing/2014/main" id="{4532AD4D-6AF3-460E-8016-56AA4C62802C}"/>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69" name="Freeform 926">
              <a:extLst>
                <a:ext uri="{FF2B5EF4-FFF2-40B4-BE49-F238E27FC236}">
                  <a16:creationId xmlns:a16="http://schemas.microsoft.com/office/drawing/2014/main" id="{D0328EC7-9DF3-4727-9EAD-CBD6569110CE}"/>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73" name="Groupe 72">
            <a:extLst>
              <a:ext uri="{FF2B5EF4-FFF2-40B4-BE49-F238E27FC236}">
                <a16:creationId xmlns:a16="http://schemas.microsoft.com/office/drawing/2014/main" id="{7667B42C-588E-4334-B67F-76AB8A7EB760}"/>
              </a:ext>
            </a:extLst>
          </p:cNvPr>
          <p:cNvGrpSpPr/>
          <p:nvPr/>
        </p:nvGrpSpPr>
        <p:grpSpPr>
          <a:xfrm>
            <a:off x="3762244" y="519574"/>
            <a:ext cx="987996" cy="544758"/>
            <a:chOff x="8696117" y="519574"/>
            <a:chExt cx="772486" cy="544758"/>
          </a:xfrm>
        </p:grpSpPr>
        <p:sp>
          <p:nvSpPr>
            <p:cNvPr id="74" name="Freeform 926">
              <a:extLst>
                <a:ext uri="{FF2B5EF4-FFF2-40B4-BE49-F238E27FC236}">
                  <a16:creationId xmlns:a16="http://schemas.microsoft.com/office/drawing/2014/main" id="{41B16317-BAE7-4165-8A2E-703D68D85135}"/>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5" name="TextBox 220">
              <a:extLst>
                <a:ext uri="{FF2B5EF4-FFF2-40B4-BE49-F238E27FC236}">
                  <a16:creationId xmlns:a16="http://schemas.microsoft.com/office/drawing/2014/main" id="{C118D746-F7FA-4069-BD0A-9F08647FFA79}"/>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78" name="Groupe 77">
            <a:extLst>
              <a:ext uri="{FF2B5EF4-FFF2-40B4-BE49-F238E27FC236}">
                <a16:creationId xmlns:a16="http://schemas.microsoft.com/office/drawing/2014/main" id="{9F5757DE-17D6-4C42-8D59-D9E34634BD46}"/>
              </a:ext>
            </a:extLst>
          </p:cNvPr>
          <p:cNvGrpSpPr/>
          <p:nvPr/>
        </p:nvGrpSpPr>
        <p:grpSpPr>
          <a:xfrm>
            <a:off x="5701658" y="519574"/>
            <a:ext cx="1407488" cy="544812"/>
            <a:chOff x="3625356" y="519574"/>
            <a:chExt cx="1100474" cy="544812"/>
          </a:xfrm>
        </p:grpSpPr>
        <p:sp>
          <p:nvSpPr>
            <p:cNvPr id="79" name="Freeform 926">
              <a:extLst>
                <a:ext uri="{FF2B5EF4-FFF2-40B4-BE49-F238E27FC236}">
                  <a16:creationId xmlns:a16="http://schemas.microsoft.com/office/drawing/2014/main" id="{2E249455-A7CE-4C24-AE81-D34860CB302D}"/>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80" name="TextBox 219">
              <a:extLst>
                <a:ext uri="{FF2B5EF4-FFF2-40B4-BE49-F238E27FC236}">
                  <a16:creationId xmlns:a16="http://schemas.microsoft.com/office/drawing/2014/main" id="{4FB31992-C7AD-48CF-BA40-B7A505360C50}"/>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sp>
        <p:nvSpPr>
          <p:cNvPr id="81" name="Rectangle 80">
            <a:extLst>
              <a:ext uri="{FF2B5EF4-FFF2-40B4-BE49-F238E27FC236}">
                <a16:creationId xmlns:a16="http://schemas.microsoft.com/office/drawing/2014/main" id="{D8D1AF64-5A6B-4912-AB33-3F4957786BB7}"/>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82" name="Rectangle 81">
            <a:extLst>
              <a:ext uri="{FF2B5EF4-FFF2-40B4-BE49-F238E27FC236}">
                <a16:creationId xmlns:a16="http://schemas.microsoft.com/office/drawing/2014/main" id="{0CD336D7-DB66-4103-87FA-2C2852CF35A5}"/>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3" name="Rectangle 82">
            <a:extLst>
              <a:ext uri="{FF2B5EF4-FFF2-40B4-BE49-F238E27FC236}">
                <a16:creationId xmlns:a16="http://schemas.microsoft.com/office/drawing/2014/main" id="{AEE3F4CA-DAE3-447E-8F50-759F444F9484}"/>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5" name="Rectangle 84">
            <a:extLst>
              <a:ext uri="{FF2B5EF4-FFF2-40B4-BE49-F238E27FC236}">
                <a16:creationId xmlns:a16="http://schemas.microsoft.com/office/drawing/2014/main" id="{F1657C88-66CC-45DA-BAF8-B65D46A8A65F}"/>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1391736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pic>
        <p:nvPicPr>
          <p:cNvPr id="20" name="Picture 19">
            <a:extLst>
              <a:ext uri="{FF2B5EF4-FFF2-40B4-BE49-F238E27FC236}">
                <a16:creationId xmlns:a16="http://schemas.microsoft.com/office/drawing/2014/main" id="{706F4A6E-E8A8-407E-8B06-150C8070B821}"/>
              </a:ext>
            </a:extLst>
          </p:cNvPr>
          <p:cNvPicPr>
            <a:picLocks noChangeAspect="1"/>
          </p:cNvPicPr>
          <p:nvPr/>
        </p:nvPicPr>
        <p:blipFill rotWithShape="1">
          <a:blip r:embed="rId4"/>
          <a:srcRect r="487"/>
          <a:stretch/>
        </p:blipFill>
        <p:spPr>
          <a:xfrm>
            <a:off x="6796439" y="1794813"/>
            <a:ext cx="2644352" cy="2006478"/>
          </a:xfrm>
          <a:prstGeom prst="rect">
            <a:avLst/>
          </a:prstGeom>
        </p:spPr>
      </p:pic>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5"/>
          <a:srcRect/>
          <a:stretch/>
        </p:blipFill>
        <p:spPr>
          <a:xfrm>
            <a:off x="5093774" y="2636949"/>
            <a:ext cx="2574113" cy="2111716"/>
          </a:xfrm>
          <a:prstGeom prst="rect">
            <a:avLst/>
          </a:prstGeom>
        </p:spPr>
      </p:pic>
      <p:grpSp>
        <p:nvGrpSpPr>
          <p:cNvPr id="41" name="Group 40">
            <a:extLst>
              <a:ext uri="{FF2B5EF4-FFF2-40B4-BE49-F238E27FC236}">
                <a16:creationId xmlns:a16="http://schemas.microsoft.com/office/drawing/2014/main" id="{A7D241EB-CE54-45BA-93FD-28E9554D2F55}"/>
              </a:ext>
            </a:extLst>
          </p:cNvPr>
          <p:cNvGrpSpPr/>
          <p:nvPr/>
        </p:nvGrpSpPr>
        <p:grpSpPr>
          <a:xfrm>
            <a:off x="427378" y="1923094"/>
            <a:ext cx="3551275" cy="1200328"/>
            <a:chOff x="285474" y="1582848"/>
            <a:chExt cx="3551275" cy="1200328"/>
          </a:xfrm>
        </p:grpSpPr>
        <p:sp>
          <p:nvSpPr>
            <p:cNvPr id="5" name="TextBox 4">
              <a:extLst>
                <a:ext uri="{FF2B5EF4-FFF2-40B4-BE49-F238E27FC236}">
                  <a16:creationId xmlns:a16="http://schemas.microsoft.com/office/drawing/2014/main" id="{469729C8-20D1-433B-8AA6-5007B7F1DB7B}"/>
                </a:ext>
              </a:extLst>
            </p:cNvPr>
            <p:cNvSpPr txBox="1"/>
            <p:nvPr/>
          </p:nvSpPr>
          <p:spPr>
            <a:xfrm>
              <a:off x="285474" y="1582848"/>
              <a:ext cx="3442875" cy="246221"/>
            </a:xfrm>
            <a:prstGeom prst="rect">
              <a:avLst/>
            </a:prstGeom>
            <a:noFill/>
          </p:spPr>
          <p:txBody>
            <a:bodyPr wrap="square" lIns="0" tIns="0" rIns="0" bIns="0" rtlCol="0">
              <a:spAutoFit/>
            </a:bodyPr>
            <a:lstStyle/>
            <a:p>
              <a:pPr algn="just">
                <a:spcBef>
                  <a:spcPts val="600"/>
                </a:spcBef>
                <a:buSzPct val="100000"/>
              </a:pPr>
              <a:r>
                <a:rPr lang="fr-FR" sz="1600" b="0" i="0" dirty="0">
                  <a:solidFill>
                    <a:schemeClr val="accent6"/>
                  </a:solidFill>
                  <a:effectLst/>
                </a:rPr>
                <a:t>Flexibilité sans égal </a:t>
              </a:r>
              <a:endParaRPr lang="fr-FR" sz="1600" dirty="0">
                <a:solidFill>
                  <a:schemeClr val="accent6"/>
                </a:solidFill>
              </a:endParaRPr>
            </a:p>
          </p:txBody>
        </p:sp>
        <p:sp>
          <p:nvSpPr>
            <p:cNvPr id="36" name="TextBox 35">
              <a:extLst>
                <a:ext uri="{FF2B5EF4-FFF2-40B4-BE49-F238E27FC236}">
                  <a16:creationId xmlns:a16="http://schemas.microsoft.com/office/drawing/2014/main" id="{2B07480A-2612-4BE2-9A40-034181877038}"/>
                </a:ext>
              </a:extLst>
            </p:cNvPr>
            <p:cNvSpPr txBox="1"/>
            <p:nvPr/>
          </p:nvSpPr>
          <p:spPr>
            <a:xfrm>
              <a:off x="285474" y="1829069"/>
              <a:ext cx="3551275" cy="954107"/>
            </a:xfrm>
            <a:prstGeom prst="rect">
              <a:avLst/>
            </a:prstGeom>
            <a:noFill/>
          </p:spPr>
          <p:txBody>
            <a:bodyPr wrap="square">
              <a:spAutoFit/>
            </a:bodyPr>
            <a:lstStyle/>
            <a:p>
              <a:r>
                <a:rPr lang="fr-FR" sz="1400" b="0" i="0" dirty="0">
                  <a:solidFill>
                    <a:schemeClr val="tx1">
                      <a:lumMod val="65000"/>
                      <a:lumOff val="35000"/>
                    </a:schemeClr>
                  </a:solidFill>
                  <a:effectLst/>
                </a:rPr>
                <a:t>Un Framework diversifié, conçu pour s'adapter à une variété de cas d'utilisation, offrant une solution sur mesure pour répondre à tous vos besoins en cybersécurité.</a:t>
              </a:r>
              <a:endParaRPr lang="fr-FR" sz="1400" dirty="0">
                <a:solidFill>
                  <a:schemeClr val="tx1">
                    <a:lumMod val="65000"/>
                    <a:lumOff val="35000"/>
                  </a:schemeClr>
                </a:solidFill>
              </a:endParaRPr>
            </a:p>
          </p:txBody>
        </p:sp>
      </p:grpSp>
      <p:grpSp>
        <p:nvGrpSpPr>
          <p:cNvPr id="43" name="Group 42">
            <a:extLst>
              <a:ext uri="{FF2B5EF4-FFF2-40B4-BE49-F238E27FC236}">
                <a16:creationId xmlns:a16="http://schemas.microsoft.com/office/drawing/2014/main" id="{26BDA0EE-8E60-4A60-862F-D0C64FEF1E83}"/>
              </a:ext>
            </a:extLst>
          </p:cNvPr>
          <p:cNvGrpSpPr/>
          <p:nvPr/>
        </p:nvGrpSpPr>
        <p:grpSpPr>
          <a:xfrm>
            <a:off x="427378" y="3391623"/>
            <a:ext cx="3551275" cy="1200328"/>
            <a:chOff x="285474" y="2779219"/>
            <a:chExt cx="3551275" cy="1200328"/>
          </a:xfrm>
        </p:grpSpPr>
        <p:sp>
          <p:nvSpPr>
            <p:cNvPr id="37" name="TextBox 36">
              <a:extLst>
                <a:ext uri="{FF2B5EF4-FFF2-40B4-BE49-F238E27FC236}">
                  <a16:creationId xmlns:a16="http://schemas.microsoft.com/office/drawing/2014/main" id="{1EF076D8-BEC4-4535-AE56-D28632C88CA9}"/>
                </a:ext>
              </a:extLst>
            </p:cNvPr>
            <p:cNvSpPr txBox="1"/>
            <p:nvPr/>
          </p:nvSpPr>
          <p:spPr>
            <a:xfrm>
              <a:off x="285474" y="2779219"/>
              <a:ext cx="1768048" cy="246221"/>
            </a:xfrm>
            <a:prstGeom prst="rect">
              <a:avLst/>
            </a:prstGeom>
            <a:noFill/>
          </p:spPr>
          <p:txBody>
            <a:bodyPr wrap="none" lIns="0" tIns="0" rIns="0" bIns="0" rtlCol="0">
              <a:spAutoFit/>
            </a:bodyPr>
            <a:lstStyle/>
            <a:p>
              <a:pPr algn="just">
                <a:spcBef>
                  <a:spcPts val="600"/>
                </a:spcBef>
                <a:buSzPct val="100000"/>
              </a:pPr>
              <a:r>
                <a:rPr lang="fr-FR" sz="1600" b="0" i="0">
                  <a:solidFill>
                    <a:schemeClr val="accent4"/>
                  </a:solidFill>
                  <a:effectLst/>
                </a:rPr>
                <a:t>Couverture complète</a:t>
              </a:r>
              <a:endParaRPr lang="fr-FR" sz="1600">
                <a:solidFill>
                  <a:schemeClr val="accent4"/>
                </a:solidFill>
              </a:endParaRPr>
            </a:p>
          </p:txBody>
        </p:sp>
        <p:sp>
          <p:nvSpPr>
            <p:cNvPr id="38" name="TextBox 37">
              <a:extLst>
                <a:ext uri="{FF2B5EF4-FFF2-40B4-BE49-F238E27FC236}">
                  <a16:creationId xmlns:a16="http://schemas.microsoft.com/office/drawing/2014/main" id="{D229CA3B-D4D6-45DB-B46E-0B491D15C266}"/>
                </a:ext>
              </a:extLst>
            </p:cNvPr>
            <p:cNvSpPr txBox="1"/>
            <p:nvPr/>
          </p:nvSpPr>
          <p:spPr>
            <a:xfrm>
              <a:off x="285474" y="3025440"/>
              <a:ext cx="3551275" cy="954107"/>
            </a:xfrm>
            <a:prstGeom prst="rect">
              <a:avLst/>
            </a:prstGeom>
            <a:noFill/>
          </p:spPr>
          <p:txBody>
            <a:bodyPr wrap="square">
              <a:spAutoFit/>
            </a:bodyPr>
            <a:lstStyle/>
            <a:p>
              <a:r>
                <a:rPr lang="fr-FR" sz="1400" b="0" i="0" dirty="0">
                  <a:solidFill>
                    <a:schemeClr val="tx1">
                      <a:lumMod val="65000"/>
                      <a:lumOff val="35000"/>
                    </a:schemeClr>
                  </a:solidFill>
                  <a:effectLst/>
                </a:rPr>
                <a:t>Notre solution captivante couvre tous les aspects de la cybersécurité, vous offrant une protection totale contre les menaces numériques sous tous leurs angles.</a:t>
              </a:r>
              <a:endParaRPr lang="fr-FR" sz="1400" dirty="0">
                <a:solidFill>
                  <a:schemeClr val="tx1">
                    <a:lumMod val="65000"/>
                    <a:lumOff val="35000"/>
                  </a:schemeClr>
                </a:solidFill>
              </a:endParaRPr>
            </a:p>
          </p:txBody>
        </p:sp>
      </p:grpSp>
      <p:grpSp>
        <p:nvGrpSpPr>
          <p:cNvPr id="44" name="Group 43">
            <a:extLst>
              <a:ext uri="{FF2B5EF4-FFF2-40B4-BE49-F238E27FC236}">
                <a16:creationId xmlns:a16="http://schemas.microsoft.com/office/drawing/2014/main" id="{72B7858C-5E0D-455B-AE2F-5BD2C5DE4FB2}"/>
              </a:ext>
            </a:extLst>
          </p:cNvPr>
          <p:cNvGrpSpPr/>
          <p:nvPr/>
        </p:nvGrpSpPr>
        <p:grpSpPr>
          <a:xfrm>
            <a:off x="427378" y="4860151"/>
            <a:ext cx="3551275" cy="1415772"/>
            <a:chOff x="285474" y="4004249"/>
            <a:chExt cx="3551275" cy="1415772"/>
          </a:xfrm>
        </p:grpSpPr>
        <p:sp>
          <p:nvSpPr>
            <p:cNvPr id="39" name="TextBox 38">
              <a:extLst>
                <a:ext uri="{FF2B5EF4-FFF2-40B4-BE49-F238E27FC236}">
                  <a16:creationId xmlns:a16="http://schemas.microsoft.com/office/drawing/2014/main" id="{A495C2D7-EFB2-4BC0-B2BF-14CA0B6D4934}"/>
                </a:ext>
              </a:extLst>
            </p:cNvPr>
            <p:cNvSpPr txBox="1"/>
            <p:nvPr/>
          </p:nvSpPr>
          <p:spPr>
            <a:xfrm>
              <a:off x="285474" y="4004249"/>
              <a:ext cx="1836850" cy="246221"/>
            </a:xfrm>
            <a:prstGeom prst="rect">
              <a:avLst/>
            </a:prstGeom>
            <a:noFill/>
          </p:spPr>
          <p:txBody>
            <a:bodyPr wrap="none" lIns="0" tIns="0" rIns="0" bIns="0" rtlCol="0">
              <a:spAutoFit/>
            </a:bodyPr>
            <a:lstStyle/>
            <a:p>
              <a:pPr algn="just">
                <a:spcBef>
                  <a:spcPts val="600"/>
                </a:spcBef>
                <a:buSzPct val="100000"/>
              </a:pPr>
              <a:r>
                <a:rPr lang="fr-FR" sz="1600" b="0" i="0">
                  <a:solidFill>
                    <a:schemeClr val="accent3"/>
                  </a:solidFill>
                  <a:effectLst/>
                </a:rPr>
                <a:t>Excellence sécuritaire </a:t>
              </a:r>
              <a:endParaRPr lang="fr-FR" sz="1600">
                <a:solidFill>
                  <a:schemeClr val="accent3"/>
                </a:solidFill>
              </a:endParaRPr>
            </a:p>
          </p:txBody>
        </p:sp>
        <p:sp>
          <p:nvSpPr>
            <p:cNvPr id="40" name="TextBox 39">
              <a:extLst>
                <a:ext uri="{FF2B5EF4-FFF2-40B4-BE49-F238E27FC236}">
                  <a16:creationId xmlns:a16="http://schemas.microsoft.com/office/drawing/2014/main" id="{4DF41847-9BA4-4A1F-9391-1C845978DAA1}"/>
                </a:ext>
              </a:extLst>
            </p:cNvPr>
            <p:cNvSpPr txBox="1"/>
            <p:nvPr/>
          </p:nvSpPr>
          <p:spPr>
            <a:xfrm>
              <a:off x="285474" y="4250470"/>
              <a:ext cx="3551275" cy="1169551"/>
            </a:xfrm>
            <a:prstGeom prst="rect">
              <a:avLst/>
            </a:prstGeom>
            <a:noFill/>
          </p:spPr>
          <p:txBody>
            <a:bodyPr wrap="square">
              <a:spAutoFit/>
            </a:bodyPr>
            <a:lstStyle/>
            <a:p>
              <a:r>
                <a:rPr lang="fr-FR" sz="1400" b="0" i="0" dirty="0">
                  <a:solidFill>
                    <a:schemeClr val="tx1">
                      <a:lumMod val="65000"/>
                      <a:lumOff val="35000"/>
                    </a:schemeClr>
                  </a:solidFill>
                  <a:effectLst/>
                </a:rPr>
                <a:t>Avec plus de </a:t>
              </a:r>
              <a:r>
                <a:rPr lang="fr-FR" sz="1400" b="1" i="0" dirty="0">
                  <a:solidFill>
                    <a:schemeClr val="tx1">
                      <a:lumMod val="65000"/>
                      <a:lumOff val="35000"/>
                    </a:schemeClr>
                  </a:solidFill>
                  <a:effectLst/>
                </a:rPr>
                <a:t>400 contrôles et questions</a:t>
              </a:r>
              <a:r>
                <a:rPr lang="fr-FR" sz="1400" b="0" i="0" dirty="0">
                  <a:solidFill>
                    <a:schemeClr val="tx1">
                      <a:lumMod val="65000"/>
                      <a:lumOff val="35000"/>
                    </a:schemeClr>
                  </a:solidFill>
                  <a:effectLst/>
                </a:rPr>
                <a:t>, notre approche exhaustive et rigoureuse de la cybersécurité garantit une protection optimale pour nos clients, établissant de nouvelles normes de sécurité.</a:t>
              </a:r>
              <a:endParaRPr lang="fr-FR" sz="1400" dirty="0">
                <a:solidFill>
                  <a:schemeClr val="tx1">
                    <a:lumMod val="65000"/>
                    <a:lumOff val="35000"/>
                  </a:schemeClr>
                </a:solidFill>
              </a:endParaRPr>
            </a:p>
          </p:txBody>
        </p:sp>
      </p:grpSp>
      <p:cxnSp>
        <p:nvCxnSpPr>
          <p:cNvPr id="46" name="Straight Connector 45">
            <a:extLst>
              <a:ext uri="{FF2B5EF4-FFF2-40B4-BE49-F238E27FC236}">
                <a16:creationId xmlns:a16="http://schemas.microsoft.com/office/drawing/2014/main" id="{CB2E0283-43BA-4E72-8A11-6196DB3EA9EB}"/>
              </a:ext>
            </a:extLst>
          </p:cNvPr>
          <p:cNvCxnSpPr>
            <a:cxnSpLocks/>
          </p:cNvCxnSpPr>
          <p:nvPr/>
        </p:nvCxnSpPr>
        <p:spPr>
          <a:xfrm>
            <a:off x="351478" y="2169315"/>
            <a:ext cx="34428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E99B8DC-304B-49E2-954F-A2D316D45AE9}"/>
              </a:ext>
            </a:extLst>
          </p:cNvPr>
          <p:cNvCxnSpPr>
            <a:cxnSpLocks/>
          </p:cNvCxnSpPr>
          <p:nvPr/>
        </p:nvCxnSpPr>
        <p:spPr>
          <a:xfrm>
            <a:off x="351478" y="3637844"/>
            <a:ext cx="34428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BE609DF-674E-4BC5-A39F-84D91B13D005}"/>
              </a:ext>
            </a:extLst>
          </p:cNvPr>
          <p:cNvCxnSpPr>
            <a:cxnSpLocks/>
          </p:cNvCxnSpPr>
          <p:nvPr/>
        </p:nvCxnSpPr>
        <p:spPr>
          <a:xfrm>
            <a:off x="351478" y="5106373"/>
            <a:ext cx="34428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0" name="Group 987">
            <a:extLst>
              <a:ext uri="{FF2B5EF4-FFF2-40B4-BE49-F238E27FC236}">
                <a16:creationId xmlns:a16="http://schemas.microsoft.com/office/drawing/2014/main" id="{9ECB89D8-783D-4467-A7B7-0E8D866A04B2}"/>
              </a:ext>
            </a:extLst>
          </p:cNvPr>
          <p:cNvGrpSpPr>
            <a:grpSpLocks noChangeAspect="1"/>
          </p:cNvGrpSpPr>
          <p:nvPr/>
        </p:nvGrpSpPr>
        <p:grpSpPr bwMode="auto">
          <a:xfrm>
            <a:off x="3527920" y="1923093"/>
            <a:ext cx="229755" cy="229755"/>
            <a:chOff x="2699" y="3996"/>
            <a:chExt cx="340" cy="340"/>
          </a:xfrm>
          <a:solidFill>
            <a:schemeClr val="accent6"/>
          </a:solidFill>
        </p:grpSpPr>
        <p:sp>
          <p:nvSpPr>
            <p:cNvPr id="51" name="Freeform 988">
              <a:extLst>
                <a:ext uri="{FF2B5EF4-FFF2-40B4-BE49-F238E27FC236}">
                  <a16:creationId xmlns:a16="http://schemas.microsoft.com/office/drawing/2014/main" id="{9E4A417E-E525-4C19-A91B-316D4F9C2600}"/>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989">
              <a:extLst>
                <a:ext uri="{FF2B5EF4-FFF2-40B4-BE49-F238E27FC236}">
                  <a16:creationId xmlns:a16="http://schemas.microsoft.com/office/drawing/2014/main" id="{9C429912-1A39-490F-9D8B-3DF4CCBE4DE3}"/>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3">
            <a:extLst>
              <a:ext uri="{FF2B5EF4-FFF2-40B4-BE49-F238E27FC236}">
                <a16:creationId xmlns:a16="http://schemas.microsoft.com/office/drawing/2014/main" id="{0FBF40BA-C416-4AA7-8CED-C03EB3060042}"/>
              </a:ext>
            </a:extLst>
          </p:cNvPr>
          <p:cNvGrpSpPr>
            <a:grpSpLocks noChangeAspect="1"/>
          </p:cNvGrpSpPr>
          <p:nvPr/>
        </p:nvGrpSpPr>
        <p:grpSpPr bwMode="auto">
          <a:xfrm>
            <a:off x="3526952" y="3388562"/>
            <a:ext cx="230400" cy="231078"/>
            <a:chOff x="5183" y="1046"/>
            <a:chExt cx="340" cy="341"/>
          </a:xfrm>
          <a:solidFill>
            <a:schemeClr val="accent4"/>
          </a:solidFill>
        </p:grpSpPr>
        <p:sp>
          <p:nvSpPr>
            <p:cNvPr id="54" name="Freeform 54">
              <a:extLst>
                <a:ext uri="{FF2B5EF4-FFF2-40B4-BE49-F238E27FC236}">
                  <a16:creationId xmlns:a16="http://schemas.microsoft.com/office/drawing/2014/main" id="{A3B12766-70C3-42E9-807F-FC3DDAFDA6C0}"/>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5">
              <a:extLst>
                <a:ext uri="{FF2B5EF4-FFF2-40B4-BE49-F238E27FC236}">
                  <a16:creationId xmlns:a16="http://schemas.microsoft.com/office/drawing/2014/main" id="{8B5FDBCD-1BFC-4973-97F4-7BB861BF5FB9}"/>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6" name="Group 853">
            <a:extLst>
              <a:ext uri="{FF2B5EF4-FFF2-40B4-BE49-F238E27FC236}">
                <a16:creationId xmlns:a16="http://schemas.microsoft.com/office/drawing/2014/main" id="{65ED4EF8-02AE-4D67-8D49-F222E4B7F926}"/>
              </a:ext>
            </a:extLst>
          </p:cNvPr>
          <p:cNvGrpSpPr>
            <a:grpSpLocks noChangeAspect="1"/>
          </p:cNvGrpSpPr>
          <p:nvPr/>
        </p:nvGrpSpPr>
        <p:grpSpPr bwMode="auto">
          <a:xfrm>
            <a:off x="3518448" y="4856930"/>
            <a:ext cx="230400" cy="230400"/>
            <a:chOff x="7360" y="3435"/>
            <a:chExt cx="340" cy="340"/>
          </a:xfrm>
          <a:solidFill>
            <a:schemeClr val="accent2"/>
          </a:solidFill>
        </p:grpSpPr>
        <p:sp>
          <p:nvSpPr>
            <p:cNvPr id="57" name="Freeform 854">
              <a:extLst>
                <a:ext uri="{FF2B5EF4-FFF2-40B4-BE49-F238E27FC236}">
                  <a16:creationId xmlns:a16="http://schemas.microsoft.com/office/drawing/2014/main" id="{6EE1BDA9-2D2F-4219-B400-8303DC029603}"/>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855">
              <a:extLst>
                <a:ext uri="{FF2B5EF4-FFF2-40B4-BE49-F238E27FC236}">
                  <a16:creationId xmlns:a16="http://schemas.microsoft.com/office/drawing/2014/main" id="{15EF64D1-4918-47E0-8584-AAA902FD4F64}"/>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6"/>
          <a:stretch>
            <a:fillRect/>
          </a:stretch>
        </p:blipFill>
        <p:spPr>
          <a:xfrm>
            <a:off x="8321913" y="1794813"/>
            <a:ext cx="4006317" cy="2288275"/>
          </a:xfrm>
          <a:prstGeom prst="rect">
            <a:avLst/>
          </a:prstGeom>
        </p:spPr>
      </p:pic>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7"/>
          <a:stretch>
            <a:fillRect/>
          </a:stretch>
        </p:blipFill>
        <p:spPr>
          <a:xfrm>
            <a:off x="8717182" y="2728982"/>
            <a:ext cx="4612732" cy="2357842"/>
          </a:xfrm>
          <a:prstGeom prst="rect">
            <a:avLst/>
          </a:prstGeom>
        </p:spPr>
      </p:pic>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8"/>
          <a:stretch>
            <a:fillRect/>
          </a:stretch>
        </p:blipFill>
        <p:spPr>
          <a:xfrm>
            <a:off x="4862034" y="4425064"/>
            <a:ext cx="3459879" cy="257357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9"/>
          <a:stretch>
            <a:fillRect/>
          </a:stretch>
        </p:blipFill>
        <p:spPr>
          <a:xfrm>
            <a:off x="8356090" y="4853903"/>
            <a:ext cx="3032692" cy="2286100"/>
          </a:xfrm>
          <a:prstGeom prst="rect">
            <a:avLst/>
          </a:prstGeom>
        </p:spPr>
      </p:pic>
      <p:grpSp>
        <p:nvGrpSpPr>
          <p:cNvPr id="61" name="Groupe 60">
            <a:extLst>
              <a:ext uri="{FF2B5EF4-FFF2-40B4-BE49-F238E27FC236}">
                <a16:creationId xmlns:a16="http://schemas.microsoft.com/office/drawing/2014/main" id="{71B53072-5249-418B-A003-47B8117C3706}"/>
              </a:ext>
            </a:extLst>
          </p:cNvPr>
          <p:cNvGrpSpPr/>
          <p:nvPr/>
        </p:nvGrpSpPr>
        <p:grpSpPr>
          <a:xfrm>
            <a:off x="10635530" y="519574"/>
            <a:ext cx="1692700" cy="544758"/>
            <a:chOff x="10635530" y="519574"/>
            <a:chExt cx="1425914" cy="544758"/>
          </a:xfrm>
        </p:grpSpPr>
        <p:sp>
          <p:nvSpPr>
            <p:cNvPr id="62" name="Freeform 926">
              <a:extLst>
                <a:ext uri="{FF2B5EF4-FFF2-40B4-BE49-F238E27FC236}">
                  <a16:creationId xmlns:a16="http://schemas.microsoft.com/office/drawing/2014/main" id="{EEC0EEA8-101A-4542-96DC-D43BDFFAE320}"/>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3" name="TextBox 220">
              <a:extLst>
                <a:ext uri="{FF2B5EF4-FFF2-40B4-BE49-F238E27FC236}">
                  <a16:creationId xmlns:a16="http://schemas.microsoft.com/office/drawing/2014/main" id="{E8D976E7-9325-4673-9701-DCF85DB2E0FF}"/>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67" name="Groupe 66">
            <a:extLst>
              <a:ext uri="{FF2B5EF4-FFF2-40B4-BE49-F238E27FC236}">
                <a16:creationId xmlns:a16="http://schemas.microsoft.com/office/drawing/2014/main" id="{F60D3D50-CAE0-4845-BAA5-308EE5FB54F7}"/>
              </a:ext>
            </a:extLst>
          </p:cNvPr>
          <p:cNvGrpSpPr/>
          <p:nvPr/>
        </p:nvGrpSpPr>
        <p:grpSpPr>
          <a:xfrm>
            <a:off x="1378330" y="519574"/>
            <a:ext cx="1444682" cy="544812"/>
            <a:chOff x="1378330" y="519574"/>
            <a:chExt cx="1216986" cy="544812"/>
          </a:xfrm>
        </p:grpSpPr>
        <p:sp>
          <p:nvSpPr>
            <p:cNvPr id="68" name="TextBox 219">
              <a:extLst>
                <a:ext uri="{FF2B5EF4-FFF2-40B4-BE49-F238E27FC236}">
                  <a16:creationId xmlns:a16="http://schemas.microsoft.com/office/drawing/2014/main" id="{E73602B3-DEA6-48A5-9306-082993B2ED4E}"/>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69" name="Freeform 926">
              <a:extLst>
                <a:ext uri="{FF2B5EF4-FFF2-40B4-BE49-F238E27FC236}">
                  <a16:creationId xmlns:a16="http://schemas.microsoft.com/office/drawing/2014/main" id="{31062983-918A-4B9A-B61C-E2F595BD8F3E}"/>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70" name="Groupe 69">
            <a:extLst>
              <a:ext uri="{FF2B5EF4-FFF2-40B4-BE49-F238E27FC236}">
                <a16:creationId xmlns:a16="http://schemas.microsoft.com/office/drawing/2014/main" id="{CC963784-89C0-4CAC-BD2E-5385BD5A6006}"/>
              </a:ext>
            </a:extLst>
          </p:cNvPr>
          <p:cNvGrpSpPr/>
          <p:nvPr/>
        </p:nvGrpSpPr>
        <p:grpSpPr>
          <a:xfrm>
            <a:off x="3762243" y="519574"/>
            <a:ext cx="917017" cy="544758"/>
            <a:chOff x="8696117" y="519574"/>
            <a:chExt cx="772486" cy="544758"/>
          </a:xfrm>
        </p:grpSpPr>
        <p:sp>
          <p:nvSpPr>
            <p:cNvPr id="71" name="Freeform 926">
              <a:extLst>
                <a:ext uri="{FF2B5EF4-FFF2-40B4-BE49-F238E27FC236}">
                  <a16:creationId xmlns:a16="http://schemas.microsoft.com/office/drawing/2014/main" id="{E0A16A3E-9D05-4A76-B37A-5C8D9B925EBA}"/>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2" name="TextBox 220">
              <a:extLst>
                <a:ext uri="{FF2B5EF4-FFF2-40B4-BE49-F238E27FC236}">
                  <a16:creationId xmlns:a16="http://schemas.microsoft.com/office/drawing/2014/main" id="{BCD727D0-CC38-4B1E-BAE4-B7E91764C375}"/>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73" name="Groupe 72">
            <a:extLst>
              <a:ext uri="{FF2B5EF4-FFF2-40B4-BE49-F238E27FC236}">
                <a16:creationId xmlns:a16="http://schemas.microsoft.com/office/drawing/2014/main" id="{E3CD98FD-C923-4C35-9A98-18B4DBE27421}"/>
              </a:ext>
            </a:extLst>
          </p:cNvPr>
          <p:cNvGrpSpPr/>
          <p:nvPr/>
        </p:nvGrpSpPr>
        <p:grpSpPr>
          <a:xfrm>
            <a:off x="5701657" y="519574"/>
            <a:ext cx="1306371" cy="544812"/>
            <a:chOff x="3625356" y="519574"/>
            <a:chExt cx="1100474" cy="544812"/>
          </a:xfrm>
        </p:grpSpPr>
        <p:sp>
          <p:nvSpPr>
            <p:cNvPr id="74" name="Freeform 926">
              <a:extLst>
                <a:ext uri="{FF2B5EF4-FFF2-40B4-BE49-F238E27FC236}">
                  <a16:creationId xmlns:a16="http://schemas.microsoft.com/office/drawing/2014/main" id="{C156703B-CF3C-447F-936E-5512C73BAF51}"/>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75" name="TextBox 219">
              <a:extLst>
                <a:ext uri="{FF2B5EF4-FFF2-40B4-BE49-F238E27FC236}">
                  <a16:creationId xmlns:a16="http://schemas.microsoft.com/office/drawing/2014/main" id="{5D05B5AE-5929-42A7-B124-CFDD2D60F48D}"/>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91" name="Groupe 90">
            <a:extLst>
              <a:ext uri="{FF2B5EF4-FFF2-40B4-BE49-F238E27FC236}">
                <a16:creationId xmlns:a16="http://schemas.microsoft.com/office/drawing/2014/main" id="{98E12F53-86EB-4EFE-87D3-6674CB9B9F28}"/>
              </a:ext>
            </a:extLst>
          </p:cNvPr>
          <p:cNvGrpSpPr/>
          <p:nvPr/>
        </p:nvGrpSpPr>
        <p:grpSpPr>
          <a:xfrm>
            <a:off x="7969060" y="519574"/>
            <a:ext cx="1780105" cy="544812"/>
            <a:chOff x="5755870" y="519574"/>
            <a:chExt cx="1499543" cy="544812"/>
          </a:xfrm>
        </p:grpSpPr>
        <p:sp>
          <p:nvSpPr>
            <p:cNvPr id="92" name="Freeform 926">
              <a:extLst>
                <a:ext uri="{FF2B5EF4-FFF2-40B4-BE49-F238E27FC236}">
                  <a16:creationId xmlns:a16="http://schemas.microsoft.com/office/drawing/2014/main" id="{276CDA05-B544-4C80-810C-BCA1B6FD3B19}"/>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93" name="TextBox 219">
              <a:extLst>
                <a:ext uri="{FF2B5EF4-FFF2-40B4-BE49-F238E27FC236}">
                  <a16:creationId xmlns:a16="http://schemas.microsoft.com/office/drawing/2014/main" id="{07626B8D-31A5-431C-BF90-372DD06CA909}"/>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94" name="Rectangle 93">
            <a:extLst>
              <a:ext uri="{FF2B5EF4-FFF2-40B4-BE49-F238E27FC236}">
                <a16:creationId xmlns:a16="http://schemas.microsoft.com/office/drawing/2014/main" id="{F5BCA9B3-6D5B-4B37-BB38-C774F58EF0F8}"/>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95" name="Rectangle 94">
            <a:extLst>
              <a:ext uri="{FF2B5EF4-FFF2-40B4-BE49-F238E27FC236}">
                <a16:creationId xmlns:a16="http://schemas.microsoft.com/office/drawing/2014/main" id="{AD958C4D-465A-4C70-9C55-5627D5674ADB}"/>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96" name="Rectangle 95">
            <a:extLst>
              <a:ext uri="{FF2B5EF4-FFF2-40B4-BE49-F238E27FC236}">
                <a16:creationId xmlns:a16="http://schemas.microsoft.com/office/drawing/2014/main" id="{B2553605-D4EB-486D-8596-B0B028454FEF}"/>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97" name="Rectangle 96">
            <a:extLst>
              <a:ext uri="{FF2B5EF4-FFF2-40B4-BE49-F238E27FC236}">
                <a16:creationId xmlns:a16="http://schemas.microsoft.com/office/drawing/2014/main" id="{B75896A5-5666-4990-A6E6-4A473790FB4F}"/>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25473389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500" fill="hold"/>
                                        <p:tgtEl>
                                          <p:spTgt spid="41"/>
                                        </p:tgtEl>
                                        <p:attrNameLst>
                                          <p:attrName>ppt_w</p:attrName>
                                        </p:attrNameLst>
                                      </p:cBhvr>
                                      <p:tavLst>
                                        <p:tav tm="0">
                                          <p:val>
                                            <p:fltVal val="0"/>
                                          </p:val>
                                        </p:tav>
                                        <p:tav tm="100000">
                                          <p:val>
                                            <p:strVal val="#ppt_w"/>
                                          </p:val>
                                        </p:tav>
                                      </p:tavLst>
                                    </p:anim>
                                    <p:anim calcmode="lin" valueType="num">
                                      <p:cBhvr>
                                        <p:cTn id="8" dur="500" fill="hold"/>
                                        <p:tgtEl>
                                          <p:spTgt spid="41"/>
                                        </p:tgtEl>
                                        <p:attrNameLst>
                                          <p:attrName>ppt_h</p:attrName>
                                        </p:attrNameLst>
                                      </p:cBhvr>
                                      <p:tavLst>
                                        <p:tav tm="0">
                                          <p:val>
                                            <p:fltVal val="0"/>
                                          </p:val>
                                        </p:tav>
                                        <p:tav tm="100000">
                                          <p:val>
                                            <p:strVal val="#ppt_h"/>
                                          </p:val>
                                        </p:tav>
                                      </p:tavLst>
                                    </p:anim>
                                    <p:animEffect transition="in" filter="fade">
                                      <p:cBhvr>
                                        <p:cTn id="9" dur="500"/>
                                        <p:tgtEl>
                                          <p:spTgt spid="41"/>
                                        </p:tgtEl>
                                      </p:cBhvr>
                                    </p:animEffect>
                                  </p:childTnLst>
                                </p:cTn>
                              </p:par>
                              <p:par>
                                <p:cTn id="10" presetID="53" presetClass="entr" presetSubtype="16" fill="hold" nodeType="withEffect">
                                  <p:stCondLst>
                                    <p:cond delay="0"/>
                                  </p:stCondLst>
                                  <p:childTnLst>
                                    <p:set>
                                      <p:cBhvr>
                                        <p:cTn id="11" dur="1" fill="hold">
                                          <p:stCondLst>
                                            <p:cond delay="0"/>
                                          </p:stCondLst>
                                        </p:cTn>
                                        <p:tgtEl>
                                          <p:spTgt spid="46"/>
                                        </p:tgtEl>
                                        <p:attrNameLst>
                                          <p:attrName>style.visibility</p:attrName>
                                        </p:attrNameLst>
                                      </p:cBhvr>
                                      <p:to>
                                        <p:strVal val="visible"/>
                                      </p:to>
                                    </p:set>
                                    <p:anim calcmode="lin" valueType="num">
                                      <p:cBhvr>
                                        <p:cTn id="12" dur="500" fill="hold"/>
                                        <p:tgtEl>
                                          <p:spTgt spid="46"/>
                                        </p:tgtEl>
                                        <p:attrNameLst>
                                          <p:attrName>ppt_w</p:attrName>
                                        </p:attrNameLst>
                                      </p:cBhvr>
                                      <p:tavLst>
                                        <p:tav tm="0">
                                          <p:val>
                                            <p:fltVal val="0"/>
                                          </p:val>
                                        </p:tav>
                                        <p:tav tm="100000">
                                          <p:val>
                                            <p:strVal val="#ppt_w"/>
                                          </p:val>
                                        </p:tav>
                                      </p:tavLst>
                                    </p:anim>
                                    <p:anim calcmode="lin" valueType="num">
                                      <p:cBhvr>
                                        <p:cTn id="13" dur="500" fill="hold"/>
                                        <p:tgtEl>
                                          <p:spTgt spid="46"/>
                                        </p:tgtEl>
                                        <p:attrNameLst>
                                          <p:attrName>ppt_h</p:attrName>
                                        </p:attrNameLst>
                                      </p:cBhvr>
                                      <p:tavLst>
                                        <p:tav tm="0">
                                          <p:val>
                                            <p:fltVal val="0"/>
                                          </p:val>
                                        </p:tav>
                                        <p:tav tm="100000">
                                          <p:val>
                                            <p:strVal val="#ppt_h"/>
                                          </p:val>
                                        </p:tav>
                                      </p:tavLst>
                                    </p:anim>
                                    <p:animEffect transition="in" filter="fade">
                                      <p:cBhvr>
                                        <p:cTn id="14" dur="500"/>
                                        <p:tgtEl>
                                          <p:spTgt spid="46"/>
                                        </p:tgtEl>
                                      </p:cBhvr>
                                    </p:animEffect>
                                  </p:childTnLst>
                                </p:cTn>
                              </p:par>
                              <p:par>
                                <p:cTn id="15" presetID="53" presetClass="entr" presetSubtype="16" fill="hold" nodeType="withEffect">
                                  <p:stCondLst>
                                    <p:cond delay="0"/>
                                  </p:stCondLst>
                                  <p:childTnLst>
                                    <p:set>
                                      <p:cBhvr>
                                        <p:cTn id="16" dur="1" fill="hold">
                                          <p:stCondLst>
                                            <p:cond delay="0"/>
                                          </p:stCondLst>
                                        </p:cTn>
                                        <p:tgtEl>
                                          <p:spTgt spid="50"/>
                                        </p:tgtEl>
                                        <p:attrNameLst>
                                          <p:attrName>style.visibility</p:attrName>
                                        </p:attrNameLst>
                                      </p:cBhvr>
                                      <p:to>
                                        <p:strVal val="visible"/>
                                      </p:to>
                                    </p:set>
                                    <p:anim calcmode="lin" valueType="num">
                                      <p:cBhvr>
                                        <p:cTn id="17" dur="500" fill="hold"/>
                                        <p:tgtEl>
                                          <p:spTgt spid="50"/>
                                        </p:tgtEl>
                                        <p:attrNameLst>
                                          <p:attrName>ppt_w</p:attrName>
                                        </p:attrNameLst>
                                      </p:cBhvr>
                                      <p:tavLst>
                                        <p:tav tm="0">
                                          <p:val>
                                            <p:fltVal val="0"/>
                                          </p:val>
                                        </p:tav>
                                        <p:tav tm="100000">
                                          <p:val>
                                            <p:strVal val="#ppt_w"/>
                                          </p:val>
                                        </p:tav>
                                      </p:tavLst>
                                    </p:anim>
                                    <p:anim calcmode="lin" valueType="num">
                                      <p:cBhvr>
                                        <p:cTn id="18" dur="500" fill="hold"/>
                                        <p:tgtEl>
                                          <p:spTgt spid="50"/>
                                        </p:tgtEl>
                                        <p:attrNameLst>
                                          <p:attrName>ppt_h</p:attrName>
                                        </p:attrNameLst>
                                      </p:cBhvr>
                                      <p:tavLst>
                                        <p:tav tm="0">
                                          <p:val>
                                            <p:fltVal val="0"/>
                                          </p:val>
                                        </p:tav>
                                        <p:tav tm="100000">
                                          <p:val>
                                            <p:strVal val="#ppt_h"/>
                                          </p:val>
                                        </p:tav>
                                      </p:tavLst>
                                    </p:anim>
                                    <p:animEffect transition="in" filter="fade">
                                      <p:cBhvr>
                                        <p:cTn id="19" dur="500"/>
                                        <p:tgtEl>
                                          <p:spTgt spid="50"/>
                                        </p:tgtEl>
                                      </p:cBhvr>
                                    </p:animEffect>
                                  </p:childTnLst>
                                </p:cTn>
                              </p:par>
                            </p:childTnLst>
                          </p:cTn>
                        </p:par>
                      </p:childTnLst>
                    </p:cTn>
                  </p:par>
                  <p:par>
                    <p:cTn id="20" fill="hold">
                      <p:stCondLst>
                        <p:cond delay="indefinite"/>
                      </p:stCondLst>
                      <p:childTnLst>
                        <p:par>
                          <p:cTn id="21" fill="hold">
                            <p:stCondLst>
                              <p:cond delay="0"/>
                            </p:stCondLst>
                            <p:childTnLst>
                              <p:par>
                                <p:cTn id="22" presetID="23" presetClass="entr" presetSubtype="16" fill="hold" nodeType="clickEffect">
                                  <p:stCondLst>
                                    <p:cond delay="0"/>
                                  </p:stCondLst>
                                  <p:childTnLst>
                                    <p:set>
                                      <p:cBhvr>
                                        <p:cTn id="23" dur="1" fill="hold">
                                          <p:stCondLst>
                                            <p:cond delay="0"/>
                                          </p:stCondLst>
                                        </p:cTn>
                                        <p:tgtEl>
                                          <p:spTgt spid="43"/>
                                        </p:tgtEl>
                                        <p:attrNameLst>
                                          <p:attrName>style.visibility</p:attrName>
                                        </p:attrNameLst>
                                      </p:cBhvr>
                                      <p:to>
                                        <p:strVal val="visible"/>
                                      </p:to>
                                    </p:set>
                                    <p:anim calcmode="lin" valueType="num">
                                      <p:cBhvr>
                                        <p:cTn id="24" dur="500" fill="hold"/>
                                        <p:tgtEl>
                                          <p:spTgt spid="43"/>
                                        </p:tgtEl>
                                        <p:attrNameLst>
                                          <p:attrName>ppt_w</p:attrName>
                                        </p:attrNameLst>
                                      </p:cBhvr>
                                      <p:tavLst>
                                        <p:tav tm="0">
                                          <p:val>
                                            <p:fltVal val="0"/>
                                          </p:val>
                                        </p:tav>
                                        <p:tav tm="100000">
                                          <p:val>
                                            <p:strVal val="#ppt_w"/>
                                          </p:val>
                                        </p:tav>
                                      </p:tavLst>
                                    </p:anim>
                                    <p:anim calcmode="lin" valueType="num">
                                      <p:cBhvr>
                                        <p:cTn id="25" dur="500" fill="hold"/>
                                        <p:tgtEl>
                                          <p:spTgt spid="43"/>
                                        </p:tgtEl>
                                        <p:attrNameLst>
                                          <p:attrName>ppt_h</p:attrName>
                                        </p:attrNameLst>
                                      </p:cBhvr>
                                      <p:tavLst>
                                        <p:tav tm="0">
                                          <p:val>
                                            <p:fltVal val="0"/>
                                          </p:val>
                                        </p:tav>
                                        <p:tav tm="100000">
                                          <p:val>
                                            <p:strVal val="#ppt_h"/>
                                          </p:val>
                                        </p:tav>
                                      </p:tavLst>
                                    </p:anim>
                                  </p:childTnLst>
                                </p:cTn>
                              </p:par>
                              <p:par>
                                <p:cTn id="26" presetID="23" presetClass="entr" presetSubtype="16" fill="hold" nodeType="withEffect">
                                  <p:stCondLst>
                                    <p:cond delay="0"/>
                                  </p:stCondLst>
                                  <p:childTnLst>
                                    <p:set>
                                      <p:cBhvr>
                                        <p:cTn id="27" dur="1" fill="hold">
                                          <p:stCondLst>
                                            <p:cond delay="0"/>
                                          </p:stCondLst>
                                        </p:cTn>
                                        <p:tgtEl>
                                          <p:spTgt spid="48"/>
                                        </p:tgtEl>
                                        <p:attrNameLst>
                                          <p:attrName>style.visibility</p:attrName>
                                        </p:attrNameLst>
                                      </p:cBhvr>
                                      <p:to>
                                        <p:strVal val="visible"/>
                                      </p:to>
                                    </p:set>
                                    <p:anim calcmode="lin" valueType="num">
                                      <p:cBhvr>
                                        <p:cTn id="28" dur="500" fill="hold"/>
                                        <p:tgtEl>
                                          <p:spTgt spid="48"/>
                                        </p:tgtEl>
                                        <p:attrNameLst>
                                          <p:attrName>ppt_w</p:attrName>
                                        </p:attrNameLst>
                                      </p:cBhvr>
                                      <p:tavLst>
                                        <p:tav tm="0">
                                          <p:val>
                                            <p:fltVal val="0"/>
                                          </p:val>
                                        </p:tav>
                                        <p:tav tm="100000">
                                          <p:val>
                                            <p:strVal val="#ppt_w"/>
                                          </p:val>
                                        </p:tav>
                                      </p:tavLst>
                                    </p:anim>
                                    <p:anim calcmode="lin" valueType="num">
                                      <p:cBhvr>
                                        <p:cTn id="29" dur="500" fill="hold"/>
                                        <p:tgtEl>
                                          <p:spTgt spid="48"/>
                                        </p:tgtEl>
                                        <p:attrNameLst>
                                          <p:attrName>ppt_h</p:attrName>
                                        </p:attrNameLst>
                                      </p:cBhvr>
                                      <p:tavLst>
                                        <p:tav tm="0">
                                          <p:val>
                                            <p:fltVal val="0"/>
                                          </p:val>
                                        </p:tav>
                                        <p:tav tm="100000">
                                          <p:val>
                                            <p:strVal val="#ppt_h"/>
                                          </p:val>
                                        </p:tav>
                                      </p:tavLst>
                                    </p:anim>
                                  </p:childTnLst>
                                </p:cTn>
                              </p:par>
                              <p:par>
                                <p:cTn id="30" presetID="53" presetClass="entr" presetSubtype="16" fill="hold" nodeType="withEffect">
                                  <p:stCondLst>
                                    <p:cond delay="0"/>
                                  </p:stCondLst>
                                  <p:childTnLst>
                                    <p:set>
                                      <p:cBhvr>
                                        <p:cTn id="31" dur="1" fill="hold">
                                          <p:stCondLst>
                                            <p:cond delay="0"/>
                                          </p:stCondLst>
                                        </p:cTn>
                                        <p:tgtEl>
                                          <p:spTgt spid="53"/>
                                        </p:tgtEl>
                                        <p:attrNameLst>
                                          <p:attrName>style.visibility</p:attrName>
                                        </p:attrNameLst>
                                      </p:cBhvr>
                                      <p:to>
                                        <p:strVal val="visible"/>
                                      </p:to>
                                    </p:set>
                                    <p:anim calcmode="lin" valueType="num">
                                      <p:cBhvr>
                                        <p:cTn id="32" dur="500" fill="hold"/>
                                        <p:tgtEl>
                                          <p:spTgt spid="53"/>
                                        </p:tgtEl>
                                        <p:attrNameLst>
                                          <p:attrName>ppt_w</p:attrName>
                                        </p:attrNameLst>
                                      </p:cBhvr>
                                      <p:tavLst>
                                        <p:tav tm="0">
                                          <p:val>
                                            <p:fltVal val="0"/>
                                          </p:val>
                                        </p:tav>
                                        <p:tav tm="100000">
                                          <p:val>
                                            <p:strVal val="#ppt_w"/>
                                          </p:val>
                                        </p:tav>
                                      </p:tavLst>
                                    </p:anim>
                                    <p:anim calcmode="lin" valueType="num">
                                      <p:cBhvr>
                                        <p:cTn id="33" dur="500" fill="hold"/>
                                        <p:tgtEl>
                                          <p:spTgt spid="53"/>
                                        </p:tgtEl>
                                        <p:attrNameLst>
                                          <p:attrName>ppt_h</p:attrName>
                                        </p:attrNameLst>
                                      </p:cBhvr>
                                      <p:tavLst>
                                        <p:tav tm="0">
                                          <p:val>
                                            <p:fltVal val="0"/>
                                          </p:val>
                                        </p:tav>
                                        <p:tav tm="100000">
                                          <p:val>
                                            <p:strVal val="#ppt_h"/>
                                          </p:val>
                                        </p:tav>
                                      </p:tavLst>
                                    </p:anim>
                                    <p:animEffect transition="in" filter="fade">
                                      <p:cBhvr>
                                        <p:cTn id="34" dur="500"/>
                                        <p:tgtEl>
                                          <p:spTgt spid="53"/>
                                        </p:tgtEl>
                                      </p:cBhvr>
                                    </p:animEffect>
                                  </p:childTnLst>
                                </p:cTn>
                              </p:par>
                            </p:childTnLst>
                          </p:cTn>
                        </p:par>
                      </p:childTnLst>
                    </p:cTn>
                  </p:par>
                  <p:par>
                    <p:cTn id="35" fill="hold">
                      <p:stCondLst>
                        <p:cond delay="indefinite"/>
                      </p:stCondLst>
                      <p:childTnLst>
                        <p:par>
                          <p:cTn id="36" fill="hold">
                            <p:stCondLst>
                              <p:cond delay="0"/>
                            </p:stCondLst>
                            <p:childTnLst>
                              <p:par>
                                <p:cTn id="37" presetID="23" presetClass="entr" presetSubtype="16" fill="hold"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p:cTn id="39" dur="500" fill="hold"/>
                                        <p:tgtEl>
                                          <p:spTgt spid="49"/>
                                        </p:tgtEl>
                                        <p:attrNameLst>
                                          <p:attrName>ppt_w</p:attrName>
                                        </p:attrNameLst>
                                      </p:cBhvr>
                                      <p:tavLst>
                                        <p:tav tm="0">
                                          <p:val>
                                            <p:fltVal val="0"/>
                                          </p:val>
                                        </p:tav>
                                        <p:tav tm="100000">
                                          <p:val>
                                            <p:strVal val="#ppt_w"/>
                                          </p:val>
                                        </p:tav>
                                      </p:tavLst>
                                    </p:anim>
                                    <p:anim calcmode="lin" valueType="num">
                                      <p:cBhvr>
                                        <p:cTn id="40" dur="500" fill="hold"/>
                                        <p:tgtEl>
                                          <p:spTgt spid="49"/>
                                        </p:tgtEl>
                                        <p:attrNameLst>
                                          <p:attrName>ppt_h</p:attrName>
                                        </p:attrNameLst>
                                      </p:cBhvr>
                                      <p:tavLst>
                                        <p:tav tm="0">
                                          <p:val>
                                            <p:fltVal val="0"/>
                                          </p:val>
                                        </p:tav>
                                        <p:tav tm="100000">
                                          <p:val>
                                            <p:strVal val="#ppt_h"/>
                                          </p:val>
                                        </p:tav>
                                      </p:tavLst>
                                    </p:anim>
                                  </p:childTnLst>
                                </p:cTn>
                              </p:par>
                              <p:par>
                                <p:cTn id="41" presetID="2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childTnLst>
                                </p:cTn>
                              </p:par>
                              <p:par>
                                <p:cTn id="45" presetID="53" presetClass="entr" presetSubtype="16" fill="hold" nodeType="withEffect">
                                  <p:stCondLst>
                                    <p:cond delay="0"/>
                                  </p:stCondLst>
                                  <p:childTnLst>
                                    <p:set>
                                      <p:cBhvr>
                                        <p:cTn id="46" dur="1" fill="hold">
                                          <p:stCondLst>
                                            <p:cond delay="0"/>
                                          </p:stCondLst>
                                        </p:cTn>
                                        <p:tgtEl>
                                          <p:spTgt spid="56"/>
                                        </p:tgtEl>
                                        <p:attrNameLst>
                                          <p:attrName>style.visibility</p:attrName>
                                        </p:attrNameLst>
                                      </p:cBhvr>
                                      <p:to>
                                        <p:strVal val="visible"/>
                                      </p:to>
                                    </p:set>
                                    <p:anim calcmode="lin" valueType="num">
                                      <p:cBhvr>
                                        <p:cTn id="47" dur="500" fill="hold"/>
                                        <p:tgtEl>
                                          <p:spTgt spid="56"/>
                                        </p:tgtEl>
                                        <p:attrNameLst>
                                          <p:attrName>ppt_w</p:attrName>
                                        </p:attrNameLst>
                                      </p:cBhvr>
                                      <p:tavLst>
                                        <p:tav tm="0">
                                          <p:val>
                                            <p:fltVal val="0"/>
                                          </p:val>
                                        </p:tav>
                                        <p:tav tm="100000">
                                          <p:val>
                                            <p:strVal val="#ppt_w"/>
                                          </p:val>
                                        </p:tav>
                                      </p:tavLst>
                                    </p:anim>
                                    <p:anim calcmode="lin" valueType="num">
                                      <p:cBhvr>
                                        <p:cTn id="48" dur="500" fill="hold"/>
                                        <p:tgtEl>
                                          <p:spTgt spid="56"/>
                                        </p:tgtEl>
                                        <p:attrNameLst>
                                          <p:attrName>ppt_h</p:attrName>
                                        </p:attrNameLst>
                                      </p:cBhvr>
                                      <p:tavLst>
                                        <p:tav tm="0">
                                          <p:val>
                                            <p:fltVal val="0"/>
                                          </p:val>
                                        </p:tav>
                                        <p:tav tm="100000">
                                          <p:val>
                                            <p:strVal val="#ppt_h"/>
                                          </p:val>
                                        </p:tav>
                                      </p:tavLst>
                                    </p:anim>
                                    <p:animEffect transition="in" filter="fade">
                                      <p:cBhvr>
                                        <p:cTn id="49"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pic>
        <p:nvPicPr>
          <p:cNvPr id="20" name="Picture 19">
            <a:extLst>
              <a:ext uri="{FF2B5EF4-FFF2-40B4-BE49-F238E27FC236}">
                <a16:creationId xmlns:a16="http://schemas.microsoft.com/office/drawing/2014/main" id="{706F4A6E-E8A8-407E-8B06-150C8070B821}"/>
              </a:ext>
            </a:extLst>
          </p:cNvPr>
          <p:cNvPicPr>
            <a:picLocks noChangeAspect="1"/>
          </p:cNvPicPr>
          <p:nvPr/>
        </p:nvPicPr>
        <p:blipFill rotWithShape="1">
          <a:blip r:embed="rId4"/>
          <a:srcRect r="487"/>
          <a:stretch/>
        </p:blipFill>
        <p:spPr>
          <a:xfrm>
            <a:off x="6796439" y="1794813"/>
            <a:ext cx="2644352" cy="2006478"/>
          </a:xfrm>
          <a:prstGeom prst="rect">
            <a:avLst/>
          </a:prstGeom>
        </p:spPr>
      </p:pic>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5"/>
          <a:srcRect/>
          <a:stretch/>
        </p:blipFill>
        <p:spPr>
          <a:xfrm>
            <a:off x="5093774" y="2636949"/>
            <a:ext cx="2574113" cy="2111716"/>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6"/>
          <a:stretch>
            <a:fillRect/>
          </a:stretch>
        </p:blipFill>
        <p:spPr>
          <a:xfrm>
            <a:off x="8321913" y="1794813"/>
            <a:ext cx="4006317" cy="2288275"/>
          </a:xfrm>
          <a:prstGeom prst="rect">
            <a:avLst/>
          </a:prstGeom>
        </p:spPr>
      </p:pic>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7"/>
          <a:stretch>
            <a:fillRect/>
          </a:stretch>
        </p:blipFill>
        <p:spPr>
          <a:xfrm>
            <a:off x="8717182" y="2728982"/>
            <a:ext cx="4612732" cy="235784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8"/>
          <a:stretch>
            <a:fillRect/>
          </a:stretch>
        </p:blipFill>
        <p:spPr>
          <a:xfrm>
            <a:off x="8356090" y="4853903"/>
            <a:ext cx="3032692" cy="2286100"/>
          </a:xfrm>
          <a:prstGeom prst="rect">
            <a:avLst/>
          </a:prstGeom>
        </p:spPr>
      </p:pic>
      <p:sp>
        <p:nvSpPr>
          <p:cNvPr id="62" name="ZoneTexte 61">
            <a:extLst>
              <a:ext uri="{FF2B5EF4-FFF2-40B4-BE49-F238E27FC236}">
                <a16:creationId xmlns:a16="http://schemas.microsoft.com/office/drawing/2014/main" id="{AC6391A0-08AD-4DC8-8991-7C674C528381}"/>
              </a:ext>
            </a:extLst>
          </p:cNvPr>
          <p:cNvSpPr txBox="1"/>
          <p:nvPr/>
        </p:nvSpPr>
        <p:spPr>
          <a:xfrm>
            <a:off x="422237" y="1234213"/>
            <a:ext cx="1955203" cy="338554"/>
          </a:xfrm>
          <a:prstGeom prst="rect">
            <a:avLst/>
          </a:prstGeom>
          <a:noFill/>
          <a:ln>
            <a:solidFill>
              <a:schemeClr val="accent1"/>
            </a:solidFill>
            <a:prstDash val="dashDot"/>
          </a:ln>
        </p:spPr>
        <p:txBody>
          <a:bodyPr wrap="square">
            <a:spAutoFit/>
          </a:bodyPr>
          <a:lstStyle/>
          <a:p>
            <a:r>
              <a:rPr lang="fr-FR" sz="1600" dirty="0"/>
              <a:t>Aperçu du document</a:t>
            </a:r>
          </a:p>
        </p:txBody>
      </p:sp>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9"/>
          <a:stretch>
            <a:fillRect/>
          </a:stretch>
        </p:blipFill>
        <p:spPr>
          <a:xfrm>
            <a:off x="1111546" y="1635327"/>
            <a:ext cx="7210368" cy="5363309"/>
          </a:xfrm>
          <a:prstGeom prst="rect">
            <a:avLst/>
          </a:prstGeom>
        </p:spPr>
      </p:pic>
      <p:grpSp>
        <p:nvGrpSpPr>
          <p:cNvPr id="70" name="Groupe 69">
            <a:extLst>
              <a:ext uri="{FF2B5EF4-FFF2-40B4-BE49-F238E27FC236}">
                <a16:creationId xmlns:a16="http://schemas.microsoft.com/office/drawing/2014/main" id="{DFCA77C7-3E6E-494F-8EC1-5F9CB768A13C}"/>
              </a:ext>
            </a:extLst>
          </p:cNvPr>
          <p:cNvGrpSpPr/>
          <p:nvPr/>
        </p:nvGrpSpPr>
        <p:grpSpPr>
          <a:xfrm>
            <a:off x="10635530" y="519574"/>
            <a:ext cx="1692700" cy="544758"/>
            <a:chOff x="10635530" y="519574"/>
            <a:chExt cx="1425914" cy="544758"/>
          </a:xfrm>
        </p:grpSpPr>
        <p:sp>
          <p:nvSpPr>
            <p:cNvPr id="71" name="Freeform 926">
              <a:extLst>
                <a:ext uri="{FF2B5EF4-FFF2-40B4-BE49-F238E27FC236}">
                  <a16:creationId xmlns:a16="http://schemas.microsoft.com/office/drawing/2014/main" id="{58984BD5-AE6E-49D2-A04E-25326778AE27}"/>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2" name="TextBox 220">
              <a:extLst>
                <a:ext uri="{FF2B5EF4-FFF2-40B4-BE49-F238E27FC236}">
                  <a16:creationId xmlns:a16="http://schemas.microsoft.com/office/drawing/2014/main" id="{203DD856-D5F5-4DBE-82AE-62C455D4C5BC}"/>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73" name="Groupe 72">
            <a:extLst>
              <a:ext uri="{FF2B5EF4-FFF2-40B4-BE49-F238E27FC236}">
                <a16:creationId xmlns:a16="http://schemas.microsoft.com/office/drawing/2014/main" id="{AC35CC0C-0331-4FCC-B802-FC9EC8CF9012}"/>
              </a:ext>
            </a:extLst>
          </p:cNvPr>
          <p:cNvGrpSpPr/>
          <p:nvPr/>
        </p:nvGrpSpPr>
        <p:grpSpPr>
          <a:xfrm>
            <a:off x="1378330" y="519574"/>
            <a:ext cx="1444682" cy="544812"/>
            <a:chOff x="1378330" y="519574"/>
            <a:chExt cx="1216986" cy="544812"/>
          </a:xfrm>
        </p:grpSpPr>
        <p:sp>
          <p:nvSpPr>
            <p:cNvPr id="74" name="TextBox 219">
              <a:extLst>
                <a:ext uri="{FF2B5EF4-FFF2-40B4-BE49-F238E27FC236}">
                  <a16:creationId xmlns:a16="http://schemas.microsoft.com/office/drawing/2014/main" id="{0A6C2F23-F8D6-40F1-AAEA-F327CB86AD08}"/>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75" name="Freeform 926">
              <a:extLst>
                <a:ext uri="{FF2B5EF4-FFF2-40B4-BE49-F238E27FC236}">
                  <a16:creationId xmlns:a16="http://schemas.microsoft.com/office/drawing/2014/main" id="{27A3B066-658C-40F2-80F4-4283AD954659}"/>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76" name="Groupe 75">
            <a:extLst>
              <a:ext uri="{FF2B5EF4-FFF2-40B4-BE49-F238E27FC236}">
                <a16:creationId xmlns:a16="http://schemas.microsoft.com/office/drawing/2014/main" id="{28495F93-0407-4E55-9F6F-A65E7469645A}"/>
              </a:ext>
            </a:extLst>
          </p:cNvPr>
          <p:cNvGrpSpPr/>
          <p:nvPr/>
        </p:nvGrpSpPr>
        <p:grpSpPr>
          <a:xfrm>
            <a:off x="3762243" y="519574"/>
            <a:ext cx="917017" cy="544758"/>
            <a:chOff x="8696117" y="519574"/>
            <a:chExt cx="772486" cy="544758"/>
          </a:xfrm>
        </p:grpSpPr>
        <p:sp>
          <p:nvSpPr>
            <p:cNvPr id="77" name="Freeform 926">
              <a:extLst>
                <a:ext uri="{FF2B5EF4-FFF2-40B4-BE49-F238E27FC236}">
                  <a16:creationId xmlns:a16="http://schemas.microsoft.com/office/drawing/2014/main" id="{F9A3FE7F-0570-4539-A4A1-D8767B32171E}"/>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8" name="TextBox 220">
              <a:extLst>
                <a:ext uri="{FF2B5EF4-FFF2-40B4-BE49-F238E27FC236}">
                  <a16:creationId xmlns:a16="http://schemas.microsoft.com/office/drawing/2014/main" id="{0CF7BBBB-3E0F-460C-9A80-BD4ADE93900E}"/>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79" name="Groupe 78">
            <a:extLst>
              <a:ext uri="{FF2B5EF4-FFF2-40B4-BE49-F238E27FC236}">
                <a16:creationId xmlns:a16="http://schemas.microsoft.com/office/drawing/2014/main" id="{87B41EDC-9543-41F0-BFE7-130848C49711}"/>
              </a:ext>
            </a:extLst>
          </p:cNvPr>
          <p:cNvGrpSpPr/>
          <p:nvPr/>
        </p:nvGrpSpPr>
        <p:grpSpPr>
          <a:xfrm>
            <a:off x="5701657" y="519574"/>
            <a:ext cx="1306371" cy="544812"/>
            <a:chOff x="3625356" y="519574"/>
            <a:chExt cx="1100474" cy="544812"/>
          </a:xfrm>
        </p:grpSpPr>
        <p:sp>
          <p:nvSpPr>
            <p:cNvPr id="80" name="Freeform 926">
              <a:extLst>
                <a:ext uri="{FF2B5EF4-FFF2-40B4-BE49-F238E27FC236}">
                  <a16:creationId xmlns:a16="http://schemas.microsoft.com/office/drawing/2014/main" id="{15A0FEF9-9850-4295-85B6-1998F938D0AE}"/>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81" name="TextBox 219">
              <a:extLst>
                <a:ext uri="{FF2B5EF4-FFF2-40B4-BE49-F238E27FC236}">
                  <a16:creationId xmlns:a16="http://schemas.microsoft.com/office/drawing/2014/main" id="{F987E5A2-7DD5-412E-9961-E6E6B99DF283}"/>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82" name="Groupe 81">
            <a:extLst>
              <a:ext uri="{FF2B5EF4-FFF2-40B4-BE49-F238E27FC236}">
                <a16:creationId xmlns:a16="http://schemas.microsoft.com/office/drawing/2014/main" id="{E441D7D4-493B-49C1-AA2B-64C288A681F6}"/>
              </a:ext>
            </a:extLst>
          </p:cNvPr>
          <p:cNvGrpSpPr/>
          <p:nvPr/>
        </p:nvGrpSpPr>
        <p:grpSpPr>
          <a:xfrm>
            <a:off x="7969060" y="519574"/>
            <a:ext cx="1780105" cy="544812"/>
            <a:chOff x="5755870" y="519574"/>
            <a:chExt cx="1499543" cy="544812"/>
          </a:xfrm>
        </p:grpSpPr>
        <p:sp>
          <p:nvSpPr>
            <p:cNvPr id="83" name="Freeform 926">
              <a:extLst>
                <a:ext uri="{FF2B5EF4-FFF2-40B4-BE49-F238E27FC236}">
                  <a16:creationId xmlns:a16="http://schemas.microsoft.com/office/drawing/2014/main" id="{21E611E5-0390-48B8-AF4C-2DEB301E6364}"/>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84" name="TextBox 219">
              <a:extLst>
                <a:ext uri="{FF2B5EF4-FFF2-40B4-BE49-F238E27FC236}">
                  <a16:creationId xmlns:a16="http://schemas.microsoft.com/office/drawing/2014/main" id="{014CFFAC-E623-4BE6-A290-1BF25B533E7E}"/>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85" name="Rectangle 84">
            <a:extLst>
              <a:ext uri="{FF2B5EF4-FFF2-40B4-BE49-F238E27FC236}">
                <a16:creationId xmlns:a16="http://schemas.microsoft.com/office/drawing/2014/main" id="{6D1BA400-A8F5-46DF-902E-FD24DC3E7E41}"/>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86" name="Rectangle 85">
            <a:extLst>
              <a:ext uri="{FF2B5EF4-FFF2-40B4-BE49-F238E27FC236}">
                <a16:creationId xmlns:a16="http://schemas.microsoft.com/office/drawing/2014/main" id="{D3602FF3-988E-453E-8084-1E1916F1A356}"/>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7" name="Rectangle 86">
            <a:extLst>
              <a:ext uri="{FF2B5EF4-FFF2-40B4-BE49-F238E27FC236}">
                <a16:creationId xmlns:a16="http://schemas.microsoft.com/office/drawing/2014/main" id="{AD999528-A7A0-456E-B320-993FCE632E84}"/>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8" name="Rectangle 87">
            <a:extLst>
              <a:ext uri="{FF2B5EF4-FFF2-40B4-BE49-F238E27FC236}">
                <a16:creationId xmlns:a16="http://schemas.microsoft.com/office/drawing/2014/main" id="{7972A516-0B4A-470F-B45A-5F86B569FF1E}"/>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3393548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706F4A6E-E8A8-407E-8B06-150C8070B821}"/>
              </a:ext>
            </a:extLst>
          </p:cNvPr>
          <p:cNvPicPr>
            <a:picLocks noChangeAspect="1"/>
          </p:cNvPicPr>
          <p:nvPr/>
        </p:nvPicPr>
        <p:blipFill rotWithShape="1">
          <a:blip r:embed="rId3"/>
          <a:srcRect r="487"/>
          <a:stretch/>
        </p:blipFill>
        <p:spPr>
          <a:xfrm>
            <a:off x="5642155" y="2570518"/>
            <a:ext cx="2644352" cy="2006478"/>
          </a:xfrm>
          <a:prstGeom prst="rect">
            <a:avLst/>
          </a:prstGeom>
        </p:spPr>
      </p:pic>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4"/>
          <a:srcRect l="18381"/>
          <a:stretch/>
        </p:blipFill>
        <p:spPr>
          <a:xfrm>
            <a:off x="0" y="2742187"/>
            <a:ext cx="13439775" cy="4238254"/>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5"/>
          <a:stretch>
            <a:fillRect/>
          </a:stretch>
        </p:blipFill>
        <p:spPr>
          <a:xfrm>
            <a:off x="6718839" y="1614892"/>
            <a:ext cx="4006317" cy="2288275"/>
          </a:xfrm>
          <a:prstGeom prst="rect">
            <a:avLst/>
          </a:prstGeom>
        </p:spPr>
      </p:pic>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6"/>
          <a:stretch>
            <a:fillRect/>
          </a:stretch>
        </p:blipFill>
        <p:spPr>
          <a:xfrm>
            <a:off x="8515612" y="2015820"/>
            <a:ext cx="4612732" cy="235784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7"/>
          <a:stretch>
            <a:fillRect/>
          </a:stretch>
        </p:blipFill>
        <p:spPr>
          <a:xfrm>
            <a:off x="10092331" y="2791781"/>
            <a:ext cx="3032692" cy="2286100"/>
          </a:xfrm>
          <a:prstGeom prst="rect">
            <a:avLst/>
          </a:prstGeom>
        </p:spPr>
      </p:pic>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8"/>
          <a:stretch>
            <a:fillRect/>
          </a:stretch>
        </p:blipFill>
        <p:spPr>
          <a:xfrm>
            <a:off x="8239034" y="4405326"/>
            <a:ext cx="3459879" cy="2573572"/>
          </a:xfrm>
          <a:prstGeom prst="rect">
            <a:avLst/>
          </a:prstGeom>
        </p:spPr>
      </p:pic>
      <p:sp>
        <p:nvSpPr>
          <p:cNvPr id="62" name="ZoneTexte 61">
            <a:extLst>
              <a:ext uri="{FF2B5EF4-FFF2-40B4-BE49-F238E27FC236}">
                <a16:creationId xmlns:a16="http://schemas.microsoft.com/office/drawing/2014/main" id="{495309CA-AF39-44A7-930A-E0AD872571D6}"/>
              </a:ext>
            </a:extLst>
          </p:cNvPr>
          <p:cNvSpPr txBox="1"/>
          <p:nvPr/>
        </p:nvSpPr>
        <p:spPr>
          <a:xfrm>
            <a:off x="422237" y="1234213"/>
            <a:ext cx="2320963" cy="338554"/>
          </a:xfrm>
          <a:prstGeom prst="rect">
            <a:avLst/>
          </a:prstGeom>
          <a:noFill/>
          <a:ln>
            <a:solidFill>
              <a:schemeClr val="accent1"/>
            </a:solidFill>
            <a:prstDash val="dashDot"/>
          </a:ln>
        </p:spPr>
        <p:txBody>
          <a:bodyPr wrap="square">
            <a:spAutoFit/>
          </a:bodyPr>
          <a:lstStyle/>
          <a:p>
            <a:r>
              <a:rPr lang="fr-FR" sz="1600" dirty="0"/>
              <a:t>Présentation des objectifs</a:t>
            </a:r>
          </a:p>
        </p:txBody>
      </p:sp>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9"/>
          <a:srcRect/>
          <a:stretch/>
        </p:blipFill>
        <p:spPr>
          <a:xfrm>
            <a:off x="1611630" y="1634068"/>
            <a:ext cx="6527797" cy="5355185"/>
          </a:xfrm>
          <a:prstGeom prst="rect">
            <a:avLst/>
          </a:prstGeom>
        </p:spPr>
      </p:pic>
      <p:grpSp>
        <p:nvGrpSpPr>
          <p:cNvPr id="70" name="Groupe 69">
            <a:extLst>
              <a:ext uri="{FF2B5EF4-FFF2-40B4-BE49-F238E27FC236}">
                <a16:creationId xmlns:a16="http://schemas.microsoft.com/office/drawing/2014/main" id="{CA99CF6E-71D2-464F-ABBD-E903209641D7}"/>
              </a:ext>
            </a:extLst>
          </p:cNvPr>
          <p:cNvGrpSpPr/>
          <p:nvPr/>
        </p:nvGrpSpPr>
        <p:grpSpPr>
          <a:xfrm>
            <a:off x="10635530" y="519574"/>
            <a:ext cx="1692700" cy="544758"/>
            <a:chOff x="10635530" y="519574"/>
            <a:chExt cx="1425914" cy="544758"/>
          </a:xfrm>
        </p:grpSpPr>
        <p:sp>
          <p:nvSpPr>
            <p:cNvPr id="71" name="Freeform 926">
              <a:extLst>
                <a:ext uri="{FF2B5EF4-FFF2-40B4-BE49-F238E27FC236}">
                  <a16:creationId xmlns:a16="http://schemas.microsoft.com/office/drawing/2014/main" id="{045CF23D-48D9-4D7B-A581-E59AA4F4A155}"/>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2" name="TextBox 220">
              <a:extLst>
                <a:ext uri="{FF2B5EF4-FFF2-40B4-BE49-F238E27FC236}">
                  <a16:creationId xmlns:a16="http://schemas.microsoft.com/office/drawing/2014/main" id="{CB077CD7-4EB4-49CF-9B2B-2BA5B795845F}"/>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73" name="Groupe 72">
            <a:extLst>
              <a:ext uri="{FF2B5EF4-FFF2-40B4-BE49-F238E27FC236}">
                <a16:creationId xmlns:a16="http://schemas.microsoft.com/office/drawing/2014/main" id="{5CC1835D-6604-44A6-BF44-00EF205E22F8}"/>
              </a:ext>
            </a:extLst>
          </p:cNvPr>
          <p:cNvGrpSpPr/>
          <p:nvPr/>
        </p:nvGrpSpPr>
        <p:grpSpPr>
          <a:xfrm>
            <a:off x="1378330" y="519574"/>
            <a:ext cx="1444682" cy="544812"/>
            <a:chOff x="1378330" y="519574"/>
            <a:chExt cx="1216986" cy="544812"/>
          </a:xfrm>
        </p:grpSpPr>
        <p:sp>
          <p:nvSpPr>
            <p:cNvPr id="74" name="TextBox 219">
              <a:extLst>
                <a:ext uri="{FF2B5EF4-FFF2-40B4-BE49-F238E27FC236}">
                  <a16:creationId xmlns:a16="http://schemas.microsoft.com/office/drawing/2014/main" id="{46CC3F5C-81A4-47D4-8301-CF7D393FDE9B}"/>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75" name="Freeform 926">
              <a:extLst>
                <a:ext uri="{FF2B5EF4-FFF2-40B4-BE49-F238E27FC236}">
                  <a16:creationId xmlns:a16="http://schemas.microsoft.com/office/drawing/2014/main" id="{B1D2FDF4-F259-456D-A3B0-AB43A3B4AA16}"/>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76" name="Groupe 75">
            <a:extLst>
              <a:ext uri="{FF2B5EF4-FFF2-40B4-BE49-F238E27FC236}">
                <a16:creationId xmlns:a16="http://schemas.microsoft.com/office/drawing/2014/main" id="{3631797A-A6DD-459B-AEA8-500FF8F9FF25}"/>
              </a:ext>
            </a:extLst>
          </p:cNvPr>
          <p:cNvGrpSpPr/>
          <p:nvPr/>
        </p:nvGrpSpPr>
        <p:grpSpPr>
          <a:xfrm>
            <a:off x="3762243" y="519574"/>
            <a:ext cx="917017" cy="544758"/>
            <a:chOff x="8696117" y="519574"/>
            <a:chExt cx="772486" cy="544758"/>
          </a:xfrm>
        </p:grpSpPr>
        <p:sp>
          <p:nvSpPr>
            <p:cNvPr id="77" name="Freeform 926">
              <a:extLst>
                <a:ext uri="{FF2B5EF4-FFF2-40B4-BE49-F238E27FC236}">
                  <a16:creationId xmlns:a16="http://schemas.microsoft.com/office/drawing/2014/main" id="{BD73ADB7-99B0-4F58-8BBA-7866A3AD8CDB}"/>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8" name="TextBox 220">
              <a:extLst>
                <a:ext uri="{FF2B5EF4-FFF2-40B4-BE49-F238E27FC236}">
                  <a16:creationId xmlns:a16="http://schemas.microsoft.com/office/drawing/2014/main" id="{6DEA350A-C1FD-4557-BD3A-CC433912F3AF}"/>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79" name="Groupe 78">
            <a:extLst>
              <a:ext uri="{FF2B5EF4-FFF2-40B4-BE49-F238E27FC236}">
                <a16:creationId xmlns:a16="http://schemas.microsoft.com/office/drawing/2014/main" id="{4904AC5C-656F-4C1E-8FC5-8BE19286F9B7}"/>
              </a:ext>
            </a:extLst>
          </p:cNvPr>
          <p:cNvGrpSpPr/>
          <p:nvPr/>
        </p:nvGrpSpPr>
        <p:grpSpPr>
          <a:xfrm>
            <a:off x="5701657" y="519574"/>
            <a:ext cx="1306371" cy="544812"/>
            <a:chOff x="3625356" y="519574"/>
            <a:chExt cx="1100474" cy="544812"/>
          </a:xfrm>
        </p:grpSpPr>
        <p:sp>
          <p:nvSpPr>
            <p:cNvPr id="80" name="Freeform 926">
              <a:extLst>
                <a:ext uri="{FF2B5EF4-FFF2-40B4-BE49-F238E27FC236}">
                  <a16:creationId xmlns:a16="http://schemas.microsoft.com/office/drawing/2014/main" id="{14E5ADB2-22CC-44DB-8D2F-B62104076C05}"/>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81" name="TextBox 219">
              <a:extLst>
                <a:ext uri="{FF2B5EF4-FFF2-40B4-BE49-F238E27FC236}">
                  <a16:creationId xmlns:a16="http://schemas.microsoft.com/office/drawing/2014/main" id="{F7FC6A6B-966F-4253-A3F0-1D02B321805A}"/>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82" name="Groupe 81">
            <a:extLst>
              <a:ext uri="{FF2B5EF4-FFF2-40B4-BE49-F238E27FC236}">
                <a16:creationId xmlns:a16="http://schemas.microsoft.com/office/drawing/2014/main" id="{B21DC99F-A060-4B59-BBE7-8819CB50A056}"/>
              </a:ext>
            </a:extLst>
          </p:cNvPr>
          <p:cNvGrpSpPr/>
          <p:nvPr/>
        </p:nvGrpSpPr>
        <p:grpSpPr>
          <a:xfrm>
            <a:off x="7969060" y="519574"/>
            <a:ext cx="1780105" cy="544812"/>
            <a:chOff x="5755870" y="519574"/>
            <a:chExt cx="1499543" cy="544812"/>
          </a:xfrm>
        </p:grpSpPr>
        <p:sp>
          <p:nvSpPr>
            <p:cNvPr id="83" name="Freeform 926">
              <a:extLst>
                <a:ext uri="{FF2B5EF4-FFF2-40B4-BE49-F238E27FC236}">
                  <a16:creationId xmlns:a16="http://schemas.microsoft.com/office/drawing/2014/main" id="{7B274885-F2C0-470F-BA8D-1E8395712E02}"/>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84" name="TextBox 219">
              <a:extLst>
                <a:ext uri="{FF2B5EF4-FFF2-40B4-BE49-F238E27FC236}">
                  <a16:creationId xmlns:a16="http://schemas.microsoft.com/office/drawing/2014/main" id="{A5177A4C-B4B6-4753-A209-5C1854AFDCB1}"/>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85" name="Rectangle 84">
            <a:extLst>
              <a:ext uri="{FF2B5EF4-FFF2-40B4-BE49-F238E27FC236}">
                <a16:creationId xmlns:a16="http://schemas.microsoft.com/office/drawing/2014/main" id="{EAEA840D-27E1-4E4C-AA6F-E1C5BF7483E5}"/>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86" name="Rectangle 85">
            <a:extLst>
              <a:ext uri="{FF2B5EF4-FFF2-40B4-BE49-F238E27FC236}">
                <a16:creationId xmlns:a16="http://schemas.microsoft.com/office/drawing/2014/main" id="{C2958DC5-9A33-4E5B-9406-897E89DEACA0}"/>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7" name="Rectangle 86">
            <a:extLst>
              <a:ext uri="{FF2B5EF4-FFF2-40B4-BE49-F238E27FC236}">
                <a16:creationId xmlns:a16="http://schemas.microsoft.com/office/drawing/2014/main" id="{079B361C-2D38-4686-BDE7-84F79BDC7F8F}"/>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8" name="Rectangle 87">
            <a:extLst>
              <a:ext uri="{FF2B5EF4-FFF2-40B4-BE49-F238E27FC236}">
                <a16:creationId xmlns:a16="http://schemas.microsoft.com/office/drawing/2014/main" id="{ABEE9D87-6B6A-4CAC-8BBC-65E4DD882D34}"/>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3252418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4"/>
          <a:stretch>
            <a:fillRect/>
          </a:stretch>
        </p:blipFill>
        <p:spPr>
          <a:xfrm>
            <a:off x="5451150" y="2516041"/>
            <a:ext cx="4006317" cy="2288275"/>
          </a:xfrm>
          <a:prstGeom prst="rect">
            <a:avLst/>
          </a:prstGeom>
        </p:spPr>
      </p:pic>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5"/>
          <a:stretch>
            <a:fillRect/>
          </a:stretch>
        </p:blipFill>
        <p:spPr>
          <a:xfrm>
            <a:off x="7060883" y="1421995"/>
            <a:ext cx="4612732" cy="235784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6"/>
          <a:stretch>
            <a:fillRect/>
          </a:stretch>
        </p:blipFill>
        <p:spPr>
          <a:xfrm>
            <a:off x="10020673" y="2114820"/>
            <a:ext cx="3032692" cy="2286100"/>
          </a:xfrm>
          <a:prstGeom prst="rect">
            <a:avLst/>
          </a:prstGeom>
        </p:spPr>
      </p:pic>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7"/>
          <a:stretch>
            <a:fillRect/>
          </a:stretch>
        </p:blipFill>
        <p:spPr>
          <a:xfrm>
            <a:off x="9634263" y="3430750"/>
            <a:ext cx="3459879" cy="2573572"/>
          </a:xfrm>
          <a:prstGeom prst="rect">
            <a:avLst/>
          </a:prstGeom>
        </p:spPr>
      </p:pic>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8"/>
          <a:srcRect/>
          <a:stretch/>
        </p:blipFill>
        <p:spPr>
          <a:xfrm>
            <a:off x="8481471" y="4492425"/>
            <a:ext cx="2940463" cy="2412257"/>
          </a:xfrm>
          <a:prstGeom prst="rect">
            <a:avLst/>
          </a:prstGeom>
        </p:spPr>
      </p:pic>
      <p:sp>
        <p:nvSpPr>
          <p:cNvPr id="62" name="ZoneTexte 61">
            <a:extLst>
              <a:ext uri="{FF2B5EF4-FFF2-40B4-BE49-F238E27FC236}">
                <a16:creationId xmlns:a16="http://schemas.microsoft.com/office/drawing/2014/main" id="{495309CA-AF39-44A7-930A-E0AD872571D6}"/>
              </a:ext>
            </a:extLst>
          </p:cNvPr>
          <p:cNvSpPr txBox="1"/>
          <p:nvPr/>
        </p:nvSpPr>
        <p:spPr>
          <a:xfrm>
            <a:off x="422237" y="1234213"/>
            <a:ext cx="2600662" cy="338554"/>
          </a:xfrm>
          <a:prstGeom prst="rect">
            <a:avLst/>
          </a:prstGeom>
          <a:noFill/>
          <a:ln>
            <a:solidFill>
              <a:schemeClr val="accent1"/>
            </a:solidFill>
            <a:prstDash val="dashDot"/>
          </a:ln>
        </p:spPr>
        <p:txBody>
          <a:bodyPr wrap="square">
            <a:spAutoFit/>
          </a:bodyPr>
          <a:lstStyle/>
          <a:p>
            <a:r>
              <a:rPr lang="fr-FR" sz="1600" dirty="0"/>
              <a:t>Catégories et sous catégories</a:t>
            </a:r>
          </a:p>
        </p:txBody>
      </p:sp>
      <p:pic>
        <p:nvPicPr>
          <p:cNvPr id="3" name="Image 2">
            <a:extLst>
              <a:ext uri="{FF2B5EF4-FFF2-40B4-BE49-F238E27FC236}">
                <a16:creationId xmlns:a16="http://schemas.microsoft.com/office/drawing/2014/main" id="{63C8F282-454F-44AC-B262-0B6A21DF676C}"/>
              </a:ext>
            </a:extLst>
          </p:cNvPr>
          <p:cNvPicPr>
            <a:picLocks noChangeAspect="1"/>
          </p:cNvPicPr>
          <p:nvPr/>
        </p:nvPicPr>
        <p:blipFill>
          <a:blip r:embed="rId9"/>
          <a:stretch>
            <a:fillRect/>
          </a:stretch>
        </p:blipFill>
        <p:spPr>
          <a:xfrm>
            <a:off x="1623061" y="1656098"/>
            <a:ext cx="6858410" cy="5384003"/>
          </a:xfrm>
          <a:prstGeom prst="rect">
            <a:avLst/>
          </a:prstGeom>
        </p:spPr>
      </p:pic>
      <p:grpSp>
        <p:nvGrpSpPr>
          <p:cNvPr id="71" name="Groupe 70">
            <a:extLst>
              <a:ext uri="{FF2B5EF4-FFF2-40B4-BE49-F238E27FC236}">
                <a16:creationId xmlns:a16="http://schemas.microsoft.com/office/drawing/2014/main" id="{14DF2ED4-F8F9-4D85-91CD-DF9500612E97}"/>
              </a:ext>
            </a:extLst>
          </p:cNvPr>
          <p:cNvGrpSpPr/>
          <p:nvPr/>
        </p:nvGrpSpPr>
        <p:grpSpPr>
          <a:xfrm>
            <a:off x="10635530" y="519574"/>
            <a:ext cx="1692700" cy="544758"/>
            <a:chOff x="10635530" y="519574"/>
            <a:chExt cx="1425914" cy="544758"/>
          </a:xfrm>
        </p:grpSpPr>
        <p:sp>
          <p:nvSpPr>
            <p:cNvPr id="72" name="Freeform 926">
              <a:extLst>
                <a:ext uri="{FF2B5EF4-FFF2-40B4-BE49-F238E27FC236}">
                  <a16:creationId xmlns:a16="http://schemas.microsoft.com/office/drawing/2014/main" id="{35777398-CA0E-4E8B-819B-E73C16E6291A}"/>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3" name="TextBox 220">
              <a:extLst>
                <a:ext uri="{FF2B5EF4-FFF2-40B4-BE49-F238E27FC236}">
                  <a16:creationId xmlns:a16="http://schemas.microsoft.com/office/drawing/2014/main" id="{C870AD32-F6A5-4CCB-9FAD-95EC918954A0}"/>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74" name="Groupe 73">
            <a:extLst>
              <a:ext uri="{FF2B5EF4-FFF2-40B4-BE49-F238E27FC236}">
                <a16:creationId xmlns:a16="http://schemas.microsoft.com/office/drawing/2014/main" id="{8A8DA8B5-9856-4150-8670-A6778C873AC0}"/>
              </a:ext>
            </a:extLst>
          </p:cNvPr>
          <p:cNvGrpSpPr/>
          <p:nvPr/>
        </p:nvGrpSpPr>
        <p:grpSpPr>
          <a:xfrm>
            <a:off x="1378330" y="519574"/>
            <a:ext cx="1444682" cy="544812"/>
            <a:chOff x="1378330" y="519574"/>
            <a:chExt cx="1216986" cy="544812"/>
          </a:xfrm>
        </p:grpSpPr>
        <p:sp>
          <p:nvSpPr>
            <p:cNvPr id="75" name="TextBox 219">
              <a:extLst>
                <a:ext uri="{FF2B5EF4-FFF2-40B4-BE49-F238E27FC236}">
                  <a16:creationId xmlns:a16="http://schemas.microsoft.com/office/drawing/2014/main" id="{C802BA99-E9E8-4345-9D42-8A8CEE048C65}"/>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76" name="Freeform 926">
              <a:extLst>
                <a:ext uri="{FF2B5EF4-FFF2-40B4-BE49-F238E27FC236}">
                  <a16:creationId xmlns:a16="http://schemas.microsoft.com/office/drawing/2014/main" id="{27A7F44D-DCC5-49E1-A88D-3CD440E16202}"/>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77" name="Groupe 76">
            <a:extLst>
              <a:ext uri="{FF2B5EF4-FFF2-40B4-BE49-F238E27FC236}">
                <a16:creationId xmlns:a16="http://schemas.microsoft.com/office/drawing/2014/main" id="{62413F40-D0B7-4C0B-91AB-802B3EC57270}"/>
              </a:ext>
            </a:extLst>
          </p:cNvPr>
          <p:cNvGrpSpPr/>
          <p:nvPr/>
        </p:nvGrpSpPr>
        <p:grpSpPr>
          <a:xfrm>
            <a:off x="3762243" y="519574"/>
            <a:ext cx="917017" cy="544758"/>
            <a:chOff x="8696117" y="519574"/>
            <a:chExt cx="772486" cy="544758"/>
          </a:xfrm>
        </p:grpSpPr>
        <p:sp>
          <p:nvSpPr>
            <p:cNvPr id="78" name="Freeform 926">
              <a:extLst>
                <a:ext uri="{FF2B5EF4-FFF2-40B4-BE49-F238E27FC236}">
                  <a16:creationId xmlns:a16="http://schemas.microsoft.com/office/drawing/2014/main" id="{EB07EBA1-94DA-4ABD-9E44-E147A73E125C}"/>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9" name="TextBox 220">
              <a:extLst>
                <a:ext uri="{FF2B5EF4-FFF2-40B4-BE49-F238E27FC236}">
                  <a16:creationId xmlns:a16="http://schemas.microsoft.com/office/drawing/2014/main" id="{8A3FD526-8CDB-438F-A885-E06E076183BF}"/>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80" name="Groupe 79">
            <a:extLst>
              <a:ext uri="{FF2B5EF4-FFF2-40B4-BE49-F238E27FC236}">
                <a16:creationId xmlns:a16="http://schemas.microsoft.com/office/drawing/2014/main" id="{CD61C888-EA16-4347-AA67-CB58C638F762}"/>
              </a:ext>
            </a:extLst>
          </p:cNvPr>
          <p:cNvGrpSpPr/>
          <p:nvPr/>
        </p:nvGrpSpPr>
        <p:grpSpPr>
          <a:xfrm>
            <a:off x="5701657" y="519574"/>
            <a:ext cx="1306371" cy="544812"/>
            <a:chOff x="3625356" y="519574"/>
            <a:chExt cx="1100474" cy="544812"/>
          </a:xfrm>
        </p:grpSpPr>
        <p:sp>
          <p:nvSpPr>
            <p:cNvPr id="81" name="Freeform 926">
              <a:extLst>
                <a:ext uri="{FF2B5EF4-FFF2-40B4-BE49-F238E27FC236}">
                  <a16:creationId xmlns:a16="http://schemas.microsoft.com/office/drawing/2014/main" id="{2843069A-8EA4-459E-A4CC-F7E9E027FFB2}"/>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82" name="TextBox 219">
              <a:extLst>
                <a:ext uri="{FF2B5EF4-FFF2-40B4-BE49-F238E27FC236}">
                  <a16:creationId xmlns:a16="http://schemas.microsoft.com/office/drawing/2014/main" id="{9F342F2E-EC08-4C86-8ACA-34C999F7B04A}"/>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83" name="Groupe 82">
            <a:extLst>
              <a:ext uri="{FF2B5EF4-FFF2-40B4-BE49-F238E27FC236}">
                <a16:creationId xmlns:a16="http://schemas.microsoft.com/office/drawing/2014/main" id="{9E3D690A-9861-4D72-8662-A6B735D039CF}"/>
              </a:ext>
            </a:extLst>
          </p:cNvPr>
          <p:cNvGrpSpPr/>
          <p:nvPr/>
        </p:nvGrpSpPr>
        <p:grpSpPr>
          <a:xfrm>
            <a:off x="7969060" y="519574"/>
            <a:ext cx="1780105" cy="544812"/>
            <a:chOff x="5755870" y="519574"/>
            <a:chExt cx="1499543" cy="544812"/>
          </a:xfrm>
        </p:grpSpPr>
        <p:sp>
          <p:nvSpPr>
            <p:cNvPr id="84" name="Freeform 926">
              <a:extLst>
                <a:ext uri="{FF2B5EF4-FFF2-40B4-BE49-F238E27FC236}">
                  <a16:creationId xmlns:a16="http://schemas.microsoft.com/office/drawing/2014/main" id="{046D51A7-BC3B-4DDF-B94F-ADBD22E2B608}"/>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85" name="TextBox 219">
              <a:extLst>
                <a:ext uri="{FF2B5EF4-FFF2-40B4-BE49-F238E27FC236}">
                  <a16:creationId xmlns:a16="http://schemas.microsoft.com/office/drawing/2014/main" id="{C2D628F3-6C7C-472B-ADD6-C1CF0C292D39}"/>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86" name="Rectangle 85">
            <a:extLst>
              <a:ext uri="{FF2B5EF4-FFF2-40B4-BE49-F238E27FC236}">
                <a16:creationId xmlns:a16="http://schemas.microsoft.com/office/drawing/2014/main" id="{9D639E44-D965-42D6-B4FC-A0D9E68F91A2}"/>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87" name="Rectangle 86">
            <a:extLst>
              <a:ext uri="{FF2B5EF4-FFF2-40B4-BE49-F238E27FC236}">
                <a16:creationId xmlns:a16="http://schemas.microsoft.com/office/drawing/2014/main" id="{1B5A954A-B15A-4C52-8175-D7354364BCF0}"/>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8" name="Rectangle 87">
            <a:extLst>
              <a:ext uri="{FF2B5EF4-FFF2-40B4-BE49-F238E27FC236}">
                <a16:creationId xmlns:a16="http://schemas.microsoft.com/office/drawing/2014/main" id="{97C25945-C859-4FF4-89EC-3DD9B9AB3F53}"/>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9" name="Rectangle 88">
            <a:extLst>
              <a:ext uri="{FF2B5EF4-FFF2-40B4-BE49-F238E27FC236}">
                <a16:creationId xmlns:a16="http://schemas.microsoft.com/office/drawing/2014/main" id="{F854868D-4FD9-4037-AE3E-30755DA48FB4}"/>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1776306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4"/>
          <a:stretch>
            <a:fillRect/>
          </a:stretch>
        </p:blipFill>
        <p:spPr>
          <a:xfrm>
            <a:off x="4565398" y="1421995"/>
            <a:ext cx="4612732" cy="235784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5"/>
          <a:stretch>
            <a:fillRect/>
          </a:stretch>
        </p:blipFill>
        <p:spPr>
          <a:xfrm>
            <a:off x="9160497" y="1642253"/>
            <a:ext cx="3032692" cy="2286100"/>
          </a:xfrm>
          <a:prstGeom prst="rect">
            <a:avLst/>
          </a:prstGeom>
        </p:spPr>
      </p:pic>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6"/>
          <a:stretch>
            <a:fillRect/>
          </a:stretch>
        </p:blipFill>
        <p:spPr>
          <a:xfrm>
            <a:off x="9757486" y="2313639"/>
            <a:ext cx="3459879" cy="2573572"/>
          </a:xfrm>
          <a:prstGeom prst="rect">
            <a:avLst/>
          </a:prstGeom>
        </p:spPr>
      </p:pic>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7"/>
          <a:srcRect/>
          <a:stretch/>
        </p:blipFill>
        <p:spPr>
          <a:xfrm>
            <a:off x="9657088" y="3433812"/>
            <a:ext cx="2940463" cy="2412257"/>
          </a:xfrm>
          <a:prstGeom prst="rect">
            <a:avLst/>
          </a:prstGeom>
        </p:spPr>
      </p:pic>
      <p:pic>
        <p:nvPicPr>
          <p:cNvPr id="3" name="Image 2">
            <a:extLst>
              <a:ext uri="{FF2B5EF4-FFF2-40B4-BE49-F238E27FC236}">
                <a16:creationId xmlns:a16="http://schemas.microsoft.com/office/drawing/2014/main" id="{63C8F282-454F-44AC-B262-0B6A21DF676C}"/>
              </a:ext>
            </a:extLst>
          </p:cNvPr>
          <p:cNvPicPr>
            <a:picLocks noChangeAspect="1"/>
          </p:cNvPicPr>
          <p:nvPr/>
        </p:nvPicPr>
        <p:blipFill>
          <a:blip r:embed="rId8"/>
          <a:stretch>
            <a:fillRect/>
          </a:stretch>
        </p:blipFill>
        <p:spPr>
          <a:xfrm>
            <a:off x="8594870" y="4492425"/>
            <a:ext cx="3245356" cy="2547676"/>
          </a:xfrm>
          <a:prstGeom prst="rect">
            <a:avLst/>
          </a:prstGeom>
        </p:spPr>
      </p:pic>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9"/>
          <a:stretch>
            <a:fillRect/>
          </a:stretch>
        </p:blipFill>
        <p:spPr>
          <a:xfrm>
            <a:off x="176342" y="2268596"/>
            <a:ext cx="8545655" cy="4880994"/>
          </a:xfrm>
          <a:prstGeom prst="rect">
            <a:avLst/>
          </a:prstGeom>
        </p:spPr>
      </p:pic>
      <p:sp>
        <p:nvSpPr>
          <p:cNvPr id="29" name="ZoneTexte 28">
            <a:extLst>
              <a:ext uri="{FF2B5EF4-FFF2-40B4-BE49-F238E27FC236}">
                <a16:creationId xmlns:a16="http://schemas.microsoft.com/office/drawing/2014/main" id="{B769203B-08E3-47B3-94DC-745927378E28}"/>
              </a:ext>
            </a:extLst>
          </p:cNvPr>
          <p:cNvSpPr txBox="1"/>
          <p:nvPr/>
        </p:nvSpPr>
        <p:spPr>
          <a:xfrm>
            <a:off x="422237" y="1234213"/>
            <a:ext cx="1618468" cy="338554"/>
          </a:xfrm>
          <a:prstGeom prst="rect">
            <a:avLst/>
          </a:prstGeom>
          <a:noFill/>
          <a:ln>
            <a:solidFill>
              <a:schemeClr val="accent1"/>
            </a:solidFill>
            <a:prstDash val="dashDot"/>
          </a:ln>
        </p:spPr>
        <p:txBody>
          <a:bodyPr wrap="square">
            <a:spAutoFit/>
          </a:bodyPr>
          <a:lstStyle/>
          <a:p>
            <a:pPr algn="ctr"/>
            <a:r>
              <a:rPr lang="fr-FR" sz="1600" dirty="0"/>
              <a:t>Feuille principale</a:t>
            </a:r>
          </a:p>
        </p:txBody>
      </p:sp>
      <p:grpSp>
        <p:nvGrpSpPr>
          <p:cNvPr id="49" name="Groupe 48">
            <a:extLst>
              <a:ext uri="{FF2B5EF4-FFF2-40B4-BE49-F238E27FC236}">
                <a16:creationId xmlns:a16="http://schemas.microsoft.com/office/drawing/2014/main" id="{39321192-CC1B-4D37-ADA4-1E578FE0F825}"/>
              </a:ext>
            </a:extLst>
          </p:cNvPr>
          <p:cNvGrpSpPr/>
          <p:nvPr/>
        </p:nvGrpSpPr>
        <p:grpSpPr>
          <a:xfrm>
            <a:off x="10635530" y="519574"/>
            <a:ext cx="1692700" cy="544758"/>
            <a:chOff x="10635530" y="519574"/>
            <a:chExt cx="1425914" cy="544758"/>
          </a:xfrm>
        </p:grpSpPr>
        <p:sp>
          <p:nvSpPr>
            <p:cNvPr id="50" name="Freeform 926">
              <a:extLst>
                <a:ext uri="{FF2B5EF4-FFF2-40B4-BE49-F238E27FC236}">
                  <a16:creationId xmlns:a16="http://schemas.microsoft.com/office/drawing/2014/main" id="{12B1CE7A-9A7B-4DFE-8623-51A1302437A5}"/>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51" name="TextBox 220">
              <a:extLst>
                <a:ext uri="{FF2B5EF4-FFF2-40B4-BE49-F238E27FC236}">
                  <a16:creationId xmlns:a16="http://schemas.microsoft.com/office/drawing/2014/main" id="{178439AB-D8AB-4516-874E-114F8B474FC5}"/>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52" name="Groupe 51">
            <a:extLst>
              <a:ext uri="{FF2B5EF4-FFF2-40B4-BE49-F238E27FC236}">
                <a16:creationId xmlns:a16="http://schemas.microsoft.com/office/drawing/2014/main" id="{40283C1C-EE98-4D3C-AF9F-78149D911055}"/>
              </a:ext>
            </a:extLst>
          </p:cNvPr>
          <p:cNvGrpSpPr/>
          <p:nvPr/>
        </p:nvGrpSpPr>
        <p:grpSpPr>
          <a:xfrm>
            <a:off x="1378330" y="519574"/>
            <a:ext cx="1444682" cy="544812"/>
            <a:chOff x="1378330" y="519574"/>
            <a:chExt cx="1216986" cy="544812"/>
          </a:xfrm>
        </p:grpSpPr>
        <p:sp>
          <p:nvSpPr>
            <p:cNvPr id="53" name="TextBox 219">
              <a:extLst>
                <a:ext uri="{FF2B5EF4-FFF2-40B4-BE49-F238E27FC236}">
                  <a16:creationId xmlns:a16="http://schemas.microsoft.com/office/drawing/2014/main" id="{E9494D13-E774-4A96-8C0B-B0D9368109F2}"/>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54" name="Freeform 926">
              <a:extLst>
                <a:ext uri="{FF2B5EF4-FFF2-40B4-BE49-F238E27FC236}">
                  <a16:creationId xmlns:a16="http://schemas.microsoft.com/office/drawing/2014/main" id="{4B95B004-ECC7-4755-8282-D309279F034D}"/>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55" name="Groupe 54">
            <a:extLst>
              <a:ext uri="{FF2B5EF4-FFF2-40B4-BE49-F238E27FC236}">
                <a16:creationId xmlns:a16="http://schemas.microsoft.com/office/drawing/2014/main" id="{7AC1CA64-24C2-44C6-AED5-C16667B85B9A}"/>
              </a:ext>
            </a:extLst>
          </p:cNvPr>
          <p:cNvGrpSpPr/>
          <p:nvPr/>
        </p:nvGrpSpPr>
        <p:grpSpPr>
          <a:xfrm>
            <a:off x="3762243" y="519574"/>
            <a:ext cx="917017" cy="544758"/>
            <a:chOff x="8696117" y="519574"/>
            <a:chExt cx="772486" cy="544758"/>
          </a:xfrm>
        </p:grpSpPr>
        <p:sp>
          <p:nvSpPr>
            <p:cNvPr id="56" name="Freeform 926">
              <a:extLst>
                <a:ext uri="{FF2B5EF4-FFF2-40B4-BE49-F238E27FC236}">
                  <a16:creationId xmlns:a16="http://schemas.microsoft.com/office/drawing/2014/main" id="{9F2F9B5A-5635-46A5-AA39-5EA265A0BAE0}"/>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2" name="TextBox 220">
              <a:extLst>
                <a:ext uri="{FF2B5EF4-FFF2-40B4-BE49-F238E27FC236}">
                  <a16:creationId xmlns:a16="http://schemas.microsoft.com/office/drawing/2014/main" id="{49239B2F-2676-4D51-ABE0-5239ADB54EF7}"/>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79" name="Groupe 78">
            <a:extLst>
              <a:ext uri="{FF2B5EF4-FFF2-40B4-BE49-F238E27FC236}">
                <a16:creationId xmlns:a16="http://schemas.microsoft.com/office/drawing/2014/main" id="{818D2A9F-3FAA-43D7-80C3-6E83ECF6F11E}"/>
              </a:ext>
            </a:extLst>
          </p:cNvPr>
          <p:cNvGrpSpPr/>
          <p:nvPr/>
        </p:nvGrpSpPr>
        <p:grpSpPr>
          <a:xfrm>
            <a:off x="5701657" y="519574"/>
            <a:ext cx="1306371" cy="544812"/>
            <a:chOff x="3625356" y="519574"/>
            <a:chExt cx="1100474" cy="544812"/>
          </a:xfrm>
        </p:grpSpPr>
        <p:sp>
          <p:nvSpPr>
            <p:cNvPr id="80" name="Freeform 926">
              <a:extLst>
                <a:ext uri="{FF2B5EF4-FFF2-40B4-BE49-F238E27FC236}">
                  <a16:creationId xmlns:a16="http://schemas.microsoft.com/office/drawing/2014/main" id="{E0858541-B626-4D95-A01A-A2131AE18B5C}"/>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81" name="TextBox 219">
              <a:extLst>
                <a:ext uri="{FF2B5EF4-FFF2-40B4-BE49-F238E27FC236}">
                  <a16:creationId xmlns:a16="http://schemas.microsoft.com/office/drawing/2014/main" id="{812873AD-63B6-4FEE-8540-A253C743BAF5}"/>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82" name="Groupe 81">
            <a:extLst>
              <a:ext uri="{FF2B5EF4-FFF2-40B4-BE49-F238E27FC236}">
                <a16:creationId xmlns:a16="http://schemas.microsoft.com/office/drawing/2014/main" id="{66C7F1CD-19B9-4808-8541-ECBD1AF5BC80}"/>
              </a:ext>
            </a:extLst>
          </p:cNvPr>
          <p:cNvGrpSpPr/>
          <p:nvPr/>
        </p:nvGrpSpPr>
        <p:grpSpPr>
          <a:xfrm>
            <a:off x="7969060" y="519574"/>
            <a:ext cx="1780105" cy="544812"/>
            <a:chOff x="5755870" y="519574"/>
            <a:chExt cx="1499543" cy="544812"/>
          </a:xfrm>
        </p:grpSpPr>
        <p:sp>
          <p:nvSpPr>
            <p:cNvPr id="83" name="Freeform 926">
              <a:extLst>
                <a:ext uri="{FF2B5EF4-FFF2-40B4-BE49-F238E27FC236}">
                  <a16:creationId xmlns:a16="http://schemas.microsoft.com/office/drawing/2014/main" id="{ADD30722-E45F-4591-954A-CC2723EB7454}"/>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84" name="TextBox 219">
              <a:extLst>
                <a:ext uri="{FF2B5EF4-FFF2-40B4-BE49-F238E27FC236}">
                  <a16:creationId xmlns:a16="http://schemas.microsoft.com/office/drawing/2014/main" id="{E619E1E6-B408-4D84-AC6B-5F16CE420BF0}"/>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85" name="Rectangle 84">
            <a:extLst>
              <a:ext uri="{FF2B5EF4-FFF2-40B4-BE49-F238E27FC236}">
                <a16:creationId xmlns:a16="http://schemas.microsoft.com/office/drawing/2014/main" id="{81553A0A-A8A3-47E1-AECA-B944650423CE}"/>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86" name="Rectangle 85">
            <a:extLst>
              <a:ext uri="{FF2B5EF4-FFF2-40B4-BE49-F238E27FC236}">
                <a16:creationId xmlns:a16="http://schemas.microsoft.com/office/drawing/2014/main" id="{3B6B2D80-5636-46FB-813A-AD003DDF2EE9}"/>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7" name="Rectangle 86">
            <a:extLst>
              <a:ext uri="{FF2B5EF4-FFF2-40B4-BE49-F238E27FC236}">
                <a16:creationId xmlns:a16="http://schemas.microsoft.com/office/drawing/2014/main" id="{F9D7BF34-AAEE-4A46-9384-553203248175}"/>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8" name="Rectangle 87">
            <a:extLst>
              <a:ext uri="{FF2B5EF4-FFF2-40B4-BE49-F238E27FC236}">
                <a16:creationId xmlns:a16="http://schemas.microsoft.com/office/drawing/2014/main" id="{D29E3E6A-D47E-4A05-BFAA-66B061142A62}"/>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25360103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4"/>
          <a:stretch>
            <a:fillRect/>
          </a:stretch>
        </p:blipFill>
        <p:spPr>
          <a:xfrm>
            <a:off x="4565398" y="1421995"/>
            <a:ext cx="4612732" cy="235784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5"/>
          <a:stretch>
            <a:fillRect/>
          </a:stretch>
        </p:blipFill>
        <p:spPr>
          <a:xfrm>
            <a:off x="9160497" y="1642253"/>
            <a:ext cx="3032692" cy="2286100"/>
          </a:xfrm>
          <a:prstGeom prst="rect">
            <a:avLst/>
          </a:prstGeom>
        </p:spPr>
      </p:pic>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6"/>
          <a:stretch>
            <a:fillRect/>
          </a:stretch>
        </p:blipFill>
        <p:spPr>
          <a:xfrm>
            <a:off x="9757486" y="2313639"/>
            <a:ext cx="3459879" cy="2573572"/>
          </a:xfrm>
          <a:prstGeom prst="rect">
            <a:avLst/>
          </a:prstGeom>
        </p:spPr>
      </p:pic>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7"/>
          <a:srcRect/>
          <a:stretch/>
        </p:blipFill>
        <p:spPr>
          <a:xfrm>
            <a:off x="9657088" y="3433812"/>
            <a:ext cx="2940463" cy="2412257"/>
          </a:xfrm>
          <a:prstGeom prst="rect">
            <a:avLst/>
          </a:prstGeom>
        </p:spPr>
      </p:pic>
      <p:sp>
        <p:nvSpPr>
          <p:cNvPr id="62" name="ZoneTexte 61">
            <a:extLst>
              <a:ext uri="{FF2B5EF4-FFF2-40B4-BE49-F238E27FC236}">
                <a16:creationId xmlns:a16="http://schemas.microsoft.com/office/drawing/2014/main" id="{495309CA-AF39-44A7-930A-E0AD872571D6}"/>
              </a:ext>
            </a:extLst>
          </p:cNvPr>
          <p:cNvSpPr txBox="1"/>
          <p:nvPr/>
        </p:nvSpPr>
        <p:spPr>
          <a:xfrm>
            <a:off x="422237" y="1234213"/>
            <a:ext cx="1618468" cy="338554"/>
          </a:xfrm>
          <a:prstGeom prst="rect">
            <a:avLst/>
          </a:prstGeom>
          <a:noFill/>
          <a:ln>
            <a:solidFill>
              <a:schemeClr val="accent1"/>
            </a:solidFill>
            <a:prstDash val="dashDot"/>
          </a:ln>
        </p:spPr>
        <p:txBody>
          <a:bodyPr wrap="square">
            <a:spAutoFit/>
          </a:bodyPr>
          <a:lstStyle/>
          <a:p>
            <a:pPr algn="ctr"/>
            <a:r>
              <a:rPr lang="fr-FR" sz="1600" dirty="0"/>
              <a:t>Feuille principale</a:t>
            </a:r>
          </a:p>
        </p:txBody>
      </p:sp>
      <p:pic>
        <p:nvPicPr>
          <p:cNvPr id="3" name="Image 2">
            <a:extLst>
              <a:ext uri="{FF2B5EF4-FFF2-40B4-BE49-F238E27FC236}">
                <a16:creationId xmlns:a16="http://schemas.microsoft.com/office/drawing/2014/main" id="{63C8F282-454F-44AC-B262-0B6A21DF676C}"/>
              </a:ext>
            </a:extLst>
          </p:cNvPr>
          <p:cNvPicPr>
            <a:picLocks noChangeAspect="1"/>
          </p:cNvPicPr>
          <p:nvPr/>
        </p:nvPicPr>
        <p:blipFill>
          <a:blip r:embed="rId8"/>
          <a:stretch>
            <a:fillRect/>
          </a:stretch>
        </p:blipFill>
        <p:spPr>
          <a:xfrm>
            <a:off x="8594870" y="4492425"/>
            <a:ext cx="3245356" cy="2547676"/>
          </a:xfrm>
          <a:prstGeom prst="rect">
            <a:avLst/>
          </a:prstGeom>
        </p:spPr>
      </p:pic>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9"/>
          <a:stretch>
            <a:fillRect/>
          </a:stretch>
        </p:blipFill>
        <p:spPr>
          <a:xfrm>
            <a:off x="176342" y="2268596"/>
            <a:ext cx="8545655" cy="4880994"/>
          </a:xfrm>
          <a:prstGeom prst="rect">
            <a:avLst/>
          </a:prstGeom>
        </p:spPr>
      </p:pic>
      <p:sp>
        <p:nvSpPr>
          <p:cNvPr id="6" name="Ellipse 5">
            <a:extLst>
              <a:ext uri="{FF2B5EF4-FFF2-40B4-BE49-F238E27FC236}">
                <a16:creationId xmlns:a16="http://schemas.microsoft.com/office/drawing/2014/main" id="{EF08032F-61BF-4B68-B21B-3124F7C546AE}"/>
              </a:ext>
            </a:extLst>
          </p:cNvPr>
          <p:cNvSpPr/>
          <p:nvPr/>
        </p:nvSpPr>
        <p:spPr bwMode="gray">
          <a:xfrm>
            <a:off x="2252952" y="6970138"/>
            <a:ext cx="548139" cy="226151"/>
          </a:xfrm>
          <a:prstGeom prst="ellipse">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28" name="Ellipse 27">
            <a:extLst>
              <a:ext uri="{FF2B5EF4-FFF2-40B4-BE49-F238E27FC236}">
                <a16:creationId xmlns:a16="http://schemas.microsoft.com/office/drawing/2014/main" id="{01ADA86B-4101-4B9F-8BBA-ACD8B608E4BC}"/>
              </a:ext>
            </a:extLst>
          </p:cNvPr>
          <p:cNvSpPr/>
          <p:nvPr/>
        </p:nvSpPr>
        <p:spPr bwMode="gray">
          <a:xfrm>
            <a:off x="1652399" y="6966779"/>
            <a:ext cx="655372" cy="226151"/>
          </a:xfrm>
          <a:prstGeom prst="ellipse">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29" name="Ellipse 28">
            <a:extLst>
              <a:ext uri="{FF2B5EF4-FFF2-40B4-BE49-F238E27FC236}">
                <a16:creationId xmlns:a16="http://schemas.microsoft.com/office/drawing/2014/main" id="{E0FF13EB-5F6D-4D86-95E2-5A9966B259E6}"/>
              </a:ext>
            </a:extLst>
          </p:cNvPr>
          <p:cNvSpPr/>
          <p:nvPr/>
        </p:nvSpPr>
        <p:spPr bwMode="gray">
          <a:xfrm>
            <a:off x="1119263" y="6979605"/>
            <a:ext cx="548139" cy="226151"/>
          </a:xfrm>
          <a:prstGeom prst="ellipse">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32" name="Ellipse 31">
            <a:extLst>
              <a:ext uri="{FF2B5EF4-FFF2-40B4-BE49-F238E27FC236}">
                <a16:creationId xmlns:a16="http://schemas.microsoft.com/office/drawing/2014/main" id="{28E9A26B-7F05-4A4D-9218-83052B4074B7}"/>
              </a:ext>
            </a:extLst>
          </p:cNvPr>
          <p:cNvSpPr/>
          <p:nvPr/>
        </p:nvSpPr>
        <p:spPr bwMode="gray">
          <a:xfrm>
            <a:off x="2778657" y="6963082"/>
            <a:ext cx="700213" cy="226151"/>
          </a:xfrm>
          <a:prstGeom prst="ellipse">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33" name="Ellipse 32">
            <a:extLst>
              <a:ext uri="{FF2B5EF4-FFF2-40B4-BE49-F238E27FC236}">
                <a16:creationId xmlns:a16="http://schemas.microsoft.com/office/drawing/2014/main" id="{D5AA499F-56F2-4399-8F6C-4032BDB5C481}"/>
              </a:ext>
            </a:extLst>
          </p:cNvPr>
          <p:cNvSpPr/>
          <p:nvPr/>
        </p:nvSpPr>
        <p:spPr bwMode="gray">
          <a:xfrm>
            <a:off x="3431746" y="6963082"/>
            <a:ext cx="700213" cy="226151"/>
          </a:xfrm>
          <a:prstGeom prst="ellipse">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34" name="Ellipse 33">
            <a:extLst>
              <a:ext uri="{FF2B5EF4-FFF2-40B4-BE49-F238E27FC236}">
                <a16:creationId xmlns:a16="http://schemas.microsoft.com/office/drawing/2014/main" id="{AFAE59CA-52AC-4C54-A316-4B9C2FBA35CC}"/>
              </a:ext>
            </a:extLst>
          </p:cNvPr>
          <p:cNvSpPr/>
          <p:nvPr/>
        </p:nvSpPr>
        <p:spPr bwMode="gray">
          <a:xfrm>
            <a:off x="4084836" y="6963082"/>
            <a:ext cx="412520" cy="226151"/>
          </a:xfrm>
          <a:prstGeom prst="ellipse">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35" name="Ellipse 34">
            <a:extLst>
              <a:ext uri="{FF2B5EF4-FFF2-40B4-BE49-F238E27FC236}">
                <a16:creationId xmlns:a16="http://schemas.microsoft.com/office/drawing/2014/main" id="{FE6B4C29-AA35-40F5-A803-AF3ECCF55C7F}"/>
              </a:ext>
            </a:extLst>
          </p:cNvPr>
          <p:cNvSpPr/>
          <p:nvPr/>
        </p:nvSpPr>
        <p:spPr bwMode="gray">
          <a:xfrm>
            <a:off x="4497355" y="6963082"/>
            <a:ext cx="979285" cy="226151"/>
          </a:xfrm>
          <a:prstGeom prst="ellipse">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10" name="Graphique 9" descr="Badge 1 contour">
            <a:extLst>
              <a:ext uri="{FF2B5EF4-FFF2-40B4-BE49-F238E27FC236}">
                <a16:creationId xmlns:a16="http://schemas.microsoft.com/office/drawing/2014/main" id="{3486E0DB-6375-4FEF-A82E-66A23F1751B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22184" y="7149590"/>
            <a:ext cx="356794" cy="356794"/>
          </a:xfrm>
          <a:prstGeom prst="rect">
            <a:avLst/>
          </a:prstGeom>
        </p:spPr>
      </p:pic>
      <p:pic>
        <p:nvPicPr>
          <p:cNvPr id="14" name="Graphique 13" descr="Badge contour">
            <a:extLst>
              <a:ext uri="{FF2B5EF4-FFF2-40B4-BE49-F238E27FC236}">
                <a16:creationId xmlns:a16="http://schemas.microsoft.com/office/drawing/2014/main" id="{4B4F6BCE-55FB-4BD9-BA6C-AACC8548CC1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01623" y="7149590"/>
            <a:ext cx="356794" cy="356794"/>
          </a:xfrm>
          <a:prstGeom prst="rect">
            <a:avLst/>
          </a:prstGeom>
        </p:spPr>
      </p:pic>
      <p:pic>
        <p:nvPicPr>
          <p:cNvPr id="16" name="Graphique 15" descr="Badge 3 contour">
            <a:extLst>
              <a:ext uri="{FF2B5EF4-FFF2-40B4-BE49-F238E27FC236}">
                <a16:creationId xmlns:a16="http://schemas.microsoft.com/office/drawing/2014/main" id="{62663F68-23E8-4C25-8385-000546D38A8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19149" y="7149590"/>
            <a:ext cx="356794" cy="356794"/>
          </a:xfrm>
          <a:prstGeom prst="rect">
            <a:avLst/>
          </a:prstGeom>
        </p:spPr>
      </p:pic>
      <p:pic>
        <p:nvPicPr>
          <p:cNvPr id="19" name="Graphique 18" descr="Badge 4 contour">
            <a:extLst>
              <a:ext uri="{FF2B5EF4-FFF2-40B4-BE49-F238E27FC236}">
                <a16:creationId xmlns:a16="http://schemas.microsoft.com/office/drawing/2014/main" id="{50CB099B-52C5-4237-AFF3-00F972EE38E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899961" y="7149590"/>
            <a:ext cx="356794" cy="356794"/>
          </a:xfrm>
          <a:prstGeom prst="rect">
            <a:avLst/>
          </a:prstGeom>
        </p:spPr>
      </p:pic>
      <p:pic>
        <p:nvPicPr>
          <p:cNvPr id="21" name="Graphique 20" descr="Badge 5 contour">
            <a:extLst>
              <a:ext uri="{FF2B5EF4-FFF2-40B4-BE49-F238E27FC236}">
                <a16:creationId xmlns:a16="http://schemas.microsoft.com/office/drawing/2014/main" id="{4883DD7E-020D-4BC6-B036-B783CD8EF84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75366" y="7149590"/>
            <a:ext cx="356794" cy="356794"/>
          </a:xfrm>
          <a:prstGeom prst="rect">
            <a:avLst/>
          </a:prstGeom>
        </p:spPr>
      </p:pic>
      <p:pic>
        <p:nvPicPr>
          <p:cNvPr id="23" name="Graphique 22" descr="Badge 6 contour">
            <a:extLst>
              <a:ext uri="{FF2B5EF4-FFF2-40B4-BE49-F238E27FC236}">
                <a16:creationId xmlns:a16="http://schemas.microsoft.com/office/drawing/2014/main" id="{11319ABF-FEF4-41D8-9834-1F7098298D2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112699" y="7149590"/>
            <a:ext cx="356794" cy="356794"/>
          </a:xfrm>
          <a:prstGeom prst="rect">
            <a:avLst/>
          </a:prstGeom>
        </p:spPr>
      </p:pic>
      <p:pic>
        <p:nvPicPr>
          <p:cNvPr id="25" name="Graphique 24" descr="Badge 7 contour">
            <a:extLst>
              <a:ext uri="{FF2B5EF4-FFF2-40B4-BE49-F238E27FC236}">
                <a16:creationId xmlns:a16="http://schemas.microsoft.com/office/drawing/2014/main" id="{1F369781-6E9E-48B9-98E6-32695EF6B1F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785943" y="7149590"/>
            <a:ext cx="356794" cy="356794"/>
          </a:xfrm>
          <a:prstGeom prst="rect">
            <a:avLst/>
          </a:prstGeom>
        </p:spPr>
      </p:pic>
      <p:grpSp>
        <p:nvGrpSpPr>
          <p:cNvPr id="45" name="Groupe 44">
            <a:extLst>
              <a:ext uri="{FF2B5EF4-FFF2-40B4-BE49-F238E27FC236}">
                <a16:creationId xmlns:a16="http://schemas.microsoft.com/office/drawing/2014/main" id="{1675D6DE-3D87-41FE-9AAA-1C638D44219A}"/>
              </a:ext>
            </a:extLst>
          </p:cNvPr>
          <p:cNvGrpSpPr/>
          <p:nvPr/>
        </p:nvGrpSpPr>
        <p:grpSpPr>
          <a:xfrm>
            <a:off x="10635530" y="519574"/>
            <a:ext cx="1692700" cy="544758"/>
            <a:chOff x="10635530" y="519574"/>
            <a:chExt cx="1425914" cy="544758"/>
          </a:xfrm>
        </p:grpSpPr>
        <p:sp>
          <p:nvSpPr>
            <p:cNvPr id="47" name="Freeform 926">
              <a:extLst>
                <a:ext uri="{FF2B5EF4-FFF2-40B4-BE49-F238E27FC236}">
                  <a16:creationId xmlns:a16="http://schemas.microsoft.com/office/drawing/2014/main" id="{0B9D3D2A-BC81-46AE-AD84-6202268C6D1B}"/>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50" name="TextBox 220">
              <a:extLst>
                <a:ext uri="{FF2B5EF4-FFF2-40B4-BE49-F238E27FC236}">
                  <a16:creationId xmlns:a16="http://schemas.microsoft.com/office/drawing/2014/main" id="{70049C41-0D61-42D3-A4A4-319F36EBDA0D}"/>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51" name="Groupe 50">
            <a:extLst>
              <a:ext uri="{FF2B5EF4-FFF2-40B4-BE49-F238E27FC236}">
                <a16:creationId xmlns:a16="http://schemas.microsoft.com/office/drawing/2014/main" id="{503D1DB1-B60D-4871-A8C4-127D7FBB52A8}"/>
              </a:ext>
            </a:extLst>
          </p:cNvPr>
          <p:cNvGrpSpPr/>
          <p:nvPr/>
        </p:nvGrpSpPr>
        <p:grpSpPr>
          <a:xfrm>
            <a:off x="1378330" y="519574"/>
            <a:ext cx="1444682" cy="544812"/>
            <a:chOff x="1378330" y="519574"/>
            <a:chExt cx="1216986" cy="544812"/>
          </a:xfrm>
        </p:grpSpPr>
        <p:sp>
          <p:nvSpPr>
            <p:cNvPr id="52" name="TextBox 219">
              <a:extLst>
                <a:ext uri="{FF2B5EF4-FFF2-40B4-BE49-F238E27FC236}">
                  <a16:creationId xmlns:a16="http://schemas.microsoft.com/office/drawing/2014/main" id="{4BFAB226-B128-4071-BC4E-7A7177FF75B7}"/>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53" name="Freeform 926">
              <a:extLst>
                <a:ext uri="{FF2B5EF4-FFF2-40B4-BE49-F238E27FC236}">
                  <a16:creationId xmlns:a16="http://schemas.microsoft.com/office/drawing/2014/main" id="{C7AB9224-F4F5-49BA-ADDF-51C84E71FE17}"/>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54" name="Groupe 53">
            <a:extLst>
              <a:ext uri="{FF2B5EF4-FFF2-40B4-BE49-F238E27FC236}">
                <a16:creationId xmlns:a16="http://schemas.microsoft.com/office/drawing/2014/main" id="{2C44FC2A-4C86-42DC-88B7-92537382740E}"/>
              </a:ext>
            </a:extLst>
          </p:cNvPr>
          <p:cNvGrpSpPr/>
          <p:nvPr/>
        </p:nvGrpSpPr>
        <p:grpSpPr>
          <a:xfrm>
            <a:off x="3762243" y="519574"/>
            <a:ext cx="917017" cy="544758"/>
            <a:chOff x="8696117" y="519574"/>
            <a:chExt cx="772486" cy="544758"/>
          </a:xfrm>
        </p:grpSpPr>
        <p:sp>
          <p:nvSpPr>
            <p:cNvPr id="55" name="Freeform 926">
              <a:extLst>
                <a:ext uri="{FF2B5EF4-FFF2-40B4-BE49-F238E27FC236}">
                  <a16:creationId xmlns:a16="http://schemas.microsoft.com/office/drawing/2014/main" id="{BFC3A03D-E251-459C-B222-2435E7478A2F}"/>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56" name="TextBox 220">
              <a:extLst>
                <a:ext uri="{FF2B5EF4-FFF2-40B4-BE49-F238E27FC236}">
                  <a16:creationId xmlns:a16="http://schemas.microsoft.com/office/drawing/2014/main" id="{7A322990-A1A3-43A6-A6B8-656356828B56}"/>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57" name="Groupe 56">
            <a:extLst>
              <a:ext uri="{FF2B5EF4-FFF2-40B4-BE49-F238E27FC236}">
                <a16:creationId xmlns:a16="http://schemas.microsoft.com/office/drawing/2014/main" id="{EA6C5884-F5C1-406B-8291-CE47BA36F2A6}"/>
              </a:ext>
            </a:extLst>
          </p:cNvPr>
          <p:cNvGrpSpPr/>
          <p:nvPr/>
        </p:nvGrpSpPr>
        <p:grpSpPr>
          <a:xfrm>
            <a:off x="5701657" y="519574"/>
            <a:ext cx="1306371" cy="544812"/>
            <a:chOff x="3625356" y="519574"/>
            <a:chExt cx="1100474" cy="544812"/>
          </a:xfrm>
        </p:grpSpPr>
        <p:sp>
          <p:nvSpPr>
            <p:cNvPr id="58" name="Freeform 926">
              <a:extLst>
                <a:ext uri="{FF2B5EF4-FFF2-40B4-BE49-F238E27FC236}">
                  <a16:creationId xmlns:a16="http://schemas.microsoft.com/office/drawing/2014/main" id="{EB65D997-C47A-4F35-BC68-B511BD84BE81}"/>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66" name="TextBox 219">
              <a:extLst>
                <a:ext uri="{FF2B5EF4-FFF2-40B4-BE49-F238E27FC236}">
                  <a16:creationId xmlns:a16="http://schemas.microsoft.com/office/drawing/2014/main" id="{786A5EF0-A13C-415A-A272-CCC159A41F71}"/>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73" name="Groupe 72">
            <a:extLst>
              <a:ext uri="{FF2B5EF4-FFF2-40B4-BE49-F238E27FC236}">
                <a16:creationId xmlns:a16="http://schemas.microsoft.com/office/drawing/2014/main" id="{D76B78FC-59EC-4C29-961C-336EB371139B}"/>
              </a:ext>
            </a:extLst>
          </p:cNvPr>
          <p:cNvGrpSpPr/>
          <p:nvPr/>
        </p:nvGrpSpPr>
        <p:grpSpPr>
          <a:xfrm>
            <a:off x="7969060" y="519574"/>
            <a:ext cx="1780105" cy="544812"/>
            <a:chOff x="5755870" y="519574"/>
            <a:chExt cx="1499543" cy="544812"/>
          </a:xfrm>
        </p:grpSpPr>
        <p:sp>
          <p:nvSpPr>
            <p:cNvPr id="74" name="Freeform 926">
              <a:extLst>
                <a:ext uri="{FF2B5EF4-FFF2-40B4-BE49-F238E27FC236}">
                  <a16:creationId xmlns:a16="http://schemas.microsoft.com/office/drawing/2014/main" id="{EDA0F491-FED2-447F-AE0D-CC179242AA1D}"/>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75" name="TextBox 219">
              <a:extLst>
                <a:ext uri="{FF2B5EF4-FFF2-40B4-BE49-F238E27FC236}">
                  <a16:creationId xmlns:a16="http://schemas.microsoft.com/office/drawing/2014/main" id="{53082685-6CE6-4C87-88A4-0A68AB890BD9}"/>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76" name="Rectangle 75">
            <a:extLst>
              <a:ext uri="{FF2B5EF4-FFF2-40B4-BE49-F238E27FC236}">
                <a16:creationId xmlns:a16="http://schemas.microsoft.com/office/drawing/2014/main" id="{3167FA11-997C-45D8-8B76-A85AA6971A55}"/>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77" name="Rectangle 76">
            <a:extLst>
              <a:ext uri="{FF2B5EF4-FFF2-40B4-BE49-F238E27FC236}">
                <a16:creationId xmlns:a16="http://schemas.microsoft.com/office/drawing/2014/main" id="{D1D23C88-3249-4C1E-ABD5-62A2B9A2BB70}"/>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2" name="Rectangle 81">
            <a:extLst>
              <a:ext uri="{FF2B5EF4-FFF2-40B4-BE49-F238E27FC236}">
                <a16:creationId xmlns:a16="http://schemas.microsoft.com/office/drawing/2014/main" id="{6C723D65-77CB-45AE-8991-AE6B36CD6C78}"/>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83" name="Rectangle 82">
            <a:extLst>
              <a:ext uri="{FF2B5EF4-FFF2-40B4-BE49-F238E27FC236}">
                <a16:creationId xmlns:a16="http://schemas.microsoft.com/office/drawing/2014/main" id="{6EB2093D-873D-4AB4-B331-25872AB93DCC}"/>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2979480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4"/>
          <a:stretch>
            <a:fillRect/>
          </a:stretch>
        </p:blipFill>
        <p:spPr>
          <a:xfrm>
            <a:off x="5341532" y="1707916"/>
            <a:ext cx="3032692" cy="2286100"/>
          </a:xfrm>
          <a:prstGeom prst="rect">
            <a:avLst/>
          </a:prstGeom>
        </p:spPr>
      </p:pic>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5"/>
          <a:stretch>
            <a:fillRect/>
          </a:stretch>
        </p:blipFill>
        <p:spPr>
          <a:xfrm>
            <a:off x="7706502" y="1347992"/>
            <a:ext cx="3459879" cy="2573572"/>
          </a:xfrm>
          <a:prstGeom prst="rect">
            <a:avLst/>
          </a:prstGeom>
        </p:spPr>
      </p:pic>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6"/>
          <a:srcRect/>
          <a:stretch/>
        </p:blipFill>
        <p:spPr>
          <a:xfrm>
            <a:off x="9468603" y="1707249"/>
            <a:ext cx="2940463" cy="2412257"/>
          </a:xfrm>
          <a:prstGeom prst="rect">
            <a:avLst/>
          </a:prstGeom>
        </p:spPr>
      </p:pic>
      <p:sp>
        <p:nvSpPr>
          <p:cNvPr id="62" name="ZoneTexte 61">
            <a:extLst>
              <a:ext uri="{FF2B5EF4-FFF2-40B4-BE49-F238E27FC236}">
                <a16:creationId xmlns:a16="http://schemas.microsoft.com/office/drawing/2014/main" id="{495309CA-AF39-44A7-930A-E0AD872571D6}"/>
              </a:ext>
            </a:extLst>
          </p:cNvPr>
          <p:cNvSpPr txBox="1"/>
          <p:nvPr/>
        </p:nvSpPr>
        <p:spPr>
          <a:xfrm>
            <a:off x="422236" y="1234213"/>
            <a:ext cx="1851157" cy="338554"/>
          </a:xfrm>
          <a:prstGeom prst="rect">
            <a:avLst/>
          </a:prstGeom>
          <a:noFill/>
          <a:ln>
            <a:solidFill>
              <a:schemeClr val="accent1"/>
            </a:solidFill>
            <a:prstDash val="dashDot"/>
          </a:ln>
        </p:spPr>
        <p:txBody>
          <a:bodyPr wrap="square">
            <a:spAutoFit/>
          </a:bodyPr>
          <a:lstStyle/>
          <a:p>
            <a:pPr algn="ctr"/>
            <a:r>
              <a:rPr lang="fr-FR" sz="1600" dirty="0"/>
              <a:t>Matrice de scoring</a:t>
            </a:r>
          </a:p>
        </p:txBody>
      </p:sp>
      <p:pic>
        <p:nvPicPr>
          <p:cNvPr id="3" name="Image 2">
            <a:extLst>
              <a:ext uri="{FF2B5EF4-FFF2-40B4-BE49-F238E27FC236}">
                <a16:creationId xmlns:a16="http://schemas.microsoft.com/office/drawing/2014/main" id="{63C8F282-454F-44AC-B262-0B6A21DF676C}"/>
              </a:ext>
            </a:extLst>
          </p:cNvPr>
          <p:cNvPicPr>
            <a:picLocks noChangeAspect="1"/>
          </p:cNvPicPr>
          <p:nvPr/>
        </p:nvPicPr>
        <p:blipFill>
          <a:blip r:embed="rId7"/>
          <a:stretch>
            <a:fillRect/>
          </a:stretch>
        </p:blipFill>
        <p:spPr>
          <a:xfrm>
            <a:off x="10000007" y="2784460"/>
            <a:ext cx="3245356" cy="2547676"/>
          </a:xfrm>
          <a:prstGeom prst="rect">
            <a:avLst/>
          </a:prstGeom>
        </p:spPr>
      </p:pic>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8"/>
          <a:stretch>
            <a:fillRect/>
          </a:stretch>
        </p:blipFill>
        <p:spPr>
          <a:xfrm>
            <a:off x="8667866" y="4325526"/>
            <a:ext cx="4460478" cy="2547677"/>
          </a:xfrm>
          <a:prstGeom prst="rect">
            <a:avLst/>
          </a:prstGeom>
        </p:spPr>
      </p:pic>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9"/>
          <a:stretch>
            <a:fillRect/>
          </a:stretch>
        </p:blipFill>
        <p:spPr>
          <a:xfrm>
            <a:off x="231734" y="2564141"/>
            <a:ext cx="8478879" cy="4334060"/>
          </a:xfrm>
          <a:prstGeom prst="rect">
            <a:avLst/>
          </a:prstGeom>
        </p:spPr>
      </p:pic>
      <p:grpSp>
        <p:nvGrpSpPr>
          <p:cNvPr id="30" name="Groupe 29">
            <a:extLst>
              <a:ext uri="{FF2B5EF4-FFF2-40B4-BE49-F238E27FC236}">
                <a16:creationId xmlns:a16="http://schemas.microsoft.com/office/drawing/2014/main" id="{FDCE36DC-51AF-4689-95C6-D40500814A55}"/>
              </a:ext>
            </a:extLst>
          </p:cNvPr>
          <p:cNvGrpSpPr/>
          <p:nvPr/>
        </p:nvGrpSpPr>
        <p:grpSpPr>
          <a:xfrm>
            <a:off x="10635530" y="519574"/>
            <a:ext cx="1692700" cy="544758"/>
            <a:chOff x="10635530" y="519574"/>
            <a:chExt cx="1425914" cy="544758"/>
          </a:xfrm>
        </p:grpSpPr>
        <p:sp>
          <p:nvSpPr>
            <p:cNvPr id="31" name="Freeform 926">
              <a:extLst>
                <a:ext uri="{FF2B5EF4-FFF2-40B4-BE49-F238E27FC236}">
                  <a16:creationId xmlns:a16="http://schemas.microsoft.com/office/drawing/2014/main" id="{073E4BA2-B6D3-4528-9585-99BD9001ED28}"/>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32" name="TextBox 220">
              <a:extLst>
                <a:ext uri="{FF2B5EF4-FFF2-40B4-BE49-F238E27FC236}">
                  <a16:creationId xmlns:a16="http://schemas.microsoft.com/office/drawing/2014/main" id="{C908A767-80CB-409D-8122-5234988D60AC}"/>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33" name="Groupe 32">
            <a:extLst>
              <a:ext uri="{FF2B5EF4-FFF2-40B4-BE49-F238E27FC236}">
                <a16:creationId xmlns:a16="http://schemas.microsoft.com/office/drawing/2014/main" id="{95BF299C-41F9-4E5B-83EC-3A4D40C13F5A}"/>
              </a:ext>
            </a:extLst>
          </p:cNvPr>
          <p:cNvGrpSpPr/>
          <p:nvPr/>
        </p:nvGrpSpPr>
        <p:grpSpPr>
          <a:xfrm>
            <a:off x="1378330" y="519574"/>
            <a:ext cx="1444682" cy="544812"/>
            <a:chOff x="1378330" y="519574"/>
            <a:chExt cx="1216986" cy="544812"/>
          </a:xfrm>
        </p:grpSpPr>
        <p:sp>
          <p:nvSpPr>
            <p:cNvPr id="34" name="TextBox 219">
              <a:extLst>
                <a:ext uri="{FF2B5EF4-FFF2-40B4-BE49-F238E27FC236}">
                  <a16:creationId xmlns:a16="http://schemas.microsoft.com/office/drawing/2014/main" id="{12D1627D-71A4-4341-BB00-4C78DE2C2BF3}"/>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35" name="Freeform 926">
              <a:extLst>
                <a:ext uri="{FF2B5EF4-FFF2-40B4-BE49-F238E27FC236}">
                  <a16:creationId xmlns:a16="http://schemas.microsoft.com/office/drawing/2014/main" id="{131031A9-5322-4657-9198-ACD20DC7FA01}"/>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36" name="Groupe 35">
            <a:extLst>
              <a:ext uri="{FF2B5EF4-FFF2-40B4-BE49-F238E27FC236}">
                <a16:creationId xmlns:a16="http://schemas.microsoft.com/office/drawing/2014/main" id="{E9562101-67E3-41E0-BC67-D05EDB1BBB64}"/>
              </a:ext>
            </a:extLst>
          </p:cNvPr>
          <p:cNvGrpSpPr/>
          <p:nvPr/>
        </p:nvGrpSpPr>
        <p:grpSpPr>
          <a:xfrm>
            <a:off x="3762243" y="519574"/>
            <a:ext cx="917017" cy="544758"/>
            <a:chOff x="8696117" y="519574"/>
            <a:chExt cx="772486" cy="544758"/>
          </a:xfrm>
        </p:grpSpPr>
        <p:sp>
          <p:nvSpPr>
            <p:cNvPr id="37" name="Freeform 926">
              <a:extLst>
                <a:ext uri="{FF2B5EF4-FFF2-40B4-BE49-F238E27FC236}">
                  <a16:creationId xmlns:a16="http://schemas.microsoft.com/office/drawing/2014/main" id="{62B7F416-8DA2-4B0B-85FA-E57F37D36C57}"/>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38" name="TextBox 220">
              <a:extLst>
                <a:ext uri="{FF2B5EF4-FFF2-40B4-BE49-F238E27FC236}">
                  <a16:creationId xmlns:a16="http://schemas.microsoft.com/office/drawing/2014/main" id="{CA608621-3E81-48A0-854E-71A25E2CCAA7}"/>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42" name="Groupe 41">
            <a:extLst>
              <a:ext uri="{FF2B5EF4-FFF2-40B4-BE49-F238E27FC236}">
                <a16:creationId xmlns:a16="http://schemas.microsoft.com/office/drawing/2014/main" id="{F3926FFD-85B5-437B-8A60-F16760139929}"/>
              </a:ext>
            </a:extLst>
          </p:cNvPr>
          <p:cNvGrpSpPr/>
          <p:nvPr/>
        </p:nvGrpSpPr>
        <p:grpSpPr>
          <a:xfrm>
            <a:off x="5701657" y="519574"/>
            <a:ext cx="1306371" cy="544812"/>
            <a:chOff x="3625356" y="519574"/>
            <a:chExt cx="1100474" cy="544812"/>
          </a:xfrm>
        </p:grpSpPr>
        <p:sp>
          <p:nvSpPr>
            <p:cNvPr id="45" name="Freeform 926">
              <a:extLst>
                <a:ext uri="{FF2B5EF4-FFF2-40B4-BE49-F238E27FC236}">
                  <a16:creationId xmlns:a16="http://schemas.microsoft.com/office/drawing/2014/main" id="{05496F5F-14AD-4638-9250-3DDFD10046CE}"/>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47" name="TextBox 219">
              <a:extLst>
                <a:ext uri="{FF2B5EF4-FFF2-40B4-BE49-F238E27FC236}">
                  <a16:creationId xmlns:a16="http://schemas.microsoft.com/office/drawing/2014/main" id="{F0B5133C-35BC-4E3E-8606-A15B30558068}"/>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64" name="Groupe 63">
            <a:extLst>
              <a:ext uri="{FF2B5EF4-FFF2-40B4-BE49-F238E27FC236}">
                <a16:creationId xmlns:a16="http://schemas.microsoft.com/office/drawing/2014/main" id="{B5C68256-0037-4827-B031-CC1293BC2BE8}"/>
              </a:ext>
            </a:extLst>
          </p:cNvPr>
          <p:cNvGrpSpPr/>
          <p:nvPr/>
        </p:nvGrpSpPr>
        <p:grpSpPr>
          <a:xfrm>
            <a:off x="7969060" y="519574"/>
            <a:ext cx="1780105" cy="544812"/>
            <a:chOff x="5755870" y="519574"/>
            <a:chExt cx="1499543" cy="544812"/>
          </a:xfrm>
        </p:grpSpPr>
        <p:sp>
          <p:nvSpPr>
            <p:cNvPr id="65" name="Freeform 926">
              <a:extLst>
                <a:ext uri="{FF2B5EF4-FFF2-40B4-BE49-F238E27FC236}">
                  <a16:creationId xmlns:a16="http://schemas.microsoft.com/office/drawing/2014/main" id="{195F9655-E406-4A4F-8872-8F5AD55745EF}"/>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6" name="TextBox 219">
              <a:extLst>
                <a:ext uri="{FF2B5EF4-FFF2-40B4-BE49-F238E27FC236}">
                  <a16:creationId xmlns:a16="http://schemas.microsoft.com/office/drawing/2014/main" id="{A239D557-E91E-4A34-BE3E-2BAA1847EA84}"/>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67" name="Rectangle 66">
            <a:extLst>
              <a:ext uri="{FF2B5EF4-FFF2-40B4-BE49-F238E27FC236}">
                <a16:creationId xmlns:a16="http://schemas.microsoft.com/office/drawing/2014/main" id="{62FD6E39-AA10-4ECF-BB24-8F83D6A711C4}"/>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68" name="Rectangle 67">
            <a:extLst>
              <a:ext uri="{FF2B5EF4-FFF2-40B4-BE49-F238E27FC236}">
                <a16:creationId xmlns:a16="http://schemas.microsoft.com/office/drawing/2014/main" id="{52D46D18-9AD8-4351-A80B-28B825DE92F4}"/>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69" name="Rectangle 68">
            <a:extLst>
              <a:ext uri="{FF2B5EF4-FFF2-40B4-BE49-F238E27FC236}">
                <a16:creationId xmlns:a16="http://schemas.microsoft.com/office/drawing/2014/main" id="{BA8FE501-4E7A-410F-BFA7-5C788F90A22E}"/>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70" name="Rectangle 69">
            <a:extLst>
              <a:ext uri="{FF2B5EF4-FFF2-40B4-BE49-F238E27FC236}">
                <a16:creationId xmlns:a16="http://schemas.microsoft.com/office/drawing/2014/main" id="{24D725FB-92B7-4331-B58D-88977FE8FA19}"/>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4005026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4"/>
          <a:srcRect/>
          <a:stretch/>
        </p:blipFill>
        <p:spPr>
          <a:xfrm>
            <a:off x="7788920" y="1481104"/>
            <a:ext cx="2940463" cy="2412257"/>
          </a:xfrm>
          <a:prstGeom prst="rect">
            <a:avLst/>
          </a:prstGeom>
        </p:spPr>
      </p:pic>
      <p:sp>
        <p:nvSpPr>
          <p:cNvPr id="62" name="ZoneTexte 61">
            <a:extLst>
              <a:ext uri="{FF2B5EF4-FFF2-40B4-BE49-F238E27FC236}">
                <a16:creationId xmlns:a16="http://schemas.microsoft.com/office/drawing/2014/main" id="{495309CA-AF39-44A7-930A-E0AD872571D6}"/>
              </a:ext>
            </a:extLst>
          </p:cNvPr>
          <p:cNvSpPr txBox="1"/>
          <p:nvPr/>
        </p:nvSpPr>
        <p:spPr>
          <a:xfrm>
            <a:off x="422237" y="1234213"/>
            <a:ext cx="1216986" cy="338554"/>
          </a:xfrm>
          <a:prstGeom prst="rect">
            <a:avLst/>
          </a:prstGeom>
          <a:noFill/>
          <a:ln>
            <a:solidFill>
              <a:schemeClr val="accent1"/>
            </a:solidFill>
            <a:prstDash val="dashDot"/>
          </a:ln>
        </p:spPr>
        <p:txBody>
          <a:bodyPr wrap="square">
            <a:spAutoFit/>
          </a:bodyPr>
          <a:lstStyle/>
          <a:p>
            <a:pPr algn="ctr"/>
            <a:r>
              <a:rPr lang="fr-FR" sz="1600" dirty="0"/>
              <a:t>Mapping</a:t>
            </a:r>
          </a:p>
        </p:txBody>
      </p:sp>
      <p:pic>
        <p:nvPicPr>
          <p:cNvPr id="3" name="Image 2">
            <a:extLst>
              <a:ext uri="{FF2B5EF4-FFF2-40B4-BE49-F238E27FC236}">
                <a16:creationId xmlns:a16="http://schemas.microsoft.com/office/drawing/2014/main" id="{63C8F282-454F-44AC-B262-0B6A21DF676C}"/>
              </a:ext>
            </a:extLst>
          </p:cNvPr>
          <p:cNvPicPr>
            <a:picLocks noChangeAspect="1"/>
          </p:cNvPicPr>
          <p:nvPr/>
        </p:nvPicPr>
        <p:blipFill>
          <a:blip r:embed="rId5"/>
          <a:stretch>
            <a:fillRect/>
          </a:stretch>
        </p:blipFill>
        <p:spPr>
          <a:xfrm>
            <a:off x="9352541" y="2030216"/>
            <a:ext cx="3245356" cy="2547676"/>
          </a:xfrm>
          <a:prstGeom prst="rect">
            <a:avLst/>
          </a:prstGeom>
        </p:spPr>
      </p:pic>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6"/>
          <a:stretch>
            <a:fillRect/>
          </a:stretch>
        </p:blipFill>
        <p:spPr>
          <a:xfrm>
            <a:off x="8784885" y="2899870"/>
            <a:ext cx="4460478" cy="2547677"/>
          </a:xfrm>
          <a:prstGeom prst="rect">
            <a:avLst/>
          </a:prstGeom>
        </p:spPr>
      </p:pic>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7"/>
          <a:stretch>
            <a:fillRect/>
          </a:stretch>
        </p:blipFill>
        <p:spPr>
          <a:xfrm>
            <a:off x="9061558" y="4214012"/>
            <a:ext cx="4422601" cy="2260655"/>
          </a:xfrm>
          <a:prstGeom prst="rect">
            <a:avLst/>
          </a:prstGeom>
        </p:spPr>
      </p:pic>
      <p:pic>
        <p:nvPicPr>
          <p:cNvPr id="24" name="Image 23">
            <a:extLst>
              <a:ext uri="{FF2B5EF4-FFF2-40B4-BE49-F238E27FC236}">
                <a16:creationId xmlns:a16="http://schemas.microsoft.com/office/drawing/2014/main" id="{92F3B984-BA92-471E-A031-F1A071281FE4}"/>
              </a:ext>
            </a:extLst>
          </p:cNvPr>
          <p:cNvPicPr>
            <a:picLocks noChangeAspect="1"/>
          </p:cNvPicPr>
          <p:nvPr/>
        </p:nvPicPr>
        <p:blipFill>
          <a:blip r:embed="rId8"/>
          <a:stretch>
            <a:fillRect/>
          </a:stretch>
        </p:blipFill>
        <p:spPr>
          <a:xfrm>
            <a:off x="4977968" y="2304665"/>
            <a:ext cx="3459879" cy="257357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9"/>
          <a:stretch>
            <a:fillRect/>
          </a:stretch>
        </p:blipFill>
        <p:spPr>
          <a:xfrm>
            <a:off x="1885579" y="1846530"/>
            <a:ext cx="6810538" cy="5133911"/>
          </a:xfrm>
          <a:prstGeom prst="rect">
            <a:avLst/>
          </a:prstGeom>
        </p:spPr>
      </p:pic>
      <p:grpSp>
        <p:nvGrpSpPr>
          <p:cNvPr id="30" name="Groupe 29">
            <a:extLst>
              <a:ext uri="{FF2B5EF4-FFF2-40B4-BE49-F238E27FC236}">
                <a16:creationId xmlns:a16="http://schemas.microsoft.com/office/drawing/2014/main" id="{3DA1FD70-B224-4B2F-ADDB-53FBBF4F64DE}"/>
              </a:ext>
            </a:extLst>
          </p:cNvPr>
          <p:cNvGrpSpPr/>
          <p:nvPr/>
        </p:nvGrpSpPr>
        <p:grpSpPr>
          <a:xfrm>
            <a:off x="10635530" y="519574"/>
            <a:ext cx="1692700" cy="544758"/>
            <a:chOff x="10635530" y="519574"/>
            <a:chExt cx="1425914" cy="544758"/>
          </a:xfrm>
        </p:grpSpPr>
        <p:sp>
          <p:nvSpPr>
            <p:cNvPr id="31" name="Freeform 926">
              <a:extLst>
                <a:ext uri="{FF2B5EF4-FFF2-40B4-BE49-F238E27FC236}">
                  <a16:creationId xmlns:a16="http://schemas.microsoft.com/office/drawing/2014/main" id="{E4A62EF4-120D-4991-8B5E-BE2CEB9CFC43}"/>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32" name="TextBox 220">
              <a:extLst>
                <a:ext uri="{FF2B5EF4-FFF2-40B4-BE49-F238E27FC236}">
                  <a16:creationId xmlns:a16="http://schemas.microsoft.com/office/drawing/2014/main" id="{DB714808-A2EE-4732-A87E-7DB598489AAE}"/>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33" name="Groupe 32">
            <a:extLst>
              <a:ext uri="{FF2B5EF4-FFF2-40B4-BE49-F238E27FC236}">
                <a16:creationId xmlns:a16="http://schemas.microsoft.com/office/drawing/2014/main" id="{A0342D2F-6A11-4412-AD96-591C979767AC}"/>
              </a:ext>
            </a:extLst>
          </p:cNvPr>
          <p:cNvGrpSpPr/>
          <p:nvPr/>
        </p:nvGrpSpPr>
        <p:grpSpPr>
          <a:xfrm>
            <a:off x="1378330" y="519574"/>
            <a:ext cx="1444682" cy="544812"/>
            <a:chOff x="1378330" y="519574"/>
            <a:chExt cx="1216986" cy="544812"/>
          </a:xfrm>
        </p:grpSpPr>
        <p:sp>
          <p:nvSpPr>
            <p:cNvPr id="34" name="TextBox 219">
              <a:extLst>
                <a:ext uri="{FF2B5EF4-FFF2-40B4-BE49-F238E27FC236}">
                  <a16:creationId xmlns:a16="http://schemas.microsoft.com/office/drawing/2014/main" id="{A8FCCFE9-9DF0-4340-9341-AAB3AB49A4A7}"/>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35" name="Freeform 926">
              <a:extLst>
                <a:ext uri="{FF2B5EF4-FFF2-40B4-BE49-F238E27FC236}">
                  <a16:creationId xmlns:a16="http://schemas.microsoft.com/office/drawing/2014/main" id="{204AA1CA-8442-4CB5-BBCE-439F85667DD7}"/>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36" name="Groupe 35">
            <a:extLst>
              <a:ext uri="{FF2B5EF4-FFF2-40B4-BE49-F238E27FC236}">
                <a16:creationId xmlns:a16="http://schemas.microsoft.com/office/drawing/2014/main" id="{2EB27344-BDAD-4349-AA70-AC610EEE582F}"/>
              </a:ext>
            </a:extLst>
          </p:cNvPr>
          <p:cNvGrpSpPr/>
          <p:nvPr/>
        </p:nvGrpSpPr>
        <p:grpSpPr>
          <a:xfrm>
            <a:off x="3762243" y="519574"/>
            <a:ext cx="917017" cy="544758"/>
            <a:chOff x="8696117" y="519574"/>
            <a:chExt cx="772486" cy="544758"/>
          </a:xfrm>
        </p:grpSpPr>
        <p:sp>
          <p:nvSpPr>
            <p:cNvPr id="37" name="Freeform 926">
              <a:extLst>
                <a:ext uri="{FF2B5EF4-FFF2-40B4-BE49-F238E27FC236}">
                  <a16:creationId xmlns:a16="http://schemas.microsoft.com/office/drawing/2014/main" id="{66328D7E-4577-4959-904E-97FD4F8115F5}"/>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38" name="TextBox 220">
              <a:extLst>
                <a:ext uri="{FF2B5EF4-FFF2-40B4-BE49-F238E27FC236}">
                  <a16:creationId xmlns:a16="http://schemas.microsoft.com/office/drawing/2014/main" id="{D77ED7F8-1F2C-4A35-86E8-B4CBDFF947C6}"/>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39" name="Groupe 38">
            <a:extLst>
              <a:ext uri="{FF2B5EF4-FFF2-40B4-BE49-F238E27FC236}">
                <a16:creationId xmlns:a16="http://schemas.microsoft.com/office/drawing/2014/main" id="{6959DA90-C3A2-4867-9196-219CAD5343AF}"/>
              </a:ext>
            </a:extLst>
          </p:cNvPr>
          <p:cNvGrpSpPr/>
          <p:nvPr/>
        </p:nvGrpSpPr>
        <p:grpSpPr>
          <a:xfrm>
            <a:off x="5701657" y="519574"/>
            <a:ext cx="1306371" cy="544812"/>
            <a:chOff x="3625356" y="519574"/>
            <a:chExt cx="1100474" cy="544812"/>
          </a:xfrm>
        </p:grpSpPr>
        <p:sp>
          <p:nvSpPr>
            <p:cNvPr id="42" name="Freeform 926">
              <a:extLst>
                <a:ext uri="{FF2B5EF4-FFF2-40B4-BE49-F238E27FC236}">
                  <a16:creationId xmlns:a16="http://schemas.microsoft.com/office/drawing/2014/main" id="{79788C5E-7967-415D-AA02-B31A1781399F}"/>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45" name="TextBox 219">
              <a:extLst>
                <a:ext uri="{FF2B5EF4-FFF2-40B4-BE49-F238E27FC236}">
                  <a16:creationId xmlns:a16="http://schemas.microsoft.com/office/drawing/2014/main" id="{FACC6D84-3F2C-4321-8F43-937F546590AE}"/>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47" name="Groupe 46">
            <a:extLst>
              <a:ext uri="{FF2B5EF4-FFF2-40B4-BE49-F238E27FC236}">
                <a16:creationId xmlns:a16="http://schemas.microsoft.com/office/drawing/2014/main" id="{5B065815-E252-40D7-9030-B9B417480184}"/>
              </a:ext>
            </a:extLst>
          </p:cNvPr>
          <p:cNvGrpSpPr/>
          <p:nvPr/>
        </p:nvGrpSpPr>
        <p:grpSpPr>
          <a:xfrm>
            <a:off x="7969060" y="519574"/>
            <a:ext cx="1780105" cy="544812"/>
            <a:chOff x="5755870" y="519574"/>
            <a:chExt cx="1499543" cy="544812"/>
          </a:xfrm>
        </p:grpSpPr>
        <p:sp>
          <p:nvSpPr>
            <p:cNvPr id="65" name="Freeform 926">
              <a:extLst>
                <a:ext uri="{FF2B5EF4-FFF2-40B4-BE49-F238E27FC236}">
                  <a16:creationId xmlns:a16="http://schemas.microsoft.com/office/drawing/2014/main" id="{787BAE03-CC0D-473D-A820-2BF1097B5D63}"/>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6" name="TextBox 219">
              <a:extLst>
                <a:ext uri="{FF2B5EF4-FFF2-40B4-BE49-F238E27FC236}">
                  <a16:creationId xmlns:a16="http://schemas.microsoft.com/office/drawing/2014/main" id="{641C7642-1B1D-4CDA-BF17-E1A4D0013D07}"/>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67" name="Rectangle 66">
            <a:extLst>
              <a:ext uri="{FF2B5EF4-FFF2-40B4-BE49-F238E27FC236}">
                <a16:creationId xmlns:a16="http://schemas.microsoft.com/office/drawing/2014/main" id="{57934E30-32D9-4AFB-874F-302FD0A5E595}"/>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68" name="Rectangle 67">
            <a:extLst>
              <a:ext uri="{FF2B5EF4-FFF2-40B4-BE49-F238E27FC236}">
                <a16:creationId xmlns:a16="http://schemas.microsoft.com/office/drawing/2014/main" id="{2205803E-5453-4903-A8D2-4E88ED30E403}"/>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69" name="Rectangle 68">
            <a:extLst>
              <a:ext uri="{FF2B5EF4-FFF2-40B4-BE49-F238E27FC236}">
                <a16:creationId xmlns:a16="http://schemas.microsoft.com/office/drawing/2014/main" id="{12127CA0-D1F9-41AC-B5FD-51942CA38E32}"/>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70" name="Rectangle 69">
            <a:extLst>
              <a:ext uri="{FF2B5EF4-FFF2-40B4-BE49-F238E27FC236}">
                <a16:creationId xmlns:a16="http://schemas.microsoft.com/office/drawing/2014/main" id="{D9EA7F26-4D98-4505-BC05-2DEC49F93F62}"/>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3480139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 descr="Abstract green and blue painting">
            <a:extLst>
              <a:ext uri="{FF2B5EF4-FFF2-40B4-BE49-F238E27FC236}">
                <a16:creationId xmlns:a16="http://schemas.microsoft.com/office/drawing/2014/main" id="{AD1B94BA-436E-42C0-BE8A-D753BCC26326}"/>
              </a:ext>
            </a:extLst>
          </p:cNvPr>
          <p:cNvPicPr>
            <a:picLocks noChangeAspect="1"/>
          </p:cNvPicPr>
          <p:nvPr/>
        </p:nvPicPr>
        <p:blipFill>
          <a:blip r:embed="rId3"/>
          <a:stretch>
            <a:fillRect/>
          </a:stretch>
        </p:blipFill>
        <p:spPr>
          <a:xfrm>
            <a:off x="0" y="-1"/>
            <a:ext cx="13439775" cy="7559675"/>
          </a:xfrm>
          <a:prstGeom prst="rect">
            <a:avLst/>
          </a:prstGeom>
        </p:spPr>
      </p:pic>
      <p:grpSp>
        <p:nvGrpSpPr>
          <p:cNvPr id="11" name="Group 63">
            <a:extLst>
              <a:ext uri="{FF2B5EF4-FFF2-40B4-BE49-F238E27FC236}">
                <a16:creationId xmlns:a16="http://schemas.microsoft.com/office/drawing/2014/main" id="{0B8F20E0-6D87-49C6-AA3E-4AAEB21D373C}"/>
              </a:ext>
            </a:extLst>
          </p:cNvPr>
          <p:cNvGrpSpPr/>
          <p:nvPr/>
        </p:nvGrpSpPr>
        <p:grpSpPr>
          <a:xfrm>
            <a:off x="2544432" y="2842935"/>
            <a:ext cx="6973641" cy="686674"/>
            <a:chOff x="802315" y="1952711"/>
            <a:chExt cx="6973641" cy="686674"/>
          </a:xfrm>
        </p:grpSpPr>
        <p:sp>
          <p:nvSpPr>
            <p:cNvPr id="12" name="Oval 7">
              <a:extLst>
                <a:ext uri="{FF2B5EF4-FFF2-40B4-BE49-F238E27FC236}">
                  <a16:creationId xmlns:a16="http://schemas.microsoft.com/office/drawing/2014/main" id="{7C5B3F82-1B67-4F8D-B4E9-C17E7D0B2869}"/>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3" name="Straight Connector 8">
              <a:extLst>
                <a:ext uri="{FF2B5EF4-FFF2-40B4-BE49-F238E27FC236}">
                  <a16:creationId xmlns:a16="http://schemas.microsoft.com/office/drawing/2014/main" id="{A66C032C-1CA4-4111-90B9-334BC8E1F193}"/>
                </a:ext>
              </a:extLst>
            </p:cNvPr>
            <p:cNvCxnSpPr>
              <a:cxnSpLocks/>
              <a:endCxn id="12"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4" name="Rectangle 13">
              <a:extLst>
                <a:ext uri="{FF2B5EF4-FFF2-40B4-BE49-F238E27FC236}">
                  <a16:creationId xmlns:a16="http://schemas.microsoft.com/office/drawing/2014/main" id="{885258D9-7A47-4570-B1BF-85959FAC5DD3}"/>
                </a:ext>
              </a:extLst>
            </p:cNvPr>
            <p:cNvSpPr/>
            <p:nvPr/>
          </p:nvSpPr>
          <p:spPr>
            <a:xfrm>
              <a:off x="3723292" y="2089510"/>
              <a:ext cx="4052664" cy="461665"/>
            </a:xfrm>
            <a:prstGeom prst="rect">
              <a:avLst/>
            </a:prstGeom>
          </p:spPr>
          <p:txBody>
            <a:bodyPr wrap="square">
              <a:spAutoFit/>
            </a:bodyPr>
            <a:lstStyle/>
            <a:p>
              <a:pPr lvl="0" defTabSz="801929">
                <a:defRPr/>
              </a:pPr>
              <a:r>
                <a:rPr kumimoji="0" lang="fr-FR" sz="2400" i="0" u="none" strike="noStrike" kern="1200" cap="none" spc="0" normalizeH="0" baseline="0" dirty="0">
                  <a:ln>
                    <a:noFill/>
                  </a:ln>
                  <a:solidFill>
                    <a:schemeClr val="bg1"/>
                  </a:solidFill>
                  <a:effectLst/>
                  <a:uLnTx/>
                  <a:uFillTx/>
                </a:rPr>
                <a:t>Réalisation du Framework</a:t>
              </a:r>
            </a:p>
          </p:txBody>
        </p:sp>
      </p:grpSp>
      <p:grpSp>
        <p:nvGrpSpPr>
          <p:cNvPr id="16" name="Group 63">
            <a:extLst>
              <a:ext uri="{FF2B5EF4-FFF2-40B4-BE49-F238E27FC236}">
                <a16:creationId xmlns:a16="http://schemas.microsoft.com/office/drawing/2014/main" id="{C05A3CCE-25AE-4C98-8DDB-61A81871DD0B}"/>
              </a:ext>
            </a:extLst>
          </p:cNvPr>
          <p:cNvGrpSpPr/>
          <p:nvPr/>
        </p:nvGrpSpPr>
        <p:grpSpPr>
          <a:xfrm>
            <a:off x="2544432" y="4030064"/>
            <a:ext cx="5801684" cy="686674"/>
            <a:chOff x="802315" y="1952711"/>
            <a:chExt cx="5801684" cy="686674"/>
          </a:xfrm>
        </p:grpSpPr>
        <p:sp>
          <p:nvSpPr>
            <p:cNvPr id="17" name="Oval 7">
              <a:extLst>
                <a:ext uri="{FF2B5EF4-FFF2-40B4-BE49-F238E27FC236}">
                  <a16:creationId xmlns:a16="http://schemas.microsoft.com/office/drawing/2014/main" id="{9A40A8C0-ADBE-49A8-AF20-ED6B70D8A2B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8" name="Straight Connector 8">
              <a:extLst>
                <a:ext uri="{FF2B5EF4-FFF2-40B4-BE49-F238E27FC236}">
                  <a16:creationId xmlns:a16="http://schemas.microsoft.com/office/drawing/2014/main" id="{1537A99F-9A5E-4663-AAEB-392C9ABA7984}"/>
                </a:ext>
              </a:extLst>
            </p:cNvPr>
            <p:cNvCxnSpPr>
              <a:cxnSpLocks/>
              <a:endCxn id="17"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9" name="Rectangle 18">
              <a:extLst>
                <a:ext uri="{FF2B5EF4-FFF2-40B4-BE49-F238E27FC236}">
                  <a16:creationId xmlns:a16="http://schemas.microsoft.com/office/drawing/2014/main" id="{E10F6F53-AFE2-4355-BD2A-2E6EE2C4C6A2}"/>
                </a:ext>
              </a:extLst>
            </p:cNvPr>
            <p:cNvSpPr/>
            <p:nvPr/>
          </p:nvSpPr>
          <p:spPr>
            <a:xfrm>
              <a:off x="3723292" y="2089510"/>
              <a:ext cx="2880707" cy="461665"/>
            </a:xfrm>
            <a:prstGeom prst="rect">
              <a:avLst/>
            </a:prstGeom>
          </p:spPr>
          <p:txBody>
            <a:bodyPr wrap="square">
              <a:spAutoFit/>
            </a:bodyPr>
            <a:lstStyle/>
            <a:p>
              <a:pPr lvl="0" defTabSz="801929">
                <a:defRPr/>
              </a:pPr>
              <a:r>
                <a:rPr lang="fr-FR" sz="2400" dirty="0">
                  <a:solidFill>
                    <a:schemeClr val="bg1"/>
                  </a:solidFill>
                  <a:cs typeface="Segoe UI Semilight"/>
                </a:rPr>
                <a:t>Etude de cas</a:t>
              </a:r>
            </a:p>
          </p:txBody>
        </p:sp>
      </p:grpSp>
      <p:grpSp>
        <p:nvGrpSpPr>
          <p:cNvPr id="21" name="Group 63">
            <a:extLst>
              <a:ext uri="{FF2B5EF4-FFF2-40B4-BE49-F238E27FC236}">
                <a16:creationId xmlns:a16="http://schemas.microsoft.com/office/drawing/2014/main" id="{754166C1-C37B-40D0-BFA2-84451516CF50}"/>
              </a:ext>
            </a:extLst>
          </p:cNvPr>
          <p:cNvGrpSpPr/>
          <p:nvPr/>
        </p:nvGrpSpPr>
        <p:grpSpPr>
          <a:xfrm>
            <a:off x="1870364" y="5217194"/>
            <a:ext cx="7190509" cy="686674"/>
            <a:chOff x="128247" y="1952711"/>
            <a:chExt cx="7190509" cy="686674"/>
          </a:xfrm>
        </p:grpSpPr>
        <p:sp>
          <p:nvSpPr>
            <p:cNvPr id="22" name="Oval 7">
              <a:extLst>
                <a:ext uri="{FF2B5EF4-FFF2-40B4-BE49-F238E27FC236}">
                  <a16:creationId xmlns:a16="http://schemas.microsoft.com/office/drawing/2014/main" id="{956D872D-E387-46D6-83EA-9AF1F1621612}"/>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23" name="Straight Connector 8">
              <a:extLst>
                <a:ext uri="{FF2B5EF4-FFF2-40B4-BE49-F238E27FC236}">
                  <a16:creationId xmlns:a16="http://schemas.microsoft.com/office/drawing/2014/main" id="{61F7FBBA-33DF-41AF-A4C7-C4ABC9BBAABF}"/>
                </a:ext>
              </a:extLst>
            </p:cNvPr>
            <p:cNvCxnSpPr>
              <a:cxnSpLocks/>
              <a:endCxn id="22" idx="2"/>
            </p:cNvCxnSpPr>
            <p:nvPr/>
          </p:nvCxnSpPr>
          <p:spPr>
            <a:xfrm>
              <a:off x="128247" y="2296048"/>
              <a:ext cx="2754600" cy="0"/>
            </a:xfrm>
            <a:prstGeom prst="line">
              <a:avLst/>
            </a:prstGeom>
            <a:noFill/>
            <a:ln w="22225" algn="ctr">
              <a:solidFill>
                <a:schemeClr val="tx1">
                  <a:lumMod val="50000"/>
                  <a:lumOff val="50000"/>
                </a:schemeClr>
              </a:solidFill>
              <a:prstDash val="sysDot"/>
              <a:miter lim="800000"/>
              <a:headEnd/>
              <a:tailEnd/>
            </a:ln>
          </p:spPr>
        </p:cxnSp>
        <p:sp>
          <p:nvSpPr>
            <p:cNvPr id="24" name="Rectangle 23">
              <a:extLst>
                <a:ext uri="{FF2B5EF4-FFF2-40B4-BE49-F238E27FC236}">
                  <a16:creationId xmlns:a16="http://schemas.microsoft.com/office/drawing/2014/main" id="{E1067234-0B57-4D51-AA9E-C3F5D84BD506}"/>
                </a:ext>
              </a:extLst>
            </p:cNvPr>
            <p:cNvSpPr/>
            <p:nvPr/>
          </p:nvSpPr>
          <p:spPr>
            <a:xfrm>
              <a:off x="3723292" y="2089510"/>
              <a:ext cx="3595464" cy="461665"/>
            </a:xfrm>
            <a:prstGeom prst="rect">
              <a:avLst/>
            </a:prstGeom>
          </p:spPr>
          <p:txBody>
            <a:bodyPr wrap="square">
              <a:spAutoFit/>
            </a:bodyPr>
            <a:lstStyle/>
            <a:p>
              <a:pPr defTabSz="801929">
                <a:defRPr/>
              </a:pPr>
              <a:r>
                <a:rPr lang="fr-FR" sz="2400" dirty="0">
                  <a:solidFill>
                    <a:schemeClr val="bg1"/>
                  </a:solidFill>
                </a:rPr>
                <a:t>Conclusion et perspectives</a:t>
              </a:r>
            </a:p>
          </p:txBody>
        </p:sp>
      </p:grpSp>
      <p:sp>
        <p:nvSpPr>
          <p:cNvPr id="30" name="Text Placeholder 4">
            <a:extLst>
              <a:ext uri="{FF2B5EF4-FFF2-40B4-BE49-F238E27FC236}">
                <a16:creationId xmlns:a16="http://schemas.microsoft.com/office/drawing/2014/main" id="{C671DE1E-8CF5-4017-BA5C-20065085BECE}"/>
              </a:ext>
            </a:extLst>
          </p:cNvPr>
          <p:cNvSpPr txBox="1">
            <a:spLocks/>
          </p:cNvSpPr>
          <p:nvPr>
            <p:custDataLst>
              <p:tags r:id="rId1"/>
            </p:custDataLst>
          </p:nvPr>
        </p:nvSpPr>
        <p:spPr>
          <a:xfrm rot="16200000">
            <a:off x="-2130301" y="3368453"/>
            <a:ext cx="6014144" cy="822766"/>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ctr" defTabSz="419952" rtl="0" eaLnBrk="1" fontAlgn="auto" latinLnBrk="0" hangingPunct="1">
              <a:lnSpc>
                <a:spcPct val="100000"/>
              </a:lnSpc>
              <a:spcBef>
                <a:spcPts val="0"/>
              </a:spcBef>
              <a:spcAft>
                <a:spcPts val="342"/>
              </a:spcAft>
              <a:buClrTx/>
              <a:buSzTx/>
              <a:buFont typeface="Arial"/>
              <a:buNone/>
              <a:tabLst/>
              <a:defRPr/>
            </a:pPr>
            <a:r>
              <a:rPr kumimoji="0" lang="fr-FR" sz="4800" b="0" i="0" u="none" strike="noStrike" kern="1200" cap="none" spc="0" normalizeH="0" baseline="0" dirty="0">
                <a:ln>
                  <a:noFill/>
                </a:ln>
                <a:solidFill>
                  <a:schemeClr val="bg1"/>
                </a:solidFill>
                <a:effectLst/>
                <a:uLnTx/>
                <a:uFillTx/>
                <a:latin typeface="+mn-lt"/>
                <a:ea typeface="+mn-ea"/>
                <a:cs typeface="Segoe UI Semilight" panose="020B0402040204020203" pitchFamily="34" charset="0"/>
              </a:rPr>
              <a:t>Sommaire</a:t>
            </a:r>
          </a:p>
        </p:txBody>
      </p:sp>
      <p:sp>
        <p:nvSpPr>
          <p:cNvPr id="31" name="Freeform 580">
            <a:extLst>
              <a:ext uri="{FF2B5EF4-FFF2-40B4-BE49-F238E27FC236}">
                <a16:creationId xmlns:a16="http://schemas.microsoft.com/office/drawing/2014/main" id="{4185104E-85D0-44D5-A73F-6898F62737D0}"/>
              </a:ext>
            </a:extLst>
          </p:cNvPr>
          <p:cNvSpPr>
            <a:spLocks noChangeAspect="1" noEditPoints="1"/>
          </p:cNvSpPr>
          <p:nvPr/>
        </p:nvSpPr>
        <p:spPr bwMode="auto">
          <a:xfrm>
            <a:off x="4649584" y="2862460"/>
            <a:ext cx="637200" cy="635332"/>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Oval 16">
            <a:extLst>
              <a:ext uri="{FF2B5EF4-FFF2-40B4-BE49-F238E27FC236}">
                <a16:creationId xmlns:a16="http://schemas.microsoft.com/office/drawing/2014/main" id="{0E8A7F0C-06C2-46E5-BD73-94C959289B05}"/>
              </a:ext>
            </a:extLst>
          </p:cNvPr>
          <p:cNvSpPr/>
          <p:nvPr/>
        </p:nvSpPr>
        <p:spPr bwMode="gray">
          <a:xfrm>
            <a:off x="4621334" y="4026049"/>
            <a:ext cx="690304" cy="69030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sp>
        <p:nvSpPr>
          <p:cNvPr id="50" name="Freeform 438">
            <a:extLst>
              <a:ext uri="{FF2B5EF4-FFF2-40B4-BE49-F238E27FC236}">
                <a16:creationId xmlns:a16="http://schemas.microsoft.com/office/drawing/2014/main" id="{DCD66C00-2DA5-4F63-B405-2A7218B7BF82}"/>
              </a:ext>
            </a:extLst>
          </p:cNvPr>
          <p:cNvSpPr>
            <a:spLocks/>
          </p:cNvSpPr>
          <p:nvPr/>
        </p:nvSpPr>
        <p:spPr bwMode="auto">
          <a:xfrm>
            <a:off x="4979531" y="4303615"/>
            <a:ext cx="52570" cy="52570"/>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39">
            <a:extLst>
              <a:ext uri="{FF2B5EF4-FFF2-40B4-BE49-F238E27FC236}">
                <a16:creationId xmlns:a16="http://schemas.microsoft.com/office/drawing/2014/main" id="{1989DCC3-334B-4FCB-AC17-A6D8434A36A6}"/>
              </a:ext>
            </a:extLst>
          </p:cNvPr>
          <p:cNvSpPr>
            <a:spLocks/>
          </p:cNvSpPr>
          <p:nvPr/>
        </p:nvSpPr>
        <p:spPr bwMode="auto">
          <a:xfrm>
            <a:off x="4900676" y="4303615"/>
            <a:ext cx="52570" cy="52570"/>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41">
            <a:extLst>
              <a:ext uri="{FF2B5EF4-FFF2-40B4-BE49-F238E27FC236}">
                <a16:creationId xmlns:a16="http://schemas.microsoft.com/office/drawing/2014/main" id="{30CCB8BF-4B1B-4A30-89C5-D048FE623DCA}"/>
              </a:ext>
            </a:extLst>
          </p:cNvPr>
          <p:cNvSpPr>
            <a:spLocks/>
          </p:cNvSpPr>
          <p:nvPr/>
        </p:nvSpPr>
        <p:spPr bwMode="auto">
          <a:xfrm>
            <a:off x="4900676" y="4382470"/>
            <a:ext cx="52570" cy="52570"/>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2">
            <a:extLst>
              <a:ext uri="{FF2B5EF4-FFF2-40B4-BE49-F238E27FC236}">
                <a16:creationId xmlns:a16="http://schemas.microsoft.com/office/drawing/2014/main" id="{974E3478-9095-422D-984B-BE9523CE46EF}"/>
              </a:ext>
            </a:extLst>
          </p:cNvPr>
          <p:cNvSpPr>
            <a:spLocks/>
          </p:cNvSpPr>
          <p:nvPr/>
        </p:nvSpPr>
        <p:spPr bwMode="auto">
          <a:xfrm>
            <a:off x="4834963" y="4382470"/>
            <a:ext cx="118283" cy="11828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43">
            <a:extLst>
              <a:ext uri="{FF2B5EF4-FFF2-40B4-BE49-F238E27FC236}">
                <a16:creationId xmlns:a16="http://schemas.microsoft.com/office/drawing/2014/main" id="{E827EED2-D78C-4DA1-BAC9-30B1EBBAFADA}"/>
              </a:ext>
            </a:extLst>
          </p:cNvPr>
          <p:cNvSpPr>
            <a:spLocks/>
          </p:cNvSpPr>
          <p:nvPr/>
        </p:nvSpPr>
        <p:spPr bwMode="auto">
          <a:xfrm>
            <a:off x="4979531" y="4382470"/>
            <a:ext cx="52570" cy="52570"/>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40">
            <a:extLst>
              <a:ext uri="{FF2B5EF4-FFF2-40B4-BE49-F238E27FC236}">
                <a16:creationId xmlns:a16="http://schemas.microsoft.com/office/drawing/2014/main" id="{A6D51597-47E9-47DE-8741-9102DAB48B7A}"/>
              </a:ext>
            </a:extLst>
          </p:cNvPr>
          <p:cNvSpPr>
            <a:spLocks/>
          </p:cNvSpPr>
          <p:nvPr/>
        </p:nvSpPr>
        <p:spPr bwMode="auto">
          <a:xfrm>
            <a:off x="4834963" y="4237902"/>
            <a:ext cx="118283" cy="11828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444">
            <a:extLst>
              <a:ext uri="{FF2B5EF4-FFF2-40B4-BE49-F238E27FC236}">
                <a16:creationId xmlns:a16="http://schemas.microsoft.com/office/drawing/2014/main" id="{679F4214-5319-44FF-9861-976CDFCB4293}"/>
              </a:ext>
            </a:extLst>
          </p:cNvPr>
          <p:cNvSpPr>
            <a:spLocks noEditPoints="1"/>
          </p:cNvSpPr>
          <p:nvPr/>
        </p:nvSpPr>
        <p:spPr bwMode="auto">
          <a:xfrm>
            <a:off x="4647213" y="4050152"/>
            <a:ext cx="638350" cy="6383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45">
            <a:extLst>
              <a:ext uri="{FF2B5EF4-FFF2-40B4-BE49-F238E27FC236}">
                <a16:creationId xmlns:a16="http://schemas.microsoft.com/office/drawing/2014/main" id="{81701C87-DB66-4B62-99F1-B07A03833739}"/>
              </a:ext>
            </a:extLst>
          </p:cNvPr>
          <p:cNvSpPr>
            <a:spLocks/>
          </p:cNvSpPr>
          <p:nvPr/>
        </p:nvSpPr>
        <p:spPr bwMode="auto">
          <a:xfrm>
            <a:off x="4979531" y="4237902"/>
            <a:ext cx="118283" cy="11828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446">
            <a:extLst>
              <a:ext uri="{FF2B5EF4-FFF2-40B4-BE49-F238E27FC236}">
                <a16:creationId xmlns:a16="http://schemas.microsoft.com/office/drawing/2014/main" id="{B8D52DA5-BACB-4234-85C2-32EEB13ADF20}"/>
              </a:ext>
            </a:extLst>
          </p:cNvPr>
          <p:cNvSpPr>
            <a:spLocks/>
          </p:cNvSpPr>
          <p:nvPr/>
        </p:nvSpPr>
        <p:spPr bwMode="auto">
          <a:xfrm>
            <a:off x="4979531" y="4382470"/>
            <a:ext cx="118283" cy="11828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528">
            <a:extLst>
              <a:ext uri="{FF2B5EF4-FFF2-40B4-BE49-F238E27FC236}">
                <a16:creationId xmlns:a16="http://schemas.microsoft.com/office/drawing/2014/main" id="{2655AD68-470A-4F7E-BF38-1D1C6D555289}"/>
              </a:ext>
            </a:extLst>
          </p:cNvPr>
          <p:cNvSpPr>
            <a:spLocks noChangeAspect="1" noEditPoints="1"/>
          </p:cNvSpPr>
          <p:nvPr/>
        </p:nvSpPr>
        <p:spPr bwMode="auto">
          <a:xfrm>
            <a:off x="4648363" y="5241931"/>
            <a:ext cx="637200" cy="63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bg1"/>
          </a:solidFill>
          <a:ln>
            <a:noFill/>
          </a:ln>
        </p:spPr>
        <p:txBody>
          <a:bodyPr vert="horz" wrap="square" lIns="182880" tIns="91440" rIns="182880" bIns="91440" numCol="1" anchor="t" anchorCtr="0" compatLnSpc="1">
            <a:prstTxWarp prst="textNoShape">
              <a:avLst/>
            </a:prstTxWarp>
          </a:bodyPr>
          <a:lstStyle/>
          <a:p>
            <a:pPr defTabSz="1828800"/>
            <a:endParaRPr lang="en-GB">
              <a:solidFill>
                <a:prstClr val="black"/>
              </a:solidFill>
              <a:latin typeface="Verdana"/>
            </a:endParaRPr>
          </a:p>
        </p:txBody>
      </p:sp>
      <p:sp>
        <p:nvSpPr>
          <p:cNvPr id="60" name="Rectangle 59">
            <a:extLst>
              <a:ext uri="{FF2B5EF4-FFF2-40B4-BE49-F238E27FC236}">
                <a16:creationId xmlns:a16="http://schemas.microsoft.com/office/drawing/2014/main" id="{FD3FA630-6445-4409-827A-899ABB7264D0}"/>
              </a:ext>
            </a:extLst>
          </p:cNvPr>
          <p:cNvSpPr/>
          <p:nvPr/>
        </p:nvSpPr>
        <p:spPr bwMode="gray">
          <a:xfrm>
            <a:off x="-35894" y="-1"/>
            <a:ext cx="13710330" cy="7559676"/>
          </a:xfrm>
          <a:prstGeom prst="rect">
            <a:avLst/>
          </a:prstGeom>
          <a:solidFill>
            <a:schemeClr val="accent4">
              <a:lumMod val="50000"/>
              <a:alpha val="58824"/>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nvGrpSpPr>
          <p:cNvPr id="6" name="Group 63">
            <a:extLst>
              <a:ext uri="{FF2B5EF4-FFF2-40B4-BE49-F238E27FC236}">
                <a16:creationId xmlns:a16="http://schemas.microsoft.com/office/drawing/2014/main" id="{ADF9DF4E-4739-42D6-83CC-754348FE4619}"/>
              </a:ext>
            </a:extLst>
          </p:cNvPr>
          <p:cNvGrpSpPr/>
          <p:nvPr/>
        </p:nvGrpSpPr>
        <p:grpSpPr>
          <a:xfrm>
            <a:off x="1870364" y="1655806"/>
            <a:ext cx="6475752" cy="686674"/>
            <a:chOff x="338627" y="1952711"/>
            <a:chExt cx="6265372" cy="686674"/>
          </a:xfrm>
        </p:grpSpPr>
        <p:sp>
          <p:nvSpPr>
            <p:cNvPr id="7" name="Oval 7">
              <a:extLst>
                <a:ext uri="{FF2B5EF4-FFF2-40B4-BE49-F238E27FC236}">
                  <a16:creationId xmlns:a16="http://schemas.microsoft.com/office/drawing/2014/main" id="{67C70FF1-3D95-422D-8F9A-26DB9EB4CB3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8" name="Straight Connector 8">
              <a:extLst>
                <a:ext uri="{FF2B5EF4-FFF2-40B4-BE49-F238E27FC236}">
                  <a16:creationId xmlns:a16="http://schemas.microsoft.com/office/drawing/2014/main" id="{CFC1F93F-314F-452C-B9EF-324612BB3EBA}"/>
                </a:ext>
              </a:extLst>
            </p:cNvPr>
            <p:cNvCxnSpPr>
              <a:cxnSpLocks/>
              <a:endCxn id="7" idx="2"/>
            </p:cNvCxnSpPr>
            <p:nvPr/>
          </p:nvCxnSpPr>
          <p:spPr>
            <a:xfrm flipV="1">
              <a:off x="338627" y="2296048"/>
              <a:ext cx="2544220" cy="21564"/>
            </a:xfrm>
            <a:prstGeom prst="line">
              <a:avLst/>
            </a:prstGeom>
            <a:noFill/>
            <a:ln w="22225" algn="ctr">
              <a:solidFill>
                <a:schemeClr val="tx1">
                  <a:lumMod val="50000"/>
                  <a:lumOff val="50000"/>
                </a:schemeClr>
              </a:solidFill>
              <a:prstDash val="sysDot"/>
              <a:miter lim="800000"/>
              <a:headEnd/>
              <a:tailEnd/>
            </a:ln>
          </p:spPr>
        </p:cxnSp>
        <p:sp>
          <p:nvSpPr>
            <p:cNvPr id="9" name="Rectangle 8">
              <a:extLst>
                <a:ext uri="{FF2B5EF4-FFF2-40B4-BE49-F238E27FC236}">
                  <a16:creationId xmlns:a16="http://schemas.microsoft.com/office/drawing/2014/main" id="{3C74B3F7-BC66-4198-AD65-9F39A2579D4D}"/>
                </a:ext>
              </a:extLst>
            </p:cNvPr>
            <p:cNvSpPr/>
            <p:nvPr/>
          </p:nvSpPr>
          <p:spPr>
            <a:xfrm>
              <a:off x="3723292" y="2089510"/>
              <a:ext cx="2880707" cy="461665"/>
            </a:xfrm>
            <a:prstGeom prst="rect">
              <a:avLst/>
            </a:prstGeom>
          </p:spPr>
          <p:txBody>
            <a:bodyPr wrap="square">
              <a:spAutoFit/>
            </a:bodyPr>
            <a:lstStyle/>
            <a:p>
              <a:pPr defTabSz="801929">
                <a:defRPr/>
              </a:pPr>
              <a:r>
                <a:rPr lang="fr-FR" sz="2400" dirty="0">
                  <a:solidFill>
                    <a:schemeClr val="bg1"/>
                  </a:solidFill>
                </a:rPr>
                <a:t>Contexte général</a:t>
              </a:r>
            </a:p>
          </p:txBody>
        </p:sp>
        <p:sp>
          <p:nvSpPr>
            <p:cNvPr id="10" name="Freeform 429">
              <a:extLst>
                <a:ext uri="{FF2B5EF4-FFF2-40B4-BE49-F238E27FC236}">
                  <a16:creationId xmlns:a16="http://schemas.microsoft.com/office/drawing/2014/main" id="{7162DD11-C00C-47ED-84CA-471273AEF295}"/>
                </a:ext>
              </a:extLst>
            </p:cNvPr>
            <p:cNvSpPr>
              <a:spLocks noChangeAspect="1" noEditPoints="1"/>
            </p:cNvSpPr>
            <p:nvPr/>
          </p:nvSpPr>
          <p:spPr bwMode="auto">
            <a:xfrm>
              <a:off x="2907467" y="1987692"/>
              <a:ext cx="637200" cy="637200"/>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5" name="Oval 18">
            <a:extLst>
              <a:ext uri="{FF2B5EF4-FFF2-40B4-BE49-F238E27FC236}">
                <a16:creationId xmlns:a16="http://schemas.microsoft.com/office/drawing/2014/main" id="{562886F5-F9D2-41B4-B6B7-9ADBAB09AF80}"/>
              </a:ext>
            </a:extLst>
          </p:cNvPr>
          <p:cNvSpPr/>
          <p:nvPr/>
        </p:nvSpPr>
        <p:spPr bwMode="gray">
          <a:xfrm>
            <a:off x="-2648726" y="1153149"/>
            <a:ext cx="5253376" cy="5253376"/>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ctr"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1403" b="1" i="0" u="none" strike="noStrike" kern="1200" cap="none" spc="0" normalizeH="0" baseline="0">
              <a:ln>
                <a:noFill/>
              </a:ln>
              <a:solidFill>
                <a:prstClr val="white"/>
              </a:solidFill>
              <a:effectLst/>
              <a:uLnTx/>
              <a:uFillTx/>
              <a:ea typeface="+mn-ea"/>
              <a:cs typeface="+mn-cs"/>
            </a:endParaRPr>
          </a:p>
        </p:txBody>
      </p:sp>
    </p:spTree>
    <p:extLst>
      <p:ext uri="{BB962C8B-B14F-4D97-AF65-F5344CB8AC3E}">
        <p14:creationId xmlns:p14="http://schemas.microsoft.com/office/powerpoint/2010/main" val="11146836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E8962C45-D513-4C3B-930E-5DE0B32F3374}"/>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59" name="ZoneTexte 58">
            <a:extLst>
              <a:ext uri="{FF2B5EF4-FFF2-40B4-BE49-F238E27FC236}">
                <a16:creationId xmlns:a16="http://schemas.microsoft.com/office/drawing/2014/main" id="{E3B8D699-77F4-4013-AA67-953BABCB5193}"/>
              </a:ext>
            </a:extLst>
          </p:cNvPr>
          <p:cNvSpPr txBox="1"/>
          <p:nvPr/>
        </p:nvSpPr>
        <p:spPr>
          <a:xfrm>
            <a:off x="13011325" y="698925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4</a:t>
            </a:r>
          </a:p>
        </p:txBody>
      </p:sp>
      <p:pic>
        <p:nvPicPr>
          <p:cNvPr id="18" name="Picture 17">
            <a:extLst>
              <a:ext uri="{FF2B5EF4-FFF2-40B4-BE49-F238E27FC236}">
                <a16:creationId xmlns:a16="http://schemas.microsoft.com/office/drawing/2014/main" id="{DD627184-D4DB-4368-95C2-5485143F4BAF}"/>
              </a:ext>
            </a:extLst>
          </p:cNvPr>
          <p:cNvPicPr>
            <a:picLocks noChangeAspect="1"/>
          </p:cNvPicPr>
          <p:nvPr/>
        </p:nvPicPr>
        <p:blipFill rotWithShape="1">
          <a:blip r:embed="rId4"/>
          <a:srcRect/>
          <a:stretch/>
        </p:blipFill>
        <p:spPr>
          <a:xfrm>
            <a:off x="7788920" y="1481104"/>
            <a:ext cx="2940463" cy="2412257"/>
          </a:xfrm>
          <a:prstGeom prst="rect">
            <a:avLst/>
          </a:prstGeom>
        </p:spPr>
      </p:pic>
      <p:pic>
        <p:nvPicPr>
          <p:cNvPr id="3" name="Image 2">
            <a:extLst>
              <a:ext uri="{FF2B5EF4-FFF2-40B4-BE49-F238E27FC236}">
                <a16:creationId xmlns:a16="http://schemas.microsoft.com/office/drawing/2014/main" id="{63C8F282-454F-44AC-B262-0B6A21DF676C}"/>
              </a:ext>
            </a:extLst>
          </p:cNvPr>
          <p:cNvPicPr>
            <a:picLocks noChangeAspect="1"/>
          </p:cNvPicPr>
          <p:nvPr/>
        </p:nvPicPr>
        <p:blipFill>
          <a:blip r:embed="rId5"/>
          <a:stretch>
            <a:fillRect/>
          </a:stretch>
        </p:blipFill>
        <p:spPr>
          <a:xfrm>
            <a:off x="9352541" y="2030216"/>
            <a:ext cx="3245356" cy="2547676"/>
          </a:xfrm>
          <a:prstGeom prst="rect">
            <a:avLst/>
          </a:prstGeom>
        </p:spPr>
      </p:pic>
      <p:pic>
        <p:nvPicPr>
          <p:cNvPr id="7" name="Image 6">
            <a:extLst>
              <a:ext uri="{FF2B5EF4-FFF2-40B4-BE49-F238E27FC236}">
                <a16:creationId xmlns:a16="http://schemas.microsoft.com/office/drawing/2014/main" id="{9B7DBCE6-D483-408E-91F7-6162E26E31DF}"/>
              </a:ext>
            </a:extLst>
          </p:cNvPr>
          <p:cNvPicPr>
            <a:picLocks noChangeAspect="1"/>
          </p:cNvPicPr>
          <p:nvPr/>
        </p:nvPicPr>
        <p:blipFill>
          <a:blip r:embed="rId6"/>
          <a:stretch>
            <a:fillRect/>
          </a:stretch>
        </p:blipFill>
        <p:spPr>
          <a:xfrm>
            <a:off x="8784885" y="2899870"/>
            <a:ext cx="4460478" cy="2547677"/>
          </a:xfrm>
          <a:prstGeom prst="rect">
            <a:avLst/>
          </a:prstGeom>
        </p:spPr>
      </p:pic>
      <p:pic>
        <p:nvPicPr>
          <p:cNvPr id="13" name="Image 12">
            <a:extLst>
              <a:ext uri="{FF2B5EF4-FFF2-40B4-BE49-F238E27FC236}">
                <a16:creationId xmlns:a16="http://schemas.microsoft.com/office/drawing/2014/main" id="{47F62D46-D751-4F10-B5AF-25A44D54E798}"/>
              </a:ext>
            </a:extLst>
          </p:cNvPr>
          <p:cNvPicPr>
            <a:picLocks noChangeAspect="1"/>
          </p:cNvPicPr>
          <p:nvPr/>
        </p:nvPicPr>
        <p:blipFill>
          <a:blip r:embed="rId7"/>
          <a:stretch>
            <a:fillRect/>
          </a:stretch>
        </p:blipFill>
        <p:spPr>
          <a:xfrm>
            <a:off x="8632259" y="4637545"/>
            <a:ext cx="4422601" cy="2260655"/>
          </a:xfrm>
          <a:prstGeom prst="rect">
            <a:avLst/>
          </a:prstGeom>
        </p:spPr>
      </p:pic>
      <p:pic>
        <p:nvPicPr>
          <p:cNvPr id="9" name="Image 8">
            <a:extLst>
              <a:ext uri="{FF2B5EF4-FFF2-40B4-BE49-F238E27FC236}">
                <a16:creationId xmlns:a16="http://schemas.microsoft.com/office/drawing/2014/main" id="{A8E930A2-4CB1-4781-A9C8-29077092C6A2}"/>
              </a:ext>
            </a:extLst>
          </p:cNvPr>
          <p:cNvPicPr>
            <a:picLocks noChangeAspect="1"/>
          </p:cNvPicPr>
          <p:nvPr/>
        </p:nvPicPr>
        <p:blipFill>
          <a:blip r:embed="rId8"/>
          <a:stretch>
            <a:fillRect/>
          </a:stretch>
        </p:blipFill>
        <p:spPr>
          <a:xfrm>
            <a:off x="4977968" y="2304665"/>
            <a:ext cx="3459879" cy="2573572"/>
          </a:xfrm>
          <a:prstGeom prst="rect">
            <a:avLst/>
          </a:prstGeom>
        </p:spPr>
      </p:pic>
      <p:pic>
        <p:nvPicPr>
          <p:cNvPr id="11" name="Image 10">
            <a:extLst>
              <a:ext uri="{FF2B5EF4-FFF2-40B4-BE49-F238E27FC236}">
                <a16:creationId xmlns:a16="http://schemas.microsoft.com/office/drawing/2014/main" id="{0DD446C0-D902-451F-97DE-304869F6F4BB}"/>
              </a:ext>
            </a:extLst>
          </p:cNvPr>
          <p:cNvPicPr>
            <a:picLocks noChangeAspect="1"/>
          </p:cNvPicPr>
          <p:nvPr/>
        </p:nvPicPr>
        <p:blipFill>
          <a:blip r:embed="rId9"/>
          <a:stretch>
            <a:fillRect/>
          </a:stretch>
        </p:blipFill>
        <p:spPr>
          <a:xfrm>
            <a:off x="4823839" y="4019762"/>
            <a:ext cx="3785315" cy="2853441"/>
          </a:xfrm>
          <a:prstGeom prst="rect">
            <a:avLst/>
          </a:prstGeom>
        </p:spPr>
      </p:pic>
      <p:grpSp>
        <p:nvGrpSpPr>
          <p:cNvPr id="29" name="Groupe 28">
            <a:extLst>
              <a:ext uri="{FF2B5EF4-FFF2-40B4-BE49-F238E27FC236}">
                <a16:creationId xmlns:a16="http://schemas.microsoft.com/office/drawing/2014/main" id="{D44889FB-4F69-4BF0-B0FE-1D38DBA84FE1}"/>
              </a:ext>
            </a:extLst>
          </p:cNvPr>
          <p:cNvGrpSpPr/>
          <p:nvPr/>
        </p:nvGrpSpPr>
        <p:grpSpPr>
          <a:xfrm>
            <a:off x="10635530" y="519574"/>
            <a:ext cx="1692700" cy="544758"/>
            <a:chOff x="10635530" y="519574"/>
            <a:chExt cx="1425914" cy="544758"/>
          </a:xfrm>
        </p:grpSpPr>
        <p:sp>
          <p:nvSpPr>
            <p:cNvPr id="30" name="Freeform 926">
              <a:extLst>
                <a:ext uri="{FF2B5EF4-FFF2-40B4-BE49-F238E27FC236}">
                  <a16:creationId xmlns:a16="http://schemas.microsoft.com/office/drawing/2014/main" id="{B24B6460-D323-44CE-85B0-259C9BD2F1CE}"/>
                </a:ext>
              </a:extLst>
            </p:cNvPr>
            <p:cNvSpPr>
              <a:spLocks noChangeAspect="1" noEditPoints="1"/>
            </p:cNvSpPr>
            <p:nvPr/>
          </p:nvSpPr>
          <p:spPr bwMode="auto">
            <a:xfrm>
              <a:off x="11100651"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31" name="TextBox 220">
              <a:extLst>
                <a:ext uri="{FF2B5EF4-FFF2-40B4-BE49-F238E27FC236}">
                  <a16:creationId xmlns:a16="http://schemas.microsoft.com/office/drawing/2014/main" id="{F23ADCC0-7A53-45DF-8BA7-E69CC60BAFC7}"/>
                </a:ext>
              </a:extLst>
            </p:cNvPr>
            <p:cNvSpPr txBox="1"/>
            <p:nvPr/>
          </p:nvSpPr>
          <p:spPr>
            <a:xfrm>
              <a:off x="10635530" y="519574"/>
              <a:ext cx="1425914" cy="523220"/>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erçu Framework</a:t>
              </a:r>
            </a:p>
          </p:txBody>
        </p:sp>
      </p:grpSp>
      <p:grpSp>
        <p:nvGrpSpPr>
          <p:cNvPr id="32" name="Groupe 31">
            <a:extLst>
              <a:ext uri="{FF2B5EF4-FFF2-40B4-BE49-F238E27FC236}">
                <a16:creationId xmlns:a16="http://schemas.microsoft.com/office/drawing/2014/main" id="{9BCB4FF5-773B-478A-9A23-62FAA13CBB4F}"/>
              </a:ext>
            </a:extLst>
          </p:cNvPr>
          <p:cNvGrpSpPr/>
          <p:nvPr/>
        </p:nvGrpSpPr>
        <p:grpSpPr>
          <a:xfrm>
            <a:off x="1378330" y="519574"/>
            <a:ext cx="1444682" cy="544812"/>
            <a:chOff x="1378330" y="519574"/>
            <a:chExt cx="1216986" cy="544812"/>
          </a:xfrm>
        </p:grpSpPr>
        <p:sp>
          <p:nvSpPr>
            <p:cNvPr id="33" name="TextBox 219">
              <a:extLst>
                <a:ext uri="{FF2B5EF4-FFF2-40B4-BE49-F238E27FC236}">
                  <a16:creationId xmlns:a16="http://schemas.microsoft.com/office/drawing/2014/main" id="{D010CF25-BB07-45D5-BC3A-71D5CE0238B4}"/>
                </a:ext>
              </a:extLst>
            </p:cNvPr>
            <p:cNvSpPr txBox="1"/>
            <p:nvPr/>
          </p:nvSpPr>
          <p:spPr>
            <a:xfrm>
              <a:off x="1378330" y="519574"/>
              <a:ext cx="1216986" cy="523220"/>
            </a:xfrm>
            <a:prstGeom prst="rect">
              <a:avLst/>
            </a:prstGeom>
            <a:noFill/>
          </p:spPr>
          <p:txBody>
            <a:bodyPr wrap="square">
              <a:spAutoFit/>
            </a:bodyPr>
            <a:lstStyle/>
            <a:p>
              <a:pPr>
                <a:spcAft>
                  <a:spcPts val="0"/>
                </a:spcAft>
              </a:pPr>
              <a:r>
                <a:rPr lang="fr-FR" altLang="zh-CN" sz="1400" dirty="0">
                  <a:solidFill>
                    <a:schemeClr val="tx2"/>
                  </a:solidFill>
                </a:rPr>
                <a:t>Approche suivie</a:t>
              </a:r>
            </a:p>
          </p:txBody>
        </p:sp>
        <p:sp>
          <p:nvSpPr>
            <p:cNvPr id="34" name="Freeform 926">
              <a:extLst>
                <a:ext uri="{FF2B5EF4-FFF2-40B4-BE49-F238E27FC236}">
                  <a16:creationId xmlns:a16="http://schemas.microsoft.com/office/drawing/2014/main" id="{FF66A350-6DE9-4206-81C4-9F23D228DD35}"/>
                </a:ext>
              </a:extLst>
            </p:cNvPr>
            <p:cNvSpPr>
              <a:spLocks noChangeAspect="1" noEditPoints="1"/>
            </p:cNvSpPr>
            <p:nvPr/>
          </p:nvSpPr>
          <p:spPr bwMode="auto">
            <a:xfrm>
              <a:off x="173465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grpSp>
      <p:grpSp>
        <p:nvGrpSpPr>
          <p:cNvPr id="35" name="Groupe 34">
            <a:extLst>
              <a:ext uri="{FF2B5EF4-FFF2-40B4-BE49-F238E27FC236}">
                <a16:creationId xmlns:a16="http://schemas.microsoft.com/office/drawing/2014/main" id="{4504F347-B823-42B9-9C71-077BBAF6F353}"/>
              </a:ext>
            </a:extLst>
          </p:cNvPr>
          <p:cNvGrpSpPr/>
          <p:nvPr/>
        </p:nvGrpSpPr>
        <p:grpSpPr>
          <a:xfrm>
            <a:off x="3762243" y="519574"/>
            <a:ext cx="917017" cy="544758"/>
            <a:chOff x="8696117" y="519574"/>
            <a:chExt cx="772486" cy="544758"/>
          </a:xfrm>
        </p:grpSpPr>
        <p:sp>
          <p:nvSpPr>
            <p:cNvPr id="36" name="Freeform 926">
              <a:extLst>
                <a:ext uri="{FF2B5EF4-FFF2-40B4-BE49-F238E27FC236}">
                  <a16:creationId xmlns:a16="http://schemas.microsoft.com/office/drawing/2014/main" id="{CDF49817-0A31-4CFD-930C-87168A5B45AB}"/>
                </a:ext>
              </a:extLst>
            </p:cNvPr>
            <p:cNvSpPr>
              <a:spLocks noChangeAspect="1" noEditPoints="1"/>
            </p:cNvSpPr>
            <p:nvPr/>
          </p:nvSpPr>
          <p:spPr bwMode="auto">
            <a:xfrm>
              <a:off x="8894426" y="758332"/>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37" name="TextBox 220">
              <a:extLst>
                <a:ext uri="{FF2B5EF4-FFF2-40B4-BE49-F238E27FC236}">
                  <a16:creationId xmlns:a16="http://schemas.microsoft.com/office/drawing/2014/main" id="{130C1521-377F-47C2-B5BB-38656FD1A9D0}"/>
                </a:ext>
              </a:extLst>
            </p:cNvPr>
            <p:cNvSpPr txBox="1"/>
            <p:nvPr/>
          </p:nvSpPr>
          <p:spPr>
            <a:xfrm>
              <a:off x="8696117" y="519574"/>
              <a:ext cx="772486" cy="523220"/>
            </a:xfrm>
            <a:prstGeom prst="rect">
              <a:avLst/>
            </a:prstGeom>
            <a:noFill/>
          </p:spPr>
          <p:txBody>
            <a:bodyPr wrap="square">
              <a:spAutoFit/>
            </a:bodyPr>
            <a:lstStyle/>
            <a:p>
              <a:pPr>
                <a:spcAft>
                  <a:spcPts val="0"/>
                </a:spcAft>
              </a:pPr>
              <a:r>
                <a:rPr lang="fr-FR" altLang="zh-CN" sz="1400" dirty="0">
                  <a:solidFill>
                    <a:schemeClr val="tx2"/>
                  </a:solidFill>
                </a:rPr>
                <a:t>Objectifs</a:t>
              </a:r>
            </a:p>
          </p:txBody>
        </p:sp>
      </p:grpSp>
      <p:grpSp>
        <p:nvGrpSpPr>
          <p:cNvPr id="38" name="Groupe 37">
            <a:extLst>
              <a:ext uri="{FF2B5EF4-FFF2-40B4-BE49-F238E27FC236}">
                <a16:creationId xmlns:a16="http://schemas.microsoft.com/office/drawing/2014/main" id="{7A672025-5974-41A9-8F5C-BA4743A6F0A6}"/>
              </a:ext>
            </a:extLst>
          </p:cNvPr>
          <p:cNvGrpSpPr/>
          <p:nvPr/>
        </p:nvGrpSpPr>
        <p:grpSpPr>
          <a:xfrm>
            <a:off x="5701657" y="519574"/>
            <a:ext cx="1306371" cy="544812"/>
            <a:chOff x="3625356" y="519574"/>
            <a:chExt cx="1100474" cy="544812"/>
          </a:xfrm>
        </p:grpSpPr>
        <p:sp>
          <p:nvSpPr>
            <p:cNvPr id="42" name="Freeform 926">
              <a:extLst>
                <a:ext uri="{FF2B5EF4-FFF2-40B4-BE49-F238E27FC236}">
                  <a16:creationId xmlns:a16="http://schemas.microsoft.com/office/drawing/2014/main" id="{5CA0B776-C4E8-48CF-9267-13ED2E1F96A0}"/>
                </a:ext>
              </a:extLst>
            </p:cNvPr>
            <p:cNvSpPr>
              <a:spLocks noChangeAspect="1" noEditPoints="1"/>
            </p:cNvSpPr>
            <p:nvPr/>
          </p:nvSpPr>
          <p:spPr bwMode="auto">
            <a:xfrm>
              <a:off x="3942090"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45" name="TextBox 219">
              <a:extLst>
                <a:ext uri="{FF2B5EF4-FFF2-40B4-BE49-F238E27FC236}">
                  <a16:creationId xmlns:a16="http://schemas.microsoft.com/office/drawing/2014/main" id="{A5F9FCB4-DCD9-4717-8500-817E8ED65302}"/>
                </a:ext>
              </a:extLst>
            </p:cNvPr>
            <p:cNvSpPr txBox="1"/>
            <p:nvPr/>
          </p:nvSpPr>
          <p:spPr>
            <a:xfrm>
              <a:off x="3625356" y="519574"/>
              <a:ext cx="1100474" cy="523220"/>
            </a:xfrm>
            <a:prstGeom prst="rect">
              <a:avLst/>
            </a:prstGeom>
            <a:noFill/>
          </p:spPr>
          <p:txBody>
            <a:bodyPr wrap="square">
              <a:spAutoFit/>
            </a:bodyPr>
            <a:lstStyle/>
            <a:p>
              <a:pPr>
                <a:spcAft>
                  <a:spcPts val="0"/>
                </a:spcAft>
              </a:pPr>
              <a:r>
                <a:rPr lang="fr-FR" altLang="zh-CN" sz="1400">
                  <a:solidFill>
                    <a:schemeClr val="tx2"/>
                  </a:solidFill>
                </a:rPr>
                <a:t>Services CISO</a:t>
              </a:r>
            </a:p>
          </p:txBody>
        </p:sp>
      </p:grpSp>
      <p:grpSp>
        <p:nvGrpSpPr>
          <p:cNvPr id="47" name="Groupe 46">
            <a:extLst>
              <a:ext uri="{FF2B5EF4-FFF2-40B4-BE49-F238E27FC236}">
                <a16:creationId xmlns:a16="http://schemas.microsoft.com/office/drawing/2014/main" id="{CF143047-8892-4CE1-AC99-76F827AA90BE}"/>
              </a:ext>
            </a:extLst>
          </p:cNvPr>
          <p:cNvGrpSpPr/>
          <p:nvPr/>
        </p:nvGrpSpPr>
        <p:grpSpPr>
          <a:xfrm>
            <a:off x="7969060" y="519574"/>
            <a:ext cx="1780105" cy="544812"/>
            <a:chOff x="5755870" y="519574"/>
            <a:chExt cx="1499543" cy="544812"/>
          </a:xfrm>
        </p:grpSpPr>
        <p:sp>
          <p:nvSpPr>
            <p:cNvPr id="63" name="Freeform 926">
              <a:extLst>
                <a:ext uri="{FF2B5EF4-FFF2-40B4-BE49-F238E27FC236}">
                  <a16:creationId xmlns:a16="http://schemas.microsoft.com/office/drawing/2014/main" id="{AD0234D2-0C79-4231-BA6C-D503B063FD95}"/>
                </a:ext>
              </a:extLst>
            </p:cNvPr>
            <p:cNvSpPr>
              <a:spLocks noChangeAspect="1" noEditPoints="1"/>
            </p:cNvSpPr>
            <p:nvPr/>
          </p:nvSpPr>
          <p:spPr bwMode="auto">
            <a:xfrm>
              <a:off x="632116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2000"/>
            </a:p>
          </p:txBody>
        </p:sp>
        <p:sp>
          <p:nvSpPr>
            <p:cNvPr id="64" name="TextBox 219">
              <a:extLst>
                <a:ext uri="{FF2B5EF4-FFF2-40B4-BE49-F238E27FC236}">
                  <a16:creationId xmlns:a16="http://schemas.microsoft.com/office/drawing/2014/main" id="{2C57F333-6EA4-4640-B6DB-6B1933113E06}"/>
                </a:ext>
              </a:extLst>
            </p:cNvPr>
            <p:cNvSpPr txBox="1"/>
            <p:nvPr/>
          </p:nvSpPr>
          <p:spPr>
            <a:xfrm>
              <a:off x="5755870" y="519574"/>
              <a:ext cx="1499543" cy="523220"/>
            </a:xfrm>
            <a:prstGeom prst="rect">
              <a:avLst/>
            </a:prstGeom>
            <a:noFill/>
          </p:spPr>
          <p:txBody>
            <a:bodyPr wrap="square">
              <a:spAutoFit/>
            </a:bodyPr>
            <a:lstStyle/>
            <a:p>
              <a:pPr>
                <a:spcAft>
                  <a:spcPts val="0"/>
                </a:spcAft>
              </a:pPr>
              <a:r>
                <a:rPr lang="fr-FR" altLang="zh-CN" sz="1400" dirty="0">
                  <a:solidFill>
                    <a:schemeClr val="tx2"/>
                  </a:solidFill>
                </a:rPr>
                <a:t>Normes et standards</a:t>
              </a:r>
            </a:p>
          </p:txBody>
        </p:sp>
      </p:grpSp>
      <p:sp>
        <p:nvSpPr>
          <p:cNvPr id="65" name="Rectangle 64">
            <a:extLst>
              <a:ext uri="{FF2B5EF4-FFF2-40B4-BE49-F238E27FC236}">
                <a16:creationId xmlns:a16="http://schemas.microsoft.com/office/drawing/2014/main" id="{5BE8472E-415A-4CF7-BA39-EFF7B8C2F044}"/>
              </a:ext>
            </a:extLst>
          </p:cNvPr>
          <p:cNvSpPr/>
          <p:nvPr/>
        </p:nvSpPr>
        <p:spPr bwMode="gray">
          <a:xfrm>
            <a:off x="1509491"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 Réalisation du Framework</a:t>
            </a:r>
          </a:p>
        </p:txBody>
      </p:sp>
      <p:sp>
        <p:nvSpPr>
          <p:cNvPr id="66" name="Rectangle 65">
            <a:extLst>
              <a:ext uri="{FF2B5EF4-FFF2-40B4-BE49-F238E27FC236}">
                <a16:creationId xmlns:a16="http://schemas.microsoft.com/office/drawing/2014/main" id="{98A8125F-58FF-41DE-94EB-530474C9EECD}"/>
              </a:ext>
            </a:extLst>
          </p:cNvPr>
          <p:cNvSpPr/>
          <p:nvPr/>
        </p:nvSpPr>
        <p:spPr bwMode="gray">
          <a:xfrm>
            <a:off x="12099273"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67" name="Rectangle 66">
            <a:extLst>
              <a:ext uri="{FF2B5EF4-FFF2-40B4-BE49-F238E27FC236}">
                <a16:creationId xmlns:a16="http://schemas.microsoft.com/office/drawing/2014/main" id="{1E1CCE95-9452-42F6-BC4B-F3766E9F43A5}"/>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68" name="Rectangle 67">
            <a:extLst>
              <a:ext uri="{FF2B5EF4-FFF2-40B4-BE49-F238E27FC236}">
                <a16:creationId xmlns:a16="http://schemas.microsoft.com/office/drawing/2014/main" id="{31B8BDE7-22FC-4C8E-A45E-836749755841}"/>
              </a:ext>
            </a:extLst>
          </p:cNvPr>
          <p:cNvSpPr/>
          <p:nvPr/>
        </p:nvSpPr>
        <p:spPr bwMode="gray">
          <a:xfrm>
            <a:off x="10589782" y="191866"/>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I</a:t>
            </a:r>
          </a:p>
        </p:txBody>
      </p:sp>
    </p:spTree>
    <p:extLst>
      <p:ext uri="{BB962C8B-B14F-4D97-AF65-F5344CB8AC3E}">
        <p14:creationId xmlns:p14="http://schemas.microsoft.com/office/powerpoint/2010/main" val="1171884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 descr="Abstract green and blue painting">
            <a:extLst>
              <a:ext uri="{FF2B5EF4-FFF2-40B4-BE49-F238E27FC236}">
                <a16:creationId xmlns:a16="http://schemas.microsoft.com/office/drawing/2014/main" id="{AD1B94BA-436E-42C0-BE8A-D753BCC26326}"/>
              </a:ext>
            </a:extLst>
          </p:cNvPr>
          <p:cNvPicPr>
            <a:picLocks noChangeAspect="1"/>
          </p:cNvPicPr>
          <p:nvPr/>
        </p:nvPicPr>
        <p:blipFill>
          <a:blip r:embed="rId3"/>
          <a:stretch>
            <a:fillRect/>
          </a:stretch>
        </p:blipFill>
        <p:spPr>
          <a:xfrm>
            <a:off x="0" y="-1"/>
            <a:ext cx="13439775" cy="7559675"/>
          </a:xfrm>
          <a:prstGeom prst="rect">
            <a:avLst/>
          </a:prstGeom>
        </p:spPr>
      </p:pic>
      <p:grpSp>
        <p:nvGrpSpPr>
          <p:cNvPr id="6" name="Group 63">
            <a:extLst>
              <a:ext uri="{FF2B5EF4-FFF2-40B4-BE49-F238E27FC236}">
                <a16:creationId xmlns:a16="http://schemas.microsoft.com/office/drawing/2014/main" id="{ADF9DF4E-4739-42D6-83CC-754348FE4619}"/>
              </a:ext>
            </a:extLst>
          </p:cNvPr>
          <p:cNvGrpSpPr/>
          <p:nvPr/>
        </p:nvGrpSpPr>
        <p:grpSpPr>
          <a:xfrm>
            <a:off x="1870364" y="1655806"/>
            <a:ext cx="6475752" cy="686674"/>
            <a:chOff x="338627" y="1952711"/>
            <a:chExt cx="6265372" cy="686674"/>
          </a:xfrm>
        </p:grpSpPr>
        <p:sp>
          <p:nvSpPr>
            <p:cNvPr id="7" name="Oval 7">
              <a:extLst>
                <a:ext uri="{FF2B5EF4-FFF2-40B4-BE49-F238E27FC236}">
                  <a16:creationId xmlns:a16="http://schemas.microsoft.com/office/drawing/2014/main" id="{67C70FF1-3D95-422D-8F9A-26DB9EB4CB3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8" name="Straight Connector 8">
              <a:extLst>
                <a:ext uri="{FF2B5EF4-FFF2-40B4-BE49-F238E27FC236}">
                  <a16:creationId xmlns:a16="http://schemas.microsoft.com/office/drawing/2014/main" id="{CFC1F93F-314F-452C-B9EF-324612BB3EBA}"/>
                </a:ext>
              </a:extLst>
            </p:cNvPr>
            <p:cNvCxnSpPr>
              <a:cxnSpLocks/>
              <a:endCxn id="7" idx="2"/>
            </p:cNvCxnSpPr>
            <p:nvPr/>
          </p:nvCxnSpPr>
          <p:spPr>
            <a:xfrm flipV="1">
              <a:off x="338627" y="2296048"/>
              <a:ext cx="2544220" cy="21564"/>
            </a:xfrm>
            <a:prstGeom prst="line">
              <a:avLst/>
            </a:prstGeom>
            <a:noFill/>
            <a:ln w="22225" algn="ctr">
              <a:solidFill>
                <a:schemeClr val="tx1">
                  <a:lumMod val="50000"/>
                  <a:lumOff val="50000"/>
                </a:schemeClr>
              </a:solidFill>
              <a:prstDash val="sysDot"/>
              <a:miter lim="800000"/>
              <a:headEnd/>
              <a:tailEnd/>
            </a:ln>
          </p:spPr>
        </p:cxnSp>
        <p:sp>
          <p:nvSpPr>
            <p:cNvPr id="9" name="Rectangle 8">
              <a:extLst>
                <a:ext uri="{FF2B5EF4-FFF2-40B4-BE49-F238E27FC236}">
                  <a16:creationId xmlns:a16="http://schemas.microsoft.com/office/drawing/2014/main" id="{3C74B3F7-BC66-4198-AD65-9F39A2579D4D}"/>
                </a:ext>
              </a:extLst>
            </p:cNvPr>
            <p:cNvSpPr/>
            <p:nvPr/>
          </p:nvSpPr>
          <p:spPr>
            <a:xfrm>
              <a:off x="3723292" y="2089510"/>
              <a:ext cx="2880707" cy="461665"/>
            </a:xfrm>
            <a:prstGeom prst="rect">
              <a:avLst/>
            </a:prstGeom>
          </p:spPr>
          <p:txBody>
            <a:bodyPr wrap="square">
              <a:spAutoFit/>
            </a:bodyPr>
            <a:lstStyle/>
            <a:p>
              <a:pPr defTabSz="801929">
                <a:defRPr/>
              </a:pPr>
              <a:r>
                <a:rPr lang="fr-FR" sz="2400" dirty="0">
                  <a:solidFill>
                    <a:schemeClr val="bg1"/>
                  </a:solidFill>
                </a:rPr>
                <a:t>Contexte général</a:t>
              </a:r>
            </a:p>
          </p:txBody>
        </p:sp>
        <p:sp>
          <p:nvSpPr>
            <p:cNvPr id="10" name="Freeform 429">
              <a:extLst>
                <a:ext uri="{FF2B5EF4-FFF2-40B4-BE49-F238E27FC236}">
                  <a16:creationId xmlns:a16="http://schemas.microsoft.com/office/drawing/2014/main" id="{7162DD11-C00C-47ED-84CA-471273AEF295}"/>
                </a:ext>
              </a:extLst>
            </p:cNvPr>
            <p:cNvSpPr>
              <a:spLocks noChangeAspect="1" noEditPoints="1"/>
            </p:cNvSpPr>
            <p:nvPr/>
          </p:nvSpPr>
          <p:spPr bwMode="auto">
            <a:xfrm>
              <a:off x="2907467" y="1987692"/>
              <a:ext cx="637200" cy="637200"/>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 name="Group 63">
            <a:extLst>
              <a:ext uri="{FF2B5EF4-FFF2-40B4-BE49-F238E27FC236}">
                <a16:creationId xmlns:a16="http://schemas.microsoft.com/office/drawing/2014/main" id="{0B8F20E0-6D87-49C6-AA3E-4AAEB21D373C}"/>
              </a:ext>
            </a:extLst>
          </p:cNvPr>
          <p:cNvGrpSpPr/>
          <p:nvPr/>
        </p:nvGrpSpPr>
        <p:grpSpPr>
          <a:xfrm>
            <a:off x="2544432" y="2842935"/>
            <a:ext cx="6973641" cy="686674"/>
            <a:chOff x="802315" y="1952711"/>
            <a:chExt cx="6973641" cy="686674"/>
          </a:xfrm>
        </p:grpSpPr>
        <p:sp>
          <p:nvSpPr>
            <p:cNvPr id="12" name="Oval 7">
              <a:extLst>
                <a:ext uri="{FF2B5EF4-FFF2-40B4-BE49-F238E27FC236}">
                  <a16:creationId xmlns:a16="http://schemas.microsoft.com/office/drawing/2014/main" id="{7C5B3F82-1B67-4F8D-B4E9-C17E7D0B2869}"/>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3" name="Straight Connector 8">
              <a:extLst>
                <a:ext uri="{FF2B5EF4-FFF2-40B4-BE49-F238E27FC236}">
                  <a16:creationId xmlns:a16="http://schemas.microsoft.com/office/drawing/2014/main" id="{A66C032C-1CA4-4111-90B9-334BC8E1F193}"/>
                </a:ext>
              </a:extLst>
            </p:cNvPr>
            <p:cNvCxnSpPr>
              <a:cxnSpLocks/>
              <a:endCxn id="12"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4" name="Rectangle 13">
              <a:extLst>
                <a:ext uri="{FF2B5EF4-FFF2-40B4-BE49-F238E27FC236}">
                  <a16:creationId xmlns:a16="http://schemas.microsoft.com/office/drawing/2014/main" id="{885258D9-7A47-4570-B1BF-85959FAC5DD3}"/>
                </a:ext>
              </a:extLst>
            </p:cNvPr>
            <p:cNvSpPr/>
            <p:nvPr/>
          </p:nvSpPr>
          <p:spPr>
            <a:xfrm>
              <a:off x="3723292" y="2089510"/>
              <a:ext cx="4052664" cy="461665"/>
            </a:xfrm>
            <a:prstGeom prst="rect">
              <a:avLst/>
            </a:prstGeom>
          </p:spPr>
          <p:txBody>
            <a:bodyPr wrap="square">
              <a:spAutoFit/>
            </a:bodyPr>
            <a:lstStyle/>
            <a:p>
              <a:pPr lvl="0" defTabSz="801929">
                <a:defRPr/>
              </a:pPr>
              <a:r>
                <a:rPr kumimoji="0" lang="fr-FR" sz="2400" i="0" u="none" strike="noStrike" kern="1200" cap="none" spc="0" normalizeH="0" baseline="0" dirty="0">
                  <a:ln>
                    <a:noFill/>
                  </a:ln>
                  <a:solidFill>
                    <a:schemeClr val="bg1"/>
                  </a:solidFill>
                  <a:effectLst/>
                  <a:uLnTx/>
                  <a:uFillTx/>
                </a:rPr>
                <a:t>Réalisation du Framework</a:t>
              </a:r>
            </a:p>
          </p:txBody>
        </p:sp>
      </p:grpSp>
      <p:grpSp>
        <p:nvGrpSpPr>
          <p:cNvPr id="21" name="Group 63">
            <a:extLst>
              <a:ext uri="{FF2B5EF4-FFF2-40B4-BE49-F238E27FC236}">
                <a16:creationId xmlns:a16="http://schemas.microsoft.com/office/drawing/2014/main" id="{754166C1-C37B-40D0-BFA2-84451516CF50}"/>
              </a:ext>
            </a:extLst>
          </p:cNvPr>
          <p:cNvGrpSpPr/>
          <p:nvPr/>
        </p:nvGrpSpPr>
        <p:grpSpPr>
          <a:xfrm>
            <a:off x="1870364" y="5217194"/>
            <a:ext cx="7190509" cy="686674"/>
            <a:chOff x="128247" y="1952711"/>
            <a:chExt cx="7190509" cy="686674"/>
          </a:xfrm>
        </p:grpSpPr>
        <p:sp>
          <p:nvSpPr>
            <p:cNvPr id="22" name="Oval 7">
              <a:extLst>
                <a:ext uri="{FF2B5EF4-FFF2-40B4-BE49-F238E27FC236}">
                  <a16:creationId xmlns:a16="http://schemas.microsoft.com/office/drawing/2014/main" id="{956D872D-E387-46D6-83EA-9AF1F1621612}"/>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23" name="Straight Connector 8">
              <a:extLst>
                <a:ext uri="{FF2B5EF4-FFF2-40B4-BE49-F238E27FC236}">
                  <a16:creationId xmlns:a16="http://schemas.microsoft.com/office/drawing/2014/main" id="{61F7FBBA-33DF-41AF-A4C7-C4ABC9BBAABF}"/>
                </a:ext>
              </a:extLst>
            </p:cNvPr>
            <p:cNvCxnSpPr>
              <a:cxnSpLocks/>
              <a:endCxn id="22" idx="2"/>
            </p:cNvCxnSpPr>
            <p:nvPr/>
          </p:nvCxnSpPr>
          <p:spPr>
            <a:xfrm>
              <a:off x="128247" y="2296048"/>
              <a:ext cx="2754600" cy="0"/>
            </a:xfrm>
            <a:prstGeom prst="line">
              <a:avLst/>
            </a:prstGeom>
            <a:noFill/>
            <a:ln w="22225" algn="ctr">
              <a:solidFill>
                <a:schemeClr val="tx1">
                  <a:lumMod val="50000"/>
                  <a:lumOff val="50000"/>
                </a:schemeClr>
              </a:solidFill>
              <a:prstDash val="sysDot"/>
              <a:miter lim="800000"/>
              <a:headEnd/>
              <a:tailEnd/>
            </a:ln>
          </p:spPr>
        </p:cxnSp>
        <p:sp>
          <p:nvSpPr>
            <p:cNvPr id="24" name="Rectangle 23">
              <a:extLst>
                <a:ext uri="{FF2B5EF4-FFF2-40B4-BE49-F238E27FC236}">
                  <a16:creationId xmlns:a16="http://schemas.microsoft.com/office/drawing/2014/main" id="{E1067234-0B57-4D51-AA9E-C3F5D84BD506}"/>
                </a:ext>
              </a:extLst>
            </p:cNvPr>
            <p:cNvSpPr/>
            <p:nvPr/>
          </p:nvSpPr>
          <p:spPr>
            <a:xfrm>
              <a:off x="3723292" y="2089510"/>
              <a:ext cx="3595464" cy="461665"/>
            </a:xfrm>
            <a:prstGeom prst="rect">
              <a:avLst/>
            </a:prstGeom>
          </p:spPr>
          <p:txBody>
            <a:bodyPr wrap="square">
              <a:spAutoFit/>
            </a:bodyPr>
            <a:lstStyle/>
            <a:p>
              <a:pPr defTabSz="801929">
                <a:defRPr/>
              </a:pPr>
              <a:r>
                <a:rPr lang="fr-FR" sz="2400" dirty="0">
                  <a:solidFill>
                    <a:schemeClr val="bg1"/>
                  </a:solidFill>
                </a:rPr>
                <a:t>Conclusion et perspectives</a:t>
              </a:r>
            </a:p>
          </p:txBody>
        </p:sp>
      </p:grpSp>
      <p:sp>
        <p:nvSpPr>
          <p:cNvPr id="30" name="Text Placeholder 4">
            <a:extLst>
              <a:ext uri="{FF2B5EF4-FFF2-40B4-BE49-F238E27FC236}">
                <a16:creationId xmlns:a16="http://schemas.microsoft.com/office/drawing/2014/main" id="{C671DE1E-8CF5-4017-BA5C-20065085BECE}"/>
              </a:ext>
            </a:extLst>
          </p:cNvPr>
          <p:cNvSpPr txBox="1">
            <a:spLocks/>
          </p:cNvSpPr>
          <p:nvPr>
            <p:custDataLst>
              <p:tags r:id="rId1"/>
            </p:custDataLst>
          </p:nvPr>
        </p:nvSpPr>
        <p:spPr>
          <a:xfrm rot="16200000">
            <a:off x="-2130301" y="3368453"/>
            <a:ext cx="6014144" cy="822766"/>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ctr" defTabSz="419952" rtl="0" eaLnBrk="1" fontAlgn="auto" latinLnBrk="0" hangingPunct="1">
              <a:lnSpc>
                <a:spcPct val="100000"/>
              </a:lnSpc>
              <a:spcBef>
                <a:spcPts val="0"/>
              </a:spcBef>
              <a:spcAft>
                <a:spcPts val="342"/>
              </a:spcAft>
              <a:buClrTx/>
              <a:buSzTx/>
              <a:buFont typeface="Arial"/>
              <a:buNone/>
              <a:tabLst/>
              <a:defRPr/>
            </a:pPr>
            <a:r>
              <a:rPr kumimoji="0" lang="fr-FR" sz="4800" b="0" i="0" u="none" strike="noStrike" kern="1200" cap="none" spc="0" normalizeH="0" baseline="0" dirty="0">
                <a:ln>
                  <a:noFill/>
                </a:ln>
                <a:solidFill>
                  <a:schemeClr val="bg1"/>
                </a:solidFill>
                <a:effectLst/>
                <a:uLnTx/>
                <a:uFillTx/>
                <a:latin typeface="+mn-lt"/>
                <a:ea typeface="+mn-ea"/>
                <a:cs typeface="Segoe UI Semilight" panose="020B0402040204020203" pitchFamily="34" charset="0"/>
              </a:rPr>
              <a:t>Sommaire</a:t>
            </a:r>
          </a:p>
        </p:txBody>
      </p:sp>
      <p:sp>
        <p:nvSpPr>
          <p:cNvPr id="31" name="Freeform 580">
            <a:extLst>
              <a:ext uri="{FF2B5EF4-FFF2-40B4-BE49-F238E27FC236}">
                <a16:creationId xmlns:a16="http://schemas.microsoft.com/office/drawing/2014/main" id="{4185104E-85D0-44D5-A73F-6898F62737D0}"/>
              </a:ext>
            </a:extLst>
          </p:cNvPr>
          <p:cNvSpPr>
            <a:spLocks noChangeAspect="1" noEditPoints="1"/>
          </p:cNvSpPr>
          <p:nvPr/>
        </p:nvSpPr>
        <p:spPr bwMode="auto">
          <a:xfrm>
            <a:off x="4649584" y="2862460"/>
            <a:ext cx="637200" cy="635332"/>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528">
            <a:extLst>
              <a:ext uri="{FF2B5EF4-FFF2-40B4-BE49-F238E27FC236}">
                <a16:creationId xmlns:a16="http://schemas.microsoft.com/office/drawing/2014/main" id="{2655AD68-470A-4F7E-BF38-1D1C6D555289}"/>
              </a:ext>
            </a:extLst>
          </p:cNvPr>
          <p:cNvSpPr>
            <a:spLocks noChangeAspect="1" noEditPoints="1"/>
          </p:cNvSpPr>
          <p:nvPr/>
        </p:nvSpPr>
        <p:spPr bwMode="auto">
          <a:xfrm>
            <a:off x="4648363" y="5241931"/>
            <a:ext cx="637200" cy="63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bg1"/>
          </a:solidFill>
          <a:ln>
            <a:noFill/>
          </a:ln>
        </p:spPr>
        <p:txBody>
          <a:bodyPr vert="horz" wrap="square" lIns="182880" tIns="91440" rIns="182880" bIns="91440" numCol="1" anchor="t" anchorCtr="0" compatLnSpc="1">
            <a:prstTxWarp prst="textNoShape">
              <a:avLst/>
            </a:prstTxWarp>
          </a:bodyPr>
          <a:lstStyle/>
          <a:p>
            <a:pPr defTabSz="1828800"/>
            <a:endParaRPr lang="en-GB">
              <a:solidFill>
                <a:prstClr val="black"/>
              </a:solidFill>
              <a:latin typeface="Verdana"/>
            </a:endParaRPr>
          </a:p>
        </p:txBody>
      </p:sp>
      <p:sp>
        <p:nvSpPr>
          <p:cNvPr id="60" name="Rectangle 59">
            <a:extLst>
              <a:ext uri="{FF2B5EF4-FFF2-40B4-BE49-F238E27FC236}">
                <a16:creationId xmlns:a16="http://schemas.microsoft.com/office/drawing/2014/main" id="{FD3FA630-6445-4409-827A-899ABB7264D0}"/>
              </a:ext>
            </a:extLst>
          </p:cNvPr>
          <p:cNvSpPr/>
          <p:nvPr/>
        </p:nvSpPr>
        <p:spPr bwMode="gray">
          <a:xfrm>
            <a:off x="4280" y="-1"/>
            <a:ext cx="13461813" cy="7559676"/>
          </a:xfrm>
          <a:prstGeom prst="rect">
            <a:avLst/>
          </a:prstGeom>
          <a:solidFill>
            <a:schemeClr val="accent4">
              <a:lumMod val="50000"/>
              <a:alpha val="58824"/>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5" name="Oval 18">
            <a:extLst>
              <a:ext uri="{FF2B5EF4-FFF2-40B4-BE49-F238E27FC236}">
                <a16:creationId xmlns:a16="http://schemas.microsoft.com/office/drawing/2014/main" id="{562886F5-F9D2-41B4-B6B7-9ADBAB09AF80}"/>
              </a:ext>
            </a:extLst>
          </p:cNvPr>
          <p:cNvSpPr/>
          <p:nvPr/>
        </p:nvSpPr>
        <p:spPr bwMode="gray">
          <a:xfrm>
            <a:off x="-2648726" y="1153149"/>
            <a:ext cx="5253376" cy="5253376"/>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ctr"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1403" b="1" i="0" u="none" strike="noStrike" kern="1200" cap="none" spc="0" normalizeH="0" baseline="0">
              <a:ln>
                <a:noFill/>
              </a:ln>
              <a:solidFill>
                <a:prstClr val="white"/>
              </a:solidFill>
              <a:effectLst/>
              <a:uLnTx/>
              <a:uFillTx/>
              <a:ea typeface="+mn-ea"/>
              <a:cs typeface="+mn-cs"/>
            </a:endParaRPr>
          </a:p>
        </p:txBody>
      </p:sp>
      <p:grpSp>
        <p:nvGrpSpPr>
          <p:cNvPr id="61" name="Groupe 60">
            <a:extLst>
              <a:ext uri="{FF2B5EF4-FFF2-40B4-BE49-F238E27FC236}">
                <a16:creationId xmlns:a16="http://schemas.microsoft.com/office/drawing/2014/main" id="{FA804EA4-D6B3-4A41-AD35-742D3BD8E73D}"/>
              </a:ext>
            </a:extLst>
          </p:cNvPr>
          <p:cNvGrpSpPr/>
          <p:nvPr/>
        </p:nvGrpSpPr>
        <p:grpSpPr>
          <a:xfrm>
            <a:off x="2544432" y="4026049"/>
            <a:ext cx="5801684" cy="690689"/>
            <a:chOff x="2544432" y="4026049"/>
            <a:chExt cx="5801684" cy="690689"/>
          </a:xfrm>
        </p:grpSpPr>
        <p:sp>
          <p:nvSpPr>
            <p:cNvPr id="49" name="Oval 16">
              <a:extLst>
                <a:ext uri="{FF2B5EF4-FFF2-40B4-BE49-F238E27FC236}">
                  <a16:creationId xmlns:a16="http://schemas.microsoft.com/office/drawing/2014/main" id="{0E8A7F0C-06C2-46E5-BD73-94C959289B05}"/>
                </a:ext>
              </a:extLst>
            </p:cNvPr>
            <p:cNvSpPr/>
            <p:nvPr/>
          </p:nvSpPr>
          <p:spPr bwMode="gray">
            <a:xfrm>
              <a:off x="4621334" y="4026049"/>
              <a:ext cx="690304" cy="69030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sp>
          <p:nvSpPr>
            <p:cNvPr id="50" name="Freeform 438">
              <a:extLst>
                <a:ext uri="{FF2B5EF4-FFF2-40B4-BE49-F238E27FC236}">
                  <a16:creationId xmlns:a16="http://schemas.microsoft.com/office/drawing/2014/main" id="{DCD66C00-2DA5-4F63-B405-2A7218B7BF82}"/>
                </a:ext>
              </a:extLst>
            </p:cNvPr>
            <p:cNvSpPr>
              <a:spLocks/>
            </p:cNvSpPr>
            <p:nvPr/>
          </p:nvSpPr>
          <p:spPr bwMode="auto">
            <a:xfrm>
              <a:off x="4979531" y="4303615"/>
              <a:ext cx="52570" cy="52570"/>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39">
              <a:extLst>
                <a:ext uri="{FF2B5EF4-FFF2-40B4-BE49-F238E27FC236}">
                  <a16:creationId xmlns:a16="http://schemas.microsoft.com/office/drawing/2014/main" id="{1989DCC3-334B-4FCB-AC17-A6D8434A36A6}"/>
                </a:ext>
              </a:extLst>
            </p:cNvPr>
            <p:cNvSpPr>
              <a:spLocks/>
            </p:cNvSpPr>
            <p:nvPr/>
          </p:nvSpPr>
          <p:spPr bwMode="auto">
            <a:xfrm>
              <a:off x="4900676" y="4303615"/>
              <a:ext cx="52570" cy="52570"/>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41">
              <a:extLst>
                <a:ext uri="{FF2B5EF4-FFF2-40B4-BE49-F238E27FC236}">
                  <a16:creationId xmlns:a16="http://schemas.microsoft.com/office/drawing/2014/main" id="{30CCB8BF-4B1B-4A30-89C5-D048FE623DCA}"/>
                </a:ext>
              </a:extLst>
            </p:cNvPr>
            <p:cNvSpPr>
              <a:spLocks/>
            </p:cNvSpPr>
            <p:nvPr/>
          </p:nvSpPr>
          <p:spPr bwMode="auto">
            <a:xfrm>
              <a:off x="4900676" y="4382470"/>
              <a:ext cx="52570" cy="52570"/>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2">
              <a:extLst>
                <a:ext uri="{FF2B5EF4-FFF2-40B4-BE49-F238E27FC236}">
                  <a16:creationId xmlns:a16="http://schemas.microsoft.com/office/drawing/2014/main" id="{974E3478-9095-422D-984B-BE9523CE46EF}"/>
                </a:ext>
              </a:extLst>
            </p:cNvPr>
            <p:cNvSpPr>
              <a:spLocks/>
            </p:cNvSpPr>
            <p:nvPr/>
          </p:nvSpPr>
          <p:spPr bwMode="auto">
            <a:xfrm>
              <a:off x="4834963" y="4382470"/>
              <a:ext cx="118283" cy="11828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43">
              <a:extLst>
                <a:ext uri="{FF2B5EF4-FFF2-40B4-BE49-F238E27FC236}">
                  <a16:creationId xmlns:a16="http://schemas.microsoft.com/office/drawing/2014/main" id="{E827EED2-D78C-4DA1-BAC9-30B1EBBAFADA}"/>
                </a:ext>
              </a:extLst>
            </p:cNvPr>
            <p:cNvSpPr>
              <a:spLocks/>
            </p:cNvSpPr>
            <p:nvPr/>
          </p:nvSpPr>
          <p:spPr bwMode="auto">
            <a:xfrm>
              <a:off x="4979531" y="4382470"/>
              <a:ext cx="52570" cy="52570"/>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40">
              <a:extLst>
                <a:ext uri="{FF2B5EF4-FFF2-40B4-BE49-F238E27FC236}">
                  <a16:creationId xmlns:a16="http://schemas.microsoft.com/office/drawing/2014/main" id="{A6D51597-47E9-47DE-8741-9102DAB48B7A}"/>
                </a:ext>
              </a:extLst>
            </p:cNvPr>
            <p:cNvSpPr>
              <a:spLocks/>
            </p:cNvSpPr>
            <p:nvPr/>
          </p:nvSpPr>
          <p:spPr bwMode="auto">
            <a:xfrm>
              <a:off x="4834963" y="4237902"/>
              <a:ext cx="118283" cy="11828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444">
              <a:extLst>
                <a:ext uri="{FF2B5EF4-FFF2-40B4-BE49-F238E27FC236}">
                  <a16:creationId xmlns:a16="http://schemas.microsoft.com/office/drawing/2014/main" id="{679F4214-5319-44FF-9861-976CDFCB4293}"/>
                </a:ext>
              </a:extLst>
            </p:cNvPr>
            <p:cNvSpPr>
              <a:spLocks noEditPoints="1"/>
            </p:cNvSpPr>
            <p:nvPr/>
          </p:nvSpPr>
          <p:spPr bwMode="auto">
            <a:xfrm>
              <a:off x="4647213" y="4050152"/>
              <a:ext cx="638350" cy="6383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45">
              <a:extLst>
                <a:ext uri="{FF2B5EF4-FFF2-40B4-BE49-F238E27FC236}">
                  <a16:creationId xmlns:a16="http://schemas.microsoft.com/office/drawing/2014/main" id="{81701C87-DB66-4B62-99F1-B07A03833739}"/>
                </a:ext>
              </a:extLst>
            </p:cNvPr>
            <p:cNvSpPr>
              <a:spLocks/>
            </p:cNvSpPr>
            <p:nvPr/>
          </p:nvSpPr>
          <p:spPr bwMode="auto">
            <a:xfrm>
              <a:off x="4979531" y="4237902"/>
              <a:ext cx="118283" cy="11828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446">
              <a:extLst>
                <a:ext uri="{FF2B5EF4-FFF2-40B4-BE49-F238E27FC236}">
                  <a16:creationId xmlns:a16="http://schemas.microsoft.com/office/drawing/2014/main" id="{B8D52DA5-BACB-4234-85C2-32EEB13ADF20}"/>
                </a:ext>
              </a:extLst>
            </p:cNvPr>
            <p:cNvSpPr>
              <a:spLocks/>
            </p:cNvSpPr>
            <p:nvPr/>
          </p:nvSpPr>
          <p:spPr bwMode="auto">
            <a:xfrm>
              <a:off x="4979531" y="4382470"/>
              <a:ext cx="118283" cy="11828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6" name="Group 63">
              <a:extLst>
                <a:ext uri="{FF2B5EF4-FFF2-40B4-BE49-F238E27FC236}">
                  <a16:creationId xmlns:a16="http://schemas.microsoft.com/office/drawing/2014/main" id="{C05A3CCE-25AE-4C98-8DDB-61A81871DD0B}"/>
                </a:ext>
              </a:extLst>
            </p:cNvPr>
            <p:cNvGrpSpPr/>
            <p:nvPr/>
          </p:nvGrpSpPr>
          <p:grpSpPr>
            <a:xfrm>
              <a:off x="2544432" y="4030064"/>
              <a:ext cx="5801684" cy="686674"/>
              <a:chOff x="802315" y="1952711"/>
              <a:chExt cx="5801684" cy="686674"/>
            </a:xfrm>
          </p:grpSpPr>
          <p:sp>
            <p:nvSpPr>
              <p:cNvPr id="17" name="Oval 7">
                <a:extLst>
                  <a:ext uri="{FF2B5EF4-FFF2-40B4-BE49-F238E27FC236}">
                    <a16:creationId xmlns:a16="http://schemas.microsoft.com/office/drawing/2014/main" id="{9A40A8C0-ADBE-49A8-AF20-ED6B70D8A2B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8" name="Straight Connector 8">
                <a:extLst>
                  <a:ext uri="{FF2B5EF4-FFF2-40B4-BE49-F238E27FC236}">
                    <a16:creationId xmlns:a16="http://schemas.microsoft.com/office/drawing/2014/main" id="{1537A99F-9A5E-4663-AAEB-392C9ABA7984}"/>
                  </a:ext>
                </a:extLst>
              </p:cNvPr>
              <p:cNvCxnSpPr>
                <a:cxnSpLocks/>
                <a:endCxn id="17"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9" name="Rectangle 18">
                <a:extLst>
                  <a:ext uri="{FF2B5EF4-FFF2-40B4-BE49-F238E27FC236}">
                    <a16:creationId xmlns:a16="http://schemas.microsoft.com/office/drawing/2014/main" id="{E10F6F53-AFE2-4355-BD2A-2E6EE2C4C6A2}"/>
                  </a:ext>
                </a:extLst>
              </p:cNvPr>
              <p:cNvSpPr/>
              <p:nvPr/>
            </p:nvSpPr>
            <p:spPr>
              <a:xfrm>
                <a:off x="3723292" y="2089510"/>
                <a:ext cx="2880707" cy="461665"/>
              </a:xfrm>
              <a:prstGeom prst="rect">
                <a:avLst/>
              </a:prstGeom>
            </p:spPr>
            <p:txBody>
              <a:bodyPr wrap="square">
                <a:spAutoFit/>
              </a:bodyPr>
              <a:lstStyle/>
              <a:p>
                <a:pPr lvl="0" defTabSz="801929">
                  <a:defRPr/>
                </a:pPr>
                <a:r>
                  <a:rPr lang="fr-FR" sz="2400" dirty="0">
                    <a:solidFill>
                      <a:schemeClr val="bg1"/>
                    </a:solidFill>
                    <a:cs typeface="Segoe UI Semilight"/>
                  </a:rPr>
                  <a:t>Etude de cas</a:t>
                </a:r>
              </a:p>
            </p:txBody>
          </p:sp>
        </p:grpSp>
      </p:grpSp>
    </p:spTree>
    <p:extLst>
      <p:ext uri="{BB962C8B-B14F-4D97-AF65-F5344CB8AC3E}">
        <p14:creationId xmlns:p14="http://schemas.microsoft.com/office/powerpoint/2010/main" val="116434246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20">
            <a:extLst>
              <a:ext uri="{FF2B5EF4-FFF2-40B4-BE49-F238E27FC236}">
                <a16:creationId xmlns:a16="http://schemas.microsoft.com/office/drawing/2014/main" id="{88AB11FB-310E-4AD0-80CB-186C9E407E2A}"/>
              </a:ext>
            </a:extLst>
          </p:cNvPr>
          <p:cNvPicPr>
            <a:picLocks noChangeAspect="1"/>
          </p:cNvPicPr>
          <p:nvPr/>
        </p:nvPicPr>
        <p:blipFill rotWithShape="1">
          <a:blip r:embed="rId3"/>
          <a:srcRect l="18381"/>
          <a:stretch/>
        </p:blipFill>
        <p:spPr>
          <a:xfrm>
            <a:off x="-50800" y="2742187"/>
            <a:ext cx="13512800" cy="4238254"/>
          </a:xfrm>
          <a:prstGeom prst="rect">
            <a:avLst/>
          </a:prstGeom>
        </p:spPr>
      </p:pic>
      <p:sp>
        <p:nvSpPr>
          <p:cNvPr id="7" name="Rectangle 6">
            <a:extLst>
              <a:ext uri="{FF2B5EF4-FFF2-40B4-BE49-F238E27FC236}">
                <a16:creationId xmlns:a16="http://schemas.microsoft.com/office/drawing/2014/main" id="{C6ED7FBB-C822-4D80-888B-8B69F71F9A80}"/>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8" name="Rectangle 7">
            <a:extLst>
              <a:ext uri="{FF2B5EF4-FFF2-40B4-BE49-F238E27FC236}">
                <a16:creationId xmlns:a16="http://schemas.microsoft.com/office/drawing/2014/main" id="{7944258F-542C-4FD5-AE57-847CE56CBF3C}"/>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9" name="Rectangle 8">
            <a:extLst>
              <a:ext uri="{FF2B5EF4-FFF2-40B4-BE49-F238E27FC236}">
                <a16:creationId xmlns:a16="http://schemas.microsoft.com/office/drawing/2014/main" id="{6D2A5BBF-26F7-4BD8-B49E-9BF5038990EB}"/>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10" name="Freeform 926">
            <a:extLst>
              <a:ext uri="{FF2B5EF4-FFF2-40B4-BE49-F238E27FC236}">
                <a16:creationId xmlns:a16="http://schemas.microsoft.com/office/drawing/2014/main" id="{95FFA286-CEC9-4E1A-998F-D357B7DC0213}"/>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926">
            <a:extLst>
              <a:ext uri="{FF2B5EF4-FFF2-40B4-BE49-F238E27FC236}">
                <a16:creationId xmlns:a16="http://schemas.microsoft.com/office/drawing/2014/main" id="{0122A928-CD39-42EA-A49A-9B7F16A7BD29}"/>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TextBox 219">
            <a:extLst>
              <a:ext uri="{FF2B5EF4-FFF2-40B4-BE49-F238E27FC236}">
                <a16:creationId xmlns:a16="http://schemas.microsoft.com/office/drawing/2014/main" id="{AB9BE935-45AC-4C32-AF93-3C03F60903F3}"/>
              </a:ext>
            </a:extLst>
          </p:cNvPr>
          <p:cNvSpPr txBox="1"/>
          <p:nvPr/>
        </p:nvSpPr>
        <p:spPr>
          <a:xfrm>
            <a:off x="6002374" y="519574"/>
            <a:ext cx="1771996" cy="307777"/>
          </a:xfrm>
          <a:prstGeom prst="rect">
            <a:avLst/>
          </a:prstGeom>
          <a:noFill/>
        </p:spPr>
        <p:txBody>
          <a:bodyPr wrap="square">
            <a:spAutoFit/>
          </a:bodyPr>
          <a:lstStyle/>
          <a:p>
            <a:pPr>
              <a:spcAft>
                <a:spcPts val="0"/>
              </a:spcAft>
            </a:pPr>
            <a:r>
              <a:rPr lang="fr-FR" altLang="zh-CN" sz="1400" dirty="0">
                <a:solidFill>
                  <a:schemeClr val="tx2"/>
                </a:solidFill>
              </a:rPr>
              <a:t>Approche et résultat</a:t>
            </a:r>
          </a:p>
        </p:txBody>
      </p:sp>
      <p:sp>
        <p:nvSpPr>
          <p:cNvPr id="16" name="TextBox 219">
            <a:extLst>
              <a:ext uri="{FF2B5EF4-FFF2-40B4-BE49-F238E27FC236}">
                <a16:creationId xmlns:a16="http://schemas.microsoft.com/office/drawing/2014/main" id="{D4CBE81A-5997-449C-AD15-81A4BB815EA2}"/>
              </a:ext>
            </a:extLst>
          </p:cNvPr>
          <p:cNvSpPr txBox="1"/>
          <p:nvPr/>
        </p:nvSpPr>
        <p:spPr>
          <a:xfrm>
            <a:off x="9738300" y="519574"/>
            <a:ext cx="2000310" cy="307777"/>
          </a:xfrm>
          <a:prstGeom prst="rect">
            <a:avLst/>
          </a:prstGeom>
          <a:noFill/>
        </p:spPr>
        <p:txBody>
          <a:bodyPr wrap="square">
            <a:spAutoFit/>
          </a:bodyPr>
          <a:lstStyle/>
          <a:p>
            <a:pPr>
              <a:spcAft>
                <a:spcPts val="0"/>
              </a:spcAft>
            </a:pPr>
            <a:r>
              <a:rPr lang="fr-FR" altLang="zh-CN" sz="1400" dirty="0">
                <a:solidFill>
                  <a:schemeClr val="tx2"/>
                </a:solidFill>
              </a:rPr>
              <a:t>Continuité de la mission</a:t>
            </a:r>
          </a:p>
        </p:txBody>
      </p:sp>
      <p:sp>
        <p:nvSpPr>
          <p:cNvPr id="18" name="TextBox 219">
            <a:extLst>
              <a:ext uri="{FF2B5EF4-FFF2-40B4-BE49-F238E27FC236}">
                <a16:creationId xmlns:a16="http://schemas.microsoft.com/office/drawing/2014/main" id="{7670BCDF-CEC6-4C27-B5A6-1B8F64FC71E1}"/>
              </a:ext>
            </a:extLst>
          </p:cNvPr>
          <p:cNvSpPr txBox="1"/>
          <p:nvPr/>
        </p:nvSpPr>
        <p:spPr>
          <a:xfrm>
            <a:off x="2201931" y="519574"/>
            <a:ext cx="1884510"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Contexte et objectifs</a:t>
            </a:r>
          </a:p>
        </p:txBody>
      </p:sp>
      <p:sp>
        <p:nvSpPr>
          <p:cNvPr id="19" name="Freeform 926">
            <a:extLst>
              <a:ext uri="{FF2B5EF4-FFF2-40B4-BE49-F238E27FC236}">
                <a16:creationId xmlns:a16="http://schemas.microsoft.com/office/drawing/2014/main" id="{72B59FA4-0802-48F5-BA7F-065E8A03961D}"/>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76" name="Groupe 75">
            <a:extLst>
              <a:ext uri="{FF2B5EF4-FFF2-40B4-BE49-F238E27FC236}">
                <a16:creationId xmlns:a16="http://schemas.microsoft.com/office/drawing/2014/main" id="{525BAAE3-8ADC-45E1-8BE0-88C3FB4BBC56}"/>
              </a:ext>
            </a:extLst>
          </p:cNvPr>
          <p:cNvGrpSpPr/>
          <p:nvPr/>
        </p:nvGrpSpPr>
        <p:grpSpPr>
          <a:xfrm>
            <a:off x="2420467" y="5346980"/>
            <a:ext cx="1768374" cy="1784128"/>
            <a:chOff x="7412140" y="1077733"/>
            <a:chExt cx="1768374" cy="1784128"/>
          </a:xfrm>
        </p:grpSpPr>
        <p:grpSp>
          <p:nvGrpSpPr>
            <p:cNvPr id="21" name="Group 208">
              <a:extLst>
                <a:ext uri="{FF2B5EF4-FFF2-40B4-BE49-F238E27FC236}">
                  <a16:creationId xmlns:a16="http://schemas.microsoft.com/office/drawing/2014/main" id="{FA285611-BDDC-4E3A-95EC-1B5A3BBED2CF}"/>
                </a:ext>
              </a:extLst>
            </p:cNvPr>
            <p:cNvGrpSpPr>
              <a:grpSpLocks/>
            </p:cNvGrpSpPr>
            <p:nvPr/>
          </p:nvGrpSpPr>
          <p:grpSpPr bwMode="auto">
            <a:xfrm>
              <a:off x="8703959" y="1375088"/>
              <a:ext cx="476555" cy="1486773"/>
              <a:chOff x="8814494" y="1909087"/>
              <a:chExt cx="510988" cy="1598634"/>
            </a:xfrm>
          </p:grpSpPr>
          <p:sp>
            <p:nvSpPr>
              <p:cNvPr id="22" name="Freeform 122">
                <a:extLst>
                  <a:ext uri="{FF2B5EF4-FFF2-40B4-BE49-F238E27FC236}">
                    <a16:creationId xmlns:a16="http://schemas.microsoft.com/office/drawing/2014/main" id="{0D0C5309-F83A-4860-9D17-D24A493C05A1}"/>
                  </a:ext>
                </a:extLst>
              </p:cNvPr>
              <p:cNvSpPr>
                <a:spLocks/>
              </p:cNvSpPr>
              <p:nvPr/>
            </p:nvSpPr>
            <p:spPr bwMode="auto">
              <a:xfrm>
                <a:off x="8814494" y="1909087"/>
                <a:ext cx="510988" cy="1598634"/>
              </a:xfrm>
              <a:custGeom>
                <a:avLst/>
                <a:gdLst>
                  <a:gd name="T0" fmla="*/ 498 w 498"/>
                  <a:gd name="T1" fmla="*/ 1558 h 1558"/>
                  <a:gd name="T2" fmla="*/ 0 w 498"/>
                  <a:gd name="T3" fmla="*/ 1558 h 1558"/>
                  <a:gd name="T4" fmla="*/ 0 w 498"/>
                  <a:gd name="T5" fmla="*/ 98 h 1558"/>
                  <a:gd name="T6" fmla="*/ 498 w 498"/>
                  <a:gd name="T7" fmla="*/ 0 h 1558"/>
                  <a:gd name="T8" fmla="*/ 498 w 498"/>
                  <a:gd name="T9" fmla="*/ 1558 h 1558"/>
                </a:gdLst>
                <a:ahLst/>
                <a:cxnLst>
                  <a:cxn ang="0">
                    <a:pos x="T0" y="T1"/>
                  </a:cxn>
                  <a:cxn ang="0">
                    <a:pos x="T2" y="T3"/>
                  </a:cxn>
                  <a:cxn ang="0">
                    <a:pos x="T4" y="T5"/>
                  </a:cxn>
                  <a:cxn ang="0">
                    <a:pos x="T6" y="T7"/>
                  </a:cxn>
                  <a:cxn ang="0">
                    <a:pos x="T8" y="T9"/>
                  </a:cxn>
                </a:cxnLst>
                <a:rect l="0" t="0" r="r" b="b"/>
                <a:pathLst>
                  <a:path w="498" h="1558">
                    <a:moveTo>
                      <a:pt x="498" y="1558"/>
                    </a:moveTo>
                    <a:lnTo>
                      <a:pt x="0" y="1558"/>
                    </a:lnTo>
                    <a:lnTo>
                      <a:pt x="0" y="98"/>
                    </a:lnTo>
                    <a:lnTo>
                      <a:pt x="498" y="0"/>
                    </a:lnTo>
                    <a:lnTo>
                      <a:pt x="498" y="1558"/>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23" name="Rectangle 123">
                <a:extLst>
                  <a:ext uri="{FF2B5EF4-FFF2-40B4-BE49-F238E27FC236}">
                    <a16:creationId xmlns:a16="http://schemas.microsoft.com/office/drawing/2014/main" id="{A70DBA07-D5F2-43EF-B334-8B1431D05AAB}"/>
                  </a:ext>
                </a:extLst>
              </p:cNvPr>
              <p:cNvSpPr>
                <a:spLocks noChangeArrowheads="1"/>
              </p:cNvSpPr>
              <p:nvPr/>
            </p:nvSpPr>
            <p:spPr bwMode="auto">
              <a:xfrm>
                <a:off x="8924293"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4" name="Rectangle 124">
                <a:extLst>
                  <a:ext uri="{FF2B5EF4-FFF2-40B4-BE49-F238E27FC236}">
                    <a16:creationId xmlns:a16="http://schemas.microsoft.com/office/drawing/2014/main" id="{9EAC6E4D-6834-4F35-A640-C1861877EAE1}"/>
                  </a:ext>
                </a:extLst>
              </p:cNvPr>
              <p:cNvSpPr>
                <a:spLocks noChangeArrowheads="1"/>
              </p:cNvSpPr>
              <p:nvPr/>
            </p:nvSpPr>
            <p:spPr bwMode="auto">
              <a:xfrm>
                <a:off x="9110107"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5" name="Rectangle 125">
                <a:extLst>
                  <a:ext uri="{FF2B5EF4-FFF2-40B4-BE49-F238E27FC236}">
                    <a16:creationId xmlns:a16="http://schemas.microsoft.com/office/drawing/2014/main" id="{14420E86-50FA-4E93-9D4A-01075C39826C}"/>
                  </a:ext>
                </a:extLst>
              </p:cNvPr>
              <p:cNvSpPr>
                <a:spLocks noChangeArrowheads="1"/>
              </p:cNvSpPr>
              <p:nvPr/>
            </p:nvSpPr>
            <p:spPr bwMode="auto">
              <a:xfrm>
                <a:off x="8924293"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6" name="Rectangle 126">
                <a:extLst>
                  <a:ext uri="{FF2B5EF4-FFF2-40B4-BE49-F238E27FC236}">
                    <a16:creationId xmlns:a16="http://schemas.microsoft.com/office/drawing/2014/main" id="{43FAC0E7-0975-4C6C-9905-4FEEB2529D81}"/>
                  </a:ext>
                </a:extLst>
              </p:cNvPr>
              <p:cNvSpPr>
                <a:spLocks noChangeArrowheads="1"/>
              </p:cNvSpPr>
              <p:nvPr/>
            </p:nvSpPr>
            <p:spPr bwMode="auto">
              <a:xfrm>
                <a:off x="9110107"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7" name="Rectangle 127">
                <a:extLst>
                  <a:ext uri="{FF2B5EF4-FFF2-40B4-BE49-F238E27FC236}">
                    <a16:creationId xmlns:a16="http://schemas.microsoft.com/office/drawing/2014/main" id="{FD3226DC-9B7E-4B7E-9629-1C1E5E83DCC8}"/>
                  </a:ext>
                </a:extLst>
              </p:cNvPr>
              <p:cNvSpPr>
                <a:spLocks noChangeArrowheads="1"/>
              </p:cNvSpPr>
              <p:nvPr/>
            </p:nvSpPr>
            <p:spPr bwMode="auto">
              <a:xfrm>
                <a:off x="8924293"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8" name="Rectangle 128">
                <a:extLst>
                  <a:ext uri="{FF2B5EF4-FFF2-40B4-BE49-F238E27FC236}">
                    <a16:creationId xmlns:a16="http://schemas.microsoft.com/office/drawing/2014/main" id="{8149DA42-4B10-4FAB-B6BC-599753200AE0}"/>
                  </a:ext>
                </a:extLst>
              </p:cNvPr>
              <p:cNvSpPr>
                <a:spLocks noChangeArrowheads="1"/>
              </p:cNvSpPr>
              <p:nvPr/>
            </p:nvSpPr>
            <p:spPr bwMode="auto">
              <a:xfrm>
                <a:off x="9110107"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9" name="Rectangle 129">
                <a:extLst>
                  <a:ext uri="{FF2B5EF4-FFF2-40B4-BE49-F238E27FC236}">
                    <a16:creationId xmlns:a16="http://schemas.microsoft.com/office/drawing/2014/main" id="{D87AC368-5E8D-4C5D-A690-1695B23A39A6}"/>
                  </a:ext>
                </a:extLst>
              </p:cNvPr>
              <p:cNvSpPr>
                <a:spLocks noChangeArrowheads="1"/>
              </p:cNvSpPr>
              <p:nvPr/>
            </p:nvSpPr>
            <p:spPr bwMode="auto">
              <a:xfrm>
                <a:off x="8924293"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0" name="Rectangle 130">
                <a:extLst>
                  <a:ext uri="{FF2B5EF4-FFF2-40B4-BE49-F238E27FC236}">
                    <a16:creationId xmlns:a16="http://schemas.microsoft.com/office/drawing/2014/main" id="{4CAFB29B-61D5-4AD3-83E4-850CFEC70359}"/>
                  </a:ext>
                </a:extLst>
              </p:cNvPr>
              <p:cNvSpPr>
                <a:spLocks noChangeArrowheads="1"/>
              </p:cNvSpPr>
              <p:nvPr/>
            </p:nvSpPr>
            <p:spPr bwMode="auto">
              <a:xfrm>
                <a:off x="9110107"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1" name="Rectangle 131">
                <a:extLst>
                  <a:ext uri="{FF2B5EF4-FFF2-40B4-BE49-F238E27FC236}">
                    <a16:creationId xmlns:a16="http://schemas.microsoft.com/office/drawing/2014/main" id="{CA6FADFD-D006-45DF-A9EE-D15299FA75D2}"/>
                  </a:ext>
                </a:extLst>
              </p:cNvPr>
              <p:cNvSpPr>
                <a:spLocks noChangeArrowheads="1"/>
              </p:cNvSpPr>
              <p:nvPr/>
            </p:nvSpPr>
            <p:spPr bwMode="auto">
              <a:xfrm>
                <a:off x="8924293"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2" name="Rectangle 132">
                <a:extLst>
                  <a:ext uri="{FF2B5EF4-FFF2-40B4-BE49-F238E27FC236}">
                    <a16:creationId xmlns:a16="http://schemas.microsoft.com/office/drawing/2014/main" id="{67537B75-F248-45B2-BCEE-520A90AA8341}"/>
                  </a:ext>
                </a:extLst>
              </p:cNvPr>
              <p:cNvSpPr>
                <a:spLocks noChangeArrowheads="1"/>
              </p:cNvSpPr>
              <p:nvPr/>
            </p:nvSpPr>
            <p:spPr bwMode="auto">
              <a:xfrm>
                <a:off x="9110107"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3" name="Rectangle 133">
                <a:extLst>
                  <a:ext uri="{FF2B5EF4-FFF2-40B4-BE49-F238E27FC236}">
                    <a16:creationId xmlns:a16="http://schemas.microsoft.com/office/drawing/2014/main" id="{27A178F2-D6AA-451B-96CF-513B5EEF99D0}"/>
                  </a:ext>
                </a:extLst>
              </p:cNvPr>
              <p:cNvSpPr>
                <a:spLocks noChangeArrowheads="1"/>
              </p:cNvSpPr>
              <p:nvPr/>
            </p:nvSpPr>
            <p:spPr bwMode="auto">
              <a:xfrm>
                <a:off x="8924293"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4" name="Rectangle 134">
                <a:extLst>
                  <a:ext uri="{FF2B5EF4-FFF2-40B4-BE49-F238E27FC236}">
                    <a16:creationId xmlns:a16="http://schemas.microsoft.com/office/drawing/2014/main" id="{6DB9BA86-8B64-4A2B-A627-B6BC8541A885}"/>
                  </a:ext>
                </a:extLst>
              </p:cNvPr>
              <p:cNvSpPr>
                <a:spLocks noChangeArrowheads="1"/>
              </p:cNvSpPr>
              <p:nvPr/>
            </p:nvSpPr>
            <p:spPr bwMode="auto">
              <a:xfrm>
                <a:off x="9110107"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5" name="Rectangle 135">
                <a:extLst>
                  <a:ext uri="{FF2B5EF4-FFF2-40B4-BE49-F238E27FC236}">
                    <a16:creationId xmlns:a16="http://schemas.microsoft.com/office/drawing/2014/main" id="{A614EEAB-2F3E-401A-A0E0-CBD9A7BDD57A}"/>
                  </a:ext>
                </a:extLst>
              </p:cNvPr>
              <p:cNvSpPr>
                <a:spLocks noChangeArrowheads="1"/>
              </p:cNvSpPr>
              <p:nvPr/>
            </p:nvSpPr>
            <p:spPr bwMode="auto">
              <a:xfrm>
                <a:off x="8924293"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6" name="Rectangle 136">
                <a:extLst>
                  <a:ext uri="{FF2B5EF4-FFF2-40B4-BE49-F238E27FC236}">
                    <a16:creationId xmlns:a16="http://schemas.microsoft.com/office/drawing/2014/main" id="{4579FADF-A6C9-4592-81DF-2D5FD935C04A}"/>
                  </a:ext>
                </a:extLst>
              </p:cNvPr>
              <p:cNvSpPr>
                <a:spLocks noChangeArrowheads="1"/>
              </p:cNvSpPr>
              <p:nvPr/>
            </p:nvSpPr>
            <p:spPr bwMode="auto">
              <a:xfrm>
                <a:off x="9110107"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7" name="Rectangle 137">
                <a:extLst>
                  <a:ext uri="{FF2B5EF4-FFF2-40B4-BE49-F238E27FC236}">
                    <a16:creationId xmlns:a16="http://schemas.microsoft.com/office/drawing/2014/main" id="{A9392D5C-4EA2-4C91-A852-B28574B519F7}"/>
                  </a:ext>
                </a:extLst>
              </p:cNvPr>
              <p:cNvSpPr>
                <a:spLocks noChangeArrowheads="1"/>
              </p:cNvSpPr>
              <p:nvPr/>
            </p:nvSpPr>
            <p:spPr bwMode="auto">
              <a:xfrm>
                <a:off x="8996085" y="3323507"/>
                <a:ext cx="162588" cy="18421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38" name="Group 187">
              <a:extLst>
                <a:ext uri="{FF2B5EF4-FFF2-40B4-BE49-F238E27FC236}">
                  <a16:creationId xmlns:a16="http://schemas.microsoft.com/office/drawing/2014/main" id="{9B067AA3-85C5-4DAD-869A-097E6C426828}"/>
                </a:ext>
              </a:extLst>
            </p:cNvPr>
            <p:cNvGrpSpPr>
              <a:grpSpLocks/>
            </p:cNvGrpSpPr>
            <p:nvPr/>
          </p:nvGrpSpPr>
          <p:grpSpPr bwMode="auto">
            <a:xfrm>
              <a:off x="7412140" y="1751211"/>
              <a:ext cx="598648" cy="1061417"/>
              <a:chOff x="7425725" y="2293714"/>
              <a:chExt cx="643538" cy="1141886"/>
            </a:xfrm>
          </p:grpSpPr>
          <p:sp>
            <p:nvSpPr>
              <p:cNvPr id="39" name="Freeform 184">
                <a:extLst>
                  <a:ext uri="{FF2B5EF4-FFF2-40B4-BE49-F238E27FC236}">
                    <a16:creationId xmlns:a16="http://schemas.microsoft.com/office/drawing/2014/main" id="{EE223592-63FF-40A3-A7D7-6AD3840944C0}"/>
                  </a:ext>
                </a:extLst>
              </p:cNvPr>
              <p:cNvSpPr>
                <a:spLocks/>
              </p:cNvSpPr>
              <p:nvPr/>
            </p:nvSpPr>
            <p:spPr bwMode="auto">
              <a:xfrm>
                <a:off x="7425725" y="2293714"/>
                <a:ext cx="643538" cy="1141886"/>
              </a:xfrm>
              <a:custGeom>
                <a:avLst/>
                <a:gdLst>
                  <a:gd name="T0" fmla="*/ 328 w 328"/>
                  <a:gd name="T1" fmla="*/ 582 h 582"/>
                  <a:gd name="T2" fmla="*/ 0 w 328"/>
                  <a:gd name="T3" fmla="*/ 582 h 582"/>
                  <a:gd name="T4" fmla="*/ 0 w 328"/>
                  <a:gd name="T5" fmla="*/ 88 h 582"/>
                  <a:gd name="T6" fmla="*/ 169 w 328"/>
                  <a:gd name="T7" fmla="*/ 0 h 582"/>
                  <a:gd name="T8" fmla="*/ 328 w 328"/>
                  <a:gd name="T9" fmla="*/ 87 h 582"/>
                  <a:gd name="T10" fmla="*/ 328 w 328"/>
                  <a:gd name="T11" fmla="*/ 582 h 582"/>
                </a:gdLst>
                <a:ahLst/>
                <a:cxnLst>
                  <a:cxn ang="0">
                    <a:pos x="T0" y="T1"/>
                  </a:cxn>
                  <a:cxn ang="0">
                    <a:pos x="T2" y="T3"/>
                  </a:cxn>
                  <a:cxn ang="0">
                    <a:pos x="T4" y="T5"/>
                  </a:cxn>
                  <a:cxn ang="0">
                    <a:pos x="T6" y="T7"/>
                  </a:cxn>
                  <a:cxn ang="0">
                    <a:pos x="T8" y="T9"/>
                  </a:cxn>
                  <a:cxn ang="0">
                    <a:pos x="T10" y="T11"/>
                  </a:cxn>
                </a:cxnLst>
                <a:rect l="0" t="0" r="r" b="b"/>
                <a:pathLst>
                  <a:path w="328" h="582">
                    <a:moveTo>
                      <a:pt x="328" y="582"/>
                    </a:moveTo>
                    <a:lnTo>
                      <a:pt x="0" y="582"/>
                    </a:lnTo>
                    <a:lnTo>
                      <a:pt x="0" y="88"/>
                    </a:lnTo>
                    <a:lnTo>
                      <a:pt x="169" y="0"/>
                    </a:lnTo>
                    <a:lnTo>
                      <a:pt x="328" y="87"/>
                    </a:lnTo>
                    <a:lnTo>
                      <a:pt x="328" y="582"/>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40" name="Rectangle 185">
                <a:extLst>
                  <a:ext uri="{FF2B5EF4-FFF2-40B4-BE49-F238E27FC236}">
                    <a16:creationId xmlns:a16="http://schemas.microsoft.com/office/drawing/2014/main" id="{B0856E33-7628-4EEB-B984-3B3C0E60506B}"/>
                  </a:ext>
                </a:extLst>
              </p:cNvPr>
              <p:cNvSpPr>
                <a:spLocks noChangeArrowheads="1"/>
              </p:cNvSpPr>
              <p:nvPr/>
            </p:nvSpPr>
            <p:spPr bwMode="auto">
              <a:xfrm>
                <a:off x="7565440" y="2564886"/>
                <a:ext cx="129132"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1" name="Rectangle 186">
                <a:extLst>
                  <a:ext uri="{FF2B5EF4-FFF2-40B4-BE49-F238E27FC236}">
                    <a16:creationId xmlns:a16="http://schemas.microsoft.com/office/drawing/2014/main" id="{2C14F23B-A840-4910-8A46-46DCC2D24D9A}"/>
                  </a:ext>
                </a:extLst>
              </p:cNvPr>
              <p:cNvSpPr>
                <a:spLocks noChangeArrowheads="1"/>
              </p:cNvSpPr>
              <p:nvPr/>
            </p:nvSpPr>
            <p:spPr bwMode="auto">
              <a:xfrm>
                <a:off x="7800417" y="2564886"/>
                <a:ext cx="131248"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2" name="Rectangle 187">
                <a:extLst>
                  <a:ext uri="{FF2B5EF4-FFF2-40B4-BE49-F238E27FC236}">
                    <a16:creationId xmlns:a16="http://schemas.microsoft.com/office/drawing/2014/main" id="{3075A804-1337-4BA2-BCFB-488409C7EF3D}"/>
                  </a:ext>
                </a:extLst>
              </p:cNvPr>
              <p:cNvSpPr>
                <a:spLocks noChangeArrowheads="1"/>
              </p:cNvSpPr>
              <p:nvPr/>
            </p:nvSpPr>
            <p:spPr bwMode="auto">
              <a:xfrm>
                <a:off x="7565440" y="2778856"/>
                <a:ext cx="129132"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3" name="Rectangle 188">
                <a:extLst>
                  <a:ext uri="{FF2B5EF4-FFF2-40B4-BE49-F238E27FC236}">
                    <a16:creationId xmlns:a16="http://schemas.microsoft.com/office/drawing/2014/main" id="{7B367BD7-C6CF-4F71-8ED7-3D0BCDE551AC}"/>
                  </a:ext>
                </a:extLst>
              </p:cNvPr>
              <p:cNvSpPr>
                <a:spLocks noChangeArrowheads="1"/>
              </p:cNvSpPr>
              <p:nvPr/>
            </p:nvSpPr>
            <p:spPr bwMode="auto">
              <a:xfrm>
                <a:off x="7800417" y="2778856"/>
                <a:ext cx="131248"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4" name="Rectangle 189">
                <a:extLst>
                  <a:ext uri="{FF2B5EF4-FFF2-40B4-BE49-F238E27FC236}">
                    <a16:creationId xmlns:a16="http://schemas.microsoft.com/office/drawing/2014/main" id="{EDC23A94-E091-4250-873B-378A0886EBFD}"/>
                  </a:ext>
                </a:extLst>
              </p:cNvPr>
              <p:cNvSpPr>
                <a:spLocks noChangeArrowheads="1"/>
              </p:cNvSpPr>
              <p:nvPr/>
            </p:nvSpPr>
            <p:spPr bwMode="auto">
              <a:xfrm>
                <a:off x="7565440" y="2990709"/>
                <a:ext cx="129132"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5" name="Rectangle 190">
                <a:extLst>
                  <a:ext uri="{FF2B5EF4-FFF2-40B4-BE49-F238E27FC236}">
                    <a16:creationId xmlns:a16="http://schemas.microsoft.com/office/drawing/2014/main" id="{D0D57078-57BE-4CC9-A808-839FA0CA2514}"/>
                  </a:ext>
                </a:extLst>
              </p:cNvPr>
              <p:cNvSpPr>
                <a:spLocks noChangeArrowheads="1"/>
              </p:cNvSpPr>
              <p:nvPr/>
            </p:nvSpPr>
            <p:spPr bwMode="auto">
              <a:xfrm>
                <a:off x="7800417" y="2990709"/>
                <a:ext cx="131248"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6" name="Rectangle 191">
                <a:extLst>
                  <a:ext uri="{FF2B5EF4-FFF2-40B4-BE49-F238E27FC236}">
                    <a16:creationId xmlns:a16="http://schemas.microsoft.com/office/drawing/2014/main" id="{CC3888BD-1EF8-4E71-8305-0B198B5E59C6}"/>
                  </a:ext>
                </a:extLst>
              </p:cNvPr>
              <p:cNvSpPr>
                <a:spLocks noChangeArrowheads="1"/>
              </p:cNvSpPr>
              <p:nvPr/>
            </p:nvSpPr>
            <p:spPr bwMode="auto">
              <a:xfrm>
                <a:off x="7654350" y="3202562"/>
                <a:ext cx="205340" cy="233038"/>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47" name="Group 177">
              <a:extLst>
                <a:ext uri="{FF2B5EF4-FFF2-40B4-BE49-F238E27FC236}">
                  <a16:creationId xmlns:a16="http://schemas.microsoft.com/office/drawing/2014/main" id="{00D9A43F-F4B6-42AD-AEF0-416A635CCBA6}"/>
                </a:ext>
              </a:extLst>
            </p:cNvPr>
            <p:cNvGrpSpPr>
              <a:grpSpLocks/>
            </p:cNvGrpSpPr>
            <p:nvPr/>
          </p:nvGrpSpPr>
          <p:grpSpPr bwMode="auto">
            <a:xfrm>
              <a:off x="7922172" y="1077733"/>
              <a:ext cx="858587" cy="1738834"/>
              <a:chOff x="7972425" y="1589088"/>
              <a:chExt cx="923925" cy="1868487"/>
            </a:xfrm>
          </p:grpSpPr>
          <p:sp>
            <p:nvSpPr>
              <p:cNvPr id="48" name="Rectangle 90">
                <a:extLst>
                  <a:ext uri="{FF2B5EF4-FFF2-40B4-BE49-F238E27FC236}">
                    <a16:creationId xmlns:a16="http://schemas.microsoft.com/office/drawing/2014/main" id="{104D64ED-23F6-4737-B31B-46C2A7BFF853}"/>
                  </a:ext>
                </a:extLst>
              </p:cNvPr>
              <p:cNvSpPr>
                <a:spLocks noChangeArrowheads="1"/>
              </p:cNvSpPr>
              <p:nvPr/>
            </p:nvSpPr>
            <p:spPr bwMode="auto">
              <a:xfrm>
                <a:off x="7999973" y="1986909"/>
                <a:ext cx="851876" cy="1470666"/>
              </a:xfrm>
              <a:prstGeom prst="rect">
                <a:avLst/>
              </a:prstGeom>
              <a:solidFill>
                <a:schemeClr val="accent5"/>
              </a:solidFill>
              <a:ln>
                <a:noFill/>
              </a:ln>
            </p:spPr>
            <p:txBody>
              <a:bodyPr lIns="68580" tIns="34290" rIns="68580" bIns="34290"/>
              <a:lstStyle/>
              <a:p>
                <a:pPr>
                  <a:defRPr/>
                </a:pPr>
                <a:endParaRPr lang="en-US" sz="1350"/>
              </a:p>
            </p:txBody>
          </p:sp>
          <p:sp>
            <p:nvSpPr>
              <p:cNvPr id="49" name="Rectangle 91">
                <a:extLst>
                  <a:ext uri="{FF2B5EF4-FFF2-40B4-BE49-F238E27FC236}">
                    <a16:creationId xmlns:a16="http://schemas.microsoft.com/office/drawing/2014/main" id="{9C2EA717-192E-47E9-99A3-A29D52324214}"/>
                  </a:ext>
                </a:extLst>
              </p:cNvPr>
              <p:cNvSpPr>
                <a:spLocks noChangeArrowheads="1"/>
              </p:cNvSpPr>
              <p:nvPr/>
            </p:nvSpPr>
            <p:spPr bwMode="auto">
              <a:xfrm>
                <a:off x="8707750" y="2092712"/>
                <a:ext cx="74169"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0" name="Rectangle 92">
                <a:extLst>
                  <a:ext uri="{FF2B5EF4-FFF2-40B4-BE49-F238E27FC236}">
                    <a16:creationId xmlns:a16="http://schemas.microsoft.com/office/drawing/2014/main" id="{2A0B2DE7-0405-4D2D-B516-43C433166B64}"/>
                  </a:ext>
                </a:extLst>
              </p:cNvPr>
              <p:cNvSpPr>
                <a:spLocks noChangeArrowheads="1"/>
              </p:cNvSpPr>
              <p:nvPr/>
            </p:nvSpPr>
            <p:spPr bwMode="auto">
              <a:xfrm>
                <a:off x="8493722"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1" name="Rectangle 93">
                <a:extLst>
                  <a:ext uri="{FF2B5EF4-FFF2-40B4-BE49-F238E27FC236}">
                    <a16:creationId xmlns:a16="http://schemas.microsoft.com/office/drawing/2014/main" id="{591DF425-9B9B-4D80-8D58-F1FF982512F4}"/>
                  </a:ext>
                </a:extLst>
              </p:cNvPr>
              <p:cNvSpPr>
                <a:spLocks noChangeArrowheads="1"/>
              </p:cNvSpPr>
              <p:nvPr/>
            </p:nvSpPr>
            <p:spPr bwMode="auto">
              <a:xfrm>
                <a:off x="828181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2" name="Rectangle 94">
                <a:extLst>
                  <a:ext uri="{FF2B5EF4-FFF2-40B4-BE49-F238E27FC236}">
                    <a16:creationId xmlns:a16="http://schemas.microsoft.com/office/drawing/2014/main" id="{75795A2E-4FE8-49DF-841B-D8F01E993F6C}"/>
                  </a:ext>
                </a:extLst>
              </p:cNvPr>
              <p:cNvSpPr>
                <a:spLocks noChangeArrowheads="1"/>
              </p:cNvSpPr>
              <p:nvPr/>
            </p:nvSpPr>
            <p:spPr bwMode="auto">
              <a:xfrm>
                <a:off x="806990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3" name="Rectangle 95">
                <a:extLst>
                  <a:ext uri="{FF2B5EF4-FFF2-40B4-BE49-F238E27FC236}">
                    <a16:creationId xmlns:a16="http://schemas.microsoft.com/office/drawing/2014/main" id="{C051988C-9514-4043-B764-AEF4A60E7020}"/>
                  </a:ext>
                </a:extLst>
              </p:cNvPr>
              <p:cNvSpPr>
                <a:spLocks noChangeArrowheads="1"/>
              </p:cNvSpPr>
              <p:nvPr/>
            </p:nvSpPr>
            <p:spPr bwMode="auto">
              <a:xfrm>
                <a:off x="8707750" y="2285274"/>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4" name="Rectangle 96">
                <a:extLst>
                  <a:ext uri="{FF2B5EF4-FFF2-40B4-BE49-F238E27FC236}">
                    <a16:creationId xmlns:a16="http://schemas.microsoft.com/office/drawing/2014/main" id="{D2F4BDC5-8828-404D-AF1A-34DB5154275A}"/>
                  </a:ext>
                </a:extLst>
              </p:cNvPr>
              <p:cNvSpPr>
                <a:spLocks noChangeArrowheads="1"/>
              </p:cNvSpPr>
              <p:nvPr/>
            </p:nvSpPr>
            <p:spPr bwMode="auto">
              <a:xfrm>
                <a:off x="8493722"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5" name="Rectangle 97">
                <a:extLst>
                  <a:ext uri="{FF2B5EF4-FFF2-40B4-BE49-F238E27FC236}">
                    <a16:creationId xmlns:a16="http://schemas.microsoft.com/office/drawing/2014/main" id="{9AA0D385-0D7D-441E-9B1C-3C11C1DAA1FB}"/>
                  </a:ext>
                </a:extLst>
              </p:cNvPr>
              <p:cNvSpPr>
                <a:spLocks noChangeArrowheads="1"/>
              </p:cNvSpPr>
              <p:nvPr/>
            </p:nvSpPr>
            <p:spPr bwMode="auto">
              <a:xfrm>
                <a:off x="8281808"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6" name="Rectangle 98">
                <a:extLst>
                  <a:ext uri="{FF2B5EF4-FFF2-40B4-BE49-F238E27FC236}">
                    <a16:creationId xmlns:a16="http://schemas.microsoft.com/office/drawing/2014/main" id="{D5CB128F-0FD4-42C7-A678-86BE9A46F0ED}"/>
                  </a:ext>
                </a:extLst>
              </p:cNvPr>
              <p:cNvSpPr>
                <a:spLocks noChangeArrowheads="1"/>
              </p:cNvSpPr>
              <p:nvPr/>
            </p:nvSpPr>
            <p:spPr bwMode="auto">
              <a:xfrm>
                <a:off x="8069903"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7" name="Rectangle 99">
                <a:extLst>
                  <a:ext uri="{FF2B5EF4-FFF2-40B4-BE49-F238E27FC236}">
                    <a16:creationId xmlns:a16="http://schemas.microsoft.com/office/drawing/2014/main" id="{19A8821C-6CAD-4115-AB77-71298F7EAB0B}"/>
                  </a:ext>
                </a:extLst>
              </p:cNvPr>
              <p:cNvSpPr>
                <a:spLocks noChangeArrowheads="1"/>
              </p:cNvSpPr>
              <p:nvPr/>
            </p:nvSpPr>
            <p:spPr bwMode="auto">
              <a:xfrm>
                <a:off x="8707750" y="2477836"/>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8" name="Rectangle 100">
                <a:extLst>
                  <a:ext uri="{FF2B5EF4-FFF2-40B4-BE49-F238E27FC236}">
                    <a16:creationId xmlns:a16="http://schemas.microsoft.com/office/drawing/2014/main" id="{1D31B3D8-5F75-405D-B635-F21F576AB890}"/>
                  </a:ext>
                </a:extLst>
              </p:cNvPr>
              <p:cNvSpPr>
                <a:spLocks noChangeArrowheads="1"/>
              </p:cNvSpPr>
              <p:nvPr/>
            </p:nvSpPr>
            <p:spPr bwMode="auto">
              <a:xfrm>
                <a:off x="8493722"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9" name="Rectangle 101">
                <a:extLst>
                  <a:ext uri="{FF2B5EF4-FFF2-40B4-BE49-F238E27FC236}">
                    <a16:creationId xmlns:a16="http://schemas.microsoft.com/office/drawing/2014/main" id="{A8E6C66A-432C-403D-82E3-B878B1BF34EA}"/>
                  </a:ext>
                </a:extLst>
              </p:cNvPr>
              <p:cNvSpPr>
                <a:spLocks noChangeArrowheads="1"/>
              </p:cNvSpPr>
              <p:nvPr/>
            </p:nvSpPr>
            <p:spPr bwMode="auto">
              <a:xfrm>
                <a:off x="828181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0" name="Rectangle 102">
                <a:extLst>
                  <a:ext uri="{FF2B5EF4-FFF2-40B4-BE49-F238E27FC236}">
                    <a16:creationId xmlns:a16="http://schemas.microsoft.com/office/drawing/2014/main" id="{327DDCE9-47A8-4E6D-AB21-0BD87D828EF8}"/>
                  </a:ext>
                </a:extLst>
              </p:cNvPr>
              <p:cNvSpPr>
                <a:spLocks noChangeArrowheads="1"/>
              </p:cNvSpPr>
              <p:nvPr/>
            </p:nvSpPr>
            <p:spPr bwMode="auto">
              <a:xfrm>
                <a:off x="806990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1" name="Rectangle 103">
                <a:extLst>
                  <a:ext uri="{FF2B5EF4-FFF2-40B4-BE49-F238E27FC236}">
                    <a16:creationId xmlns:a16="http://schemas.microsoft.com/office/drawing/2014/main" id="{2782B6EA-7D19-45C5-84A8-1CB5E27C1CE7}"/>
                  </a:ext>
                </a:extLst>
              </p:cNvPr>
              <p:cNvSpPr>
                <a:spLocks noChangeArrowheads="1"/>
              </p:cNvSpPr>
              <p:nvPr/>
            </p:nvSpPr>
            <p:spPr bwMode="auto">
              <a:xfrm>
                <a:off x="8707750" y="2670398"/>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2" name="Rectangle 104">
                <a:extLst>
                  <a:ext uri="{FF2B5EF4-FFF2-40B4-BE49-F238E27FC236}">
                    <a16:creationId xmlns:a16="http://schemas.microsoft.com/office/drawing/2014/main" id="{16023BE1-351C-44D0-AA49-E1C03FDCA1E8}"/>
                  </a:ext>
                </a:extLst>
              </p:cNvPr>
              <p:cNvSpPr>
                <a:spLocks noChangeArrowheads="1"/>
              </p:cNvSpPr>
              <p:nvPr/>
            </p:nvSpPr>
            <p:spPr bwMode="auto">
              <a:xfrm>
                <a:off x="8493722"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3" name="Rectangle 105">
                <a:extLst>
                  <a:ext uri="{FF2B5EF4-FFF2-40B4-BE49-F238E27FC236}">
                    <a16:creationId xmlns:a16="http://schemas.microsoft.com/office/drawing/2014/main" id="{D78F5741-3DA4-4AD8-A511-EE5CC5789E56}"/>
                  </a:ext>
                </a:extLst>
              </p:cNvPr>
              <p:cNvSpPr>
                <a:spLocks noChangeArrowheads="1"/>
              </p:cNvSpPr>
              <p:nvPr/>
            </p:nvSpPr>
            <p:spPr bwMode="auto">
              <a:xfrm>
                <a:off x="828181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4" name="Rectangle 106">
                <a:extLst>
                  <a:ext uri="{FF2B5EF4-FFF2-40B4-BE49-F238E27FC236}">
                    <a16:creationId xmlns:a16="http://schemas.microsoft.com/office/drawing/2014/main" id="{23AAC9DE-0FD3-42C6-B7DC-733BDCB503C8}"/>
                  </a:ext>
                </a:extLst>
              </p:cNvPr>
              <p:cNvSpPr>
                <a:spLocks noChangeArrowheads="1"/>
              </p:cNvSpPr>
              <p:nvPr/>
            </p:nvSpPr>
            <p:spPr bwMode="auto">
              <a:xfrm>
                <a:off x="806990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5" name="Rectangle 107">
                <a:extLst>
                  <a:ext uri="{FF2B5EF4-FFF2-40B4-BE49-F238E27FC236}">
                    <a16:creationId xmlns:a16="http://schemas.microsoft.com/office/drawing/2014/main" id="{76BC0672-7758-462A-8DA5-73CB8606E36E}"/>
                  </a:ext>
                </a:extLst>
              </p:cNvPr>
              <p:cNvSpPr>
                <a:spLocks noChangeArrowheads="1"/>
              </p:cNvSpPr>
              <p:nvPr/>
            </p:nvSpPr>
            <p:spPr bwMode="auto">
              <a:xfrm>
                <a:off x="8707750" y="2865076"/>
                <a:ext cx="74169"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6" name="Rectangle 108">
                <a:extLst>
                  <a:ext uri="{FF2B5EF4-FFF2-40B4-BE49-F238E27FC236}">
                    <a16:creationId xmlns:a16="http://schemas.microsoft.com/office/drawing/2014/main" id="{91D2676C-4025-4C13-93B1-1C96A703C6FC}"/>
                  </a:ext>
                </a:extLst>
              </p:cNvPr>
              <p:cNvSpPr>
                <a:spLocks noChangeArrowheads="1"/>
              </p:cNvSpPr>
              <p:nvPr/>
            </p:nvSpPr>
            <p:spPr bwMode="auto">
              <a:xfrm>
                <a:off x="8493722"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7" name="Rectangle 109">
                <a:extLst>
                  <a:ext uri="{FF2B5EF4-FFF2-40B4-BE49-F238E27FC236}">
                    <a16:creationId xmlns:a16="http://schemas.microsoft.com/office/drawing/2014/main" id="{527F44A3-5455-43E9-B573-CCF533DD6F60}"/>
                  </a:ext>
                </a:extLst>
              </p:cNvPr>
              <p:cNvSpPr>
                <a:spLocks noChangeArrowheads="1"/>
              </p:cNvSpPr>
              <p:nvPr/>
            </p:nvSpPr>
            <p:spPr bwMode="auto">
              <a:xfrm>
                <a:off x="828181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8" name="Rectangle 110">
                <a:extLst>
                  <a:ext uri="{FF2B5EF4-FFF2-40B4-BE49-F238E27FC236}">
                    <a16:creationId xmlns:a16="http://schemas.microsoft.com/office/drawing/2014/main" id="{5E9E15DE-D7D2-49B3-A53C-E43C7371F2C8}"/>
                  </a:ext>
                </a:extLst>
              </p:cNvPr>
              <p:cNvSpPr>
                <a:spLocks noChangeArrowheads="1"/>
              </p:cNvSpPr>
              <p:nvPr/>
            </p:nvSpPr>
            <p:spPr bwMode="auto">
              <a:xfrm>
                <a:off x="806990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9" name="Rectangle 111">
                <a:extLst>
                  <a:ext uri="{FF2B5EF4-FFF2-40B4-BE49-F238E27FC236}">
                    <a16:creationId xmlns:a16="http://schemas.microsoft.com/office/drawing/2014/main" id="{9F9BE0B3-B0B8-4953-B931-CAA57CAB30F5}"/>
                  </a:ext>
                </a:extLst>
              </p:cNvPr>
              <p:cNvSpPr>
                <a:spLocks noChangeArrowheads="1"/>
              </p:cNvSpPr>
              <p:nvPr/>
            </p:nvSpPr>
            <p:spPr bwMode="auto">
              <a:xfrm>
                <a:off x="8707750" y="3055522"/>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0" name="Rectangle 112">
                <a:extLst>
                  <a:ext uri="{FF2B5EF4-FFF2-40B4-BE49-F238E27FC236}">
                    <a16:creationId xmlns:a16="http://schemas.microsoft.com/office/drawing/2014/main" id="{6D9BC7F7-773C-4CC1-B4C5-352191A1F40C}"/>
                  </a:ext>
                </a:extLst>
              </p:cNvPr>
              <p:cNvSpPr>
                <a:spLocks noChangeArrowheads="1"/>
              </p:cNvSpPr>
              <p:nvPr/>
            </p:nvSpPr>
            <p:spPr bwMode="auto">
              <a:xfrm>
                <a:off x="8493722"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1" name="Rectangle 113">
                <a:extLst>
                  <a:ext uri="{FF2B5EF4-FFF2-40B4-BE49-F238E27FC236}">
                    <a16:creationId xmlns:a16="http://schemas.microsoft.com/office/drawing/2014/main" id="{F7E25C96-602C-4658-85F0-85EF229F8898}"/>
                  </a:ext>
                </a:extLst>
              </p:cNvPr>
              <p:cNvSpPr>
                <a:spLocks noChangeArrowheads="1"/>
              </p:cNvSpPr>
              <p:nvPr/>
            </p:nvSpPr>
            <p:spPr bwMode="auto">
              <a:xfrm>
                <a:off x="828181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2" name="Rectangle 114">
                <a:extLst>
                  <a:ext uri="{FF2B5EF4-FFF2-40B4-BE49-F238E27FC236}">
                    <a16:creationId xmlns:a16="http://schemas.microsoft.com/office/drawing/2014/main" id="{531C2A42-BC02-48A9-A059-3A6D307E5577}"/>
                  </a:ext>
                </a:extLst>
              </p:cNvPr>
              <p:cNvSpPr>
                <a:spLocks noChangeArrowheads="1"/>
              </p:cNvSpPr>
              <p:nvPr/>
            </p:nvSpPr>
            <p:spPr bwMode="auto">
              <a:xfrm>
                <a:off x="806990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3" name="Rectangle 116">
                <a:extLst>
                  <a:ext uri="{FF2B5EF4-FFF2-40B4-BE49-F238E27FC236}">
                    <a16:creationId xmlns:a16="http://schemas.microsoft.com/office/drawing/2014/main" id="{414439A9-42DE-4DB3-9088-78B7B31FEE3B}"/>
                  </a:ext>
                </a:extLst>
              </p:cNvPr>
              <p:cNvSpPr>
                <a:spLocks noChangeArrowheads="1"/>
              </p:cNvSpPr>
              <p:nvPr/>
            </p:nvSpPr>
            <p:spPr bwMode="auto">
              <a:xfrm>
                <a:off x="7972425" y="1940355"/>
                <a:ext cx="923925" cy="46553"/>
              </a:xfrm>
              <a:prstGeom prst="rect">
                <a:avLst/>
              </a:prstGeom>
              <a:solidFill>
                <a:schemeClr val="accent5">
                  <a:lumMod val="75000"/>
                </a:schemeClr>
              </a:solidFill>
              <a:ln>
                <a:noFill/>
              </a:ln>
            </p:spPr>
            <p:txBody>
              <a:bodyPr lIns="68580" tIns="34290" rIns="68580" bIns="34290"/>
              <a:lstStyle/>
              <a:p>
                <a:pPr>
                  <a:defRPr/>
                </a:pPr>
                <a:endParaRPr lang="en-US" sz="1350"/>
              </a:p>
            </p:txBody>
          </p:sp>
          <p:sp>
            <p:nvSpPr>
              <p:cNvPr id="74" name="Freeform 117">
                <a:extLst>
                  <a:ext uri="{FF2B5EF4-FFF2-40B4-BE49-F238E27FC236}">
                    <a16:creationId xmlns:a16="http://schemas.microsoft.com/office/drawing/2014/main" id="{5A785EE1-29CD-4BCB-A8D5-B318CDAA8A0A}"/>
                  </a:ext>
                </a:extLst>
              </p:cNvPr>
              <p:cNvSpPr>
                <a:spLocks/>
              </p:cNvSpPr>
              <p:nvPr/>
            </p:nvSpPr>
            <p:spPr bwMode="auto">
              <a:xfrm>
                <a:off x="7999973" y="1589088"/>
                <a:ext cx="851876" cy="351267"/>
              </a:xfrm>
              <a:custGeom>
                <a:avLst/>
                <a:gdLst>
                  <a:gd name="T0" fmla="*/ 47 w 283"/>
                  <a:gd name="T1" fmla="*/ 67 h 117"/>
                  <a:gd name="T2" fmla="*/ 142 w 283"/>
                  <a:gd name="T3" fmla="*/ 0 h 117"/>
                  <a:gd name="T4" fmla="*/ 237 w 283"/>
                  <a:gd name="T5" fmla="*/ 67 h 117"/>
                  <a:gd name="T6" fmla="*/ 283 w 283"/>
                  <a:gd name="T7" fmla="*/ 67 h 117"/>
                  <a:gd name="T8" fmla="*/ 283 w 283"/>
                  <a:gd name="T9" fmla="*/ 117 h 117"/>
                  <a:gd name="T10" fmla="*/ 0 w 283"/>
                  <a:gd name="T11" fmla="*/ 117 h 117"/>
                  <a:gd name="T12" fmla="*/ 0 w 283"/>
                  <a:gd name="T13" fmla="*/ 67 h 117"/>
                  <a:gd name="T14" fmla="*/ 47 w 283"/>
                  <a:gd name="T15" fmla="*/ 67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117">
                    <a:moveTo>
                      <a:pt x="47" y="67"/>
                    </a:moveTo>
                    <a:cubicBezTo>
                      <a:pt x="60" y="28"/>
                      <a:pt x="98" y="0"/>
                      <a:pt x="142" y="0"/>
                    </a:cubicBezTo>
                    <a:cubicBezTo>
                      <a:pt x="186" y="0"/>
                      <a:pt x="223" y="28"/>
                      <a:pt x="237" y="67"/>
                    </a:cubicBezTo>
                    <a:cubicBezTo>
                      <a:pt x="283" y="67"/>
                      <a:pt x="283" y="67"/>
                      <a:pt x="283" y="67"/>
                    </a:cubicBezTo>
                    <a:cubicBezTo>
                      <a:pt x="283" y="117"/>
                      <a:pt x="283" y="117"/>
                      <a:pt x="283" y="117"/>
                    </a:cubicBezTo>
                    <a:cubicBezTo>
                      <a:pt x="0" y="117"/>
                      <a:pt x="0" y="117"/>
                      <a:pt x="0" y="117"/>
                    </a:cubicBezTo>
                    <a:cubicBezTo>
                      <a:pt x="0" y="67"/>
                      <a:pt x="0" y="67"/>
                      <a:pt x="0" y="67"/>
                    </a:cubicBezTo>
                    <a:lnTo>
                      <a:pt x="47" y="67"/>
                    </a:lnTo>
                    <a:close/>
                  </a:path>
                </a:pathLst>
              </a:custGeom>
              <a:solidFill>
                <a:schemeClr val="accent5"/>
              </a:solidFill>
              <a:ln>
                <a:noFill/>
              </a:ln>
            </p:spPr>
            <p:txBody>
              <a:bodyPr lIns="68580" tIns="34290" rIns="68580" bIns="34290"/>
              <a:lstStyle/>
              <a:p>
                <a:pPr>
                  <a:defRPr/>
                </a:pPr>
                <a:endParaRPr lang="en-US" sz="1350"/>
              </a:p>
            </p:txBody>
          </p:sp>
          <p:sp>
            <p:nvSpPr>
              <p:cNvPr id="75" name="Freeform 118">
                <a:extLst>
                  <a:ext uri="{FF2B5EF4-FFF2-40B4-BE49-F238E27FC236}">
                    <a16:creationId xmlns:a16="http://schemas.microsoft.com/office/drawing/2014/main" id="{B29EE554-2AF9-4D52-80CF-E89D18BC36C7}"/>
                  </a:ext>
                </a:extLst>
              </p:cNvPr>
              <p:cNvSpPr>
                <a:spLocks/>
              </p:cNvSpPr>
              <p:nvPr/>
            </p:nvSpPr>
            <p:spPr bwMode="auto">
              <a:xfrm>
                <a:off x="8197049" y="1663150"/>
                <a:ext cx="455605" cy="226420"/>
              </a:xfrm>
              <a:custGeom>
                <a:avLst/>
                <a:gdLst>
                  <a:gd name="T0" fmla="*/ 0 w 151"/>
                  <a:gd name="T1" fmla="*/ 75 h 75"/>
                  <a:gd name="T2" fmla="*/ 76 w 151"/>
                  <a:gd name="T3" fmla="*/ 0 h 75"/>
                  <a:gd name="T4" fmla="*/ 151 w 151"/>
                  <a:gd name="T5" fmla="*/ 75 h 75"/>
                </a:gdLst>
                <a:ahLst/>
                <a:cxnLst>
                  <a:cxn ang="0">
                    <a:pos x="T0" y="T1"/>
                  </a:cxn>
                  <a:cxn ang="0">
                    <a:pos x="T2" y="T3"/>
                  </a:cxn>
                  <a:cxn ang="0">
                    <a:pos x="T4" y="T5"/>
                  </a:cxn>
                </a:cxnLst>
                <a:rect l="0" t="0" r="r" b="b"/>
                <a:pathLst>
                  <a:path w="151" h="75">
                    <a:moveTo>
                      <a:pt x="0" y="75"/>
                    </a:moveTo>
                    <a:cubicBezTo>
                      <a:pt x="0" y="34"/>
                      <a:pt x="34" y="0"/>
                      <a:pt x="76" y="0"/>
                    </a:cubicBezTo>
                    <a:cubicBezTo>
                      <a:pt x="117" y="0"/>
                      <a:pt x="151" y="34"/>
                      <a:pt x="151" y="75"/>
                    </a:cubicBezTo>
                  </a:path>
                </a:pathLst>
              </a:custGeom>
              <a:solidFill>
                <a:schemeClr val="accent5">
                  <a:lumMod val="75000"/>
                </a:schemeClr>
              </a:solidFill>
              <a:ln>
                <a:noFill/>
              </a:ln>
            </p:spPr>
            <p:txBody>
              <a:bodyPr lIns="68580" tIns="34290" rIns="68580" bIns="34290"/>
              <a:lstStyle/>
              <a:p>
                <a:pPr>
                  <a:defRPr/>
                </a:pPr>
                <a:endParaRPr lang="en-US" sz="1350"/>
              </a:p>
            </p:txBody>
          </p:sp>
        </p:grpSp>
      </p:grpSp>
      <p:grpSp>
        <p:nvGrpSpPr>
          <p:cNvPr id="81" name="Group 72">
            <a:extLst>
              <a:ext uri="{FF2B5EF4-FFF2-40B4-BE49-F238E27FC236}">
                <a16:creationId xmlns:a16="http://schemas.microsoft.com/office/drawing/2014/main" id="{4B3674FE-46FA-44F2-9F9B-8ACC90714508}"/>
              </a:ext>
            </a:extLst>
          </p:cNvPr>
          <p:cNvGrpSpPr>
            <a:grpSpLocks/>
          </p:cNvGrpSpPr>
          <p:nvPr/>
        </p:nvGrpSpPr>
        <p:grpSpPr bwMode="auto">
          <a:xfrm>
            <a:off x="1768650" y="6370623"/>
            <a:ext cx="675447" cy="708925"/>
            <a:chOff x="5379262" y="2417763"/>
            <a:chExt cx="525733" cy="552552"/>
          </a:xfrm>
        </p:grpSpPr>
        <p:grpSp>
          <p:nvGrpSpPr>
            <p:cNvPr id="82" name="Group 73">
              <a:extLst>
                <a:ext uri="{FF2B5EF4-FFF2-40B4-BE49-F238E27FC236}">
                  <a16:creationId xmlns:a16="http://schemas.microsoft.com/office/drawing/2014/main" id="{683AFD9D-3F95-4A5A-8B8F-05344F399631}"/>
                </a:ext>
              </a:extLst>
            </p:cNvPr>
            <p:cNvGrpSpPr>
              <a:grpSpLocks/>
            </p:cNvGrpSpPr>
            <p:nvPr/>
          </p:nvGrpSpPr>
          <p:grpSpPr bwMode="auto">
            <a:xfrm flipH="1">
              <a:off x="5511496" y="2417763"/>
              <a:ext cx="245161" cy="552552"/>
              <a:chOff x="6945313" y="2481263"/>
              <a:chExt cx="206376" cy="465137"/>
            </a:xfrm>
          </p:grpSpPr>
          <p:sp>
            <p:nvSpPr>
              <p:cNvPr id="93" name="Rectangle 132">
                <a:extLst>
                  <a:ext uri="{FF2B5EF4-FFF2-40B4-BE49-F238E27FC236}">
                    <a16:creationId xmlns:a16="http://schemas.microsoft.com/office/drawing/2014/main" id="{14A62F39-049B-406A-9423-63F68218BD1B}"/>
                  </a:ext>
                </a:extLst>
              </p:cNvPr>
              <p:cNvSpPr>
                <a:spLocks noChangeArrowheads="1"/>
              </p:cNvSpPr>
              <p:nvPr/>
            </p:nvSpPr>
            <p:spPr bwMode="auto">
              <a:xfrm>
                <a:off x="7035916" y="2806859"/>
                <a:ext cx="25805"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4" name="Rectangle 133">
                <a:extLst>
                  <a:ext uri="{FF2B5EF4-FFF2-40B4-BE49-F238E27FC236}">
                    <a16:creationId xmlns:a16="http://schemas.microsoft.com/office/drawing/2014/main" id="{D3C81889-4AC5-4F15-BC14-E3748165DD13}"/>
                  </a:ext>
                </a:extLst>
              </p:cNvPr>
              <p:cNvSpPr>
                <a:spLocks noChangeArrowheads="1"/>
              </p:cNvSpPr>
              <p:nvPr/>
            </p:nvSpPr>
            <p:spPr bwMode="auto">
              <a:xfrm>
                <a:off x="7035916" y="2806859"/>
                <a:ext cx="25805"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5" name="Freeform 134">
                <a:extLst>
                  <a:ext uri="{FF2B5EF4-FFF2-40B4-BE49-F238E27FC236}">
                    <a16:creationId xmlns:a16="http://schemas.microsoft.com/office/drawing/2014/main" id="{1F143561-5342-4FC4-BDEB-8BC7D9835AAE}"/>
                  </a:ext>
                </a:extLst>
              </p:cNvPr>
              <p:cNvSpPr>
                <a:spLocks/>
              </p:cNvSpPr>
              <p:nvPr/>
            </p:nvSpPr>
            <p:spPr bwMode="auto">
              <a:xfrm>
                <a:off x="6945597" y="2481263"/>
                <a:ext cx="206443"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96" name="Freeform 135">
                <a:extLst>
                  <a:ext uri="{FF2B5EF4-FFF2-40B4-BE49-F238E27FC236}">
                    <a16:creationId xmlns:a16="http://schemas.microsoft.com/office/drawing/2014/main" id="{EEB1FA40-535E-4681-A186-CEA49919D321}"/>
                  </a:ext>
                </a:extLst>
              </p:cNvPr>
              <p:cNvSpPr>
                <a:spLocks/>
              </p:cNvSpPr>
              <p:nvPr/>
            </p:nvSpPr>
            <p:spPr bwMode="auto">
              <a:xfrm>
                <a:off x="7048819" y="2481263"/>
                <a:ext cx="103221"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83" name="Group 74">
              <a:extLst>
                <a:ext uri="{FF2B5EF4-FFF2-40B4-BE49-F238E27FC236}">
                  <a16:creationId xmlns:a16="http://schemas.microsoft.com/office/drawing/2014/main" id="{E6070819-F788-4E94-BF6E-7E26100EF2C4}"/>
                </a:ext>
              </a:extLst>
            </p:cNvPr>
            <p:cNvGrpSpPr>
              <a:grpSpLocks/>
            </p:cNvGrpSpPr>
            <p:nvPr/>
          </p:nvGrpSpPr>
          <p:grpSpPr bwMode="auto">
            <a:xfrm flipH="1">
              <a:off x="5379262" y="2535181"/>
              <a:ext cx="189186" cy="426393"/>
              <a:chOff x="6945313" y="2481263"/>
              <a:chExt cx="206376" cy="465137"/>
            </a:xfrm>
          </p:grpSpPr>
          <p:sp>
            <p:nvSpPr>
              <p:cNvPr id="89" name="Rectangle 132">
                <a:extLst>
                  <a:ext uri="{FF2B5EF4-FFF2-40B4-BE49-F238E27FC236}">
                    <a16:creationId xmlns:a16="http://schemas.microsoft.com/office/drawing/2014/main" id="{20B800E2-51B5-406B-B6A9-22FBE63A1D5D}"/>
                  </a:ext>
                </a:extLst>
              </p:cNvPr>
              <p:cNvSpPr>
                <a:spLocks noChangeArrowheads="1"/>
              </p:cNvSpPr>
              <p:nvPr/>
            </p:nvSpPr>
            <p:spPr bwMode="auto">
              <a:xfrm>
                <a:off x="7036320"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0" name="Rectangle 133">
                <a:extLst>
                  <a:ext uri="{FF2B5EF4-FFF2-40B4-BE49-F238E27FC236}">
                    <a16:creationId xmlns:a16="http://schemas.microsoft.com/office/drawing/2014/main" id="{8946967C-39B0-4F55-8B1A-BE414D6ACB33}"/>
                  </a:ext>
                </a:extLst>
              </p:cNvPr>
              <p:cNvSpPr>
                <a:spLocks noChangeArrowheads="1"/>
              </p:cNvSpPr>
              <p:nvPr/>
            </p:nvSpPr>
            <p:spPr bwMode="auto">
              <a:xfrm>
                <a:off x="7036320"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1" name="Freeform 134">
                <a:extLst>
                  <a:ext uri="{FF2B5EF4-FFF2-40B4-BE49-F238E27FC236}">
                    <a16:creationId xmlns:a16="http://schemas.microsoft.com/office/drawing/2014/main" id="{3F84F896-1CD0-4B31-ABF6-CF6776532793}"/>
                  </a:ext>
                </a:extLst>
              </p:cNvPr>
              <p:cNvSpPr>
                <a:spLocks/>
              </p:cNvSpPr>
              <p:nvPr/>
            </p:nvSpPr>
            <p:spPr bwMode="auto">
              <a:xfrm>
                <a:off x="6946031"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92" name="Freeform 135">
                <a:extLst>
                  <a:ext uri="{FF2B5EF4-FFF2-40B4-BE49-F238E27FC236}">
                    <a16:creationId xmlns:a16="http://schemas.microsoft.com/office/drawing/2014/main" id="{E819E4D5-7F91-4DB1-B345-E050C4E1E405}"/>
                  </a:ext>
                </a:extLst>
              </p:cNvPr>
              <p:cNvSpPr>
                <a:spLocks/>
              </p:cNvSpPr>
              <p:nvPr/>
            </p:nvSpPr>
            <p:spPr bwMode="auto">
              <a:xfrm>
                <a:off x="7048024"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84" name="Group 75">
              <a:extLst>
                <a:ext uri="{FF2B5EF4-FFF2-40B4-BE49-F238E27FC236}">
                  <a16:creationId xmlns:a16="http://schemas.microsoft.com/office/drawing/2014/main" id="{860A7801-8E35-46CC-9020-DB52C8C212F8}"/>
                </a:ext>
              </a:extLst>
            </p:cNvPr>
            <p:cNvGrpSpPr>
              <a:grpSpLocks/>
            </p:cNvGrpSpPr>
            <p:nvPr/>
          </p:nvGrpSpPr>
          <p:grpSpPr bwMode="auto">
            <a:xfrm flipH="1">
              <a:off x="5715809" y="2535181"/>
              <a:ext cx="189186" cy="426393"/>
              <a:chOff x="6945313" y="2481263"/>
              <a:chExt cx="206376" cy="465137"/>
            </a:xfrm>
          </p:grpSpPr>
          <p:sp>
            <p:nvSpPr>
              <p:cNvPr id="85" name="Rectangle 132">
                <a:extLst>
                  <a:ext uri="{FF2B5EF4-FFF2-40B4-BE49-F238E27FC236}">
                    <a16:creationId xmlns:a16="http://schemas.microsoft.com/office/drawing/2014/main" id="{02058D69-6C1A-47C4-AC7F-5063C7E9E86A}"/>
                  </a:ext>
                </a:extLst>
              </p:cNvPr>
              <p:cNvSpPr>
                <a:spLocks noChangeArrowheads="1"/>
              </p:cNvSpPr>
              <p:nvPr/>
            </p:nvSpPr>
            <p:spPr bwMode="auto">
              <a:xfrm>
                <a:off x="7035602"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6" name="Rectangle 133">
                <a:extLst>
                  <a:ext uri="{FF2B5EF4-FFF2-40B4-BE49-F238E27FC236}">
                    <a16:creationId xmlns:a16="http://schemas.microsoft.com/office/drawing/2014/main" id="{ED3886E1-C4EC-46E2-907A-53D37E610BDA}"/>
                  </a:ext>
                </a:extLst>
              </p:cNvPr>
              <p:cNvSpPr>
                <a:spLocks noChangeArrowheads="1"/>
              </p:cNvSpPr>
              <p:nvPr/>
            </p:nvSpPr>
            <p:spPr bwMode="auto">
              <a:xfrm>
                <a:off x="7035602"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7" name="Freeform 134">
                <a:extLst>
                  <a:ext uri="{FF2B5EF4-FFF2-40B4-BE49-F238E27FC236}">
                    <a16:creationId xmlns:a16="http://schemas.microsoft.com/office/drawing/2014/main" id="{C6201B35-1C44-4A1A-B975-2D44538BBD6E}"/>
                  </a:ext>
                </a:extLst>
              </p:cNvPr>
              <p:cNvSpPr>
                <a:spLocks/>
              </p:cNvSpPr>
              <p:nvPr/>
            </p:nvSpPr>
            <p:spPr bwMode="auto">
              <a:xfrm>
                <a:off x="6945313"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8" name="Freeform 135">
                <a:extLst>
                  <a:ext uri="{FF2B5EF4-FFF2-40B4-BE49-F238E27FC236}">
                    <a16:creationId xmlns:a16="http://schemas.microsoft.com/office/drawing/2014/main" id="{79A6E942-0EA6-4BA2-9C73-2A7E2FD95500}"/>
                  </a:ext>
                </a:extLst>
              </p:cNvPr>
              <p:cNvSpPr>
                <a:spLocks/>
              </p:cNvSpPr>
              <p:nvPr/>
            </p:nvSpPr>
            <p:spPr bwMode="auto">
              <a:xfrm>
                <a:off x="7047306"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116" name="Groupe 115">
            <a:extLst>
              <a:ext uri="{FF2B5EF4-FFF2-40B4-BE49-F238E27FC236}">
                <a16:creationId xmlns:a16="http://schemas.microsoft.com/office/drawing/2014/main" id="{8D472827-A91E-405E-B4C6-F62E3D91693A}"/>
              </a:ext>
            </a:extLst>
          </p:cNvPr>
          <p:cNvGrpSpPr/>
          <p:nvPr/>
        </p:nvGrpSpPr>
        <p:grpSpPr>
          <a:xfrm>
            <a:off x="9944192" y="4241337"/>
            <a:ext cx="3274551" cy="3189470"/>
            <a:chOff x="10189176" y="4192530"/>
            <a:chExt cx="2772629" cy="2772629"/>
          </a:xfrm>
        </p:grpSpPr>
        <p:pic>
          <p:nvPicPr>
            <p:cNvPr id="109" name="Graphique 108" descr="Bâtiment contour">
              <a:extLst>
                <a:ext uri="{FF2B5EF4-FFF2-40B4-BE49-F238E27FC236}">
                  <a16:creationId xmlns:a16="http://schemas.microsoft.com/office/drawing/2014/main" id="{FD061C2C-ADA5-455B-9DFA-D389F30FC1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89176" y="4192530"/>
              <a:ext cx="2772629" cy="2772629"/>
            </a:xfrm>
            <a:prstGeom prst="rect">
              <a:avLst/>
            </a:prstGeom>
          </p:spPr>
        </p:pic>
        <p:pic>
          <p:nvPicPr>
            <p:cNvPr id="114" name="Image 113" descr="Une image contenant capture d’écran, Graphique&#10;&#10;Description générée automatiquement">
              <a:extLst>
                <a:ext uri="{FF2B5EF4-FFF2-40B4-BE49-F238E27FC236}">
                  <a16:creationId xmlns:a16="http://schemas.microsoft.com/office/drawing/2014/main" id="{0B9C056A-1EA4-4ADA-BD0C-B7C812F29443}"/>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11224721" y="4735285"/>
              <a:ext cx="738681" cy="178169"/>
            </a:xfrm>
            <a:prstGeom prst="rect">
              <a:avLst/>
            </a:prstGeom>
          </p:spPr>
        </p:pic>
      </p:grpSp>
      <p:grpSp>
        <p:nvGrpSpPr>
          <p:cNvPr id="77" name="Groupe 76">
            <a:extLst>
              <a:ext uri="{FF2B5EF4-FFF2-40B4-BE49-F238E27FC236}">
                <a16:creationId xmlns:a16="http://schemas.microsoft.com/office/drawing/2014/main" id="{79F0E37A-E275-4D96-BB22-B4951C48FD8F}"/>
              </a:ext>
            </a:extLst>
          </p:cNvPr>
          <p:cNvGrpSpPr/>
          <p:nvPr/>
        </p:nvGrpSpPr>
        <p:grpSpPr>
          <a:xfrm>
            <a:off x="0" y="7082172"/>
            <a:ext cx="13448087" cy="485950"/>
            <a:chOff x="508002" y="2810661"/>
            <a:chExt cx="11338857" cy="366278"/>
          </a:xfrm>
        </p:grpSpPr>
        <p:sp>
          <p:nvSpPr>
            <p:cNvPr id="78" name="Rectangle 77">
              <a:extLst>
                <a:ext uri="{FF2B5EF4-FFF2-40B4-BE49-F238E27FC236}">
                  <a16:creationId xmlns:a16="http://schemas.microsoft.com/office/drawing/2014/main" id="{D7CD2E9F-38E8-4E39-A7C9-33A1ADFB4287}"/>
                </a:ext>
              </a:extLst>
            </p:cNvPr>
            <p:cNvSpPr>
              <a:spLocks noChangeArrowheads="1"/>
            </p:cNvSpPr>
            <p:nvPr/>
          </p:nvSpPr>
          <p:spPr bwMode="auto">
            <a:xfrm>
              <a:off x="508002" y="2810661"/>
              <a:ext cx="11338857" cy="36627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9" name="Freeform 7">
              <a:extLst>
                <a:ext uri="{FF2B5EF4-FFF2-40B4-BE49-F238E27FC236}">
                  <a16:creationId xmlns:a16="http://schemas.microsoft.com/office/drawing/2014/main" id="{5225F7A0-860A-4BF4-8646-6536E318CE0B}"/>
                </a:ext>
              </a:extLst>
            </p:cNvPr>
            <p:cNvSpPr>
              <a:spLocks noEditPoints="1"/>
            </p:cNvSpPr>
            <p:nvPr/>
          </p:nvSpPr>
          <p:spPr bwMode="auto">
            <a:xfrm>
              <a:off x="614341" y="2972138"/>
              <a:ext cx="11116334" cy="41354"/>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97" name="Group 211">
            <a:extLst>
              <a:ext uri="{FF2B5EF4-FFF2-40B4-BE49-F238E27FC236}">
                <a16:creationId xmlns:a16="http://schemas.microsoft.com/office/drawing/2014/main" id="{7E46AF87-AFF8-4B6E-B66E-5AC3CFDDA11B}"/>
              </a:ext>
            </a:extLst>
          </p:cNvPr>
          <p:cNvGrpSpPr>
            <a:grpSpLocks/>
          </p:cNvGrpSpPr>
          <p:nvPr/>
        </p:nvGrpSpPr>
        <p:grpSpPr bwMode="auto">
          <a:xfrm>
            <a:off x="2980493" y="6872695"/>
            <a:ext cx="855322" cy="348361"/>
            <a:chOff x="5857875" y="2214563"/>
            <a:chExt cx="1208088" cy="488951"/>
          </a:xfrm>
        </p:grpSpPr>
        <p:sp>
          <p:nvSpPr>
            <p:cNvPr id="98" name="Freeform 122">
              <a:extLst>
                <a:ext uri="{FF2B5EF4-FFF2-40B4-BE49-F238E27FC236}">
                  <a16:creationId xmlns:a16="http://schemas.microsoft.com/office/drawing/2014/main" id="{AD763904-CEB3-438F-82AA-1C668D5A2D78}"/>
                </a:ext>
              </a:extLst>
            </p:cNvPr>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2"/>
            </a:solidFill>
            <a:ln>
              <a:noFill/>
            </a:ln>
          </p:spPr>
          <p:txBody>
            <a:bodyPr lIns="68580" tIns="34290" rIns="68580" bIns="34290"/>
            <a:lstStyle/>
            <a:p>
              <a:pPr>
                <a:defRPr/>
              </a:pPr>
              <a:endParaRPr lang="en-US" sz="1350"/>
            </a:p>
          </p:txBody>
        </p:sp>
        <p:sp>
          <p:nvSpPr>
            <p:cNvPr id="99" name="Freeform 123">
              <a:extLst>
                <a:ext uri="{FF2B5EF4-FFF2-40B4-BE49-F238E27FC236}">
                  <a16:creationId xmlns:a16="http://schemas.microsoft.com/office/drawing/2014/main" id="{14F092D8-2F17-4D65-9263-2FEC1BEF3833}"/>
                </a:ext>
              </a:extLst>
            </p:cNvPr>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100" name="Freeform 124">
              <a:extLst>
                <a:ext uri="{FF2B5EF4-FFF2-40B4-BE49-F238E27FC236}">
                  <a16:creationId xmlns:a16="http://schemas.microsoft.com/office/drawing/2014/main" id="{161A7066-4CF0-42B0-9340-0A1866F038C4}"/>
                </a:ext>
              </a:extLst>
            </p:cNvPr>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101" name="Oval 125">
              <a:extLst>
                <a:ext uri="{FF2B5EF4-FFF2-40B4-BE49-F238E27FC236}">
                  <a16:creationId xmlns:a16="http://schemas.microsoft.com/office/drawing/2014/main" id="{D89FECCE-0B95-4F57-8EEF-30B36A5B16BC}"/>
                </a:ext>
              </a:extLst>
            </p:cNvPr>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102" name="Oval 126">
              <a:extLst>
                <a:ext uri="{FF2B5EF4-FFF2-40B4-BE49-F238E27FC236}">
                  <a16:creationId xmlns:a16="http://schemas.microsoft.com/office/drawing/2014/main" id="{10AB4179-22DC-4D44-99B6-391A7134EEF6}"/>
                </a:ext>
              </a:extLst>
            </p:cNvPr>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103" name="Oval 127">
              <a:extLst>
                <a:ext uri="{FF2B5EF4-FFF2-40B4-BE49-F238E27FC236}">
                  <a16:creationId xmlns:a16="http://schemas.microsoft.com/office/drawing/2014/main" id="{CEF21229-D30D-47DC-A71A-49436C36AE12}"/>
                </a:ext>
              </a:extLst>
            </p:cNvPr>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104" name="Oval 128">
              <a:extLst>
                <a:ext uri="{FF2B5EF4-FFF2-40B4-BE49-F238E27FC236}">
                  <a16:creationId xmlns:a16="http://schemas.microsoft.com/office/drawing/2014/main" id="{603B7635-5200-4C5C-8B16-AF6970B82736}"/>
                </a:ext>
              </a:extLst>
            </p:cNvPr>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pic>
        <p:nvPicPr>
          <p:cNvPr id="124" name="Graphique 123" descr="Évasion de prison contour">
            <a:extLst>
              <a:ext uri="{FF2B5EF4-FFF2-40B4-BE49-F238E27FC236}">
                <a16:creationId xmlns:a16="http://schemas.microsoft.com/office/drawing/2014/main" id="{1879D7D3-524E-4B4C-9FE2-B76CF65E85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35815" y="5037375"/>
            <a:ext cx="631986" cy="631986"/>
          </a:xfrm>
          <a:prstGeom prst="rect">
            <a:avLst/>
          </a:prstGeom>
        </p:spPr>
      </p:pic>
      <p:pic>
        <p:nvPicPr>
          <p:cNvPr id="126" name="Graphique 125" descr="Voleur contour">
            <a:extLst>
              <a:ext uri="{FF2B5EF4-FFF2-40B4-BE49-F238E27FC236}">
                <a16:creationId xmlns:a16="http://schemas.microsoft.com/office/drawing/2014/main" id="{2F18FCBA-90CA-45DD-81F1-C994A2DC66D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78566" y="4641388"/>
            <a:ext cx="575623" cy="575623"/>
          </a:xfrm>
          <a:prstGeom prst="rect">
            <a:avLst/>
          </a:prstGeom>
        </p:spPr>
      </p:pic>
      <p:pic>
        <p:nvPicPr>
          <p:cNvPr id="128" name="Graphique 127" descr="Déverrouiller contour">
            <a:extLst>
              <a:ext uri="{FF2B5EF4-FFF2-40B4-BE49-F238E27FC236}">
                <a16:creationId xmlns:a16="http://schemas.microsoft.com/office/drawing/2014/main" id="{2F50146F-38B3-4DC8-B25C-7E161D1575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164735" y="5112640"/>
            <a:ext cx="531695" cy="531695"/>
          </a:xfrm>
          <a:prstGeom prst="rect">
            <a:avLst/>
          </a:prstGeom>
        </p:spPr>
      </p:pic>
      <p:grpSp>
        <p:nvGrpSpPr>
          <p:cNvPr id="135" name="Groupe 134">
            <a:extLst>
              <a:ext uri="{FF2B5EF4-FFF2-40B4-BE49-F238E27FC236}">
                <a16:creationId xmlns:a16="http://schemas.microsoft.com/office/drawing/2014/main" id="{0DDC0D06-CA19-4F7B-99A1-607679A05225}"/>
              </a:ext>
            </a:extLst>
          </p:cNvPr>
          <p:cNvGrpSpPr/>
          <p:nvPr/>
        </p:nvGrpSpPr>
        <p:grpSpPr>
          <a:xfrm>
            <a:off x="10910152" y="3876903"/>
            <a:ext cx="1342630" cy="742486"/>
            <a:chOff x="11003256" y="2670957"/>
            <a:chExt cx="1342630" cy="742486"/>
          </a:xfrm>
        </p:grpSpPr>
        <p:pic>
          <p:nvPicPr>
            <p:cNvPr id="132" name="Graphique 131" descr="Homme ouvrier du bâtiment contour">
              <a:extLst>
                <a:ext uri="{FF2B5EF4-FFF2-40B4-BE49-F238E27FC236}">
                  <a16:creationId xmlns:a16="http://schemas.microsoft.com/office/drawing/2014/main" id="{EF5BE591-53A4-4B0E-8AB4-B81C04C21B8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603400" y="2670957"/>
              <a:ext cx="742486" cy="742486"/>
            </a:xfrm>
            <a:prstGeom prst="rect">
              <a:avLst/>
            </a:prstGeom>
          </p:spPr>
        </p:pic>
        <p:pic>
          <p:nvPicPr>
            <p:cNvPr id="134" name="Graphique 133" descr="Femme ouvrière du bâtiment contour">
              <a:extLst>
                <a:ext uri="{FF2B5EF4-FFF2-40B4-BE49-F238E27FC236}">
                  <a16:creationId xmlns:a16="http://schemas.microsoft.com/office/drawing/2014/main" id="{142CCD96-09A3-4B2F-9E3E-28A3976E371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003256" y="2671843"/>
              <a:ext cx="741600" cy="741600"/>
            </a:xfrm>
            <a:prstGeom prst="rect">
              <a:avLst/>
            </a:prstGeom>
          </p:spPr>
        </p:pic>
      </p:grpSp>
      <p:grpSp>
        <p:nvGrpSpPr>
          <p:cNvPr id="138" name="Groupe 137">
            <a:extLst>
              <a:ext uri="{FF2B5EF4-FFF2-40B4-BE49-F238E27FC236}">
                <a16:creationId xmlns:a16="http://schemas.microsoft.com/office/drawing/2014/main" id="{98B4920E-D790-4260-9617-5C28AB58E881}"/>
              </a:ext>
            </a:extLst>
          </p:cNvPr>
          <p:cNvGrpSpPr/>
          <p:nvPr/>
        </p:nvGrpSpPr>
        <p:grpSpPr>
          <a:xfrm>
            <a:off x="1326995" y="1258464"/>
            <a:ext cx="11505653" cy="2190046"/>
            <a:chOff x="1510730" y="1599738"/>
            <a:chExt cx="10463274" cy="2510114"/>
          </a:xfrm>
        </p:grpSpPr>
        <p:sp>
          <p:nvSpPr>
            <p:cNvPr id="136" name="ZoneTexte 135">
              <a:extLst>
                <a:ext uri="{FF2B5EF4-FFF2-40B4-BE49-F238E27FC236}">
                  <a16:creationId xmlns:a16="http://schemas.microsoft.com/office/drawing/2014/main" id="{699B04D3-E781-4533-8F27-4E67D0DD4AAF}"/>
                </a:ext>
              </a:extLst>
            </p:cNvPr>
            <p:cNvSpPr txBox="1"/>
            <p:nvPr/>
          </p:nvSpPr>
          <p:spPr>
            <a:xfrm>
              <a:off x="1510730" y="2099137"/>
              <a:ext cx="10463274" cy="2010715"/>
            </a:xfrm>
            <a:prstGeom prst="rect">
              <a:avLst/>
            </a:prstGeom>
            <a:noFill/>
            <a:ln w="12700">
              <a:solidFill>
                <a:schemeClr val="accent1"/>
              </a:solidFill>
            </a:ln>
          </p:spPr>
          <p:txBody>
            <a:bodyPr wrap="square">
              <a:spAutoFit/>
            </a:bodyPr>
            <a:lstStyle/>
            <a:p>
              <a:pPr algn="just"/>
              <a:r>
                <a:rPr lang="fr-FR" dirty="0">
                  <a:solidFill>
                    <a:schemeClr val="tx1">
                      <a:lumMod val="75000"/>
                      <a:lumOff val="25000"/>
                    </a:schemeClr>
                  </a:solidFill>
                </a:rPr>
                <a:t>Notre client souhaite renforcer sa sécurité informatique en s’engageant avec Deloitte sur un projet CISO as a Service. </a:t>
              </a:r>
            </a:p>
            <a:p>
              <a:pPr algn="just"/>
              <a:r>
                <a:rPr lang="fr-FR" dirty="0">
                  <a:solidFill>
                    <a:schemeClr val="tx1">
                      <a:lumMod val="75000"/>
                      <a:lumOff val="25000"/>
                    </a:schemeClr>
                  </a:solidFill>
                </a:rPr>
                <a:t>Face aux menaces croissantes dans le secteur, notre client reconnaît l'importance vitale de protéger ses systèmes sensibles et ses données contre les attaques numériques. </a:t>
              </a:r>
            </a:p>
            <a:p>
              <a:pPr algn="just"/>
              <a:r>
                <a:rPr lang="fr-FR" dirty="0">
                  <a:solidFill>
                    <a:schemeClr val="tx1">
                      <a:lumMod val="75000"/>
                      <a:lumOff val="25000"/>
                    </a:schemeClr>
                  </a:solidFill>
                </a:rPr>
                <a:t>En travaillant avec Deloitte, il pourra se concentrer sur son cœur de métier, en toute confiance, sachant que des experts qualifiés veillent à sa sécurité. Le projet CISO as a Service permettra à notre client de renforcer sa posture de cybersécurité, d'accroître sa résilience et de se conformer aux normes.</a:t>
              </a:r>
              <a:endParaRPr lang="fr-FR" b="0" i="0" dirty="0">
                <a:solidFill>
                  <a:schemeClr val="tx1">
                    <a:lumMod val="75000"/>
                    <a:lumOff val="25000"/>
                  </a:schemeClr>
                </a:solidFill>
                <a:effectLst/>
              </a:endParaRPr>
            </a:p>
          </p:txBody>
        </p:sp>
        <p:sp>
          <p:nvSpPr>
            <p:cNvPr id="137" name="Rectangle 136">
              <a:extLst>
                <a:ext uri="{FF2B5EF4-FFF2-40B4-BE49-F238E27FC236}">
                  <a16:creationId xmlns:a16="http://schemas.microsoft.com/office/drawing/2014/main" id="{BB2513FE-D6F9-4FE7-A36E-FA1ED54D6444}"/>
                </a:ext>
              </a:extLst>
            </p:cNvPr>
            <p:cNvSpPr/>
            <p:nvPr/>
          </p:nvSpPr>
          <p:spPr bwMode="gray">
            <a:xfrm>
              <a:off x="1510730" y="1599738"/>
              <a:ext cx="10463274" cy="421119"/>
            </a:xfrm>
            <a:prstGeom prst="rect">
              <a:avLst/>
            </a:prstGeom>
            <a:no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a:solidFill>
                    <a:schemeClr val="tx1">
                      <a:lumMod val="75000"/>
                      <a:lumOff val="25000"/>
                    </a:schemeClr>
                  </a:solidFill>
                  <a:effectLst>
                    <a:outerShdw blurRad="38100" dist="38100" dir="2700000" algn="tl">
                      <a:srgbClr val="000000">
                        <a:alpha val="43137"/>
                      </a:srgbClr>
                    </a:outerShdw>
                  </a:effectLst>
                </a:rPr>
                <a:t>Contexte</a:t>
              </a:r>
            </a:p>
          </p:txBody>
        </p:sp>
      </p:grpSp>
      <p:sp>
        <p:nvSpPr>
          <p:cNvPr id="107" name="ZoneTexte 106">
            <a:extLst>
              <a:ext uri="{FF2B5EF4-FFF2-40B4-BE49-F238E27FC236}">
                <a16:creationId xmlns:a16="http://schemas.microsoft.com/office/drawing/2014/main" id="{1E7CFBB3-25F4-4690-987F-6DEEE1337EEF}"/>
              </a:ext>
            </a:extLst>
          </p:cNvPr>
          <p:cNvSpPr txBox="1"/>
          <p:nvPr/>
        </p:nvSpPr>
        <p:spPr>
          <a:xfrm>
            <a:off x="13073286" y="683004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5</a:t>
            </a:r>
          </a:p>
        </p:txBody>
      </p:sp>
      <p:sp>
        <p:nvSpPr>
          <p:cNvPr id="108" name="Rectangle 107">
            <a:extLst>
              <a:ext uri="{FF2B5EF4-FFF2-40B4-BE49-F238E27FC236}">
                <a16:creationId xmlns:a16="http://schemas.microsoft.com/office/drawing/2014/main" id="{CC3931AB-0CD1-4A34-9EED-140A126DEF4E}"/>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13972627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oupe 75">
            <a:extLst>
              <a:ext uri="{FF2B5EF4-FFF2-40B4-BE49-F238E27FC236}">
                <a16:creationId xmlns:a16="http://schemas.microsoft.com/office/drawing/2014/main" id="{525BAAE3-8ADC-45E1-8BE0-88C3FB4BBC56}"/>
              </a:ext>
            </a:extLst>
          </p:cNvPr>
          <p:cNvGrpSpPr/>
          <p:nvPr/>
        </p:nvGrpSpPr>
        <p:grpSpPr>
          <a:xfrm>
            <a:off x="2420467" y="5346980"/>
            <a:ext cx="1768374" cy="1784128"/>
            <a:chOff x="7412140" y="1077733"/>
            <a:chExt cx="1768374" cy="1784128"/>
          </a:xfrm>
        </p:grpSpPr>
        <p:grpSp>
          <p:nvGrpSpPr>
            <p:cNvPr id="21" name="Group 208">
              <a:extLst>
                <a:ext uri="{FF2B5EF4-FFF2-40B4-BE49-F238E27FC236}">
                  <a16:creationId xmlns:a16="http://schemas.microsoft.com/office/drawing/2014/main" id="{FA285611-BDDC-4E3A-95EC-1B5A3BBED2CF}"/>
                </a:ext>
              </a:extLst>
            </p:cNvPr>
            <p:cNvGrpSpPr>
              <a:grpSpLocks/>
            </p:cNvGrpSpPr>
            <p:nvPr/>
          </p:nvGrpSpPr>
          <p:grpSpPr bwMode="auto">
            <a:xfrm>
              <a:off x="8703959" y="1375088"/>
              <a:ext cx="476555" cy="1486773"/>
              <a:chOff x="8814494" y="1909087"/>
              <a:chExt cx="510988" cy="1598634"/>
            </a:xfrm>
          </p:grpSpPr>
          <p:sp>
            <p:nvSpPr>
              <p:cNvPr id="22" name="Freeform 122">
                <a:extLst>
                  <a:ext uri="{FF2B5EF4-FFF2-40B4-BE49-F238E27FC236}">
                    <a16:creationId xmlns:a16="http://schemas.microsoft.com/office/drawing/2014/main" id="{0D0C5309-F83A-4860-9D17-D24A493C05A1}"/>
                  </a:ext>
                </a:extLst>
              </p:cNvPr>
              <p:cNvSpPr>
                <a:spLocks/>
              </p:cNvSpPr>
              <p:nvPr/>
            </p:nvSpPr>
            <p:spPr bwMode="auto">
              <a:xfrm>
                <a:off x="8814494" y="1909087"/>
                <a:ext cx="510988" cy="1598634"/>
              </a:xfrm>
              <a:custGeom>
                <a:avLst/>
                <a:gdLst>
                  <a:gd name="T0" fmla="*/ 498 w 498"/>
                  <a:gd name="T1" fmla="*/ 1558 h 1558"/>
                  <a:gd name="T2" fmla="*/ 0 w 498"/>
                  <a:gd name="T3" fmla="*/ 1558 h 1558"/>
                  <a:gd name="T4" fmla="*/ 0 w 498"/>
                  <a:gd name="T5" fmla="*/ 98 h 1558"/>
                  <a:gd name="T6" fmla="*/ 498 w 498"/>
                  <a:gd name="T7" fmla="*/ 0 h 1558"/>
                  <a:gd name="T8" fmla="*/ 498 w 498"/>
                  <a:gd name="T9" fmla="*/ 1558 h 1558"/>
                </a:gdLst>
                <a:ahLst/>
                <a:cxnLst>
                  <a:cxn ang="0">
                    <a:pos x="T0" y="T1"/>
                  </a:cxn>
                  <a:cxn ang="0">
                    <a:pos x="T2" y="T3"/>
                  </a:cxn>
                  <a:cxn ang="0">
                    <a:pos x="T4" y="T5"/>
                  </a:cxn>
                  <a:cxn ang="0">
                    <a:pos x="T6" y="T7"/>
                  </a:cxn>
                  <a:cxn ang="0">
                    <a:pos x="T8" y="T9"/>
                  </a:cxn>
                </a:cxnLst>
                <a:rect l="0" t="0" r="r" b="b"/>
                <a:pathLst>
                  <a:path w="498" h="1558">
                    <a:moveTo>
                      <a:pt x="498" y="1558"/>
                    </a:moveTo>
                    <a:lnTo>
                      <a:pt x="0" y="1558"/>
                    </a:lnTo>
                    <a:lnTo>
                      <a:pt x="0" y="98"/>
                    </a:lnTo>
                    <a:lnTo>
                      <a:pt x="498" y="0"/>
                    </a:lnTo>
                    <a:lnTo>
                      <a:pt x="498" y="1558"/>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23" name="Rectangle 123">
                <a:extLst>
                  <a:ext uri="{FF2B5EF4-FFF2-40B4-BE49-F238E27FC236}">
                    <a16:creationId xmlns:a16="http://schemas.microsoft.com/office/drawing/2014/main" id="{A70DBA07-D5F2-43EF-B334-8B1431D05AAB}"/>
                  </a:ext>
                </a:extLst>
              </p:cNvPr>
              <p:cNvSpPr>
                <a:spLocks noChangeArrowheads="1"/>
              </p:cNvSpPr>
              <p:nvPr/>
            </p:nvSpPr>
            <p:spPr bwMode="auto">
              <a:xfrm>
                <a:off x="8924293"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4" name="Rectangle 124">
                <a:extLst>
                  <a:ext uri="{FF2B5EF4-FFF2-40B4-BE49-F238E27FC236}">
                    <a16:creationId xmlns:a16="http://schemas.microsoft.com/office/drawing/2014/main" id="{9EAC6E4D-6834-4F35-A640-C1861877EAE1}"/>
                  </a:ext>
                </a:extLst>
              </p:cNvPr>
              <p:cNvSpPr>
                <a:spLocks noChangeArrowheads="1"/>
              </p:cNvSpPr>
              <p:nvPr/>
            </p:nvSpPr>
            <p:spPr bwMode="auto">
              <a:xfrm>
                <a:off x="9110107"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5" name="Rectangle 125">
                <a:extLst>
                  <a:ext uri="{FF2B5EF4-FFF2-40B4-BE49-F238E27FC236}">
                    <a16:creationId xmlns:a16="http://schemas.microsoft.com/office/drawing/2014/main" id="{14420E86-50FA-4E93-9D4A-01075C39826C}"/>
                  </a:ext>
                </a:extLst>
              </p:cNvPr>
              <p:cNvSpPr>
                <a:spLocks noChangeArrowheads="1"/>
              </p:cNvSpPr>
              <p:nvPr/>
            </p:nvSpPr>
            <p:spPr bwMode="auto">
              <a:xfrm>
                <a:off x="8924293"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6" name="Rectangle 126">
                <a:extLst>
                  <a:ext uri="{FF2B5EF4-FFF2-40B4-BE49-F238E27FC236}">
                    <a16:creationId xmlns:a16="http://schemas.microsoft.com/office/drawing/2014/main" id="{43FAC0E7-0975-4C6C-9905-4FEEB2529D81}"/>
                  </a:ext>
                </a:extLst>
              </p:cNvPr>
              <p:cNvSpPr>
                <a:spLocks noChangeArrowheads="1"/>
              </p:cNvSpPr>
              <p:nvPr/>
            </p:nvSpPr>
            <p:spPr bwMode="auto">
              <a:xfrm>
                <a:off x="9110107"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7" name="Rectangle 127">
                <a:extLst>
                  <a:ext uri="{FF2B5EF4-FFF2-40B4-BE49-F238E27FC236}">
                    <a16:creationId xmlns:a16="http://schemas.microsoft.com/office/drawing/2014/main" id="{FD3226DC-9B7E-4B7E-9629-1C1E5E83DCC8}"/>
                  </a:ext>
                </a:extLst>
              </p:cNvPr>
              <p:cNvSpPr>
                <a:spLocks noChangeArrowheads="1"/>
              </p:cNvSpPr>
              <p:nvPr/>
            </p:nvSpPr>
            <p:spPr bwMode="auto">
              <a:xfrm>
                <a:off x="8924293"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8" name="Rectangle 128">
                <a:extLst>
                  <a:ext uri="{FF2B5EF4-FFF2-40B4-BE49-F238E27FC236}">
                    <a16:creationId xmlns:a16="http://schemas.microsoft.com/office/drawing/2014/main" id="{8149DA42-4B10-4FAB-B6BC-599753200AE0}"/>
                  </a:ext>
                </a:extLst>
              </p:cNvPr>
              <p:cNvSpPr>
                <a:spLocks noChangeArrowheads="1"/>
              </p:cNvSpPr>
              <p:nvPr/>
            </p:nvSpPr>
            <p:spPr bwMode="auto">
              <a:xfrm>
                <a:off x="9110107"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9" name="Rectangle 129">
                <a:extLst>
                  <a:ext uri="{FF2B5EF4-FFF2-40B4-BE49-F238E27FC236}">
                    <a16:creationId xmlns:a16="http://schemas.microsoft.com/office/drawing/2014/main" id="{D87AC368-5E8D-4C5D-A690-1695B23A39A6}"/>
                  </a:ext>
                </a:extLst>
              </p:cNvPr>
              <p:cNvSpPr>
                <a:spLocks noChangeArrowheads="1"/>
              </p:cNvSpPr>
              <p:nvPr/>
            </p:nvSpPr>
            <p:spPr bwMode="auto">
              <a:xfrm>
                <a:off x="8924293"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0" name="Rectangle 130">
                <a:extLst>
                  <a:ext uri="{FF2B5EF4-FFF2-40B4-BE49-F238E27FC236}">
                    <a16:creationId xmlns:a16="http://schemas.microsoft.com/office/drawing/2014/main" id="{4CAFB29B-61D5-4AD3-83E4-850CFEC70359}"/>
                  </a:ext>
                </a:extLst>
              </p:cNvPr>
              <p:cNvSpPr>
                <a:spLocks noChangeArrowheads="1"/>
              </p:cNvSpPr>
              <p:nvPr/>
            </p:nvSpPr>
            <p:spPr bwMode="auto">
              <a:xfrm>
                <a:off x="9110107"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1" name="Rectangle 131">
                <a:extLst>
                  <a:ext uri="{FF2B5EF4-FFF2-40B4-BE49-F238E27FC236}">
                    <a16:creationId xmlns:a16="http://schemas.microsoft.com/office/drawing/2014/main" id="{CA6FADFD-D006-45DF-A9EE-D15299FA75D2}"/>
                  </a:ext>
                </a:extLst>
              </p:cNvPr>
              <p:cNvSpPr>
                <a:spLocks noChangeArrowheads="1"/>
              </p:cNvSpPr>
              <p:nvPr/>
            </p:nvSpPr>
            <p:spPr bwMode="auto">
              <a:xfrm>
                <a:off x="8924293"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2" name="Rectangle 132">
                <a:extLst>
                  <a:ext uri="{FF2B5EF4-FFF2-40B4-BE49-F238E27FC236}">
                    <a16:creationId xmlns:a16="http://schemas.microsoft.com/office/drawing/2014/main" id="{67537B75-F248-45B2-BCEE-520A90AA8341}"/>
                  </a:ext>
                </a:extLst>
              </p:cNvPr>
              <p:cNvSpPr>
                <a:spLocks noChangeArrowheads="1"/>
              </p:cNvSpPr>
              <p:nvPr/>
            </p:nvSpPr>
            <p:spPr bwMode="auto">
              <a:xfrm>
                <a:off x="9110107"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3" name="Rectangle 133">
                <a:extLst>
                  <a:ext uri="{FF2B5EF4-FFF2-40B4-BE49-F238E27FC236}">
                    <a16:creationId xmlns:a16="http://schemas.microsoft.com/office/drawing/2014/main" id="{27A178F2-D6AA-451B-96CF-513B5EEF99D0}"/>
                  </a:ext>
                </a:extLst>
              </p:cNvPr>
              <p:cNvSpPr>
                <a:spLocks noChangeArrowheads="1"/>
              </p:cNvSpPr>
              <p:nvPr/>
            </p:nvSpPr>
            <p:spPr bwMode="auto">
              <a:xfrm>
                <a:off x="8924293"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4" name="Rectangle 134">
                <a:extLst>
                  <a:ext uri="{FF2B5EF4-FFF2-40B4-BE49-F238E27FC236}">
                    <a16:creationId xmlns:a16="http://schemas.microsoft.com/office/drawing/2014/main" id="{6DB9BA86-8B64-4A2B-A627-B6BC8541A885}"/>
                  </a:ext>
                </a:extLst>
              </p:cNvPr>
              <p:cNvSpPr>
                <a:spLocks noChangeArrowheads="1"/>
              </p:cNvSpPr>
              <p:nvPr/>
            </p:nvSpPr>
            <p:spPr bwMode="auto">
              <a:xfrm>
                <a:off x="9110107"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5" name="Rectangle 135">
                <a:extLst>
                  <a:ext uri="{FF2B5EF4-FFF2-40B4-BE49-F238E27FC236}">
                    <a16:creationId xmlns:a16="http://schemas.microsoft.com/office/drawing/2014/main" id="{A614EEAB-2F3E-401A-A0E0-CBD9A7BDD57A}"/>
                  </a:ext>
                </a:extLst>
              </p:cNvPr>
              <p:cNvSpPr>
                <a:spLocks noChangeArrowheads="1"/>
              </p:cNvSpPr>
              <p:nvPr/>
            </p:nvSpPr>
            <p:spPr bwMode="auto">
              <a:xfrm>
                <a:off x="8924293"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6" name="Rectangle 136">
                <a:extLst>
                  <a:ext uri="{FF2B5EF4-FFF2-40B4-BE49-F238E27FC236}">
                    <a16:creationId xmlns:a16="http://schemas.microsoft.com/office/drawing/2014/main" id="{4579FADF-A6C9-4592-81DF-2D5FD935C04A}"/>
                  </a:ext>
                </a:extLst>
              </p:cNvPr>
              <p:cNvSpPr>
                <a:spLocks noChangeArrowheads="1"/>
              </p:cNvSpPr>
              <p:nvPr/>
            </p:nvSpPr>
            <p:spPr bwMode="auto">
              <a:xfrm>
                <a:off x="9110107"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37" name="Rectangle 137">
                <a:extLst>
                  <a:ext uri="{FF2B5EF4-FFF2-40B4-BE49-F238E27FC236}">
                    <a16:creationId xmlns:a16="http://schemas.microsoft.com/office/drawing/2014/main" id="{A9392D5C-4EA2-4C91-A852-B28574B519F7}"/>
                  </a:ext>
                </a:extLst>
              </p:cNvPr>
              <p:cNvSpPr>
                <a:spLocks noChangeArrowheads="1"/>
              </p:cNvSpPr>
              <p:nvPr/>
            </p:nvSpPr>
            <p:spPr bwMode="auto">
              <a:xfrm>
                <a:off x="8996085" y="3323507"/>
                <a:ext cx="162588" cy="18421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38" name="Group 187">
              <a:extLst>
                <a:ext uri="{FF2B5EF4-FFF2-40B4-BE49-F238E27FC236}">
                  <a16:creationId xmlns:a16="http://schemas.microsoft.com/office/drawing/2014/main" id="{9B067AA3-85C5-4DAD-869A-097E6C426828}"/>
                </a:ext>
              </a:extLst>
            </p:cNvPr>
            <p:cNvGrpSpPr>
              <a:grpSpLocks/>
            </p:cNvGrpSpPr>
            <p:nvPr/>
          </p:nvGrpSpPr>
          <p:grpSpPr bwMode="auto">
            <a:xfrm>
              <a:off x="7412140" y="1751211"/>
              <a:ext cx="598648" cy="1061417"/>
              <a:chOff x="7425725" y="2293714"/>
              <a:chExt cx="643538" cy="1141886"/>
            </a:xfrm>
          </p:grpSpPr>
          <p:sp>
            <p:nvSpPr>
              <p:cNvPr id="39" name="Freeform 184">
                <a:extLst>
                  <a:ext uri="{FF2B5EF4-FFF2-40B4-BE49-F238E27FC236}">
                    <a16:creationId xmlns:a16="http://schemas.microsoft.com/office/drawing/2014/main" id="{EE223592-63FF-40A3-A7D7-6AD3840944C0}"/>
                  </a:ext>
                </a:extLst>
              </p:cNvPr>
              <p:cNvSpPr>
                <a:spLocks/>
              </p:cNvSpPr>
              <p:nvPr/>
            </p:nvSpPr>
            <p:spPr bwMode="auto">
              <a:xfrm>
                <a:off x="7425725" y="2293714"/>
                <a:ext cx="643538" cy="1141886"/>
              </a:xfrm>
              <a:custGeom>
                <a:avLst/>
                <a:gdLst>
                  <a:gd name="T0" fmla="*/ 328 w 328"/>
                  <a:gd name="T1" fmla="*/ 582 h 582"/>
                  <a:gd name="T2" fmla="*/ 0 w 328"/>
                  <a:gd name="T3" fmla="*/ 582 h 582"/>
                  <a:gd name="T4" fmla="*/ 0 w 328"/>
                  <a:gd name="T5" fmla="*/ 88 h 582"/>
                  <a:gd name="T6" fmla="*/ 169 w 328"/>
                  <a:gd name="T7" fmla="*/ 0 h 582"/>
                  <a:gd name="T8" fmla="*/ 328 w 328"/>
                  <a:gd name="T9" fmla="*/ 87 h 582"/>
                  <a:gd name="T10" fmla="*/ 328 w 328"/>
                  <a:gd name="T11" fmla="*/ 582 h 582"/>
                </a:gdLst>
                <a:ahLst/>
                <a:cxnLst>
                  <a:cxn ang="0">
                    <a:pos x="T0" y="T1"/>
                  </a:cxn>
                  <a:cxn ang="0">
                    <a:pos x="T2" y="T3"/>
                  </a:cxn>
                  <a:cxn ang="0">
                    <a:pos x="T4" y="T5"/>
                  </a:cxn>
                  <a:cxn ang="0">
                    <a:pos x="T6" y="T7"/>
                  </a:cxn>
                  <a:cxn ang="0">
                    <a:pos x="T8" y="T9"/>
                  </a:cxn>
                  <a:cxn ang="0">
                    <a:pos x="T10" y="T11"/>
                  </a:cxn>
                </a:cxnLst>
                <a:rect l="0" t="0" r="r" b="b"/>
                <a:pathLst>
                  <a:path w="328" h="582">
                    <a:moveTo>
                      <a:pt x="328" y="582"/>
                    </a:moveTo>
                    <a:lnTo>
                      <a:pt x="0" y="582"/>
                    </a:lnTo>
                    <a:lnTo>
                      <a:pt x="0" y="88"/>
                    </a:lnTo>
                    <a:lnTo>
                      <a:pt x="169" y="0"/>
                    </a:lnTo>
                    <a:lnTo>
                      <a:pt x="328" y="87"/>
                    </a:lnTo>
                    <a:lnTo>
                      <a:pt x="328" y="582"/>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40" name="Rectangle 185">
                <a:extLst>
                  <a:ext uri="{FF2B5EF4-FFF2-40B4-BE49-F238E27FC236}">
                    <a16:creationId xmlns:a16="http://schemas.microsoft.com/office/drawing/2014/main" id="{B0856E33-7628-4EEB-B984-3B3C0E60506B}"/>
                  </a:ext>
                </a:extLst>
              </p:cNvPr>
              <p:cNvSpPr>
                <a:spLocks noChangeArrowheads="1"/>
              </p:cNvSpPr>
              <p:nvPr/>
            </p:nvSpPr>
            <p:spPr bwMode="auto">
              <a:xfrm>
                <a:off x="7565440" y="2564886"/>
                <a:ext cx="129132"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1" name="Rectangle 186">
                <a:extLst>
                  <a:ext uri="{FF2B5EF4-FFF2-40B4-BE49-F238E27FC236}">
                    <a16:creationId xmlns:a16="http://schemas.microsoft.com/office/drawing/2014/main" id="{2C14F23B-A840-4910-8A46-46DCC2D24D9A}"/>
                  </a:ext>
                </a:extLst>
              </p:cNvPr>
              <p:cNvSpPr>
                <a:spLocks noChangeArrowheads="1"/>
              </p:cNvSpPr>
              <p:nvPr/>
            </p:nvSpPr>
            <p:spPr bwMode="auto">
              <a:xfrm>
                <a:off x="7800417" y="2564886"/>
                <a:ext cx="131248"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2" name="Rectangle 187">
                <a:extLst>
                  <a:ext uri="{FF2B5EF4-FFF2-40B4-BE49-F238E27FC236}">
                    <a16:creationId xmlns:a16="http://schemas.microsoft.com/office/drawing/2014/main" id="{3075A804-1337-4BA2-BCFB-488409C7EF3D}"/>
                  </a:ext>
                </a:extLst>
              </p:cNvPr>
              <p:cNvSpPr>
                <a:spLocks noChangeArrowheads="1"/>
              </p:cNvSpPr>
              <p:nvPr/>
            </p:nvSpPr>
            <p:spPr bwMode="auto">
              <a:xfrm>
                <a:off x="7565440" y="2778856"/>
                <a:ext cx="129132"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3" name="Rectangle 188">
                <a:extLst>
                  <a:ext uri="{FF2B5EF4-FFF2-40B4-BE49-F238E27FC236}">
                    <a16:creationId xmlns:a16="http://schemas.microsoft.com/office/drawing/2014/main" id="{7B367BD7-C6CF-4F71-8ED7-3D0BCDE551AC}"/>
                  </a:ext>
                </a:extLst>
              </p:cNvPr>
              <p:cNvSpPr>
                <a:spLocks noChangeArrowheads="1"/>
              </p:cNvSpPr>
              <p:nvPr/>
            </p:nvSpPr>
            <p:spPr bwMode="auto">
              <a:xfrm>
                <a:off x="7800417" y="2778856"/>
                <a:ext cx="131248"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4" name="Rectangle 189">
                <a:extLst>
                  <a:ext uri="{FF2B5EF4-FFF2-40B4-BE49-F238E27FC236}">
                    <a16:creationId xmlns:a16="http://schemas.microsoft.com/office/drawing/2014/main" id="{EDC23A94-E091-4250-873B-378A0886EBFD}"/>
                  </a:ext>
                </a:extLst>
              </p:cNvPr>
              <p:cNvSpPr>
                <a:spLocks noChangeArrowheads="1"/>
              </p:cNvSpPr>
              <p:nvPr/>
            </p:nvSpPr>
            <p:spPr bwMode="auto">
              <a:xfrm>
                <a:off x="7565440" y="2990709"/>
                <a:ext cx="129132"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5" name="Rectangle 190">
                <a:extLst>
                  <a:ext uri="{FF2B5EF4-FFF2-40B4-BE49-F238E27FC236}">
                    <a16:creationId xmlns:a16="http://schemas.microsoft.com/office/drawing/2014/main" id="{D0D57078-57BE-4CC9-A808-839FA0CA2514}"/>
                  </a:ext>
                </a:extLst>
              </p:cNvPr>
              <p:cNvSpPr>
                <a:spLocks noChangeArrowheads="1"/>
              </p:cNvSpPr>
              <p:nvPr/>
            </p:nvSpPr>
            <p:spPr bwMode="auto">
              <a:xfrm>
                <a:off x="7800417" y="2990709"/>
                <a:ext cx="131248"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46" name="Rectangle 191">
                <a:extLst>
                  <a:ext uri="{FF2B5EF4-FFF2-40B4-BE49-F238E27FC236}">
                    <a16:creationId xmlns:a16="http://schemas.microsoft.com/office/drawing/2014/main" id="{CC3888BD-1EF8-4E71-8305-0B198B5E59C6}"/>
                  </a:ext>
                </a:extLst>
              </p:cNvPr>
              <p:cNvSpPr>
                <a:spLocks noChangeArrowheads="1"/>
              </p:cNvSpPr>
              <p:nvPr/>
            </p:nvSpPr>
            <p:spPr bwMode="auto">
              <a:xfrm>
                <a:off x="7654350" y="3202562"/>
                <a:ext cx="205340" cy="233038"/>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47" name="Group 177">
              <a:extLst>
                <a:ext uri="{FF2B5EF4-FFF2-40B4-BE49-F238E27FC236}">
                  <a16:creationId xmlns:a16="http://schemas.microsoft.com/office/drawing/2014/main" id="{00D9A43F-F4B6-42AD-AEF0-416A635CCBA6}"/>
                </a:ext>
              </a:extLst>
            </p:cNvPr>
            <p:cNvGrpSpPr>
              <a:grpSpLocks/>
            </p:cNvGrpSpPr>
            <p:nvPr/>
          </p:nvGrpSpPr>
          <p:grpSpPr bwMode="auto">
            <a:xfrm>
              <a:off x="7922172" y="1077733"/>
              <a:ext cx="858587" cy="1738834"/>
              <a:chOff x="7972425" y="1589088"/>
              <a:chExt cx="923925" cy="1868487"/>
            </a:xfrm>
          </p:grpSpPr>
          <p:sp>
            <p:nvSpPr>
              <p:cNvPr id="48" name="Rectangle 90">
                <a:extLst>
                  <a:ext uri="{FF2B5EF4-FFF2-40B4-BE49-F238E27FC236}">
                    <a16:creationId xmlns:a16="http://schemas.microsoft.com/office/drawing/2014/main" id="{104D64ED-23F6-4737-B31B-46C2A7BFF853}"/>
                  </a:ext>
                </a:extLst>
              </p:cNvPr>
              <p:cNvSpPr>
                <a:spLocks noChangeArrowheads="1"/>
              </p:cNvSpPr>
              <p:nvPr/>
            </p:nvSpPr>
            <p:spPr bwMode="auto">
              <a:xfrm>
                <a:off x="7999973" y="1986909"/>
                <a:ext cx="851876" cy="1470666"/>
              </a:xfrm>
              <a:prstGeom prst="rect">
                <a:avLst/>
              </a:prstGeom>
              <a:solidFill>
                <a:schemeClr val="accent5"/>
              </a:solidFill>
              <a:ln>
                <a:noFill/>
              </a:ln>
            </p:spPr>
            <p:txBody>
              <a:bodyPr lIns="68580" tIns="34290" rIns="68580" bIns="34290"/>
              <a:lstStyle/>
              <a:p>
                <a:pPr>
                  <a:defRPr/>
                </a:pPr>
                <a:endParaRPr lang="en-US" sz="1350"/>
              </a:p>
            </p:txBody>
          </p:sp>
          <p:sp>
            <p:nvSpPr>
              <p:cNvPr id="49" name="Rectangle 91">
                <a:extLst>
                  <a:ext uri="{FF2B5EF4-FFF2-40B4-BE49-F238E27FC236}">
                    <a16:creationId xmlns:a16="http://schemas.microsoft.com/office/drawing/2014/main" id="{9C2EA717-192E-47E9-99A3-A29D52324214}"/>
                  </a:ext>
                </a:extLst>
              </p:cNvPr>
              <p:cNvSpPr>
                <a:spLocks noChangeArrowheads="1"/>
              </p:cNvSpPr>
              <p:nvPr/>
            </p:nvSpPr>
            <p:spPr bwMode="auto">
              <a:xfrm>
                <a:off x="8707750" y="2092712"/>
                <a:ext cx="74169"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0" name="Rectangle 92">
                <a:extLst>
                  <a:ext uri="{FF2B5EF4-FFF2-40B4-BE49-F238E27FC236}">
                    <a16:creationId xmlns:a16="http://schemas.microsoft.com/office/drawing/2014/main" id="{2A0B2DE7-0405-4D2D-B516-43C433166B64}"/>
                  </a:ext>
                </a:extLst>
              </p:cNvPr>
              <p:cNvSpPr>
                <a:spLocks noChangeArrowheads="1"/>
              </p:cNvSpPr>
              <p:nvPr/>
            </p:nvSpPr>
            <p:spPr bwMode="auto">
              <a:xfrm>
                <a:off x="8493722"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1" name="Rectangle 93">
                <a:extLst>
                  <a:ext uri="{FF2B5EF4-FFF2-40B4-BE49-F238E27FC236}">
                    <a16:creationId xmlns:a16="http://schemas.microsoft.com/office/drawing/2014/main" id="{591DF425-9B9B-4D80-8D58-F1FF982512F4}"/>
                  </a:ext>
                </a:extLst>
              </p:cNvPr>
              <p:cNvSpPr>
                <a:spLocks noChangeArrowheads="1"/>
              </p:cNvSpPr>
              <p:nvPr/>
            </p:nvSpPr>
            <p:spPr bwMode="auto">
              <a:xfrm>
                <a:off x="828181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2" name="Rectangle 94">
                <a:extLst>
                  <a:ext uri="{FF2B5EF4-FFF2-40B4-BE49-F238E27FC236}">
                    <a16:creationId xmlns:a16="http://schemas.microsoft.com/office/drawing/2014/main" id="{75795A2E-4FE8-49DF-841B-D8F01E993F6C}"/>
                  </a:ext>
                </a:extLst>
              </p:cNvPr>
              <p:cNvSpPr>
                <a:spLocks noChangeArrowheads="1"/>
              </p:cNvSpPr>
              <p:nvPr/>
            </p:nvSpPr>
            <p:spPr bwMode="auto">
              <a:xfrm>
                <a:off x="806990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3" name="Rectangle 95">
                <a:extLst>
                  <a:ext uri="{FF2B5EF4-FFF2-40B4-BE49-F238E27FC236}">
                    <a16:creationId xmlns:a16="http://schemas.microsoft.com/office/drawing/2014/main" id="{C051988C-9514-4043-B764-AEF4A60E7020}"/>
                  </a:ext>
                </a:extLst>
              </p:cNvPr>
              <p:cNvSpPr>
                <a:spLocks noChangeArrowheads="1"/>
              </p:cNvSpPr>
              <p:nvPr/>
            </p:nvSpPr>
            <p:spPr bwMode="auto">
              <a:xfrm>
                <a:off x="8707750" y="2285274"/>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4" name="Rectangle 96">
                <a:extLst>
                  <a:ext uri="{FF2B5EF4-FFF2-40B4-BE49-F238E27FC236}">
                    <a16:creationId xmlns:a16="http://schemas.microsoft.com/office/drawing/2014/main" id="{D2F4BDC5-8828-404D-AF1A-34DB5154275A}"/>
                  </a:ext>
                </a:extLst>
              </p:cNvPr>
              <p:cNvSpPr>
                <a:spLocks noChangeArrowheads="1"/>
              </p:cNvSpPr>
              <p:nvPr/>
            </p:nvSpPr>
            <p:spPr bwMode="auto">
              <a:xfrm>
                <a:off x="8493722"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5" name="Rectangle 97">
                <a:extLst>
                  <a:ext uri="{FF2B5EF4-FFF2-40B4-BE49-F238E27FC236}">
                    <a16:creationId xmlns:a16="http://schemas.microsoft.com/office/drawing/2014/main" id="{9AA0D385-0D7D-441E-9B1C-3C11C1DAA1FB}"/>
                  </a:ext>
                </a:extLst>
              </p:cNvPr>
              <p:cNvSpPr>
                <a:spLocks noChangeArrowheads="1"/>
              </p:cNvSpPr>
              <p:nvPr/>
            </p:nvSpPr>
            <p:spPr bwMode="auto">
              <a:xfrm>
                <a:off x="8281808"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6" name="Rectangle 98">
                <a:extLst>
                  <a:ext uri="{FF2B5EF4-FFF2-40B4-BE49-F238E27FC236}">
                    <a16:creationId xmlns:a16="http://schemas.microsoft.com/office/drawing/2014/main" id="{D5CB128F-0FD4-42C7-A678-86BE9A46F0ED}"/>
                  </a:ext>
                </a:extLst>
              </p:cNvPr>
              <p:cNvSpPr>
                <a:spLocks noChangeArrowheads="1"/>
              </p:cNvSpPr>
              <p:nvPr/>
            </p:nvSpPr>
            <p:spPr bwMode="auto">
              <a:xfrm>
                <a:off x="8069903"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7" name="Rectangle 99">
                <a:extLst>
                  <a:ext uri="{FF2B5EF4-FFF2-40B4-BE49-F238E27FC236}">
                    <a16:creationId xmlns:a16="http://schemas.microsoft.com/office/drawing/2014/main" id="{19A8821C-6CAD-4115-AB77-71298F7EAB0B}"/>
                  </a:ext>
                </a:extLst>
              </p:cNvPr>
              <p:cNvSpPr>
                <a:spLocks noChangeArrowheads="1"/>
              </p:cNvSpPr>
              <p:nvPr/>
            </p:nvSpPr>
            <p:spPr bwMode="auto">
              <a:xfrm>
                <a:off x="8707750" y="2477836"/>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8" name="Rectangle 100">
                <a:extLst>
                  <a:ext uri="{FF2B5EF4-FFF2-40B4-BE49-F238E27FC236}">
                    <a16:creationId xmlns:a16="http://schemas.microsoft.com/office/drawing/2014/main" id="{1D31B3D8-5F75-405D-B635-F21F576AB890}"/>
                  </a:ext>
                </a:extLst>
              </p:cNvPr>
              <p:cNvSpPr>
                <a:spLocks noChangeArrowheads="1"/>
              </p:cNvSpPr>
              <p:nvPr/>
            </p:nvSpPr>
            <p:spPr bwMode="auto">
              <a:xfrm>
                <a:off x="8493722"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59" name="Rectangle 101">
                <a:extLst>
                  <a:ext uri="{FF2B5EF4-FFF2-40B4-BE49-F238E27FC236}">
                    <a16:creationId xmlns:a16="http://schemas.microsoft.com/office/drawing/2014/main" id="{A8E6C66A-432C-403D-82E3-B878B1BF34EA}"/>
                  </a:ext>
                </a:extLst>
              </p:cNvPr>
              <p:cNvSpPr>
                <a:spLocks noChangeArrowheads="1"/>
              </p:cNvSpPr>
              <p:nvPr/>
            </p:nvSpPr>
            <p:spPr bwMode="auto">
              <a:xfrm>
                <a:off x="828181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0" name="Rectangle 102">
                <a:extLst>
                  <a:ext uri="{FF2B5EF4-FFF2-40B4-BE49-F238E27FC236}">
                    <a16:creationId xmlns:a16="http://schemas.microsoft.com/office/drawing/2014/main" id="{327DDCE9-47A8-4E6D-AB21-0BD87D828EF8}"/>
                  </a:ext>
                </a:extLst>
              </p:cNvPr>
              <p:cNvSpPr>
                <a:spLocks noChangeArrowheads="1"/>
              </p:cNvSpPr>
              <p:nvPr/>
            </p:nvSpPr>
            <p:spPr bwMode="auto">
              <a:xfrm>
                <a:off x="806990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1" name="Rectangle 103">
                <a:extLst>
                  <a:ext uri="{FF2B5EF4-FFF2-40B4-BE49-F238E27FC236}">
                    <a16:creationId xmlns:a16="http://schemas.microsoft.com/office/drawing/2014/main" id="{2782B6EA-7D19-45C5-84A8-1CB5E27C1CE7}"/>
                  </a:ext>
                </a:extLst>
              </p:cNvPr>
              <p:cNvSpPr>
                <a:spLocks noChangeArrowheads="1"/>
              </p:cNvSpPr>
              <p:nvPr/>
            </p:nvSpPr>
            <p:spPr bwMode="auto">
              <a:xfrm>
                <a:off x="8707750" y="2670398"/>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2" name="Rectangle 104">
                <a:extLst>
                  <a:ext uri="{FF2B5EF4-FFF2-40B4-BE49-F238E27FC236}">
                    <a16:creationId xmlns:a16="http://schemas.microsoft.com/office/drawing/2014/main" id="{16023BE1-351C-44D0-AA49-E1C03FDCA1E8}"/>
                  </a:ext>
                </a:extLst>
              </p:cNvPr>
              <p:cNvSpPr>
                <a:spLocks noChangeArrowheads="1"/>
              </p:cNvSpPr>
              <p:nvPr/>
            </p:nvSpPr>
            <p:spPr bwMode="auto">
              <a:xfrm>
                <a:off x="8493722"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3" name="Rectangle 105">
                <a:extLst>
                  <a:ext uri="{FF2B5EF4-FFF2-40B4-BE49-F238E27FC236}">
                    <a16:creationId xmlns:a16="http://schemas.microsoft.com/office/drawing/2014/main" id="{D78F5741-3DA4-4AD8-A511-EE5CC5789E56}"/>
                  </a:ext>
                </a:extLst>
              </p:cNvPr>
              <p:cNvSpPr>
                <a:spLocks noChangeArrowheads="1"/>
              </p:cNvSpPr>
              <p:nvPr/>
            </p:nvSpPr>
            <p:spPr bwMode="auto">
              <a:xfrm>
                <a:off x="828181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4" name="Rectangle 106">
                <a:extLst>
                  <a:ext uri="{FF2B5EF4-FFF2-40B4-BE49-F238E27FC236}">
                    <a16:creationId xmlns:a16="http://schemas.microsoft.com/office/drawing/2014/main" id="{23AAC9DE-0FD3-42C6-B7DC-733BDCB503C8}"/>
                  </a:ext>
                </a:extLst>
              </p:cNvPr>
              <p:cNvSpPr>
                <a:spLocks noChangeArrowheads="1"/>
              </p:cNvSpPr>
              <p:nvPr/>
            </p:nvSpPr>
            <p:spPr bwMode="auto">
              <a:xfrm>
                <a:off x="806990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5" name="Rectangle 107">
                <a:extLst>
                  <a:ext uri="{FF2B5EF4-FFF2-40B4-BE49-F238E27FC236}">
                    <a16:creationId xmlns:a16="http://schemas.microsoft.com/office/drawing/2014/main" id="{76BC0672-7758-462A-8DA5-73CB8606E36E}"/>
                  </a:ext>
                </a:extLst>
              </p:cNvPr>
              <p:cNvSpPr>
                <a:spLocks noChangeArrowheads="1"/>
              </p:cNvSpPr>
              <p:nvPr/>
            </p:nvSpPr>
            <p:spPr bwMode="auto">
              <a:xfrm>
                <a:off x="8707750" y="2865076"/>
                <a:ext cx="74169"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6" name="Rectangle 108">
                <a:extLst>
                  <a:ext uri="{FF2B5EF4-FFF2-40B4-BE49-F238E27FC236}">
                    <a16:creationId xmlns:a16="http://schemas.microsoft.com/office/drawing/2014/main" id="{91D2676C-4025-4C13-93B1-1C96A703C6FC}"/>
                  </a:ext>
                </a:extLst>
              </p:cNvPr>
              <p:cNvSpPr>
                <a:spLocks noChangeArrowheads="1"/>
              </p:cNvSpPr>
              <p:nvPr/>
            </p:nvSpPr>
            <p:spPr bwMode="auto">
              <a:xfrm>
                <a:off x="8493722"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7" name="Rectangle 109">
                <a:extLst>
                  <a:ext uri="{FF2B5EF4-FFF2-40B4-BE49-F238E27FC236}">
                    <a16:creationId xmlns:a16="http://schemas.microsoft.com/office/drawing/2014/main" id="{527F44A3-5455-43E9-B573-CCF533DD6F60}"/>
                  </a:ext>
                </a:extLst>
              </p:cNvPr>
              <p:cNvSpPr>
                <a:spLocks noChangeArrowheads="1"/>
              </p:cNvSpPr>
              <p:nvPr/>
            </p:nvSpPr>
            <p:spPr bwMode="auto">
              <a:xfrm>
                <a:off x="828181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8" name="Rectangle 110">
                <a:extLst>
                  <a:ext uri="{FF2B5EF4-FFF2-40B4-BE49-F238E27FC236}">
                    <a16:creationId xmlns:a16="http://schemas.microsoft.com/office/drawing/2014/main" id="{5E9E15DE-D7D2-49B3-A53C-E43C7371F2C8}"/>
                  </a:ext>
                </a:extLst>
              </p:cNvPr>
              <p:cNvSpPr>
                <a:spLocks noChangeArrowheads="1"/>
              </p:cNvSpPr>
              <p:nvPr/>
            </p:nvSpPr>
            <p:spPr bwMode="auto">
              <a:xfrm>
                <a:off x="806990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69" name="Rectangle 111">
                <a:extLst>
                  <a:ext uri="{FF2B5EF4-FFF2-40B4-BE49-F238E27FC236}">
                    <a16:creationId xmlns:a16="http://schemas.microsoft.com/office/drawing/2014/main" id="{9F9BE0B3-B0B8-4953-B931-CAA57CAB30F5}"/>
                  </a:ext>
                </a:extLst>
              </p:cNvPr>
              <p:cNvSpPr>
                <a:spLocks noChangeArrowheads="1"/>
              </p:cNvSpPr>
              <p:nvPr/>
            </p:nvSpPr>
            <p:spPr bwMode="auto">
              <a:xfrm>
                <a:off x="8707750" y="3055522"/>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0" name="Rectangle 112">
                <a:extLst>
                  <a:ext uri="{FF2B5EF4-FFF2-40B4-BE49-F238E27FC236}">
                    <a16:creationId xmlns:a16="http://schemas.microsoft.com/office/drawing/2014/main" id="{6D9BC7F7-773C-4CC1-B4C5-352191A1F40C}"/>
                  </a:ext>
                </a:extLst>
              </p:cNvPr>
              <p:cNvSpPr>
                <a:spLocks noChangeArrowheads="1"/>
              </p:cNvSpPr>
              <p:nvPr/>
            </p:nvSpPr>
            <p:spPr bwMode="auto">
              <a:xfrm>
                <a:off x="8493722"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1" name="Rectangle 113">
                <a:extLst>
                  <a:ext uri="{FF2B5EF4-FFF2-40B4-BE49-F238E27FC236}">
                    <a16:creationId xmlns:a16="http://schemas.microsoft.com/office/drawing/2014/main" id="{F7E25C96-602C-4658-85F0-85EF229F8898}"/>
                  </a:ext>
                </a:extLst>
              </p:cNvPr>
              <p:cNvSpPr>
                <a:spLocks noChangeArrowheads="1"/>
              </p:cNvSpPr>
              <p:nvPr/>
            </p:nvSpPr>
            <p:spPr bwMode="auto">
              <a:xfrm>
                <a:off x="828181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2" name="Rectangle 114">
                <a:extLst>
                  <a:ext uri="{FF2B5EF4-FFF2-40B4-BE49-F238E27FC236}">
                    <a16:creationId xmlns:a16="http://schemas.microsoft.com/office/drawing/2014/main" id="{531C2A42-BC02-48A9-A059-3A6D307E5577}"/>
                  </a:ext>
                </a:extLst>
              </p:cNvPr>
              <p:cNvSpPr>
                <a:spLocks noChangeArrowheads="1"/>
              </p:cNvSpPr>
              <p:nvPr/>
            </p:nvSpPr>
            <p:spPr bwMode="auto">
              <a:xfrm>
                <a:off x="806990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73" name="Rectangle 116">
                <a:extLst>
                  <a:ext uri="{FF2B5EF4-FFF2-40B4-BE49-F238E27FC236}">
                    <a16:creationId xmlns:a16="http://schemas.microsoft.com/office/drawing/2014/main" id="{414439A9-42DE-4DB3-9088-78B7B31FEE3B}"/>
                  </a:ext>
                </a:extLst>
              </p:cNvPr>
              <p:cNvSpPr>
                <a:spLocks noChangeArrowheads="1"/>
              </p:cNvSpPr>
              <p:nvPr/>
            </p:nvSpPr>
            <p:spPr bwMode="auto">
              <a:xfrm>
                <a:off x="7972425" y="1940355"/>
                <a:ext cx="923925" cy="46553"/>
              </a:xfrm>
              <a:prstGeom prst="rect">
                <a:avLst/>
              </a:prstGeom>
              <a:solidFill>
                <a:schemeClr val="accent5">
                  <a:lumMod val="75000"/>
                </a:schemeClr>
              </a:solidFill>
              <a:ln>
                <a:noFill/>
              </a:ln>
            </p:spPr>
            <p:txBody>
              <a:bodyPr lIns="68580" tIns="34290" rIns="68580" bIns="34290"/>
              <a:lstStyle/>
              <a:p>
                <a:pPr>
                  <a:defRPr/>
                </a:pPr>
                <a:endParaRPr lang="en-US" sz="1350"/>
              </a:p>
            </p:txBody>
          </p:sp>
          <p:sp>
            <p:nvSpPr>
              <p:cNvPr id="74" name="Freeform 117">
                <a:extLst>
                  <a:ext uri="{FF2B5EF4-FFF2-40B4-BE49-F238E27FC236}">
                    <a16:creationId xmlns:a16="http://schemas.microsoft.com/office/drawing/2014/main" id="{5A785EE1-29CD-4BCB-A8D5-B318CDAA8A0A}"/>
                  </a:ext>
                </a:extLst>
              </p:cNvPr>
              <p:cNvSpPr>
                <a:spLocks/>
              </p:cNvSpPr>
              <p:nvPr/>
            </p:nvSpPr>
            <p:spPr bwMode="auto">
              <a:xfrm>
                <a:off x="7999973" y="1589088"/>
                <a:ext cx="851876" cy="351267"/>
              </a:xfrm>
              <a:custGeom>
                <a:avLst/>
                <a:gdLst>
                  <a:gd name="T0" fmla="*/ 47 w 283"/>
                  <a:gd name="T1" fmla="*/ 67 h 117"/>
                  <a:gd name="T2" fmla="*/ 142 w 283"/>
                  <a:gd name="T3" fmla="*/ 0 h 117"/>
                  <a:gd name="T4" fmla="*/ 237 w 283"/>
                  <a:gd name="T5" fmla="*/ 67 h 117"/>
                  <a:gd name="T6" fmla="*/ 283 w 283"/>
                  <a:gd name="T7" fmla="*/ 67 h 117"/>
                  <a:gd name="T8" fmla="*/ 283 w 283"/>
                  <a:gd name="T9" fmla="*/ 117 h 117"/>
                  <a:gd name="T10" fmla="*/ 0 w 283"/>
                  <a:gd name="T11" fmla="*/ 117 h 117"/>
                  <a:gd name="T12" fmla="*/ 0 w 283"/>
                  <a:gd name="T13" fmla="*/ 67 h 117"/>
                  <a:gd name="T14" fmla="*/ 47 w 283"/>
                  <a:gd name="T15" fmla="*/ 67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117">
                    <a:moveTo>
                      <a:pt x="47" y="67"/>
                    </a:moveTo>
                    <a:cubicBezTo>
                      <a:pt x="60" y="28"/>
                      <a:pt x="98" y="0"/>
                      <a:pt x="142" y="0"/>
                    </a:cubicBezTo>
                    <a:cubicBezTo>
                      <a:pt x="186" y="0"/>
                      <a:pt x="223" y="28"/>
                      <a:pt x="237" y="67"/>
                    </a:cubicBezTo>
                    <a:cubicBezTo>
                      <a:pt x="283" y="67"/>
                      <a:pt x="283" y="67"/>
                      <a:pt x="283" y="67"/>
                    </a:cubicBezTo>
                    <a:cubicBezTo>
                      <a:pt x="283" y="117"/>
                      <a:pt x="283" y="117"/>
                      <a:pt x="283" y="117"/>
                    </a:cubicBezTo>
                    <a:cubicBezTo>
                      <a:pt x="0" y="117"/>
                      <a:pt x="0" y="117"/>
                      <a:pt x="0" y="117"/>
                    </a:cubicBezTo>
                    <a:cubicBezTo>
                      <a:pt x="0" y="67"/>
                      <a:pt x="0" y="67"/>
                      <a:pt x="0" y="67"/>
                    </a:cubicBezTo>
                    <a:lnTo>
                      <a:pt x="47" y="67"/>
                    </a:lnTo>
                    <a:close/>
                  </a:path>
                </a:pathLst>
              </a:custGeom>
              <a:solidFill>
                <a:schemeClr val="accent5"/>
              </a:solidFill>
              <a:ln>
                <a:noFill/>
              </a:ln>
            </p:spPr>
            <p:txBody>
              <a:bodyPr lIns="68580" tIns="34290" rIns="68580" bIns="34290"/>
              <a:lstStyle/>
              <a:p>
                <a:pPr>
                  <a:defRPr/>
                </a:pPr>
                <a:endParaRPr lang="en-US" sz="1350"/>
              </a:p>
            </p:txBody>
          </p:sp>
          <p:sp>
            <p:nvSpPr>
              <p:cNvPr id="75" name="Freeform 118">
                <a:extLst>
                  <a:ext uri="{FF2B5EF4-FFF2-40B4-BE49-F238E27FC236}">
                    <a16:creationId xmlns:a16="http://schemas.microsoft.com/office/drawing/2014/main" id="{B29EE554-2AF9-4D52-80CF-E89D18BC36C7}"/>
                  </a:ext>
                </a:extLst>
              </p:cNvPr>
              <p:cNvSpPr>
                <a:spLocks/>
              </p:cNvSpPr>
              <p:nvPr/>
            </p:nvSpPr>
            <p:spPr bwMode="auto">
              <a:xfrm>
                <a:off x="8197049" y="1663150"/>
                <a:ext cx="455605" cy="226420"/>
              </a:xfrm>
              <a:custGeom>
                <a:avLst/>
                <a:gdLst>
                  <a:gd name="T0" fmla="*/ 0 w 151"/>
                  <a:gd name="T1" fmla="*/ 75 h 75"/>
                  <a:gd name="T2" fmla="*/ 76 w 151"/>
                  <a:gd name="T3" fmla="*/ 0 h 75"/>
                  <a:gd name="T4" fmla="*/ 151 w 151"/>
                  <a:gd name="T5" fmla="*/ 75 h 75"/>
                </a:gdLst>
                <a:ahLst/>
                <a:cxnLst>
                  <a:cxn ang="0">
                    <a:pos x="T0" y="T1"/>
                  </a:cxn>
                  <a:cxn ang="0">
                    <a:pos x="T2" y="T3"/>
                  </a:cxn>
                  <a:cxn ang="0">
                    <a:pos x="T4" y="T5"/>
                  </a:cxn>
                </a:cxnLst>
                <a:rect l="0" t="0" r="r" b="b"/>
                <a:pathLst>
                  <a:path w="151" h="75">
                    <a:moveTo>
                      <a:pt x="0" y="75"/>
                    </a:moveTo>
                    <a:cubicBezTo>
                      <a:pt x="0" y="34"/>
                      <a:pt x="34" y="0"/>
                      <a:pt x="76" y="0"/>
                    </a:cubicBezTo>
                    <a:cubicBezTo>
                      <a:pt x="117" y="0"/>
                      <a:pt x="151" y="34"/>
                      <a:pt x="151" y="75"/>
                    </a:cubicBezTo>
                  </a:path>
                </a:pathLst>
              </a:custGeom>
              <a:solidFill>
                <a:schemeClr val="accent5">
                  <a:lumMod val="75000"/>
                </a:schemeClr>
              </a:solidFill>
              <a:ln>
                <a:noFill/>
              </a:ln>
            </p:spPr>
            <p:txBody>
              <a:bodyPr lIns="68580" tIns="34290" rIns="68580" bIns="34290"/>
              <a:lstStyle/>
              <a:p>
                <a:pPr>
                  <a:defRPr/>
                </a:pPr>
                <a:endParaRPr lang="en-US" sz="1350"/>
              </a:p>
            </p:txBody>
          </p:sp>
        </p:grpSp>
      </p:grpSp>
      <p:grpSp>
        <p:nvGrpSpPr>
          <p:cNvPr id="81" name="Group 72">
            <a:extLst>
              <a:ext uri="{FF2B5EF4-FFF2-40B4-BE49-F238E27FC236}">
                <a16:creationId xmlns:a16="http://schemas.microsoft.com/office/drawing/2014/main" id="{4B3674FE-46FA-44F2-9F9B-8ACC90714508}"/>
              </a:ext>
            </a:extLst>
          </p:cNvPr>
          <p:cNvGrpSpPr>
            <a:grpSpLocks/>
          </p:cNvGrpSpPr>
          <p:nvPr/>
        </p:nvGrpSpPr>
        <p:grpSpPr bwMode="auto">
          <a:xfrm>
            <a:off x="1768650" y="6397127"/>
            <a:ext cx="675447" cy="708925"/>
            <a:chOff x="5379262" y="2417763"/>
            <a:chExt cx="525733" cy="552552"/>
          </a:xfrm>
        </p:grpSpPr>
        <p:grpSp>
          <p:nvGrpSpPr>
            <p:cNvPr id="82" name="Group 73">
              <a:extLst>
                <a:ext uri="{FF2B5EF4-FFF2-40B4-BE49-F238E27FC236}">
                  <a16:creationId xmlns:a16="http://schemas.microsoft.com/office/drawing/2014/main" id="{683AFD9D-3F95-4A5A-8B8F-05344F399631}"/>
                </a:ext>
              </a:extLst>
            </p:cNvPr>
            <p:cNvGrpSpPr>
              <a:grpSpLocks/>
            </p:cNvGrpSpPr>
            <p:nvPr/>
          </p:nvGrpSpPr>
          <p:grpSpPr bwMode="auto">
            <a:xfrm flipH="1">
              <a:off x="5511496" y="2417763"/>
              <a:ext cx="245161" cy="552552"/>
              <a:chOff x="6945313" y="2481263"/>
              <a:chExt cx="206376" cy="465137"/>
            </a:xfrm>
          </p:grpSpPr>
          <p:sp>
            <p:nvSpPr>
              <p:cNvPr id="93" name="Rectangle 132">
                <a:extLst>
                  <a:ext uri="{FF2B5EF4-FFF2-40B4-BE49-F238E27FC236}">
                    <a16:creationId xmlns:a16="http://schemas.microsoft.com/office/drawing/2014/main" id="{14A62F39-049B-406A-9423-63F68218BD1B}"/>
                  </a:ext>
                </a:extLst>
              </p:cNvPr>
              <p:cNvSpPr>
                <a:spLocks noChangeArrowheads="1"/>
              </p:cNvSpPr>
              <p:nvPr/>
            </p:nvSpPr>
            <p:spPr bwMode="auto">
              <a:xfrm>
                <a:off x="7035916" y="2806859"/>
                <a:ext cx="25805"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4" name="Rectangle 133">
                <a:extLst>
                  <a:ext uri="{FF2B5EF4-FFF2-40B4-BE49-F238E27FC236}">
                    <a16:creationId xmlns:a16="http://schemas.microsoft.com/office/drawing/2014/main" id="{D3C81889-4AC5-4F15-BC14-E3748165DD13}"/>
                  </a:ext>
                </a:extLst>
              </p:cNvPr>
              <p:cNvSpPr>
                <a:spLocks noChangeArrowheads="1"/>
              </p:cNvSpPr>
              <p:nvPr/>
            </p:nvSpPr>
            <p:spPr bwMode="auto">
              <a:xfrm>
                <a:off x="7035916" y="2806859"/>
                <a:ext cx="25805"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5" name="Freeform 134">
                <a:extLst>
                  <a:ext uri="{FF2B5EF4-FFF2-40B4-BE49-F238E27FC236}">
                    <a16:creationId xmlns:a16="http://schemas.microsoft.com/office/drawing/2014/main" id="{1F143561-5342-4FC4-BDEB-8BC7D9835AAE}"/>
                  </a:ext>
                </a:extLst>
              </p:cNvPr>
              <p:cNvSpPr>
                <a:spLocks/>
              </p:cNvSpPr>
              <p:nvPr/>
            </p:nvSpPr>
            <p:spPr bwMode="auto">
              <a:xfrm>
                <a:off x="6945597" y="2481263"/>
                <a:ext cx="206443"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96" name="Freeform 135">
                <a:extLst>
                  <a:ext uri="{FF2B5EF4-FFF2-40B4-BE49-F238E27FC236}">
                    <a16:creationId xmlns:a16="http://schemas.microsoft.com/office/drawing/2014/main" id="{EEB1FA40-535E-4681-A186-CEA49919D321}"/>
                  </a:ext>
                </a:extLst>
              </p:cNvPr>
              <p:cNvSpPr>
                <a:spLocks/>
              </p:cNvSpPr>
              <p:nvPr/>
            </p:nvSpPr>
            <p:spPr bwMode="auto">
              <a:xfrm>
                <a:off x="7048819" y="2481263"/>
                <a:ext cx="103221"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83" name="Group 74">
              <a:extLst>
                <a:ext uri="{FF2B5EF4-FFF2-40B4-BE49-F238E27FC236}">
                  <a16:creationId xmlns:a16="http://schemas.microsoft.com/office/drawing/2014/main" id="{E6070819-F788-4E94-BF6E-7E26100EF2C4}"/>
                </a:ext>
              </a:extLst>
            </p:cNvPr>
            <p:cNvGrpSpPr>
              <a:grpSpLocks/>
            </p:cNvGrpSpPr>
            <p:nvPr/>
          </p:nvGrpSpPr>
          <p:grpSpPr bwMode="auto">
            <a:xfrm flipH="1">
              <a:off x="5379262" y="2535181"/>
              <a:ext cx="189186" cy="426393"/>
              <a:chOff x="6945313" y="2481263"/>
              <a:chExt cx="206376" cy="465137"/>
            </a:xfrm>
          </p:grpSpPr>
          <p:sp>
            <p:nvSpPr>
              <p:cNvPr id="89" name="Rectangle 132">
                <a:extLst>
                  <a:ext uri="{FF2B5EF4-FFF2-40B4-BE49-F238E27FC236}">
                    <a16:creationId xmlns:a16="http://schemas.microsoft.com/office/drawing/2014/main" id="{20B800E2-51B5-406B-B6A9-22FBE63A1D5D}"/>
                  </a:ext>
                </a:extLst>
              </p:cNvPr>
              <p:cNvSpPr>
                <a:spLocks noChangeArrowheads="1"/>
              </p:cNvSpPr>
              <p:nvPr/>
            </p:nvSpPr>
            <p:spPr bwMode="auto">
              <a:xfrm>
                <a:off x="7036320"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0" name="Rectangle 133">
                <a:extLst>
                  <a:ext uri="{FF2B5EF4-FFF2-40B4-BE49-F238E27FC236}">
                    <a16:creationId xmlns:a16="http://schemas.microsoft.com/office/drawing/2014/main" id="{8946967C-39B0-4F55-8B1A-BE414D6ACB33}"/>
                  </a:ext>
                </a:extLst>
              </p:cNvPr>
              <p:cNvSpPr>
                <a:spLocks noChangeArrowheads="1"/>
              </p:cNvSpPr>
              <p:nvPr/>
            </p:nvSpPr>
            <p:spPr bwMode="auto">
              <a:xfrm>
                <a:off x="7036320"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1" name="Freeform 134">
                <a:extLst>
                  <a:ext uri="{FF2B5EF4-FFF2-40B4-BE49-F238E27FC236}">
                    <a16:creationId xmlns:a16="http://schemas.microsoft.com/office/drawing/2014/main" id="{3F84F896-1CD0-4B31-ABF6-CF6776532793}"/>
                  </a:ext>
                </a:extLst>
              </p:cNvPr>
              <p:cNvSpPr>
                <a:spLocks/>
              </p:cNvSpPr>
              <p:nvPr/>
            </p:nvSpPr>
            <p:spPr bwMode="auto">
              <a:xfrm>
                <a:off x="6946031"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92" name="Freeform 135">
                <a:extLst>
                  <a:ext uri="{FF2B5EF4-FFF2-40B4-BE49-F238E27FC236}">
                    <a16:creationId xmlns:a16="http://schemas.microsoft.com/office/drawing/2014/main" id="{E819E4D5-7F91-4DB1-B345-E050C4E1E405}"/>
                  </a:ext>
                </a:extLst>
              </p:cNvPr>
              <p:cNvSpPr>
                <a:spLocks/>
              </p:cNvSpPr>
              <p:nvPr/>
            </p:nvSpPr>
            <p:spPr bwMode="auto">
              <a:xfrm>
                <a:off x="7048024"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84" name="Group 75">
              <a:extLst>
                <a:ext uri="{FF2B5EF4-FFF2-40B4-BE49-F238E27FC236}">
                  <a16:creationId xmlns:a16="http://schemas.microsoft.com/office/drawing/2014/main" id="{860A7801-8E35-46CC-9020-DB52C8C212F8}"/>
                </a:ext>
              </a:extLst>
            </p:cNvPr>
            <p:cNvGrpSpPr>
              <a:grpSpLocks/>
            </p:cNvGrpSpPr>
            <p:nvPr/>
          </p:nvGrpSpPr>
          <p:grpSpPr bwMode="auto">
            <a:xfrm flipH="1">
              <a:off x="5715809" y="2535181"/>
              <a:ext cx="189186" cy="426393"/>
              <a:chOff x="6945313" y="2481263"/>
              <a:chExt cx="206376" cy="465137"/>
            </a:xfrm>
          </p:grpSpPr>
          <p:sp>
            <p:nvSpPr>
              <p:cNvPr id="85" name="Rectangle 132">
                <a:extLst>
                  <a:ext uri="{FF2B5EF4-FFF2-40B4-BE49-F238E27FC236}">
                    <a16:creationId xmlns:a16="http://schemas.microsoft.com/office/drawing/2014/main" id="{02058D69-6C1A-47C4-AC7F-5063C7E9E86A}"/>
                  </a:ext>
                </a:extLst>
              </p:cNvPr>
              <p:cNvSpPr>
                <a:spLocks noChangeArrowheads="1"/>
              </p:cNvSpPr>
              <p:nvPr/>
            </p:nvSpPr>
            <p:spPr bwMode="auto">
              <a:xfrm>
                <a:off x="7035602"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6" name="Rectangle 133">
                <a:extLst>
                  <a:ext uri="{FF2B5EF4-FFF2-40B4-BE49-F238E27FC236}">
                    <a16:creationId xmlns:a16="http://schemas.microsoft.com/office/drawing/2014/main" id="{ED3886E1-C4EC-46E2-907A-53D37E610BDA}"/>
                  </a:ext>
                </a:extLst>
              </p:cNvPr>
              <p:cNvSpPr>
                <a:spLocks noChangeArrowheads="1"/>
              </p:cNvSpPr>
              <p:nvPr/>
            </p:nvSpPr>
            <p:spPr bwMode="auto">
              <a:xfrm>
                <a:off x="7035602"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7" name="Freeform 134">
                <a:extLst>
                  <a:ext uri="{FF2B5EF4-FFF2-40B4-BE49-F238E27FC236}">
                    <a16:creationId xmlns:a16="http://schemas.microsoft.com/office/drawing/2014/main" id="{C6201B35-1C44-4A1A-B975-2D44538BBD6E}"/>
                  </a:ext>
                </a:extLst>
              </p:cNvPr>
              <p:cNvSpPr>
                <a:spLocks/>
              </p:cNvSpPr>
              <p:nvPr/>
            </p:nvSpPr>
            <p:spPr bwMode="auto">
              <a:xfrm>
                <a:off x="6945313"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8" name="Freeform 135">
                <a:extLst>
                  <a:ext uri="{FF2B5EF4-FFF2-40B4-BE49-F238E27FC236}">
                    <a16:creationId xmlns:a16="http://schemas.microsoft.com/office/drawing/2014/main" id="{79A6E942-0EA6-4BA2-9C73-2A7E2FD95500}"/>
                  </a:ext>
                </a:extLst>
              </p:cNvPr>
              <p:cNvSpPr>
                <a:spLocks/>
              </p:cNvSpPr>
              <p:nvPr/>
            </p:nvSpPr>
            <p:spPr bwMode="auto">
              <a:xfrm>
                <a:off x="7047306"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116" name="Groupe 115">
            <a:extLst>
              <a:ext uri="{FF2B5EF4-FFF2-40B4-BE49-F238E27FC236}">
                <a16:creationId xmlns:a16="http://schemas.microsoft.com/office/drawing/2014/main" id="{8D472827-A91E-405E-B4C6-F62E3D91693A}"/>
              </a:ext>
            </a:extLst>
          </p:cNvPr>
          <p:cNvGrpSpPr/>
          <p:nvPr/>
        </p:nvGrpSpPr>
        <p:grpSpPr>
          <a:xfrm>
            <a:off x="9944192" y="4241337"/>
            <a:ext cx="3274551" cy="3189470"/>
            <a:chOff x="10189176" y="4192530"/>
            <a:chExt cx="2772629" cy="2772629"/>
          </a:xfrm>
        </p:grpSpPr>
        <p:pic>
          <p:nvPicPr>
            <p:cNvPr id="109" name="Graphique 108" descr="Bâtiment contour">
              <a:extLst>
                <a:ext uri="{FF2B5EF4-FFF2-40B4-BE49-F238E27FC236}">
                  <a16:creationId xmlns:a16="http://schemas.microsoft.com/office/drawing/2014/main" id="{FD061C2C-ADA5-455B-9DFA-D389F30FC1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89176" y="4192530"/>
              <a:ext cx="2772629" cy="2772629"/>
            </a:xfrm>
            <a:prstGeom prst="rect">
              <a:avLst/>
            </a:prstGeom>
          </p:spPr>
        </p:pic>
        <p:pic>
          <p:nvPicPr>
            <p:cNvPr id="114" name="Image 113" descr="Une image contenant capture d’écran, Graphique&#10;&#10;Description générée automatiquement">
              <a:extLst>
                <a:ext uri="{FF2B5EF4-FFF2-40B4-BE49-F238E27FC236}">
                  <a16:creationId xmlns:a16="http://schemas.microsoft.com/office/drawing/2014/main" id="{0B9C056A-1EA4-4ADA-BD0C-B7C812F2944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11224721" y="4735285"/>
              <a:ext cx="738681" cy="178169"/>
            </a:xfrm>
            <a:prstGeom prst="rect">
              <a:avLst/>
            </a:prstGeom>
          </p:spPr>
        </p:pic>
      </p:grpSp>
      <p:grpSp>
        <p:nvGrpSpPr>
          <p:cNvPr id="77" name="Groupe 76">
            <a:extLst>
              <a:ext uri="{FF2B5EF4-FFF2-40B4-BE49-F238E27FC236}">
                <a16:creationId xmlns:a16="http://schemas.microsoft.com/office/drawing/2014/main" id="{79F0E37A-E275-4D96-BB22-B4951C48FD8F}"/>
              </a:ext>
            </a:extLst>
          </p:cNvPr>
          <p:cNvGrpSpPr/>
          <p:nvPr/>
        </p:nvGrpSpPr>
        <p:grpSpPr>
          <a:xfrm>
            <a:off x="0" y="7082172"/>
            <a:ext cx="13448087" cy="485950"/>
            <a:chOff x="508002" y="2810661"/>
            <a:chExt cx="11338857" cy="366278"/>
          </a:xfrm>
        </p:grpSpPr>
        <p:sp>
          <p:nvSpPr>
            <p:cNvPr id="78" name="Rectangle 77">
              <a:extLst>
                <a:ext uri="{FF2B5EF4-FFF2-40B4-BE49-F238E27FC236}">
                  <a16:creationId xmlns:a16="http://schemas.microsoft.com/office/drawing/2014/main" id="{D7CD2E9F-38E8-4E39-A7C9-33A1ADFB4287}"/>
                </a:ext>
              </a:extLst>
            </p:cNvPr>
            <p:cNvSpPr>
              <a:spLocks noChangeArrowheads="1"/>
            </p:cNvSpPr>
            <p:nvPr/>
          </p:nvSpPr>
          <p:spPr bwMode="auto">
            <a:xfrm>
              <a:off x="508002" y="2810661"/>
              <a:ext cx="11338857" cy="36627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9" name="Freeform 7">
              <a:extLst>
                <a:ext uri="{FF2B5EF4-FFF2-40B4-BE49-F238E27FC236}">
                  <a16:creationId xmlns:a16="http://schemas.microsoft.com/office/drawing/2014/main" id="{5225F7A0-860A-4BF4-8646-6536E318CE0B}"/>
                </a:ext>
              </a:extLst>
            </p:cNvPr>
            <p:cNvSpPr>
              <a:spLocks noEditPoints="1"/>
            </p:cNvSpPr>
            <p:nvPr/>
          </p:nvSpPr>
          <p:spPr bwMode="auto">
            <a:xfrm>
              <a:off x="614341" y="2972138"/>
              <a:ext cx="11116334" cy="41354"/>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97" name="Group 211">
            <a:extLst>
              <a:ext uri="{FF2B5EF4-FFF2-40B4-BE49-F238E27FC236}">
                <a16:creationId xmlns:a16="http://schemas.microsoft.com/office/drawing/2014/main" id="{7E46AF87-AFF8-4B6E-B66E-5AC3CFDDA11B}"/>
              </a:ext>
            </a:extLst>
          </p:cNvPr>
          <p:cNvGrpSpPr>
            <a:grpSpLocks/>
          </p:cNvGrpSpPr>
          <p:nvPr/>
        </p:nvGrpSpPr>
        <p:grpSpPr bwMode="auto">
          <a:xfrm>
            <a:off x="10814090" y="6872695"/>
            <a:ext cx="855322" cy="348361"/>
            <a:chOff x="5857875" y="2214563"/>
            <a:chExt cx="1208088" cy="488951"/>
          </a:xfrm>
        </p:grpSpPr>
        <p:sp>
          <p:nvSpPr>
            <p:cNvPr id="98" name="Freeform 122">
              <a:extLst>
                <a:ext uri="{FF2B5EF4-FFF2-40B4-BE49-F238E27FC236}">
                  <a16:creationId xmlns:a16="http://schemas.microsoft.com/office/drawing/2014/main" id="{AD763904-CEB3-438F-82AA-1C668D5A2D78}"/>
                </a:ext>
              </a:extLst>
            </p:cNvPr>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2"/>
            </a:solidFill>
            <a:ln>
              <a:noFill/>
            </a:ln>
          </p:spPr>
          <p:txBody>
            <a:bodyPr lIns="68580" tIns="34290" rIns="68580" bIns="34290"/>
            <a:lstStyle/>
            <a:p>
              <a:pPr>
                <a:defRPr/>
              </a:pPr>
              <a:endParaRPr lang="en-US" sz="1350"/>
            </a:p>
          </p:txBody>
        </p:sp>
        <p:sp>
          <p:nvSpPr>
            <p:cNvPr id="99" name="Freeform 123">
              <a:extLst>
                <a:ext uri="{FF2B5EF4-FFF2-40B4-BE49-F238E27FC236}">
                  <a16:creationId xmlns:a16="http://schemas.microsoft.com/office/drawing/2014/main" id="{14F092D8-2F17-4D65-9263-2FEC1BEF3833}"/>
                </a:ext>
              </a:extLst>
            </p:cNvPr>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100" name="Freeform 124">
              <a:extLst>
                <a:ext uri="{FF2B5EF4-FFF2-40B4-BE49-F238E27FC236}">
                  <a16:creationId xmlns:a16="http://schemas.microsoft.com/office/drawing/2014/main" id="{161A7066-4CF0-42B0-9340-0A1866F038C4}"/>
                </a:ext>
              </a:extLst>
            </p:cNvPr>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101" name="Oval 125">
              <a:extLst>
                <a:ext uri="{FF2B5EF4-FFF2-40B4-BE49-F238E27FC236}">
                  <a16:creationId xmlns:a16="http://schemas.microsoft.com/office/drawing/2014/main" id="{D89FECCE-0B95-4F57-8EEF-30B36A5B16BC}"/>
                </a:ext>
              </a:extLst>
            </p:cNvPr>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102" name="Oval 126">
              <a:extLst>
                <a:ext uri="{FF2B5EF4-FFF2-40B4-BE49-F238E27FC236}">
                  <a16:creationId xmlns:a16="http://schemas.microsoft.com/office/drawing/2014/main" id="{10AB4179-22DC-4D44-99B6-391A7134EEF6}"/>
                </a:ext>
              </a:extLst>
            </p:cNvPr>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103" name="Oval 127">
              <a:extLst>
                <a:ext uri="{FF2B5EF4-FFF2-40B4-BE49-F238E27FC236}">
                  <a16:creationId xmlns:a16="http://schemas.microsoft.com/office/drawing/2014/main" id="{CEF21229-D30D-47DC-A71A-49436C36AE12}"/>
                </a:ext>
              </a:extLst>
            </p:cNvPr>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104" name="Oval 128">
              <a:extLst>
                <a:ext uri="{FF2B5EF4-FFF2-40B4-BE49-F238E27FC236}">
                  <a16:creationId xmlns:a16="http://schemas.microsoft.com/office/drawing/2014/main" id="{603B7635-5200-4C5C-8B16-AF6970B82736}"/>
                </a:ext>
              </a:extLst>
            </p:cNvPr>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pic>
        <p:nvPicPr>
          <p:cNvPr id="13" name="Graphique 12" descr="Prison contour">
            <a:extLst>
              <a:ext uri="{FF2B5EF4-FFF2-40B4-BE49-F238E27FC236}">
                <a16:creationId xmlns:a16="http://schemas.microsoft.com/office/drawing/2014/main" id="{D217BE0A-D1ED-4DB5-93A2-C7600B68245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44250" y="5041060"/>
            <a:ext cx="633600" cy="633600"/>
          </a:xfrm>
          <a:prstGeom prst="rect">
            <a:avLst/>
          </a:prstGeom>
        </p:spPr>
      </p:pic>
      <p:pic>
        <p:nvPicPr>
          <p:cNvPr id="4" name="Graphique 3" descr="Bouclier coche contour">
            <a:extLst>
              <a:ext uri="{FF2B5EF4-FFF2-40B4-BE49-F238E27FC236}">
                <a16:creationId xmlns:a16="http://schemas.microsoft.com/office/drawing/2014/main" id="{5F911F2F-25A7-4CB0-964B-DBD176537C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46208" y="4647397"/>
            <a:ext cx="576000" cy="576000"/>
          </a:xfrm>
          <a:prstGeom prst="rect">
            <a:avLst/>
          </a:prstGeom>
        </p:spPr>
      </p:pic>
      <p:pic>
        <p:nvPicPr>
          <p:cNvPr id="6" name="Graphique 5" descr="Verrou contour">
            <a:extLst>
              <a:ext uri="{FF2B5EF4-FFF2-40B4-BE49-F238E27FC236}">
                <a16:creationId xmlns:a16="http://schemas.microsoft.com/office/drawing/2014/main" id="{701D2516-A1BB-439E-9D5B-B8ED88A07E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63286" y="5129054"/>
            <a:ext cx="532800" cy="532800"/>
          </a:xfrm>
          <a:prstGeom prst="rect">
            <a:avLst/>
          </a:prstGeom>
        </p:spPr>
      </p:pic>
      <p:sp>
        <p:nvSpPr>
          <p:cNvPr id="105" name="ZoneTexte 104">
            <a:extLst>
              <a:ext uri="{FF2B5EF4-FFF2-40B4-BE49-F238E27FC236}">
                <a16:creationId xmlns:a16="http://schemas.microsoft.com/office/drawing/2014/main" id="{84F808D5-E799-443C-8D74-7B74612931CE}"/>
              </a:ext>
            </a:extLst>
          </p:cNvPr>
          <p:cNvSpPr txBox="1"/>
          <p:nvPr/>
        </p:nvSpPr>
        <p:spPr>
          <a:xfrm>
            <a:off x="1488250" y="2000234"/>
            <a:ext cx="10463274" cy="1200329"/>
          </a:xfrm>
          <a:prstGeom prst="rect">
            <a:avLst/>
          </a:prstGeom>
          <a:noFill/>
          <a:ln w="12700">
            <a:solidFill>
              <a:schemeClr val="accent1"/>
            </a:solidFill>
          </a:ln>
        </p:spPr>
        <p:txBody>
          <a:bodyPr wrap="square">
            <a:spAutoFit/>
          </a:bodyPr>
          <a:lstStyle/>
          <a:p>
            <a:pPr marL="285750" indent="-285750" algn="just">
              <a:buFont typeface="Wingdings" panose="05000000000000000000" pitchFamily="2" charset="2"/>
              <a:buChar char="ü"/>
            </a:pPr>
            <a:r>
              <a:rPr lang="fr-FR" b="0" i="0" dirty="0">
                <a:solidFill>
                  <a:schemeClr val="tx1">
                    <a:lumMod val="75000"/>
                    <a:lumOff val="25000"/>
                  </a:schemeClr>
                </a:solidFill>
                <a:effectLst/>
              </a:rPr>
              <a:t>Fournir une expertise hautement qualifiée en cybersécurité pour faire face aux menaces de plus en plus sophistiquées.</a:t>
            </a:r>
          </a:p>
          <a:p>
            <a:pPr marL="285750" indent="-285750" algn="just">
              <a:buFont typeface="Wingdings" panose="05000000000000000000" pitchFamily="2" charset="2"/>
              <a:buChar char="ü"/>
            </a:pPr>
            <a:r>
              <a:rPr lang="fr-FR" b="0" i="0" dirty="0">
                <a:solidFill>
                  <a:schemeClr val="tx1">
                    <a:lumMod val="75000"/>
                    <a:lumOff val="25000"/>
                  </a:schemeClr>
                </a:solidFill>
                <a:effectLst/>
              </a:rPr>
              <a:t>Réduire les coûts liés à la mise en place et à la gestion d'une équipe de sécurité interne.</a:t>
            </a:r>
          </a:p>
          <a:p>
            <a:pPr marL="285750" indent="-285750" algn="just">
              <a:buFont typeface="Wingdings" panose="05000000000000000000" pitchFamily="2" charset="2"/>
              <a:buChar char="ü"/>
            </a:pPr>
            <a:r>
              <a:rPr lang="fr-FR" b="0" i="0" dirty="0">
                <a:solidFill>
                  <a:schemeClr val="tx1">
                    <a:lumMod val="75000"/>
                    <a:lumOff val="25000"/>
                  </a:schemeClr>
                </a:solidFill>
                <a:effectLst/>
              </a:rPr>
              <a:t>Protéger l'environnement numérique de notre client contre les cybermenaces.</a:t>
            </a:r>
          </a:p>
        </p:txBody>
      </p:sp>
      <p:sp>
        <p:nvSpPr>
          <p:cNvPr id="15" name="Rectangle 14">
            <a:extLst>
              <a:ext uri="{FF2B5EF4-FFF2-40B4-BE49-F238E27FC236}">
                <a16:creationId xmlns:a16="http://schemas.microsoft.com/office/drawing/2014/main" id="{D213C199-83AF-40BA-B97C-E34AF0304BCE}"/>
              </a:ext>
            </a:extLst>
          </p:cNvPr>
          <p:cNvSpPr/>
          <p:nvPr/>
        </p:nvSpPr>
        <p:spPr bwMode="gray">
          <a:xfrm>
            <a:off x="1488250" y="1506247"/>
            <a:ext cx="10463274" cy="421119"/>
          </a:xfrm>
          <a:prstGeom prst="rect">
            <a:avLst/>
          </a:prstGeom>
          <a:no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a:solidFill>
                  <a:schemeClr val="tx1">
                    <a:lumMod val="75000"/>
                    <a:lumOff val="25000"/>
                  </a:schemeClr>
                </a:solidFill>
                <a:effectLst>
                  <a:outerShdw blurRad="38100" dist="38100" dir="2700000" algn="tl">
                    <a:srgbClr val="000000">
                      <a:alpha val="43137"/>
                    </a:srgbClr>
                  </a:outerShdw>
                </a:effectLst>
              </a:rPr>
              <a:t>Objectifs</a:t>
            </a:r>
          </a:p>
        </p:txBody>
      </p:sp>
      <p:grpSp>
        <p:nvGrpSpPr>
          <p:cNvPr id="106" name="Groupe 105">
            <a:extLst>
              <a:ext uri="{FF2B5EF4-FFF2-40B4-BE49-F238E27FC236}">
                <a16:creationId xmlns:a16="http://schemas.microsoft.com/office/drawing/2014/main" id="{E3E84233-8EEA-461E-A599-E2BE08D45417}"/>
              </a:ext>
            </a:extLst>
          </p:cNvPr>
          <p:cNvGrpSpPr/>
          <p:nvPr/>
        </p:nvGrpSpPr>
        <p:grpSpPr>
          <a:xfrm>
            <a:off x="10910152" y="3876903"/>
            <a:ext cx="1342630" cy="742486"/>
            <a:chOff x="11003256" y="2670957"/>
            <a:chExt cx="1342630" cy="742486"/>
          </a:xfrm>
        </p:grpSpPr>
        <p:pic>
          <p:nvPicPr>
            <p:cNvPr id="107" name="Graphique 106" descr="Homme ouvrier du bâtiment contour">
              <a:extLst>
                <a:ext uri="{FF2B5EF4-FFF2-40B4-BE49-F238E27FC236}">
                  <a16:creationId xmlns:a16="http://schemas.microsoft.com/office/drawing/2014/main" id="{1EF7E97A-0C87-4AE1-8C76-027F4A6B201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603400" y="2670957"/>
              <a:ext cx="742486" cy="742486"/>
            </a:xfrm>
            <a:prstGeom prst="rect">
              <a:avLst/>
            </a:prstGeom>
          </p:spPr>
        </p:pic>
        <p:pic>
          <p:nvPicPr>
            <p:cNvPr id="108" name="Graphique 107" descr="Femme ouvrière du bâtiment contour">
              <a:extLst>
                <a:ext uri="{FF2B5EF4-FFF2-40B4-BE49-F238E27FC236}">
                  <a16:creationId xmlns:a16="http://schemas.microsoft.com/office/drawing/2014/main" id="{BC708925-46D0-4114-BC86-FAC4A85CDA8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003256" y="2671843"/>
              <a:ext cx="741600" cy="741600"/>
            </a:xfrm>
            <a:prstGeom prst="rect">
              <a:avLst/>
            </a:prstGeom>
          </p:spPr>
        </p:pic>
      </p:grpSp>
      <p:sp>
        <p:nvSpPr>
          <p:cNvPr id="121" name="ZoneTexte 120">
            <a:extLst>
              <a:ext uri="{FF2B5EF4-FFF2-40B4-BE49-F238E27FC236}">
                <a16:creationId xmlns:a16="http://schemas.microsoft.com/office/drawing/2014/main" id="{02921F93-96BF-47BD-81C8-17C486CCDDAB}"/>
              </a:ext>
            </a:extLst>
          </p:cNvPr>
          <p:cNvSpPr txBox="1"/>
          <p:nvPr/>
        </p:nvSpPr>
        <p:spPr>
          <a:xfrm>
            <a:off x="13073286" y="6830043"/>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6</a:t>
            </a:r>
          </a:p>
        </p:txBody>
      </p:sp>
      <p:sp>
        <p:nvSpPr>
          <p:cNvPr id="110" name="Rectangle 109">
            <a:extLst>
              <a:ext uri="{FF2B5EF4-FFF2-40B4-BE49-F238E27FC236}">
                <a16:creationId xmlns:a16="http://schemas.microsoft.com/office/drawing/2014/main" id="{3C3BEF85-CC70-4E0F-B428-62964A41C84F}"/>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111" name="Rectangle 110">
            <a:extLst>
              <a:ext uri="{FF2B5EF4-FFF2-40B4-BE49-F238E27FC236}">
                <a16:creationId xmlns:a16="http://schemas.microsoft.com/office/drawing/2014/main" id="{BDAF87E8-8B7A-4B5F-924D-831F746BB976}"/>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112" name="Rectangle 111">
            <a:extLst>
              <a:ext uri="{FF2B5EF4-FFF2-40B4-BE49-F238E27FC236}">
                <a16:creationId xmlns:a16="http://schemas.microsoft.com/office/drawing/2014/main" id="{3F918E86-4834-4D59-BABD-EA014A0A6B42}"/>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122" name="Freeform 926">
            <a:extLst>
              <a:ext uri="{FF2B5EF4-FFF2-40B4-BE49-F238E27FC236}">
                <a16:creationId xmlns:a16="http://schemas.microsoft.com/office/drawing/2014/main" id="{1A1F57AF-0A3F-43E1-8207-1F113E0AD7FA}"/>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Freeform 926">
            <a:extLst>
              <a:ext uri="{FF2B5EF4-FFF2-40B4-BE49-F238E27FC236}">
                <a16:creationId xmlns:a16="http://schemas.microsoft.com/office/drawing/2014/main" id="{F0B9BEC1-B259-4342-BEB7-8110E0D9400E}"/>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4" name="TextBox 219">
            <a:extLst>
              <a:ext uri="{FF2B5EF4-FFF2-40B4-BE49-F238E27FC236}">
                <a16:creationId xmlns:a16="http://schemas.microsoft.com/office/drawing/2014/main" id="{0B6AC3C4-E365-4621-85F3-4DDC850CBA2F}"/>
              </a:ext>
            </a:extLst>
          </p:cNvPr>
          <p:cNvSpPr txBox="1"/>
          <p:nvPr/>
        </p:nvSpPr>
        <p:spPr>
          <a:xfrm>
            <a:off x="6002374" y="519574"/>
            <a:ext cx="1771996" cy="307777"/>
          </a:xfrm>
          <a:prstGeom prst="rect">
            <a:avLst/>
          </a:prstGeom>
          <a:noFill/>
        </p:spPr>
        <p:txBody>
          <a:bodyPr wrap="square">
            <a:spAutoFit/>
          </a:bodyPr>
          <a:lstStyle/>
          <a:p>
            <a:pPr>
              <a:spcAft>
                <a:spcPts val="0"/>
              </a:spcAft>
            </a:pPr>
            <a:r>
              <a:rPr lang="fr-FR" altLang="zh-CN" sz="1400" dirty="0">
                <a:solidFill>
                  <a:schemeClr val="tx2"/>
                </a:solidFill>
              </a:rPr>
              <a:t>Approche et résultat</a:t>
            </a:r>
          </a:p>
        </p:txBody>
      </p:sp>
      <p:sp>
        <p:nvSpPr>
          <p:cNvPr id="125" name="TextBox 219">
            <a:extLst>
              <a:ext uri="{FF2B5EF4-FFF2-40B4-BE49-F238E27FC236}">
                <a16:creationId xmlns:a16="http://schemas.microsoft.com/office/drawing/2014/main" id="{ACADA7E5-4B1A-4D0B-BB36-7A5519BCB092}"/>
              </a:ext>
            </a:extLst>
          </p:cNvPr>
          <p:cNvSpPr txBox="1"/>
          <p:nvPr/>
        </p:nvSpPr>
        <p:spPr>
          <a:xfrm>
            <a:off x="9738300" y="519574"/>
            <a:ext cx="2000310" cy="307777"/>
          </a:xfrm>
          <a:prstGeom prst="rect">
            <a:avLst/>
          </a:prstGeom>
          <a:noFill/>
        </p:spPr>
        <p:txBody>
          <a:bodyPr wrap="square">
            <a:spAutoFit/>
          </a:bodyPr>
          <a:lstStyle/>
          <a:p>
            <a:pPr>
              <a:spcAft>
                <a:spcPts val="0"/>
              </a:spcAft>
            </a:pPr>
            <a:r>
              <a:rPr lang="fr-FR" altLang="zh-CN" sz="1400" dirty="0">
                <a:solidFill>
                  <a:schemeClr val="tx2"/>
                </a:solidFill>
              </a:rPr>
              <a:t>Continuité de la mission</a:t>
            </a:r>
          </a:p>
        </p:txBody>
      </p:sp>
      <p:sp>
        <p:nvSpPr>
          <p:cNvPr id="130" name="TextBox 219">
            <a:extLst>
              <a:ext uri="{FF2B5EF4-FFF2-40B4-BE49-F238E27FC236}">
                <a16:creationId xmlns:a16="http://schemas.microsoft.com/office/drawing/2014/main" id="{EC82BBC0-D5F6-4E75-ABE8-346D5452D8DF}"/>
              </a:ext>
            </a:extLst>
          </p:cNvPr>
          <p:cNvSpPr txBox="1"/>
          <p:nvPr/>
        </p:nvSpPr>
        <p:spPr>
          <a:xfrm>
            <a:off x="2201931" y="519574"/>
            <a:ext cx="1884510"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Contexte et objectifs</a:t>
            </a:r>
          </a:p>
        </p:txBody>
      </p:sp>
      <p:sp>
        <p:nvSpPr>
          <p:cNvPr id="131" name="Freeform 926">
            <a:extLst>
              <a:ext uri="{FF2B5EF4-FFF2-40B4-BE49-F238E27FC236}">
                <a16:creationId xmlns:a16="http://schemas.microsoft.com/office/drawing/2014/main" id="{55316D08-A918-428B-8001-000B3CE5904A}"/>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2" name="Rectangle 131">
            <a:extLst>
              <a:ext uri="{FF2B5EF4-FFF2-40B4-BE49-F238E27FC236}">
                <a16:creationId xmlns:a16="http://schemas.microsoft.com/office/drawing/2014/main" id="{2DE7A3E4-4BFE-435E-9B4A-18EEADB8CD81}"/>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2967782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20">
            <a:extLst>
              <a:ext uri="{FF2B5EF4-FFF2-40B4-BE49-F238E27FC236}">
                <a16:creationId xmlns:a16="http://schemas.microsoft.com/office/drawing/2014/main" id="{1E42EEE4-355B-4F6D-BDBC-DE36D257FAAF}"/>
              </a:ext>
            </a:extLst>
          </p:cNvPr>
          <p:cNvPicPr>
            <a:picLocks noChangeAspect="1"/>
          </p:cNvPicPr>
          <p:nvPr/>
        </p:nvPicPr>
        <p:blipFill rotWithShape="1">
          <a:blip r:embed="rId3"/>
          <a:srcRect l="18381"/>
          <a:stretch/>
        </p:blipFill>
        <p:spPr>
          <a:xfrm>
            <a:off x="0" y="2701028"/>
            <a:ext cx="13439775" cy="4238254"/>
          </a:xfrm>
          <a:prstGeom prst="rect">
            <a:avLst/>
          </a:prstGeom>
        </p:spPr>
      </p:pic>
      <p:sp>
        <p:nvSpPr>
          <p:cNvPr id="17" name="Freeform 926">
            <a:extLst>
              <a:ext uri="{FF2B5EF4-FFF2-40B4-BE49-F238E27FC236}">
                <a16:creationId xmlns:a16="http://schemas.microsoft.com/office/drawing/2014/main" id="{5DE8349A-DA28-4904-B6E3-7CC707607C41}"/>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926">
            <a:extLst>
              <a:ext uri="{FF2B5EF4-FFF2-40B4-BE49-F238E27FC236}">
                <a16:creationId xmlns:a16="http://schemas.microsoft.com/office/drawing/2014/main" id="{B61F6727-9AC2-4F96-8507-9ED50E03DC1C}"/>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TextBox 219">
            <a:extLst>
              <a:ext uri="{FF2B5EF4-FFF2-40B4-BE49-F238E27FC236}">
                <a16:creationId xmlns:a16="http://schemas.microsoft.com/office/drawing/2014/main" id="{C1B13544-DAFE-440A-A255-339C2949B5C5}"/>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20" name="TextBox 219">
            <a:extLst>
              <a:ext uri="{FF2B5EF4-FFF2-40B4-BE49-F238E27FC236}">
                <a16:creationId xmlns:a16="http://schemas.microsoft.com/office/drawing/2014/main" id="{D0ED360C-E4E2-4306-BD64-0306EA18BF05}"/>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21" name="TextBox 219">
            <a:extLst>
              <a:ext uri="{FF2B5EF4-FFF2-40B4-BE49-F238E27FC236}">
                <a16:creationId xmlns:a16="http://schemas.microsoft.com/office/drawing/2014/main" id="{432A98CC-DC8B-4D5C-A382-BFB64F138686}"/>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22" name="Freeform 926">
            <a:extLst>
              <a:ext uri="{FF2B5EF4-FFF2-40B4-BE49-F238E27FC236}">
                <a16:creationId xmlns:a16="http://schemas.microsoft.com/office/drawing/2014/main" id="{CA615672-F678-45A9-ADEF-1E8E792352AB}"/>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4" name="Graphique 3" descr="Réunion en ligne contour">
            <a:extLst>
              <a:ext uri="{FF2B5EF4-FFF2-40B4-BE49-F238E27FC236}">
                <a16:creationId xmlns:a16="http://schemas.microsoft.com/office/drawing/2014/main" id="{31D9D18B-853C-4129-8EB6-3F540F887F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96364" y="4300387"/>
            <a:ext cx="3770313" cy="3770313"/>
          </a:xfrm>
          <a:prstGeom prst="rect">
            <a:avLst/>
          </a:prstGeom>
        </p:spPr>
      </p:pic>
      <p:grpSp>
        <p:nvGrpSpPr>
          <p:cNvPr id="88" name="Group 33">
            <a:extLst>
              <a:ext uri="{FF2B5EF4-FFF2-40B4-BE49-F238E27FC236}">
                <a16:creationId xmlns:a16="http://schemas.microsoft.com/office/drawing/2014/main" id="{2872A3E1-00EA-4760-984A-993A493FF33A}"/>
              </a:ext>
            </a:extLst>
          </p:cNvPr>
          <p:cNvGrpSpPr/>
          <p:nvPr/>
        </p:nvGrpSpPr>
        <p:grpSpPr>
          <a:xfrm>
            <a:off x="1391925" y="2131159"/>
            <a:ext cx="2684543" cy="1527041"/>
            <a:chOff x="414338" y="1187943"/>
            <a:chExt cx="3027363" cy="2511697"/>
          </a:xfrm>
        </p:grpSpPr>
        <p:grpSp>
          <p:nvGrpSpPr>
            <p:cNvPr id="89" name="Group 34">
              <a:extLst>
                <a:ext uri="{FF2B5EF4-FFF2-40B4-BE49-F238E27FC236}">
                  <a16:creationId xmlns:a16="http://schemas.microsoft.com/office/drawing/2014/main" id="{799C678B-8F01-4F57-9F1C-25D9AD07BFC9}"/>
                </a:ext>
              </a:extLst>
            </p:cNvPr>
            <p:cNvGrpSpPr/>
            <p:nvPr/>
          </p:nvGrpSpPr>
          <p:grpSpPr>
            <a:xfrm flipH="1">
              <a:off x="414338" y="1187943"/>
              <a:ext cx="3027363" cy="2511697"/>
              <a:chOff x="6134100" y="1103313"/>
              <a:chExt cx="3027363" cy="2006600"/>
            </a:xfrm>
          </p:grpSpPr>
          <p:sp>
            <p:nvSpPr>
              <p:cNvPr id="91" name="Freeform 36">
                <a:extLst>
                  <a:ext uri="{FF2B5EF4-FFF2-40B4-BE49-F238E27FC236}">
                    <a16:creationId xmlns:a16="http://schemas.microsoft.com/office/drawing/2014/main" id="{2C726B18-A24A-48D4-B062-8336D525758D}"/>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2" name="Freeform 37">
                <a:extLst>
                  <a:ext uri="{FF2B5EF4-FFF2-40B4-BE49-F238E27FC236}">
                    <a16:creationId xmlns:a16="http://schemas.microsoft.com/office/drawing/2014/main" id="{583FD440-B8F6-48D4-8325-85875CA51FC8}"/>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90" name="Rounded Rectangle 35">
              <a:extLst>
                <a:ext uri="{FF2B5EF4-FFF2-40B4-BE49-F238E27FC236}">
                  <a16:creationId xmlns:a16="http://schemas.microsoft.com/office/drawing/2014/main" id="{D6610449-E331-403D-8AC0-771D174866A6}"/>
                </a:ext>
              </a:extLst>
            </p:cNvPr>
            <p:cNvSpPr/>
            <p:nvPr/>
          </p:nvSpPr>
          <p:spPr>
            <a:xfrm>
              <a:off x="583326" y="1399848"/>
              <a:ext cx="2695903" cy="1661630"/>
            </a:xfrm>
            <a:prstGeom prst="roundRect">
              <a:avLst>
                <a:gd name="adj" fmla="val 4832"/>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fr-FR" sz="1400" dirty="0">
                  <a:solidFill>
                    <a:schemeClr val="tx1"/>
                  </a:solidFill>
                </a:rPr>
                <a:t>Définir le budget alloué et les ressources nécessaires</a:t>
              </a:r>
            </a:p>
          </p:txBody>
        </p:sp>
      </p:grpSp>
      <p:grpSp>
        <p:nvGrpSpPr>
          <p:cNvPr id="98" name="Group 43">
            <a:extLst>
              <a:ext uri="{FF2B5EF4-FFF2-40B4-BE49-F238E27FC236}">
                <a16:creationId xmlns:a16="http://schemas.microsoft.com/office/drawing/2014/main" id="{9E6D4970-2A9A-48F5-A7F0-29C2029FF1C4}"/>
              </a:ext>
            </a:extLst>
          </p:cNvPr>
          <p:cNvGrpSpPr/>
          <p:nvPr/>
        </p:nvGrpSpPr>
        <p:grpSpPr>
          <a:xfrm>
            <a:off x="1189267" y="3624331"/>
            <a:ext cx="2258988" cy="1352112"/>
            <a:chOff x="414338" y="1187943"/>
            <a:chExt cx="3027363" cy="2511697"/>
          </a:xfrm>
        </p:grpSpPr>
        <p:grpSp>
          <p:nvGrpSpPr>
            <p:cNvPr id="99" name="Group 44">
              <a:extLst>
                <a:ext uri="{FF2B5EF4-FFF2-40B4-BE49-F238E27FC236}">
                  <a16:creationId xmlns:a16="http://schemas.microsoft.com/office/drawing/2014/main" id="{A3F5B66A-9ADB-4ABE-84E4-544E040089A1}"/>
                </a:ext>
              </a:extLst>
            </p:cNvPr>
            <p:cNvGrpSpPr/>
            <p:nvPr/>
          </p:nvGrpSpPr>
          <p:grpSpPr>
            <a:xfrm flipH="1">
              <a:off x="414338" y="1187943"/>
              <a:ext cx="3027363" cy="2511697"/>
              <a:chOff x="6134100" y="1103313"/>
              <a:chExt cx="3027363" cy="2006600"/>
            </a:xfrm>
          </p:grpSpPr>
          <p:sp>
            <p:nvSpPr>
              <p:cNvPr id="101" name="Freeform 46">
                <a:extLst>
                  <a:ext uri="{FF2B5EF4-FFF2-40B4-BE49-F238E27FC236}">
                    <a16:creationId xmlns:a16="http://schemas.microsoft.com/office/drawing/2014/main" id="{5815294F-A3A9-4BD9-BD25-39904F784FC8}"/>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100" dirty="0">
                  <a:latin typeface="+mj-lt"/>
                </a:endParaRPr>
              </a:p>
            </p:txBody>
          </p:sp>
          <p:sp>
            <p:nvSpPr>
              <p:cNvPr id="102" name="Freeform 47">
                <a:extLst>
                  <a:ext uri="{FF2B5EF4-FFF2-40B4-BE49-F238E27FC236}">
                    <a16:creationId xmlns:a16="http://schemas.microsoft.com/office/drawing/2014/main" id="{EE453199-6A13-42E4-9ADA-FB86B5E0B3DA}"/>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100" dirty="0">
                  <a:latin typeface="+mj-lt"/>
                </a:endParaRPr>
              </a:p>
            </p:txBody>
          </p:sp>
        </p:grpSp>
        <p:sp>
          <p:nvSpPr>
            <p:cNvPr id="100" name="Rounded Rectangle 45">
              <a:extLst>
                <a:ext uri="{FF2B5EF4-FFF2-40B4-BE49-F238E27FC236}">
                  <a16:creationId xmlns:a16="http://schemas.microsoft.com/office/drawing/2014/main" id="{205A0073-8A17-4028-B3F7-263DA835595C}"/>
                </a:ext>
              </a:extLst>
            </p:cNvPr>
            <p:cNvSpPr/>
            <p:nvPr/>
          </p:nvSpPr>
          <p:spPr>
            <a:xfrm>
              <a:off x="583326" y="1418897"/>
              <a:ext cx="2695904" cy="1661630"/>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fr-FR" sz="1400" dirty="0">
                  <a:solidFill>
                    <a:srgbClr val="000000"/>
                  </a:solidFill>
                  <a:latin typeface="Calibri" panose="020F0502020204030204" pitchFamily="34" charset="0"/>
                </a:rPr>
                <a:t>C</a:t>
              </a:r>
              <a:r>
                <a:rPr lang="fr-FR" sz="1400" b="0" i="0" u="none" strike="noStrike" baseline="0" dirty="0">
                  <a:solidFill>
                    <a:srgbClr val="000000"/>
                  </a:solidFill>
                  <a:latin typeface="Calibri" panose="020F0502020204030204" pitchFamily="34" charset="0"/>
                </a:rPr>
                <a:t>larifier les rôles et responsabilités de chacun</a:t>
              </a:r>
            </a:p>
          </p:txBody>
        </p:sp>
      </p:grpSp>
      <p:grpSp>
        <p:nvGrpSpPr>
          <p:cNvPr id="103" name="Group 48">
            <a:extLst>
              <a:ext uri="{FF2B5EF4-FFF2-40B4-BE49-F238E27FC236}">
                <a16:creationId xmlns:a16="http://schemas.microsoft.com/office/drawing/2014/main" id="{F1552CFF-DD49-4E66-B289-5DC6FB4E49A8}"/>
              </a:ext>
            </a:extLst>
          </p:cNvPr>
          <p:cNvGrpSpPr/>
          <p:nvPr/>
        </p:nvGrpSpPr>
        <p:grpSpPr>
          <a:xfrm>
            <a:off x="4804096" y="2191932"/>
            <a:ext cx="2447700" cy="1379507"/>
            <a:chOff x="5822183" y="4172881"/>
            <a:chExt cx="3027363" cy="2511697"/>
          </a:xfrm>
        </p:grpSpPr>
        <p:grpSp>
          <p:nvGrpSpPr>
            <p:cNvPr id="104" name="Group 49">
              <a:extLst>
                <a:ext uri="{FF2B5EF4-FFF2-40B4-BE49-F238E27FC236}">
                  <a16:creationId xmlns:a16="http://schemas.microsoft.com/office/drawing/2014/main" id="{D6085161-DDAD-4E34-82C7-DBCAC7E987C1}"/>
                </a:ext>
              </a:extLst>
            </p:cNvPr>
            <p:cNvGrpSpPr/>
            <p:nvPr/>
          </p:nvGrpSpPr>
          <p:grpSpPr>
            <a:xfrm>
              <a:off x="5822183" y="4172881"/>
              <a:ext cx="3027363" cy="2511697"/>
              <a:chOff x="6134100" y="1103313"/>
              <a:chExt cx="3027363" cy="2006600"/>
            </a:xfrm>
          </p:grpSpPr>
          <p:sp>
            <p:nvSpPr>
              <p:cNvPr id="106" name="Freeform 67">
                <a:extLst>
                  <a:ext uri="{FF2B5EF4-FFF2-40B4-BE49-F238E27FC236}">
                    <a16:creationId xmlns:a16="http://schemas.microsoft.com/office/drawing/2014/main" id="{61D355D4-3DAD-4860-BB49-1C545B8855BB}"/>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latin typeface="+mj-lt"/>
                </a:endParaRPr>
              </a:p>
            </p:txBody>
          </p:sp>
          <p:sp>
            <p:nvSpPr>
              <p:cNvPr id="107" name="Freeform 68">
                <a:extLst>
                  <a:ext uri="{FF2B5EF4-FFF2-40B4-BE49-F238E27FC236}">
                    <a16:creationId xmlns:a16="http://schemas.microsoft.com/office/drawing/2014/main" id="{D0ABB2EA-3B35-4877-9639-47E0CBBEDC05}"/>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latin typeface="+mj-lt"/>
                </a:endParaRPr>
              </a:p>
            </p:txBody>
          </p:sp>
        </p:grpSp>
        <p:sp>
          <p:nvSpPr>
            <p:cNvPr id="105" name="Rounded Rectangle 66">
              <a:extLst>
                <a:ext uri="{FF2B5EF4-FFF2-40B4-BE49-F238E27FC236}">
                  <a16:creationId xmlns:a16="http://schemas.microsoft.com/office/drawing/2014/main" id="{EFB56D00-1FE2-4EAA-9507-F86C7663EC68}"/>
                </a:ext>
              </a:extLst>
            </p:cNvPr>
            <p:cNvSpPr/>
            <p:nvPr/>
          </p:nvSpPr>
          <p:spPr>
            <a:xfrm>
              <a:off x="6061456" y="4400574"/>
              <a:ext cx="2548823" cy="1654440"/>
            </a:xfrm>
            <a:prstGeom prst="roundRect">
              <a:avLst>
                <a:gd name="adj" fmla="val 4832"/>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fr-FR" sz="1400" dirty="0">
                  <a:solidFill>
                    <a:srgbClr val="000000"/>
                  </a:solidFill>
                  <a:latin typeface="Calibri" panose="020F0502020204030204" pitchFamily="34" charset="0"/>
                </a:rPr>
                <a:t>I</a:t>
              </a:r>
              <a:r>
                <a:rPr lang="fr-FR" sz="1400" b="0" i="0" u="none" strike="noStrike" baseline="0" dirty="0">
                  <a:solidFill>
                    <a:srgbClr val="000000"/>
                  </a:solidFill>
                  <a:latin typeface="Calibri" panose="020F0502020204030204" pitchFamily="34" charset="0"/>
                </a:rPr>
                <a:t>dentifier les parties prenantes impliquées</a:t>
              </a:r>
            </a:p>
          </p:txBody>
        </p:sp>
      </p:grpSp>
      <p:grpSp>
        <p:nvGrpSpPr>
          <p:cNvPr id="113" name="Group 74">
            <a:extLst>
              <a:ext uri="{FF2B5EF4-FFF2-40B4-BE49-F238E27FC236}">
                <a16:creationId xmlns:a16="http://schemas.microsoft.com/office/drawing/2014/main" id="{76F92B60-8904-4FD9-9037-F137E345BBDA}"/>
              </a:ext>
            </a:extLst>
          </p:cNvPr>
          <p:cNvGrpSpPr/>
          <p:nvPr/>
        </p:nvGrpSpPr>
        <p:grpSpPr>
          <a:xfrm>
            <a:off x="4092424" y="3712259"/>
            <a:ext cx="2258989" cy="1227227"/>
            <a:chOff x="5822183" y="4172881"/>
            <a:chExt cx="3027363" cy="2511697"/>
          </a:xfrm>
        </p:grpSpPr>
        <p:grpSp>
          <p:nvGrpSpPr>
            <p:cNvPr id="114" name="Group 75">
              <a:extLst>
                <a:ext uri="{FF2B5EF4-FFF2-40B4-BE49-F238E27FC236}">
                  <a16:creationId xmlns:a16="http://schemas.microsoft.com/office/drawing/2014/main" id="{0D313995-E8BD-4715-A3BE-8BA714210151}"/>
                </a:ext>
              </a:extLst>
            </p:cNvPr>
            <p:cNvGrpSpPr/>
            <p:nvPr/>
          </p:nvGrpSpPr>
          <p:grpSpPr>
            <a:xfrm>
              <a:off x="5822183" y="4172881"/>
              <a:ext cx="3027363" cy="2511697"/>
              <a:chOff x="6134100" y="1103313"/>
              <a:chExt cx="3027363" cy="2006600"/>
            </a:xfrm>
          </p:grpSpPr>
          <p:sp>
            <p:nvSpPr>
              <p:cNvPr id="116" name="Freeform 77">
                <a:extLst>
                  <a:ext uri="{FF2B5EF4-FFF2-40B4-BE49-F238E27FC236}">
                    <a16:creationId xmlns:a16="http://schemas.microsoft.com/office/drawing/2014/main" id="{147835CF-F09A-4DA0-ACF3-01EFEF8CADBF}"/>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latin typeface="+mj-lt"/>
                </a:endParaRPr>
              </a:p>
            </p:txBody>
          </p:sp>
          <p:sp>
            <p:nvSpPr>
              <p:cNvPr id="117" name="Freeform 78">
                <a:extLst>
                  <a:ext uri="{FF2B5EF4-FFF2-40B4-BE49-F238E27FC236}">
                    <a16:creationId xmlns:a16="http://schemas.microsoft.com/office/drawing/2014/main" id="{809A252F-45E9-4F1B-B461-3E67C0E23B8E}"/>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latin typeface="+mj-lt"/>
                </a:endParaRPr>
              </a:p>
            </p:txBody>
          </p:sp>
        </p:grpSp>
        <p:sp>
          <p:nvSpPr>
            <p:cNvPr id="115" name="Rounded Rectangle 76">
              <a:extLst>
                <a:ext uri="{FF2B5EF4-FFF2-40B4-BE49-F238E27FC236}">
                  <a16:creationId xmlns:a16="http://schemas.microsoft.com/office/drawing/2014/main" id="{2558BBD9-30DC-4238-A161-85228D752387}"/>
                </a:ext>
              </a:extLst>
            </p:cNvPr>
            <p:cNvSpPr/>
            <p:nvPr/>
          </p:nvSpPr>
          <p:spPr>
            <a:xfrm>
              <a:off x="6061456" y="4423233"/>
              <a:ext cx="2548820" cy="1606849"/>
            </a:xfrm>
            <a:prstGeom prst="roundRect">
              <a:avLst>
                <a:gd name="adj" fmla="val 4832"/>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numCol="1" rtlCol="0" anchor="ctr"/>
            <a:lstStyle/>
            <a:p>
              <a:pPr algn="ctr"/>
              <a:r>
                <a:rPr lang="fr-FR" sz="1400" dirty="0">
                  <a:solidFill>
                    <a:srgbClr val="000000"/>
                  </a:solidFill>
                  <a:latin typeface="Calibri" panose="020F0502020204030204" pitchFamily="34" charset="0"/>
                </a:rPr>
                <a:t>V</a:t>
              </a:r>
              <a:r>
                <a:rPr lang="fr-FR" sz="1400" b="0" i="0" u="none" strike="noStrike" baseline="0" dirty="0">
                  <a:solidFill>
                    <a:srgbClr val="000000"/>
                  </a:solidFill>
                  <a:latin typeface="Calibri" panose="020F0502020204030204" pitchFamily="34" charset="0"/>
                </a:rPr>
                <a:t>alider les objectifs et le périmètre du projet</a:t>
              </a:r>
            </a:p>
          </p:txBody>
        </p:sp>
      </p:grpSp>
      <p:sp>
        <p:nvSpPr>
          <p:cNvPr id="138" name="Rectangle 137">
            <a:extLst>
              <a:ext uri="{FF2B5EF4-FFF2-40B4-BE49-F238E27FC236}">
                <a16:creationId xmlns:a16="http://schemas.microsoft.com/office/drawing/2014/main" id="{3C7AFD67-0718-42BB-803B-DC58956A673B}"/>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 PLANIFICATION</a:t>
            </a:r>
          </a:p>
        </p:txBody>
      </p:sp>
      <p:sp>
        <p:nvSpPr>
          <p:cNvPr id="147" name="Rectangle 146">
            <a:extLst>
              <a:ext uri="{FF2B5EF4-FFF2-40B4-BE49-F238E27FC236}">
                <a16:creationId xmlns:a16="http://schemas.microsoft.com/office/drawing/2014/main" id="{FA0FCAEC-592D-4DD6-B03C-C6B304452268}"/>
              </a:ext>
            </a:extLst>
          </p:cNvPr>
          <p:cNvSpPr/>
          <p:nvPr/>
        </p:nvSpPr>
        <p:spPr bwMode="gray">
          <a:xfrm>
            <a:off x="965200" y="1308100"/>
            <a:ext cx="6267343" cy="398473"/>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fr-FR" sz="1600" b="1" dirty="0">
                <a:solidFill>
                  <a:srgbClr val="313131"/>
                </a:solidFill>
              </a:rPr>
              <a:t>Objectifs de la phase</a:t>
            </a:r>
          </a:p>
        </p:txBody>
      </p:sp>
      <p:sp>
        <p:nvSpPr>
          <p:cNvPr id="148" name="Rectangle 147">
            <a:extLst>
              <a:ext uri="{FF2B5EF4-FFF2-40B4-BE49-F238E27FC236}">
                <a16:creationId xmlns:a16="http://schemas.microsoft.com/office/drawing/2014/main" id="{EF8C07D8-088E-466E-8C9F-213D63A46337}"/>
              </a:ext>
            </a:extLst>
          </p:cNvPr>
          <p:cNvSpPr/>
          <p:nvPr/>
        </p:nvSpPr>
        <p:spPr bwMode="gray">
          <a:xfrm>
            <a:off x="8208645" y="1305669"/>
            <a:ext cx="4364355" cy="398473"/>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fr-FR" sz="1600" b="1" dirty="0">
                <a:solidFill>
                  <a:srgbClr val="313131"/>
                </a:solidFill>
              </a:rPr>
              <a:t>Résultats du Kick Off</a:t>
            </a:r>
          </a:p>
        </p:txBody>
      </p:sp>
      <p:cxnSp>
        <p:nvCxnSpPr>
          <p:cNvPr id="151" name="Straight Connector 191">
            <a:extLst>
              <a:ext uri="{FF2B5EF4-FFF2-40B4-BE49-F238E27FC236}">
                <a16:creationId xmlns:a16="http://schemas.microsoft.com/office/drawing/2014/main" id="{C042423E-6907-4655-BEF8-DE0609C682FB}"/>
              </a:ext>
            </a:extLst>
          </p:cNvPr>
          <p:cNvCxnSpPr>
            <a:cxnSpLocks/>
          </p:cNvCxnSpPr>
          <p:nvPr/>
        </p:nvCxnSpPr>
        <p:spPr>
          <a:xfrm>
            <a:off x="7718725" y="1704142"/>
            <a:ext cx="0" cy="5359334"/>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53" name="ZoneTexte 152">
            <a:extLst>
              <a:ext uri="{FF2B5EF4-FFF2-40B4-BE49-F238E27FC236}">
                <a16:creationId xmlns:a16="http://schemas.microsoft.com/office/drawing/2014/main" id="{DEBFB27F-1D30-4436-9C94-F51B521B569C}"/>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7</a:t>
            </a:r>
          </a:p>
        </p:txBody>
      </p:sp>
      <p:grpSp>
        <p:nvGrpSpPr>
          <p:cNvPr id="3" name="Groupe 2">
            <a:extLst>
              <a:ext uri="{FF2B5EF4-FFF2-40B4-BE49-F238E27FC236}">
                <a16:creationId xmlns:a16="http://schemas.microsoft.com/office/drawing/2014/main" id="{9F825D7B-1981-42BC-A478-07EBAFCE28E9}"/>
              </a:ext>
            </a:extLst>
          </p:cNvPr>
          <p:cNvGrpSpPr/>
          <p:nvPr/>
        </p:nvGrpSpPr>
        <p:grpSpPr>
          <a:xfrm>
            <a:off x="8866829" y="3611175"/>
            <a:ext cx="3624325" cy="767774"/>
            <a:chOff x="8866829" y="3611175"/>
            <a:chExt cx="3624325" cy="767774"/>
          </a:xfrm>
        </p:grpSpPr>
        <p:grpSp>
          <p:nvGrpSpPr>
            <p:cNvPr id="150" name="Groupe 149">
              <a:extLst>
                <a:ext uri="{FF2B5EF4-FFF2-40B4-BE49-F238E27FC236}">
                  <a16:creationId xmlns:a16="http://schemas.microsoft.com/office/drawing/2014/main" id="{D5F16558-AADD-417C-8CF5-68F38120FA03}"/>
                </a:ext>
              </a:extLst>
            </p:cNvPr>
            <p:cNvGrpSpPr/>
            <p:nvPr/>
          </p:nvGrpSpPr>
          <p:grpSpPr>
            <a:xfrm>
              <a:off x="8866829" y="3611175"/>
              <a:ext cx="3624325" cy="767774"/>
              <a:chOff x="8463030" y="3878400"/>
              <a:chExt cx="3624325" cy="767774"/>
            </a:xfrm>
          </p:grpSpPr>
          <p:sp>
            <p:nvSpPr>
              <p:cNvPr id="139" name="Pentagon 138">
                <a:extLst>
                  <a:ext uri="{FF2B5EF4-FFF2-40B4-BE49-F238E27FC236}">
                    <a16:creationId xmlns:a16="http://schemas.microsoft.com/office/drawing/2014/main" id="{DF9FEF16-BEB0-4BAF-A9B0-CB25596D3237}"/>
                  </a:ext>
                </a:extLst>
              </p:cNvPr>
              <p:cNvSpPr/>
              <p:nvPr/>
            </p:nvSpPr>
            <p:spPr bwMode="gray">
              <a:xfrm>
                <a:off x="8463030" y="3878400"/>
                <a:ext cx="3146052" cy="767774"/>
              </a:xfrm>
              <a:prstGeom prst="homePlate">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r>
                  <a:rPr lang="fr-FR" sz="1600" dirty="0"/>
                  <a:t>Planning détaillé</a:t>
                </a:r>
              </a:p>
            </p:txBody>
          </p:sp>
          <p:sp>
            <p:nvSpPr>
              <p:cNvPr id="140" name="Chevron 140">
                <a:extLst>
                  <a:ext uri="{FF2B5EF4-FFF2-40B4-BE49-F238E27FC236}">
                    <a16:creationId xmlns:a16="http://schemas.microsoft.com/office/drawing/2014/main" id="{1873143C-B064-41C2-B58C-13502B7F61A8}"/>
                  </a:ext>
                </a:extLst>
              </p:cNvPr>
              <p:cNvSpPr/>
              <p:nvPr/>
            </p:nvSpPr>
            <p:spPr bwMode="gray">
              <a:xfrm>
                <a:off x="11342317" y="3878400"/>
                <a:ext cx="745038" cy="767774"/>
              </a:xfrm>
              <a:prstGeom prst="chevron">
                <a:avLst>
                  <a:gd name="adj" fmla="val 52469"/>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p>
            </p:txBody>
          </p:sp>
        </p:grpSp>
        <p:pic>
          <p:nvPicPr>
            <p:cNvPr id="157" name="Graphique 156" descr="Diagramme de Gantt contour">
              <a:extLst>
                <a:ext uri="{FF2B5EF4-FFF2-40B4-BE49-F238E27FC236}">
                  <a16:creationId xmlns:a16="http://schemas.microsoft.com/office/drawing/2014/main" id="{A08FA9AA-2D0B-4D4F-B0B8-D7F1A23F03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66829" y="3748660"/>
              <a:ext cx="693098" cy="546579"/>
            </a:xfrm>
            <a:prstGeom prst="rect">
              <a:avLst/>
            </a:prstGeom>
          </p:spPr>
        </p:pic>
      </p:grpSp>
      <p:grpSp>
        <p:nvGrpSpPr>
          <p:cNvPr id="2" name="Groupe 1">
            <a:extLst>
              <a:ext uri="{FF2B5EF4-FFF2-40B4-BE49-F238E27FC236}">
                <a16:creationId xmlns:a16="http://schemas.microsoft.com/office/drawing/2014/main" id="{1AE00143-1476-4858-914B-0A14237E9FCF}"/>
              </a:ext>
            </a:extLst>
          </p:cNvPr>
          <p:cNvGrpSpPr/>
          <p:nvPr/>
        </p:nvGrpSpPr>
        <p:grpSpPr>
          <a:xfrm>
            <a:off x="8866829" y="2719207"/>
            <a:ext cx="3624325" cy="767774"/>
            <a:chOff x="8866829" y="2690997"/>
            <a:chExt cx="3624325" cy="767774"/>
          </a:xfrm>
        </p:grpSpPr>
        <p:grpSp>
          <p:nvGrpSpPr>
            <p:cNvPr id="46" name="Groupe 45">
              <a:extLst>
                <a:ext uri="{FF2B5EF4-FFF2-40B4-BE49-F238E27FC236}">
                  <a16:creationId xmlns:a16="http://schemas.microsoft.com/office/drawing/2014/main" id="{A6A1C61B-0EDF-4F29-B0C1-33F827F5B899}"/>
                </a:ext>
              </a:extLst>
            </p:cNvPr>
            <p:cNvGrpSpPr/>
            <p:nvPr/>
          </p:nvGrpSpPr>
          <p:grpSpPr>
            <a:xfrm>
              <a:off x="8866829" y="2690997"/>
              <a:ext cx="3624325" cy="767774"/>
              <a:chOff x="8463030" y="2965822"/>
              <a:chExt cx="3624325" cy="767774"/>
            </a:xfrm>
          </p:grpSpPr>
          <p:sp>
            <p:nvSpPr>
              <p:cNvPr id="47" name="Pentagon 138">
                <a:extLst>
                  <a:ext uri="{FF2B5EF4-FFF2-40B4-BE49-F238E27FC236}">
                    <a16:creationId xmlns:a16="http://schemas.microsoft.com/office/drawing/2014/main" id="{4B6665CC-659D-4ACC-BC41-48DDB86AFF07}"/>
                  </a:ext>
                </a:extLst>
              </p:cNvPr>
              <p:cNvSpPr/>
              <p:nvPr/>
            </p:nvSpPr>
            <p:spPr bwMode="gray">
              <a:xfrm>
                <a:off x="8463030" y="2965822"/>
                <a:ext cx="3146052" cy="767774"/>
              </a:xfrm>
              <a:prstGeom prst="homePlate">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r>
                  <a:rPr lang="fr-FR" sz="1600" dirty="0"/>
                  <a:t>Document de cadrage</a:t>
                </a:r>
              </a:p>
            </p:txBody>
          </p:sp>
          <p:sp>
            <p:nvSpPr>
              <p:cNvPr id="48" name="Chevron 140">
                <a:extLst>
                  <a:ext uri="{FF2B5EF4-FFF2-40B4-BE49-F238E27FC236}">
                    <a16:creationId xmlns:a16="http://schemas.microsoft.com/office/drawing/2014/main" id="{D6EFC45D-D9A1-4DBA-84BB-E747995ACA06}"/>
                  </a:ext>
                </a:extLst>
              </p:cNvPr>
              <p:cNvSpPr/>
              <p:nvPr/>
            </p:nvSpPr>
            <p:spPr bwMode="gray">
              <a:xfrm>
                <a:off x="11342317" y="2965822"/>
                <a:ext cx="745038" cy="767774"/>
              </a:xfrm>
              <a:prstGeom prst="chevron">
                <a:avLst>
                  <a:gd name="adj" fmla="val 52469"/>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p>
            </p:txBody>
          </p:sp>
        </p:grpSp>
        <p:pic>
          <p:nvPicPr>
            <p:cNvPr id="49" name="Graphique 48" descr="Document contour">
              <a:extLst>
                <a:ext uri="{FF2B5EF4-FFF2-40B4-BE49-F238E27FC236}">
                  <a16:creationId xmlns:a16="http://schemas.microsoft.com/office/drawing/2014/main" id="{ABA8B103-767A-408B-A80C-2F1E90AFC3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40088" y="2837564"/>
              <a:ext cx="491295" cy="491295"/>
            </a:xfrm>
            <a:prstGeom prst="rect">
              <a:avLst/>
            </a:prstGeom>
          </p:spPr>
        </p:pic>
      </p:grpSp>
      <p:sp>
        <p:nvSpPr>
          <p:cNvPr id="52" name="Rectangle 51">
            <a:extLst>
              <a:ext uri="{FF2B5EF4-FFF2-40B4-BE49-F238E27FC236}">
                <a16:creationId xmlns:a16="http://schemas.microsoft.com/office/drawing/2014/main" id="{3B91E6F8-240B-4D9B-8F32-B35DB8252A34}"/>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53" name="Rectangle 52">
            <a:extLst>
              <a:ext uri="{FF2B5EF4-FFF2-40B4-BE49-F238E27FC236}">
                <a16:creationId xmlns:a16="http://schemas.microsoft.com/office/drawing/2014/main" id="{332C27C5-2F31-4D21-BAFC-7FEDEC90A95A}"/>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54" name="Rectangle 53">
            <a:extLst>
              <a:ext uri="{FF2B5EF4-FFF2-40B4-BE49-F238E27FC236}">
                <a16:creationId xmlns:a16="http://schemas.microsoft.com/office/drawing/2014/main" id="{946B8E16-ADE4-46F7-B901-F753707AB567}"/>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55" name="Rectangle 54">
            <a:extLst>
              <a:ext uri="{FF2B5EF4-FFF2-40B4-BE49-F238E27FC236}">
                <a16:creationId xmlns:a16="http://schemas.microsoft.com/office/drawing/2014/main" id="{AC268416-1950-4A52-A531-893DBC8C7B26}"/>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421651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p:cTn id="7" dur="500" fill="hold"/>
                                            <p:tgtEl>
                                              <p:spTgt spid="98"/>
                                            </p:tgtEl>
                                            <p:attrNameLst>
                                              <p:attrName>ppt_w</p:attrName>
                                            </p:attrNameLst>
                                          </p:cBhvr>
                                          <p:tavLst>
                                            <p:tav tm="0">
                                              <p:val>
                                                <p:fltVal val="0"/>
                                              </p:val>
                                            </p:tav>
                                            <p:tav tm="100000">
                                              <p:val>
                                                <p:strVal val="#ppt_w"/>
                                              </p:val>
                                            </p:tav>
                                          </p:tavLst>
                                        </p:anim>
                                        <p:anim calcmode="lin" valueType="num">
                                          <p:cBhvr>
                                            <p:cTn id="8" dur="500" fill="hold"/>
                                            <p:tgtEl>
                                              <p:spTgt spid="98"/>
                                            </p:tgtEl>
                                            <p:attrNameLst>
                                              <p:attrName>ppt_h</p:attrName>
                                            </p:attrNameLst>
                                          </p:cBhvr>
                                          <p:tavLst>
                                            <p:tav tm="0">
                                              <p:val>
                                                <p:fltVal val="0"/>
                                              </p:val>
                                            </p:tav>
                                            <p:tav tm="100000">
                                              <p:val>
                                                <p:strVal val="#ppt_h"/>
                                              </p:val>
                                            </p:tav>
                                          </p:tavLst>
                                        </p:anim>
                                        <p:animEffect transition="in" filter="fade">
                                          <p:cBhvr>
                                            <p:cTn id="9" dur="500"/>
                                            <p:tgtEl>
                                              <p:spTgt spid="98"/>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113"/>
                                            </p:tgtEl>
                                            <p:attrNameLst>
                                              <p:attrName>style.visibility</p:attrName>
                                            </p:attrNameLst>
                                          </p:cBhvr>
                                          <p:to>
                                            <p:strVal val="visible"/>
                                          </p:to>
                                        </p:set>
                                        <p:anim calcmode="lin" valueType="num">
                                          <p:cBhvr>
                                            <p:cTn id="13" dur="500" fill="hold"/>
                                            <p:tgtEl>
                                              <p:spTgt spid="113"/>
                                            </p:tgtEl>
                                            <p:attrNameLst>
                                              <p:attrName>ppt_w</p:attrName>
                                            </p:attrNameLst>
                                          </p:cBhvr>
                                          <p:tavLst>
                                            <p:tav tm="0">
                                              <p:val>
                                                <p:fltVal val="0"/>
                                              </p:val>
                                            </p:tav>
                                            <p:tav tm="100000">
                                              <p:val>
                                                <p:strVal val="#ppt_w"/>
                                              </p:val>
                                            </p:tav>
                                          </p:tavLst>
                                        </p:anim>
                                        <p:anim calcmode="lin" valueType="num">
                                          <p:cBhvr>
                                            <p:cTn id="14" dur="500" fill="hold"/>
                                            <p:tgtEl>
                                              <p:spTgt spid="113"/>
                                            </p:tgtEl>
                                            <p:attrNameLst>
                                              <p:attrName>ppt_h</p:attrName>
                                            </p:attrNameLst>
                                          </p:cBhvr>
                                          <p:tavLst>
                                            <p:tav tm="0">
                                              <p:val>
                                                <p:fltVal val="0"/>
                                              </p:val>
                                            </p:tav>
                                            <p:tav tm="100000">
                                              <p:val>
                                                <p:strVal val="#ppt_h"/>
                                              </p:val>
                                            </p:tav>
                                          </p:tavLst>
                                        </p:anim>
                                        <p:animEffect transition="in" filter="fade">
                                          <p:cBhvr>
                                            <p:cTn id="15" dur="500"/>
                                            <p:tgtEl>
                                              <p:spTgt spid="113"/>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88"/>
                                            </p:tgtEl>
                                            <p:attrNameLst>
                                              <p:attrName>style.visibility</p:attrName>
                                            </p:attrNameLst>
                                          </p:cBhvr>
                                          <p:to>
                                            <p:strVal val="visible"/>
                                          </p:to>
                                        </p:set>
                                        <p:anim calcmode="lin" valueType="num">
                                          <p:cBhvr>
                                            <p:cTn id="19" dur="500" fill="hold"/>
                                            <p:tgtEl>
                                              <p:spTgt spid="88"/>
                                            </p:tgtEl>
                                            <p:attrNameLst>
                                              <p:attrName>ppt_w</p:attrName>
                                            </p:attrNameLst>
                                          </p:cBhvr>
                                          <p:tavLst>
                                            <p:tav tm="0">
                                              <p:val>
                                                <p:fltVal val="0"/>
                                              </p:val>
                                            </p:tav>
                                            <p:tav tm="100000">
                                              <p:val>
                                                <p:strVal val="#ppt_w"/>
                                              </p:val>
                                            </p:tav>
                                          </p:tavLst>
                                        </p:anim>
                                        <p:anim calcmode="lin" valueType="num">
                                          <p:cBhvr>
                                            <p:cTn id="20" dur="500" fill="hold"/>
                                            <p:tgtEl>
                                              <p:spTgt spid="88"/>
                                            </p:tgtEl>
                                            <p:attrNameLst>
                                              <p:attrName>ppt_h</p:attrName>
                                            </p:attrNameLst>
                                          </p:cBhvr>
                                          <p:tavLst>
                                            <p:tav tm="0">
                                              <p:val>
                                                <p:fltVal val="0"/>
                                              </p:val>
                                            </p:tav>
                                            <p:tav tm="100000">
                                              <p:val>
                                                <p:strVal val="#ppt_h"/>
                                              </p:val>
                                            </p:tav>
                                          </p:tavLst>
                                        </p:anim>
                                        <p:animEffect transition="in" filter="fade">
                                          <p:cBhvr>
                                            <p:cTn id="21" dur="500"/>
                                            <p:tgtEl>
                                              <p:spTgt spid="88"/>
                                            </p:tgtEl>
                                          </p:cBhvr>
                                        </p:animEffect>
                                      </p:childTnLst>
                                    </p:cTn>
                                  </p:par>
                                </p:childTnLst>
                              </p:cTn>
                            </p:par>
                            <p:par>
                              <p:cTn id="22" fill="hold">
                                <p:stCondLst>
                                  <p:cond delay="1500"/>
                                </p:stCondLst>
                                <p:childTnLst>
                                  <p:par>
                                    <p:cTn id="23" presetID="53" presetClass="entr" presetSubtype="16" fill="hold" nodeType="afterEffect">
                                      <p:stCondLst>
                                        <p:cond delay="0"/>
                                      </p:stCondLst>
                                      <p:childTnLst>
                                        <p:set>
                                          <p:cBhvr>
                                            <p:cTn id="24" dur="1" fill="hold">
                                              <p:stCondLst>
                                                <p:cond delay="0"/>
                                              </p:stCondLst>
                                            </p:cTn>
                                            <p:tgtEl>
                                              <p:spTgt spid="103"/>
                                            </p:tgtEl>
                                            <p:attrNameLst>
                                              <p:attrName>style.visibility</p:attrName>
                                            </p:attrNameLst>
                                          </p:cBhvr>
                                          <p:to>
                                            <p:strVal val="visible"/>
                                          </p:to>
                                        </p:set>
                                        <p:anim calcmode="lin" valueType="num">
                                          <p:cBhvr>
                                            <p:cTn id="25" dur="500" fill="hold"/>
                                            <p:tgtEl>
                                              <p:spTgt spid="103"/>
                                            </p:tgtEl>
                                            <p:attrNameLst>
                                              <p:attrName>ppt_w</p:attrName>
                                            </p:attrNameLst>
                                          </p:cBhvr>
                                          <p:tavLst>
                                            <p:tav tm="0">
                                              <p:val>
                                                <p:fltVal val="0"/>
                                              </p:val>
                                            </p:tav>
                                            <p:tav tm="100000">
                                              <p:val>
                                                <p:strVal val="#ppt_w"/>
                                              </p:val>
                                            </p:tav>
                                          </p:tavLst>
                                        </p:anim>
                                        <p:anim calcmode="lin" valueType="num">
                                          <p:cBhvr>
                                            <p:cTn id="26" dur="500" fill="hold"/>
                                            <p:tgtEl>
                                              <p:spTgt spid="103"/>
                                            </p:tgtEl>
                                            <p:attrNameLst>
                                              <p:attrName>ppt_h</p:attrName>
                                            </p:attrNameLst>
                                          </p:cBhvr>
                                          <p:tavLst>
                                            <p:tav tm="0">
                                              <p:val>
                                                <p:fltVal val="0"/>
                                              </p:val>
                                            </p:tav>
                                            <p:tav tm="100000">
                                              <p:val>
                                                <p:strVal val="#ppt_h"/>
                                              </p:val>
                                            </p:tav>
                                          </p:tavLst>
                                        </p:anim>
                                        <p:animEffect transition="in" filter="fade">
                                          <p:cBhvr>
                                            <p:cTn id="27" dur="500"/>
                                            <p:tgtEl>
                                              <p:spTgt spid="10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1"/>
                                            </p:tgtEl>
                                            <p:attrNameLst>
                                              <p:attrName>style.visibility</p:attrName>
                                            </p:attrNameLst>
                                          </p:cBhvr>
                                          <p:to>
                                            <p:strVal val="visible"/>
                                          </p:to>
                                        </p:set>
                                        <p:animEffect transition="in" filter="fade">
                                          <p:cBhvr>
                                            <p:cTn id="32" dur="500"/>
                                            <p:tgtEl>
                                              <p:spTgt spid="151"/>
                                            </p:tgtEl>
                                          </p:cBhvr>
                                        </p:animEffect>
                                      </p:childTnLst>
                                    </p:cTn>
                                  </p:par>
                                  <p:par>
                                    <p:cTn id="33" presetID="1" presetClass="entr" presetSubtype="0" fill="hold" grpId="0" nodeType="withEffect">
                                      <p:stCondLst>
                                        <p:cond delay="0"/>
                                      </p:stCondLst>
                                      <p:childTnLst>
                                        <p:set>
                                          <p:cBhvr>
                                            <p:cTn id="34" dur="1" fill="hold">
                                              <p:stCondLst>
                                                <p:cond delay="0"/>
                                              </p:stCondLst>
                                            </p:cTn>
                                            <p:tgtEl>
                                              <p:spTgt spid="148"/>
                                            </p:tgtEl>
                                            <p:attrNameLst>
                                              <p:attrName>style.visibility</p:attrName>
                                            </p:attrNameLst>
                                          </p:cBhvr>
                                          <p:to>
                                            <p:strVal val="visible"/>
                                          </p:to>
                                        </p:set>
                                      </p:childTnLst>
                                    </p:cTn>
                                  </p:par>
                                  <p:par>
                                    <p:cTn id="35" presetID="2" presetClass="entr" presetSubtype="8" fill="hold" nodeType="withEffect" p14:presetBounceEnd="26000">
                                      <p:stCondLst>
                                        <p:cond delay="0"/>
                                      </p:stCondLst>
                                      <p:childTnLst>
                                        <p:set>
                                          <p:cBhvr>
                                            <p:cTn id="36" dur="1" fill="hold">
                                              <p:stCondLst>
                                                <p:cond delay="0"/>
                                              </p:stCondLst>
                                            </p:cTn>
                                            <p:tgtEl>
                                              <p:spTgt spid="2"/>
                                            </p:tgtEl>
                                            <p:attrNameLst>
                                              <p:attrName>style.visibility</p:attrName>
                                            </p:attrNameLst>
                                          </p:cBhvr>
                                          <p:to>
                                            <p:strVal val="visible"/>
                                          </p:to>
                                        </p:set>
                                        <p:anim calcmode="lin" valueType="num" p14:bounceEnd="26000">
                                          <p:cBhvr additive="base">
                                            <p:cTn id="37" dur="500" fill="hold"/>
                                            <p:tgtEl>
                                              <p:spTgt spid="2"/>
                                            </p:tgtEl>
                                            <p:attrNameLst>
                                              <p:attrName>ppt_x</p:attrName>
                                            </p:attrNameLst>
                                          </p:cBhvr>
                                          <p:tavLst>
                                            <p:tav tm="0">
                                              <p:val>
                                                <p:strVal val="0-#ppt_w/2"/>
                                              </p:val>
                                            </p:tav>
                                            <p:tav tm="100000">
                                              <p:val>
                                                <p:strVal val="#ppt_x"/>
                                              </p:val>
                                            </p:tav>
                                          </p:tavLst>
                                        </p:anim>
                                        <p:anim calcmode="lin" valueType="num" p14:bounceEnd="26000">
                                          <p:cBhvr additive="base">
                                            <p:cTn id="38" dur="500" fill="hold"/>
                                            <p:tgtEl>
                                              <p:spTgt spid="2"/>
                                            </p:tgtEl>
                                            <p:attrNameLst>
                                              <p:attrName>ppt_y</p:attrName>
                                            </p:attrNameLst>
                                          </p:cBhvr>
                                          <p:tavLst>
                                            <p:tav tm="0">
                                              <p:val>
                                                <p:strVal val="#ppt_y"/>
                                              </p:val>
                                            </p:tav>
                                            <p:tav tm="100000">
                                              <p:val>
                                                <p:strVal val="#ppt_y"/>
                                              </p:val>
                                            </p:tav>
                                          </p:tavLst>
                                        </p:anim>
                                      </p:childTnLst>
                                    </p:cTn>
                                  </p:par>
                                </p:childTnLst>
                              </p:cTn>
                            </p:par>
                            <p:par>
                              <p:cTn id="39" fill="hold">
                                <p:stCondLst>
                                  <p:cond delay="500"/>
                                </p:stCondLst>
                                <p:childTnLst>
                                  <p:par>
                                    <p:cTn id="40" presetID="2" presetClass="entr" presetSubtype="8" fill="hold" nodeType="afterEffect" p14:presetBounceEnd="26000">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14:bounceEnd="26000">
                                          <p:cBhvr additive="base">
                                            <p:cTn id="42" dur="500" fill="hold"/>
                                            <p:tgtEl>
                                              <p:spTgt spid="3"/>
                                            </p:tgtEl>
                                            <p:attrNameLst>
                                              <p:attrName>ppt_x</p:attrName>
                                            </p:attrNameLst>
                                          </p:cBhvr>
                                          <p:tavLst>
                                            <p:tav tm="0">
                                              <p:val>
                                                <p:strVal val="0-#ppt_w/2"/>
                                              </p:val>
                                            </p:tav>
                                            <p:tav tm="100000">
                                              <p:val>
                                                <p:strVal val="#ppt_x"/>
                                              </p:val>
                                            </p:tav>
                                          </p:tavLst>
                                        </p:anim>
                                        <p:anim calcmode="lin" valueType="num" p14:bounceEnd="26000">
                                          <p:cBhvr additive="base">
                                            <p:cTn id="43"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p:cTn id="7" dur="500" fill="hold"/>
                                            <p:tgtEl>
                                              <p:spTgt spid="98"/>
                                            </p:tgtEl>
                                            <p:attrNameLst>
                                              <p:attrName>ppt_w</p:attrName>
                                            </p:attrNameLst>
                                          </p:cBhvr>
                                          <p:tavLst>
                                            <p:tav tm="0">
                                              <p:val>
                                                <p:fltVal val="0"/>
                                              </p:val>
                                            </p:tav>
                                            <p:tav tm="100000">
                                              <p:val>
                                                <p:strVal val="#ppt_w"/>
                                              </p:val>
                                            </p:tav>
                                          </p:tavLst>
                                        </p:anim>
                                        <p:anim calcmode="lin" valueType="num">
                                          <p:cBhvr>
                                            <p:cTn id="8" dur="500" fill="hold"/>
                                            <p:tgtEl>
                                              <p:spTgt spid="98"/>
                                            </p:tgtEl>
                                            <p:attrNameLst>
                                              <p:attrName>ppt_h</p:attrName>
                                            </p:attrNameLst>
                                          </p:cBhvr>
                                          <p:tavLst>
                                            <p:tav tm="0">
                                              <p:val>
                                                <p:fltVal val="0"/>
                                              </p:val>
                                            </p:tav>
                                            <p:tav tm="100000">
                                              <p:val>
                                                <p:strVal val="#ppt_h"/>
                                              </p:val>
                                            </p:tav>
                                          </p:tavLst>
                                        </p:anim>
                                        <p:animEffect transition="in" filter="fade">
                                          <p:cBhvr>
                                            <p:cTn id="9" dur="500"/>
                                            <p:tgtEl>
                                              <p:spTgt spid="98"/>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113"/>
                                            </p:tgtEl>
                                            <p:attrNameLst>
                                              <p:attrName>style.visibility</p:attrName>
                                            </p:attrNameLst>
                                          </p:cBhvr>
                                          <p:to>
                                            <p:strVal val="visible"/>
                                          </p:to>
                                        </p:set>
                                        <p:anim calcmode="lin" valueType="num">
                                          <p:cBhvr>
                                            <p:cTn id="13" dur="500" fill="hold"/>
                                            <p:tgtEl>
                                              <p:spTgt spid="113"/>
                                            </p:tgtEl>
                                            <p:attrNameLst>
                                              <p:attrName>ppt_w</p:attrName>
                                            </p:attrNameLst>
                                          </p:cBhvr>
                                          <p:tavLst>
                                            <p:tav tm="0">
                                              <p:val>
                                                <p:fltVal val="0"/>
                                              </p:val>
                                            </p:tav>
                                            <p:tav tm="100000">
                                              <p:val>
                                                <p:strVal val="#ppt_w"/>
                                              </p:val>
                                            </p:tav>
                                          </p:tavLst>
                                        </p:anim>
                                        <p:anim calcmode="lin" valueType="num">
                                          <p:cBhvr>
                                            <p:cTn id="14" dur="500" fill="hold"/>
                                            <p:tgtEl>
                                              <p:spTgt spid="113"/>
                                            </p:tgtEl>
                                            <p:attrNameLst>
                                              <p:attrName>ppt_h</p:attrName>
                                            </p:attrNameLst>
                                          </p:cBhvr>
                                          <p:tavLst>
                                            <p:tav tm="0">
                                              <p:val>
                                                <p:fltVal val="0"/>
                                              </p:val>
                                            </p:tav>
                                            <p:tav tm="100000">
                                              <p:val>
                                                <p:strVal val="#ppt_h"/>
                                              </p:val>
                                            </p:tav>
                                          </p:tavLst>
                                        </p:anim>
                                        <p:animEffect transition="in" filter="fade">
                                          <p:cBhvr>
                                            <p:cTn id="15" dur="500"/>
                                            <p:tgtEl>
                                              <p:spTgt spid="113"/>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88"/>
                                            </p:tgtEl>
                                            <p:attrNameLst>
                                              <p:attrName>style.visibility</p:attrName>
                                            </p:attrNameLst>
                                          </p:cBhvr>
                                          <p:to>
                                            <p:strVal val="visible"/>
                                          </p:to>
                                        </p:set>
                                        <p:anim calcmode="lin" valueType="num">
                                          <p:cBhvr>
                                            <p:cTn id="19" dur="500" fill="hold"/>
                                            <p:tgtEl>
                                              <p:spTgt spid="88"/>
                                            </p:tgtEl>
                                            <p:attrNameLst>
                                              <p:attrName>ppt_w</p:attrName>
                                            </p:attrNameLst>
                                          </p:cBhvr>
                                          <p:tavLst>
                                            <p:tav tm="0">
                                              <p:val>
                                                <p:fltVal val="0"/>
                                              </p:val>
                                            </p:tav>
                                            <p:tav tm="100000">
                                              <p:val>
                                                <p:strVal val="#ppt_w"/>
                                              </p:val>
                                            </p:tav>
                                          </p:tavLst>
                                        </p:anim>
                                        <p:anim calcmode="lin" valueType="num">
                                          <p:cBhvr>
                                            <p:cTn id="20" dur="500" fill="hold"/>
                                            <p:tgtEl>
                                              <p:spTgt spid="88"/>
                                            </p:tgtEl>
                                            <p:attrNameLst>
                                              <p:attrName>ppt_h</p:attrName>
                                            </p:attrNameLst>
                                          </p:cBhvr>
                                          <p:tavLst>
                                            <p:tav tm="0">
                                              <p:val>
                                                <p:fltVal val="0"/>
                                              </p:val>
                                            </p:tav>
                                            <p:tav tm="100000">
                                              <p:val>
                                                <p:strVal val="#ppt_h"/>
                                              </p:val>
                                            </p:tav>
                                          </p:tavLst>
                                        </p:anim>
                                        <p:animEffect transition="in" filter="fade">
                                          <p:cBhvr>
                                            <p:cTn id="21" dur="500"/>
                                            <p:tgtEl>
                                              <p:spTgt spid="88"/>
                                            </p:tgtEl>
                                          </p:cBhvr>
                                        </p:animEffect>
                                      </p:childTnLst>
                                    </p:cTn>
                                  </p:par>
                                </p:childTnLst>
                              </p:cTn>
                            </p:par>
                            <p:par>
                              <p:cTn id="22" fill="hold">
                                <p:stCondLst>
                                  <p:cond delay="1500"/>
                                </p:stCondLst>
                                <p:childTnLst>
                                  <p:par>
                                    <p:cTn id="23" presetID="53" presetClass="entr" presetSubtype="16" fill="hold" nodeType="afterEffect">
                                      <p:stCondLst>
                                        <p:cond delay="0"/>
                                      </p:stCondLst>
                                      <p:childTnLst>
                                        <p:set>
                                          <p:cBhvr>
                                            <p:cTn id="24" dur="1" fill="hold">
                                              <p:stCondLst>
                                                <p:cond delay="0"/>
                                              </p:stCondLst>
                                            </p:cTn>
                                            <p:tgtEl>
                                              <p:spTgt spid="103"/>
                                            </p:tgtEl>
                                            <p:attrNameLst>
                                              <p:attrName>style.visibility</p:attrName>
                                            </p:attrNameLst>
                                          </p:cBhvr>
                                          <p:to>
                                            <p:strVal val="visible"/>
                                          </p:to>
                                        </p:set>
                                        <p:anim calcmode="lin" valueType="num">
                                          <p:cBhvr>
                                            <p:cTn id="25" dur="500" fill="hold"/>
                                            <p:tgtEl>
                                              <p:spTgt spid="103"/>
                                            </p:tgtEl>
                                            <p:attrNameLst>
                                              <p:attrName>ppt_w</p:attrName>
                                            </p:attrNameLst>
                                          </p:cBhvr>
                                          <p:tavLst>
                                            <p:tav tm="0">
                                              <p:val>
                                                <p:fltVal val="0"/>
                                              </p:val>
                                            </p:tav>
                                            <p:tav tm="100000">
                                              <p:val>
                                                <p:strVal val="#ppt_w"/>
                                              </p:val>
                                            </p:tav>
                                          </p:tavLst>
                                        </p:anim>
                                        <p:anim calcmode="lin" valueType="num">
                                          <p:cBhvr>
                                            <p:cTn id="26" dur="500" fill="hold"/>
                                            <p:tgtEl>
                                              <p:spTgt spid="103"/>
                                            </p:tgtEl>
                                            <p:attrNameLst>
                                              <p:attrName>ppt_h</p:attrName>
                                            </p:attrNameLst>
                                          </p:cBhvr>
                                          <p:tavLst>
                                            <p:tav tm="0">
                                              <p:val>
                                                <p:fltVal val="0"/>
                                              </p:val>
                                            </p:tav>
                                            <p:tav tm="100000">
                                              <p:val>
                                                <p:strVal val="#ppt_h"/>
                                              </p:val>
                                            </p:tav>
                                          </p:tavLst>
                                        </p:anim>
                                        <p:animEffect transition="in" filter="fade">
                                          <p:cBhvr>
                                            <p:cTn id="27" dur="500"/>
                                            <p:tgtEl>
                                              <p:spTgt spid="10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1"/>
                                            </p:tgtEl>
                                            <p:attrNameLst>
                                              <p:attrName>style.visibility</p:attrName>
                                            </p:attrNameLst>
                                          </p:cBhvr>
                                          <p:to>
                                            <p:strVal val="visible"/>
                                          </p:to>
                                        </p:set>
                                        <p:animEffect transition="in" filter="fade">
                                          <p:cBhvr>
                                            <p:cTn id="32" dur="500"/>
                                            <p:tgtEl>
                                              <p:spTgt spid="151"/>
                                            </p:tgtEl>
                                          </p:cBhvr>
                                        </p:animEffect>
                                      </p:childTnLst>
                                    </p:cTn>
                                  </p:par>
                                  <p:par>
                                    <p:cTn id="33" presetID="1" presetClass="entr" presetSubtype="0" fill="hold" grpId="0" nodeType="withEffect">
                                      <p:stCondLst>
                                        <p:cond delay="0"/>
                                      </p:stCondLst>
                                      <p:childTnLst>
                                        <p:set>
                                          <p:cBhvr>
                                            <p:cTn id="34" dur="1" fill="hold">
                                              <p:stCondLst>
                                                <p:cond delay="0"/>
                                              </p:stCondLst>
                                            </p:cTn>
                                            <p:tgtEl>
                                              <p:spTgt spid="148"/>
                                            </p:tgtEl>
                                            <p:attrNameLst>
                                              <p:attrName>style.visibility</p:attrName>
                                            </p:attrNameLst>
                                          </p:cBhvr>
                                          <p:to>
                                            <p:strVal val="visible"/>
                                          </p:to>
                                        </p:set>
                                      </p:childTnLst>
                                    </p:cTn>
                                  </p:par>
                                  <p:par>
                                    <p:cTn id="35" presetID="2" presetClass="entr" presetSubtype="8" fill="hold" nodeType="withEffect">
                                      <p:stCondLst>
                                        <p:cond delay="0"/>
                                      </p:stCondLst>
                                      <p:childTnLst>
                                        <p:set>
                                          <p:cBhvr>
                                            <p:cTn id="36" dur="1" fill="hold">
                                              <p:stCondLst>
                                                <p:cond delay="0"/>
                                              </p:stCondLst>
                                            </p:cTn>
                                            <p:tgtEl>
                                              <p:spTgt spid="2"/>
                                            </p:tgtEl>
                                            <p:attrNameLst>
                                              <p:attrName>style.visibility</p:attrName>
                                            </p:attrNameLst>
                                          </p:cBhvr>
                                          <p:to>
                                            <p:strVal val="visible"/>
                                          </p:to>
                                        </p:set>
                                        <p:anim calcmode="lin" valueType="num">
                                          <p:cBhvr additive="base">
                                            <p:cTn id="37" dur="500" fill="hold"/>
                                            <p:tgtEl>
                                              <p:spTgt spid="2"/>
                                            </p:tgtEl>
                                            <p:attrNameLst>
                                              <p:attrName>ppt_x</p:attrName>
                                            </p:attrNameLst>
                                          </p:cBhvr>
                                          <p:tavLst>
                                            <p:tav tm="0">
                                              <p:val>
                                                <p:strVal val="0-#ppt_w/2"/>
                                              </p:val>
                                            </p:tav>
                                            <p:tav tm="100000">
                                              <p:val>
                                                <p:strVal val="#ppt_x"/>
                                              </p:val>
                                            </p:tav>
                                          </p:tavLst>
                                        </p:anim>
                                        <p:anim calcmode="lin" valueType="num">
                                          <p:cBhvr additive="base">
                                            <p:cTn id="38" dur="500" fill="hold"/>
                                            <p:tgtEl>
                                              <p:spTgt spid="2"/>
                                            </p:tgtEl>
                                            <p:attrNameLst>
                                              <p:attrName>ppt_y</p:attrName>
                                            </p:attrNameLst>
                                          </p:cBhvr>
                                          <p:tavLst>
                                            <p:tav tm="0">
                                              <p:val>
                                                <p:strVal val="#ppt_y"/>
                                              </p:val>
                                            </p:tav>
                                            <p:tav tm="100000">
                                              <p:val>
                                                <p:strVal val="#ppt_y"/>
                                              </p:val>
                                            </p:tav>
                                          </p:tavLst>
                                        </p:anim>
                                      </p:childTnLst>
                                    </p:cTn>
                                  </p:par>
                                </p:childTnLst>
                              </p:cTn>
                            </p:par>
                            <p:par>
                              <p:cTn id="39" fill="hold">
                                <p:stCondLst>
                                  <p:cond delay="500"/>
                                </p:stCondLst>
                                <p:childTnLst>
                                  <p:par>
                                    <p:cTn id="40" presetID="2" presetClass="entr" presetSubtype="8" fill="hold" nodeType="afterEffect">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cBhvr additive="base">
                                            <p:cTn id="42" dur="500" fill="hold"/>
                                            <p:tgtEl>
                                              <p:spTgt spid="3"/>
                                            </p:tgtEl>
                                            <p:attrNameLst>
                                              <p:attrName>ppt_x</p:attrName>
                                            </p:attrNameLst>
                                          </p:cBhvr>
                                          <p:tavLst>
                                            <p:tav tm="0">
                                              <p:val>
                                                <p:strVal val="0-#ppt_w/2"/>
                                              </p:val>
                                            </p:tav>
                                            <p:tav tm="100000">
                                              <p:val>
                                                <p:strVal val="#ppt_x"/>
                                              </p:val>
                                            </p:tav>
                                          </p:tavLst>
                                        </p:anim>
                                        <p:anim calcmode="lin" valueType="num">
                                          <p:cBhvr additive="base">
                                            <p:cTn id="43"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animBg="1"/>
        </p:bldLst>
      </p:timing>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20">
            <a:extLst>
              <a:ext uri="{FF2B5EF4-FFF2-40B4-BE49-F238E27FC236}">
                <a16:creationId xmlns:a16="http://schemas.microsoft.com/office/drawing/2014/main" id="{1E42EEE4-355B-4F6D-BDBC-DE36D257FAAF}"/>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179" name="Group 73">
            <a:extLst>
              <a:ext uri="{FF2B5EF4-FFF2-40B4-BE49-F238E27FC236}">
                <a16:creationId xmlns:a16="http://schemas.microsoft.com/office/drawing/2014/main" id="{A88D32F9-A61D-4EA3-BD03-88DC8D790FA5}"/>
              </a:ext>
            </a:extLst>
          </p:cNvPr>
          <p:cNvGrpSpPr/>
          <p:nvPr/>
        </p:nvGrpSpPr>
        <p:grpSpPr>
          <a:xfrm>
            <a:off x="1956429" y="2474374"/>
            <a:ext cx="1953864" cy="3445905"/>
            <a:chOff x="990600" y="2196640"/>
            <a:chExt cx="1953864" cy="3445905"/>
          </a:xfrm>
        </p:grpSpPr>
        <p:sp>
          <p:nvSpPr>
            <p:cNvPr id="180" name="Freeform 5">
              <a:extLst>
                <a:ext uri="{FF2B5EF4-FFF2-40B4-BE49-F238E27FC236}">
                  <a16:creationId xmlns:a16="http://schemas.microsoft.com/office/drawing/2014/main" id="{5F018933-331A-4DDD-910B-FF4B614CF89E}"/>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81" name="Rectangle 6">
              <a:extLst>
                <a:ext uri="{FF2B5EF4-FFF2-40B4-BE49-F238E27FC236}">
                  <a16:creationId xmlns:a16="http://schemas.microsoft.com/office/drawing/2014/main" id="{BDF09F37-D0AA-4BAD-B1C4-3DF7D1A5F2FC}"/>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2" name="Oval 7">
              <a:extLst>
                <a:ext uri="{FF2B5EF4-FFF2-40B4-BE49-F238E27FC236}">
                  <a16:creationId xmlns:a16="http://schemas.microsoft.com/office/drawing/2014/main" id="{E723C2C8-7AC2-48D8-9BB3-23699C7D6A70}"/>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183" name="Rectangle 182">
            <a:extLst>
              <a:ext uri="{FF2B5EF4-FFF2-40B4-BE49-F238E27FC236}">
                <a16:creationId xmlns:a16="http://schemas.microsoft.com/office/drawing/2014/main" id="{DA1FC4E6-0B06-4EBB-9F1C-1B82D66ECDF6}"/>
              </a:ext>
            </a:extLst>
          </p:cNvPr>
          <p:cNvSpPr>
            <a:spLocks noChangeArrowheads="1"/>
          </p:cNvSpPr>
          <p:nvPr/>
        </p:nvSpPr>
        <p:spPr bwMode="auto">
          <a:xfrm>
            <a:off x="1956429" y="2865147"/>
            <a:ext cx="1953864" cy="2404267"/>
          </a:xfrm>
          <a:prstGeom prst="rect">
            <a:avLst/>
          </a:prstGeom>
          <a:solidFill>
            <a:srgbClr val="9DD4C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4" name="Rectangle 183">
            <a:extLst>
              <a:ext uri="{FF2B5EF4-FFF2-40B4-BE49-F238E27FC236}">
                <a16:creationId xmlns:a16="http://schemas.microsoft.com/office/drawing/2014/main" id="{FD53738C-A654-47CF-9A61-A80E2114FCBF}"/>
              </a:ext>
            </a:extLst>
          </p:cNvPr>
          <p:cNvSpPr>
            <a:spLocks noChangeArrowheads="1"/>
          </p:cNvSpPr>
          <p:nvPr/>
        </p:nvSpPr>
        <p:spPr bwMode="auto">
          <a:xfrm>
            <a:off x="1956429" y="2865147"/>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5" name="Rectangle 184">
            <a:extLst>
              <a:ext uri="{FF2B5EF4-FFF2-40B4-BE49-F238E27FC236}">
                <a16:creationId xmlns:a16="http://schemas.microsoft.com/office/drawing/2014/main" id="{FB8ACB29-1DF9-4607-A912-D5378A031FF5}"/>
              </a:ext>
            </a:extLst>
          </p:cNvPr>
          <p:cNvSpPr>
            <a:spLocks noChangeArrowheads="1"/>
          </p:cNvSpPr>
          <p:nvPr/>
        </p:nvSpPr>
        <p:spPr bwMode="auto">
          <a:xfrm>
            <a:off x="1956429" y="2865147"/>
            <a:ext cx="1953864" cy="233449"/>
          </a:xfrm>
          <a:prstGeom prst="rect">
            <a:avLst/>
          </a:pr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1" name="Rectangle 200">
            <a:extLst>
              <a:ext uri="{FF2B5EF4-FFF2-40B4-BE49-F238E27FC236}">
                <a16:creationId xmlns:a16="http://schemas.microsoft.com/office/drawing/2014/main" id="{384CDD65-DE5F-4FE7-918A-0BF883765E2E}"/>
              </a:ext>
            </a:extLst>
          </p:cNvPr>
          <p:cNvSpPr>
            <a:spLocks noChangeArrowheads="1"/>
          </p:cNvSpPr>
          <p:nvPr/>
        </p:nvSpPr>
        <p:spPr bwMode="auto">
          <a:xfrm>
            <a:off x="3910293" y="2865147"/>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2" name="Rectangle 201">
            <a:extLst>
              <a:ext uri="{FF2B5EF4-FFF2-40B4-BE49-F238E27FC236}">
                <a16:creationId xmlns:a16="http://schemas.microsoft.com/office/drawing/2014/main" id="{9FB6A365-8C03-465F-B78B-98E2602B25FA}"/>
              </a:ext>
            </a:extLst>
          </p:cNvPr>
          <p:cNvSpPr>
            <a:spLocks noChangeArrowheads="1"/>
          </p:cNvSpPr>
          <p:nvPr/>
        </p:nvSpPr>
        <p:spPr bwMode="auto">
          <a:xfrm>
            <a:off x="3910293"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3" name="Rectangle 202">
            <a:extLst>
              <a:ext uri="{FF2B5EF4-FFF2-40B4-BE49-F238E27FC236}">
                <a16:creationId xmlns:a16="http://schemas.microsoft.com/office/drawing/2014/main" id="{9A29B085-E377-47FF-B23E-4E37C9064B8F}"/>
              </a:ext>
            </a:extLst>
          </p:cNvPr>
          <p:cNvSpPr>
            <a:spLocks noChangeArrowheads="1"/>
          </p:cNvSpPr>
          <p:nvPr/>
        </p:nvSpPr>
        <p:spPr bwMode="auto">
          <a:xfrm>
            <a:off x="3910293" y="2865147"/>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37" name="TextBox 5">
            <a:extLst>
              <a:ext uri="{FF2B5EF4-FFF2-40B4-BE49-F238E27FC236}">
                <a16:creationId xmlns:a16="http://schemas.microsoft.com/office/drawing/2014/main" id="{907086B0-DDA4-4E08-865D-ADA0E3DBBB98}"/>
              </a:ext>
            </a:extLst>
          </p:cNvPr>
          <p:cNvSpPr txBox="1"/>
          <p:nvPr/>
        </p:nvSpPr>
        <p:spPr>
          <a:xfrm>
            <a:off x="2240148" y="4430115"/>
            <a:ext cx="138592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dirty="0">
                <a:ln>
                  <a:noFill/>
                </a:ln>
                <a:solidFill>
                  <a:prstClr val="white"/>
                </a:solidFill>
                <a:effectLst/>
                <a:uLnTx/>
                <a:uFillTx/>
                <a:sym typeface="+mn-lt"/>
              </a:rPr>
              <a:t>Déroulement</a:t>
            </a:r>
            <a:r>
              <a:rPr kumimoji="0" lang="fr-FR" sz="1400" b="1" i="0" u="none" strike="noStrike" kern="0" cap="none" spc="0" normalizeH="0" dirty="0">
                <a:ln>
                  <a:noFill/>
                </a:ln>
                <a:solidFill>
                  <a:prstClr val="white"/>
                </a:solidFill>
                <a:effectLst/>
                <a:uLnTx/>
                <a:uFillTx/>
                <a:sym typeface="+mn-lt"/>
              </a:rPr>
              <a:t> des entretiens</a:t>
            </a:r>
            <a:endParaRPr kumimoji="0" lang="fr-FR" sz="1400" b="1" i="0" u="none" strike="noStrike" kern="0" cap="none" spc="0" normalizeH="0" baseline="0" dirty="0">
              <a:ln>
                <a:noFill/>
              </a:ln>
              <a:solidFill>
                <a:prstClr val="white"/>
              </a:solidFill>
              <a:effectLst/>
              <a:uLnTx/>
              <a:uFillTx/>
              <a:sym typeface="+mn-lt"/>
            </a:endParaRPr>
          </a:p>
        </p:txBody>
      </p:sp>
      <p:sp>
        <p:nvSpPr>
          <p:cNvPr id="238" name="TextBox 6">
            <a:extLst>
              <a:ext uri="{FF2B5EF4-FFF2-40B4-BE49-F238E27FC236}">
                <a16:creationId xmlns:a16="http://schemas.microsoft.com/office/drawing/2014/main" id="{7589FFE4-00C6-4E96-89F6-560E71AEBEDC}"/>
              </a:ext>
            </a:extLst>
          </p:cNvPr>
          <p:cNvSpPr txBox="1"/>
          <p:nvPr/>
        </p:nvSpPr>
        <p:spPr>
          <a:xfrm>
            <a:off x="2625424"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239" name="TextBox 67">
            <a:extLst>
              <a:ext uri="{FF2B5EF4-FFF2-40B4-BE49-F238E27FC236}">
                <a16:creationId xmlns:a16="http://schemas.microsoft.com/office/drawing/2014/main" id="{DE2A9265-73B6-47BD-AB11-11989051CEB5}"/>
              </a:ext>
            </a:extLst>
          </p:cNvPr>
          <p:cNvSpPr txBox="1"/>
          <p:nvPr/>
        </p:nvSpPr>
        <p:spPr>
          <a:xfrm>
            <a:off x="4278578" y="4376021"/>
            <a:ext cx="1245849" cy="584775"/>
          </a:xfrm>
          <a:prstGeom prst="rect">
            <a:avLst/>
          </a:prstGeom>
          <a:noFill/>
        </p:spPr>
        <p:txBody>
          <a:bodyPr wrap="square" rtlCol="0">
            <a:spAutoFit/>
          </a:bodyPr>
          <a:lstStyle/>
          <a:p>
            <a:pPr lvl="0" algn="ctr" defTabSz="914400">
              <a:defRPr/>
            </a:pPr>
            <a:r>
              <a:rPr lang="fr-FR" altLang="zh-CN" sz="1600" b="1" kern="0" dirty="0">
                <a:solidFill>
                  <a:prstClr val="white"/>
                </a:solidFill>
                <a:sym typeface="+mn-lt"/>
              </a:rPr>
              <a:t>Revue des réponses</a:t>
            </a:r>
          </a:p>
        </p:txBody>
      </p:sp>
      <p:sp>
        <p:nvSpPr>
          <p:cNvPr id="240" name="TextBox 68">
            <a:extLst>
              <a:ext uri="{FF2B5EF4-FFF2-40B4-BE49-F238E27FC236}">
                <a16:creationId xmlns:a16="http://schemas.microsoft.com/office/drawing/2014/main" id="{E5911C3B-7644-464D-A817-1054A1DD28AF}"/>
              </a:ext>
            </a:extLst>
          </p:cNvPr>
          <p:cNvSpPr txBox="1"/>
          <p:nvPr/>
        </p:nvSpPr>
        <p:spPr>
          <a:xfrm>
            <a:off x="4578019"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219" name="Rectangle 218">
            <a:extLst>
              <a:ext uri="{FF2B5EF4-FFF2-40B4-BE49-F238E27FC236}">
                <a16:creationId xmlns:a16="http://schemas.microsoft.com/office/drawing/2014/main" id="{CE250EEC-ADAC-49CD-9026-A473AB009DBD}"/>
              </a:ext>
            </a:extLst>
          </p:cNvPr>
          <p:cNvSpPr>
            <a:spLocks noChangeArrowheads="1"/>
          </p:cNvSpPr>
          <p:nvPr/>
        </p:nvSpPr>
        <p:spPr bwMode="auto">
          <a:xfrm>
            <a:off x="5846394" y="2865147"/>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0" name="Rectangle 219">
            <a:extLst>
              <a:ext uri="{FF2B5EF4-FFF2-40B4-BE49-F238E27FC236}">
                <a16:creationId xmlns:a16="http://schemas.microsoft.com/office/drawing/2014/main" id="{9468B8E1-D409-4D45-B105-2FECC1CA291A}"/>
              </a:ext>
            </a:extLst>
          </p:cNvPr>
          <p:cNvSpPr>
            <a:spLocks noChangeArrowheads="1"/>
          </p:cNvSpPr>
          <p:nvPr/>
        </p:nvSpPr>
        <p:spPr bwMode="auto">
          <a:xfrm>
            <a:off x="5846394"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1" name="Rectangle 220">
            <a:extLst>
              <a:ext uri="{FF2B5EF4-FFF2-40B4-BE49-F238E27FC236}">
                <a16:creationId xmlns:a16="http://schemas.microsoft.com/office/drawing/2014/main" id="{EF2FD853-AE05-446F-8970-C5528DFFCA2E}"/>
              </a:ext>
            </a:extLst>
          </p:cNvPr>
          <p:cNvSpPr>
            <a:spLocks noChangeArrowheads="1"/>
          </p:cNvSpPr>
          <p:nvPr/>
        </p:nvSpPr>
        <p:spPr bwMode="auto">
          <a:xfrm>
            <a:off x="5846394" y="2865147"/>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1" name="TextBox 69">
            <a:extLst>
              <a:ext uri="{FF2B5EF4-FFF2-40B4-BE49-F238E27FC236}">
                <a16:creationId xmlns:a16="http://schemas.microsoft.com/office/drawing/2014/main" id="{2B99B28A-2254-459A-9CAD-6C4085C8060B}"/>
              </a:ext>
            </a:extLst>
          </p:cNvPr>
          <p:cNvSpPr txBox="1"/>
          <p:nvPr/>
        </p:nvSpPr>
        <p:spPr>
          <a:xfrm>
            <a:off x="6186080"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Formulation des constats</a:t>
            </a:r>
          </a:p>
        </p:txBody>
      </p:sp>
      <p:sp>
        <p:nvSpPr>
          <p:cNvPr id="242" name="TextBox 70">
            <a:extLst>
              <a:ext uri="{FF2B5EF4-FFF2-40B4-BE49-F238E27FC236}">
                <a16:creationId xmlns:a16="http://schemas.microsoft.com/office/drawing/2014/main" id="{9478CA70-5A3B-4DA8-BC35-21CCDD84D178}"/>
              </a:ext>
            </a:extLst>
          </p:cNvPr>
          <p:cNvSpPr txBox="1"/>
          <p:nvPr/>
        </p:nvSpPr>
        <p:spPr>
          <a:xfrm>
            <a:off x="6514120"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sp>
        <p:nvSpPr>
          <p:cNvPr id="272" name="Rectangle 271">
            <a:extLst>
              <a:ext uri="{FF2B5EF4-FFF2-40B4-BE49-F238E27FC236}">
                <a16:creationId xmlns:a16="http://schemas.microsoft.com/office/drawing/2014/main" id="{7E1DDCAB-860D-4D5B-B04C-B08A60590651}"/>
              </a:ext>
            </a:extLst>
          </p:cNvPr>
          <p:cNvSpPr>
            <a:spLocks noChangeArrowheads="1"/>
          </p:cNvSpPr>
          <p:nvPr/>
        </p:nvSpPr>
        <p:spPr bwMode="auto">
          <a:xfrm>
            <a:off x="7787022" y="2865147"/>
            <a:ext cx="1951326" cy="2404267"/>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273" name="Rectangle 272">
            <a:extLst>
              <a:ext uri="{FF2B5EF4-FFF2-40B4-BE49-F238E27FC236}">
                <a16:creationId xmlns:a16="http://schemas.microsoft.com/office/drawing/2014/main" id="{BCC0A54D-1C1E-4C06-BF7C-1414A583989F}"/>
              </a:ext>
            </a:extLst>
          </p:cNvPr>
          <p:cNvSpPr>
            <a:spLocks noChangeArrowheads="1"/>
          </p:cNvSpPr>
          <p:nvPr/>
        </p:nvSpPr>
        <p:spPr bwMode="auto">
          <a:xfrm>
            <a:off x="7787022"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74" name="Rectangle 273">
            <a:extLst>
              <a:ext uri="{FF2B5EF4-FFF2-40B4-BE49-F238E27FC236}">
                <a16:creationId xmlns:a16="http://schemas.microsoft.com/office/drawing/2014/main" id="{478BFE02-F071-4A8F-ABF8-FA5B9AD045E6}"/>
              </a:ext>
            </a:extLst>
          </p:cNvPr>
          <p:cNvSpPr>
            <a:spLocks noChangeArrowheads="1"/>
          </p:cNvSpPr>
          <p:nvPr/>
        </p:nvSpPr>
        <p:spPr bwMode="auto">
          <a:xfrm>
            <a:off x="7787022" y="2865147"/>
            <a:ext cx="1951326" cy="233449"/>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96" name="Rectangle 295">
            <a:extLst>
              <a:ext uri="{FF2B5EF4-FFF2-40B4-BE49-F238E27FC236}">
                <a16:creationId xmlns:a16="http://schemas.microsoft.com/office/drawing/2014/main" id="{0C78CC53-5B38-437A-A062-910DBCF08B90}"/>
              </a:ext>
            </a:extLst>
          </p:cNvPr>
          <p:cNvSpPr>
            <a:spLocks noChangeArrowheads="1"/>
          </p:cNvSpPr>
          <p:nvPr/>
        </p:nvSpPr>
        <p:spPr bwMode="auto">
          <a:xfrm>
            <a:off x="9733821" y="2865147"/>
            <a:ext cx="1951326" cy="2404267"/>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97" name="Rectangle 296">
            <a:extLst>
              <a:ext uri="{FF2B5EF4-FFF2-40B4-BE49-F238E27FC236}">
                <a16:creationId xmlns:a16="http://schemas.microsoft.com/office/drawing/2014/main" id="{0D45248C-E2D1-4D34-A8FF-F8829028E7BE}"/>
              </a:ext>
            </a:extLst>
          </p:cNvPr>
          <p:cNvSpPr>
            <a:spLocks noChangeArrowheads="1"/>
          </p:cNvSpPr>
          <p:nvPr/>
        </p:nvSpPr>
        <p:spPr bwMode="auto">
          <a:xfrm>
            <a:off x="9733821"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98" name="Rectangle 297">
            <a:extLst>
              <a:ext uri="{FF2B5EF4-FFF2-40B4-BE49-F238E27FC236}">
                <a16:creationId xmlns:a16="http://schemas.microsoft.com/office/drawing/2014/main" id="{A7B03ECD-5EB5-43FE-9A5F-D7C8959E924A}"/>
              </a:ext>
            </a:extLst>
          </p:cNvPr>
          <p:cNvSpPr>
            <a:spLocks noChangeArrowheads="1"/>
          </p:cNvSpPr>
          <p:nvPr/>
        </p:nvSpPr>
        <p:spPr bwMode="auto">
          <a:xfrm>
            <a:off x="9733821" y="2865147"/>
            <a:ext cx="1951326" cy="23344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01" name="TextBox 69">
            <a:extLst>
              <a:ext uri="{FF2B5EF4-FFF2-40B4-BE49-F238E27FC236}">
                <a16:creationId xmlns:a16="http://schemas.microsoft.com/office/drawing/2014/main" id="{F78BFFE4-3702-488C-A71F-167F28CB1B36}"/>
              </a:ext>
            </a:extLst>
          </p:cNvPr>
          <p:cNvSpPr txBox="1"/>
          <p:nvPr/>
        </p:nvSpPr>
        <p:spPr>
          <a:xfrm>
            <a:off x="8036965" y="4394291"/>
            <a:ext cx="1520290" cy="830997"/>
          </a:xfrm>
          <a:prstGeom prst="rect">
            <a:avLst/>
          </a:prstGeom>
          <a:noFill/>
        </p:spPr>
        <p:txBody>
          <a:bodyPr wrap="square" rtlCol="0">
            <a:spAutoFit/>
          </a:bodyPr>
          <a:lstStyle/>
          <a:p>
            <a:pPr lvl="0" algn="ctr">
              <a:defRPr/>
            </a:pPr>
            <a:r>
              <a:rPr lang="fr-FR" altLang="zh-CN" sz="1600" b="1" kern="0" dirty="0">
                <a:solidFill>
                  <a:prstClr val="white"/>
                </a:solidFill>
                <a:sym typeface="+mn-lt"/>
              </a:rPr>
              <a:t>Présentation des résultats et du Dashboard</a:t>
            </a:r>
          </a:p>
        </p:txBody>
      </p:sp>
      <p:sp>
        <p:nvSpPr>
          <p:cNvPr id="302" name="TextBox 70">
            <a:extLst>
              <a:ext uri="{FF2B5EF4-FFF2-40B4-BE49-F238E27FC236}">
                <a16:creationId xmlns:a16="http://schemas.microsoft.com/office/drawing/2014/main" id="{C29E40C7-9746-4780-A19E-2343B3816D06}"/>
              </a:ext>
            </a:extLst>
          </p:cNvPr>
          <p:cNvSpPr txBox="1"/>
          <p:nvPr/>
        </p:nvSpPr>
        <p:spPr>
          <a:xfrm>
            <a:off x="8510887"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4</a:t>
            </a:r>
          </a:p>
        </p:txBody>
      </p:sp>
      <p:pic>
        <p:nvPicPr>
          <p:cNvPr id="24" name="Graphique 23" descr="Chat contour">
            <a:extLst>
              <a:ext uri="{FF2B5EF4-FFF2-40B4-BE49-F238E27FC236}">
                <a16:creationId xmlns:a16="http://schemas.microsoft.com/office/drawing/2014/main" id="{2D2C3054-2D7A-469B-8216-075534B1DF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6563" y="3288422"/>
            <a:ext cx="914400" cy="914400"/>
          </a:xfrm>
          <a:prstGeom prst="rect">
            <a:avLst/>
          </a:prstGeom>
        </p:spPr>
      </p:pic>
      <p:pic>
        <p:nvPicPr>
          <p:cNvPr id="26" name="Graphique 25" descr="Presse-papiers mixte contour">
            <a:extLst>
              <a:ext uri="{FF2B5EF4-FFF2-40B4-BE49-F238E27FC236}">
                <a16:creationId xmlns:a16="http://schemas.microsoft.com/office/drawing/2014/main" id="{DCA36B17-D25C-444A-A6B6-28D4B4B06C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1615" y="3386516"/>
            <a:ext cx="727200" cy="727200"/>
          </a:xfrm>
          <a:prstGeom prst="rect">
            <a:avLst/>
          </a:prstGeom>
        </p:spPr>
      </p:pic>
      <p:pic>
        <p:nvPicPr>
          <p:cNvPr id="28" name="Graphique 27" descr="Document contour">
            <a:extLst>
              <a:ext uri="{FF2B5EF4-FFF2-40B4-BE49-F238E27FC236}">
                <a16:creationId xmlns:a16="http://schemas.microsoft.com/office/drawing/2014/main" id="{45ADA4EF-0402-431D-B481-E48973DF36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9198" y="3447767"/>
            <a:ext cx="715439" cy="715439"/>
          </a:xfrm>
          <a:prstGeom prst="rect">
            <a:avLst/>
          </a:prstGeom>
        </p:spPr>
      </p:pic>
      <p:pic>
        <p:nvPicPr>
          <p:cNvPr id="32" name="Graphique 31" descr="Présentation avec camembert contour">
            <a:extLst>
              <a:ext uri="{FF2B5EF4-FFF2-40B4-BE49-F238E27FC236}">
                <a16:creationId xmlns:a16="http://schemas.microsoft.com/office/drawing/2014/main" id="{BFD1551C-3003-4074-96A8-71BCFEE5E1C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8430" y="3338625"/>
            <a:ext cx="914400" cy="914400"/>
          </a:xfrm>
          <a:prstGeom prst="rect">
            <a:avLst/>
          </a:prstGeom>
        </p:spPr>
      </p:pic>
      <p:sp>
        <p:nvSpPr>
          <p:cNvPr id="319" name="Rectangle 318">
            <a:extLst>
              <a:ext uri="{FF2B5EF4-FFF2-40B4-BE49-F238E27FC236}">
                <a16:creationId xmlns:a16="http://schemas.microsoft.com/office/drawing/2014/main" id="{452AD193-0C52-43E4-8891-F2D3ABD37C9B}"/>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321" name="ZoneTexte 320">
            <a:extLst>
              <a:ext uri="{FF2B5EF4-FFF2-40B4-BE49-F238E27FC236}">
                <a16:creationId xmlns:a16="http://schemas.microsoft.com/office/drawing/2014/main" id="{2FF950F0-24F3-4E72-A1AE-9B52F8108CFF}"/>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8</a:t>
            </a:r>
          </a:p>
        </p:txBody>
      </p:sp>
      <p:sp>
        <p:nvSpPr>
          <p:cNvPr id="325" name="TextBox 69">
            <a:extLst>
              <a:ext uri="{FF2B5EF4-FFF2-40B4-BE49-F238E27FC236}">
                <a16:creationId xmlns:a16="http://schemas.microsoft.com/office/drawing/2014/main" id="{8322AB39-797D-400B-9F68-CCE77734D376}"/>
              </a:ext>
            </a:extLst>
          </p:cNvPr>
          <p:cNvSpPr txBox="1"/>
          <p:nvPr/>
        </p:nvSpPr>
        <p:spPr>
          <a:xfrm>
            <a:off x="10047275"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Identification des écarts</a:t>
            </a:r>
          </a:p>
        </p:txBody>
      </p:sp>
      <p:sp>
        <p:nvSpPr>
          <p:cNvPr id="326" name="TextBox 70">
            <a:extLst>
              <a:ext uri="{FF2B5EF4-FFF2-40B4-BE49-F238E27FC236}">
                <a16:creationId xmlns:a16="http://schemas.microsoft.com/office/drawing/2014/main" id="{28503D66-86A9-43BC-8F1B-EC6EC0C7163D}"/>
              </a:ext>
            </a:extLst>
          </p:cNvPr>
          <p:cNvSpPr txBox="1"/>
          <p:nvPr/>
        </p:nvSpPr>
        <p:spPr>
          <a:xfrm>
            <a:off x="10375315"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5</a:t>
            </a:r>
          </a:p>
        </p:txBody>
      </p:sp>
      <p:pic>
        <p:nvPicPr>
          <p:cNvPr id="327" name="Graphique 326" descr="Diagramme de Venn contour">
            <a:extLst>
              <a:ext uri="{FF2B5EF4-FFF2-40B4-BE49-F238E27FC236}">
                <a16:creationId xmlns:a16="http://schemas.microsoft.com/office/drawing/2014/main" id="{CC54CBFE-459D-40EB-A401-572AF013F5A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70787" y="3502689"/>
            <a:ext cx="660517" cy="660517"/>
          </a:xfrm>
          <a:prstGeom prst="rect">
            <a:avLst/>
          </a:prstGeom>
        </p:spPr>
      </p:pic>
      <p:sp>
        <p:nvSpPr>
          <p:cNvPr id="52" name="Freeform 926">
            <a:extLst>
              <a:ext uri="{FF2B5EF4-FFF2-40B4-BE49-F238E27FC236}">
                <a16:creationId xmlns:a16="http://schemas.microsoft.com/office/drawing/2014/main" id="{1D104D1A-64FE-4C85-BDF5-E316868BBC31}"/>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926">
            <a:extLst>
              <a:ext uri="{FF2B5EF4-FFF2-40B4-BE49-F238E27FC236}">
                <a16:creationId xmlns:a16="http://schemas.microsoft.com/office/drawing/2014/main" id="{15D55238-C89E-4ECD-B657-8BB4FDC2185B}"/>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TextBox 219">
            <a:extLst>
              <a:ext uri="{FF2B5EF4-FFF2-40B4-BE49-F238E27FC236}">
                <a16:creationId xmlns:a16="http://schemas.microsoft.com/office/drawing/2014/main" id="{B069C2BD-3C16-4F61-8192-A56C089EDCE3}"/>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55" name="TextBox 219">
            <a:extLst>
              <a:ext uri="{FF2B5EF4-FFF2-40B4-BE49-F238E27FC236}">
                <a16:creationId xmlns:a16="http://schemas.microsoft.com/office/drawing/2014/main" id="{E76AA9AB-5FEF-49C0-802B-A075DD135E4C}"/>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56" name="TextBox 219">
            <a:extLst>
              <a:ext uri="{FF2B5EF4-FFF2-40B4-BE49-F238E27FC236}">
                <a16:creationId xmlns:a16="http://schemas.microsoft.com/office/drawing/2014/main" id="{E7903AB6-1E46-422F-95D8-6B34AD11B3A0}"/>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57" name="Freeform 926">
            <a:extLst>
              <a:ext uri="{FF2B5EF4-FFF2-40B4-BE49-F238E27FC236}">
                <a16:creationId xmlns:a16="http://schemas.microsoft.com/office/drawing/2014/main" id="{F76D8ED6-29C6-4ACF-929A-A13320392B24}"/>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Rectangle 57">
            <a:extLst>
              <a:ext uri="{FF2B5EF4-FFF2-40B4-BE49-F238E27FC236}">
                <a16:creationId xmlns:a16="http://schemas.microsoft.com/office/drawing/2014/main" id="{CD1455D8-4E24-4E73-9CD5-2BC800CA596A}"/>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59" name="Rectangle 58">
            <a:extLst>
              <a:ext uri="{FF2B5EF4-FFF2-40B4-BE49-F238E27FC236}">
                <a16:creationId xmlns:a16="http://schemas.microsoft.com/office/drawing/2014/main" id="{C3BDA411-7739-41A0-95E8-3CF51D8FF6AC}"/>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60" name="Rectangle 59">
            <a:extLst>
              <a:ext uri="{FF2B5EF4-FFF2-40B4-BE49-F238E27FC236}">
                <a16:creationId xmlns:a16="http://schemas.microsoft.com/office/drawing/2014/main" id="{CEB16538-8C3B-438C-BFA9-1AD9BF45425A}"/>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61" name="Rectangle 60">
            <a:extLst>
              <a:ext uri="{FF2B5EF4-FFF2-40B4-BE49-F238E27FC236}">
                <a16:creationId xmlns:a16="http://schemas.microsoft.com/office/drawing/2014/main" id="{ABB5E8C6-364F-42E0-A770-725D667278FD}"/>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1384286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20">
            <a:extLst>
              <a:ext uri="{FF2B5EF4-FFF2-40B4-BE49-F238E27FC236}">
                <a16:creationId xmlns:a16="http://schemas.microsoft.com/office/drawing/2014/main" id="{1E42EEE4-355B-4F6D-BDBC-DE36D257FAAF}"/>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179" name="Group 73">
            <a:extLst>
              <a:ext uri="{FF2B5EF4-FFF2-40B4-BE49-F238E27FC236}">
                <a16:creationId xmlns:a16="http://schemas.microsoft.com/office/drawing/2014/main" id="{A88D32F9-A61D-4EA3-BD03-88DC8D790FA5}"/>
              </a:ext>
            </a:extLst>
          </p:cNvPr>
          <p:cNvGrpSpPr/>
          <p:nvPr/>
        </p:nvGrpSpPr>
        <p:grpSpPr>
          <a:xfrm>
            <a:off x="3899555" y="2474374"/>
            <a:ext cx="1953864" cy="3445905"/>
            <a:chOff x="990600" y="2196640"/>
            <a:chExt cx="1953864" cy="3445905"/>
          </a:xfrm>
        </p:grpSpPr>
        <p:sp>
          <p:nvSpPr>
            <p:cNvPr id="180" name="Freeform 5">
              <a:extLst>
                <a:ext uri="{FF2B5EF4-FFF2-40B4-BE49-F238E27FC236}">
                  <a16:creationId xmlns:a16="http://schemas.microsoft.com/office/drawing/2014/main" id="{5F018933-331A-4DDD-910B-FF4B614CF89E}"/>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81" name="Rectangle 6">
              <a:extLst>
                <a:ext uri="{FF2B5EF4-FFF2-40B4-BE49-F238E27FC236}">
                  <a16:creationId xmlns:a16="http://schemas.microsoft.com/office/drawing/2014/main" id="{BDF09F37-D0AA-4BAD-B1C4-3DF7D1A5F2FC}"/>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2" name="Oval 7">
              <a:extLst>
                <a:ext uri="{FF2B5EF4-FFF2-40B4-BE49-F238E27FC236}">
                  <a16:creationId xmlns:a16="http://schemas.microsoft.com/office/drawing/2014/main" id="{E723C2C8-7AC2-48D8-9BB3-23699C7D6A70}"/>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183" name="Rectangle 182">
            <a:extLst>
              <a:ext uri="{FF2B5EF4-FFF2-40B4-BE49-F238E27FC236}">
                <a16:creationId xmlns:a16="http://schemas.microsoft.com/office/drawing/2014/main" id="{DA1FC4E6-0B06-4EBB-9F1C-1B82D66ECDF6}"/>
              </a:ext>
            </a:extLst>
          </p:cNvPr>
          <p:cNvSpPr>
            <a:spLocks noChangeArrowheads="1"/>
          </p:cNvSpPr>
          <p:nvPr/>
        </p:nvSpPr>
        <p:spPr bwMode="auto">
          <a:xfrm>
            <a:off x="1956429" y="2865147"/>
            <a:ext cx="1953864" cy="2404267"/>
          </a:xfrm>
          <a:prstGeom prst="rect">
            <a:avLst/>
          </a:prstGeom>
          <a:solidFill>
            <a:srgbClr val="9DD4C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4" name="Rectangle 183">
            <a:extLst>
              <a:ext uri="{FF2B5EF4-FFF2-40B4-BE49-F238E27FC236}">
                <a16:creationId xmlns:a16="http://schemas.microsoft.com/office/drawing/2014/main" id="{FD53738C-A654-47CF-9A61-A80E2114FCBF}"/>
              </a:ext>
            </a:extLst>
          </p:cNvPr>
          <p:cNvSpPr>
            <a:spLocks noChangeArrowheads="1"/>
          </p:cNvSpPr>
          <p:nvPr/>
        </p:nvSpPr>
        <p:spPr bwMode="auto">
          <a:xfrm>
            <a:off x="1956429" y="2865147"/>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5" name="Rectangle 184">
            <a:extLst>
              <a:ext uri="{FF2B5EF4-FFF2-40B4-BE49-F238E27FC236}">
                <a16:creationId xmlns:a16="http://schemas.microsoft.com/office/drawing/2014/main" id="{FB8ACB29-1DF9-4607-A912-D5378A031FF5}"/>
              </a:ext>
            </a:extLst>
          </p:cNvPr>
          <p:cNvSpPr>
            <a:spLocks noChangeArrowheads="1"/>
          </p:cNvSpPr>
          <p:nvPr/>
        </p:nvSpPr>
        <p:spPr bwMode="auto">
          <a:xfrm>
            <a:off x="1956429" y="2865147"/>
            <a:ext cx="1953864" cy="233449"/>
          </a:xfrm>
          <a:prstGeom prst="rect">
            <a:avLst/>
          </a:pr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1" name="Rectangle 200">
            <a:extLst>
              <a:ext uri="{FF2B5EF4-FFF2-40B4-BE49-F238E27FC236}">
                <a16:creationId xmlns:a16="http://schemas.microsoft.com/office/drawing/2014/main" id="{384CDD65-DE5F-4FE7-918A-0BF883765E2E}"/>
              </a:ext>
            </a:extLst>
          </p:cNvPr>
          <p:cNvSpPr>
            <a:spLocks noChangeArrowheads="1"/>
          </p:cNvSpPr>
          <p:nvPr/>
        </p:nvSpPr>
        <p:spPr bwMode="auto">
          <a:xfrm>
            <a:off x="3910293" y="2865147"/>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2" name="Rectangle 201">
            <a:extLst>
              <a:ext uri="{FF2B5EF4-FFF2-40B4-BE49-F238E27FC236}">
                <a16:creationId xmlns:a16="http://schemas.microsoft.com/office/drawing/2014/main" id="{9FB6A365-8C03-465F-B78B-98E2602B25FA}"/>
              </a:ext>
            </a:extLst>
          </p:cNvPr>
          <p:cNvSpPr>
            <a:spLocks noChangeArrowheads="1"/>
          </p:cNvSpPr>
          <p:nvPr/>
        </p:nvSpPr>
        <p:spPr bwMode="auto">
          <a:xfrm>
            <a:off x="3910293"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3" name="Rectangle 202">
            <a:extLst>
              <a:ext uri="{FF2B5EF4-FFF2-40B4-BE49-F238E27FC236}">
                <a16:creationId xmlns:a16="http://schemas.microsoft.com/office/drawing/2014/main" id="{9A29B085-E377-47FF-B23E-4E37C9064B8F}"/>
              </a:ext>
            </a:extLst>
          </p:cNvPr>
          <p:cNvSpPr>
            <a:spLocks noChangeArrowheads="1"/>
          </p:cNvSpPr>
          <p:nvPr/>
        </p:nvSpPr>
        <p:spPr bwMode="auto">
          <a:xfrm>
            <a:off x="3910293" y="2865147"/>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37" name="TextBox 5">
            <a:extLst>
              <a:ext uri="{FF2B5EF4-FFF2-40B4-BE49-F238E27FC236}">
                <a16:creationId xmlns:a16="http://schemas.microsoft.com/office/drawing/2014/main" id="{907086B0-DDA4-4E08-865D-ADA0E3DBBB98}"/>
              </a:ext>
            </a:extLst>
          </p:cNvPr>
          <p:cNvSpPr txBox="1"/>
          <p:nvPr/>
        </p:nvSpPr>
        <p:spPr>
          <a:xfrm>
            <a:off x="2240148" y="4430115"/>
            <a:ext cx="138592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dirty="0">
                <a:ln>
                  <a:noFill/>
                </a:ln>
                <a:solidFill>
                  <a:prstClr val="white"/>
                </a:solidFill>
                <a:effectLst/>
                <a:uLnTx/>
                <a:uFillTx/>
                <a:sym typeface="+mn-lt"/>
              </a:rPr>
              <a:t>Déroulement</a:t>
            </a:r>
            <a:r>
              <a:rPr kumimoji="0" lang="fr-FR" sz="1400" b="1" i="0" u="none" strike="noStrike" kern="0" cap="none" spc="0" normalizeH="0" dirty="0">
                <a:ln>
                  <a:noFill/>
                </a:ln>
                <a:solidFill>
                  <a:prstClr val="white"/>
                </a:solidFill>
                <a:effectLst/>
                <a:uLnTx/>
                <a:uFillTx/>
                <a:sym typeface="+mn-lt"/>
              </a:rPr>
              <a:t> des entretiens</a:t>
            </a:r>
            <a:endParaRPr kumimoji="0" lang="fr-FR" sz="1400" b="1" i="0" u="none" strike="noStrike" kern="0" cap="none" spc="0" normalizeH="0" baseline="0" dirty="0">
              <a:ln>
                <a:noFill/>
              </a:ln>
              <a:solidFill>
                <a:prstClr val="white"/>
              </a:solidFill>
              <a:effectLst/>
              <a:uLnTx/>
              <a:uFillTx/>
              <a:sym typeface="+mn-lt"/>
            </a:endParaRPr>
          </a:p>
        </p:txBody>
      </p:sp>
      <p:sp>
        <p:nvSpPr>
          <p:cNvPr id="238" name="TextBox 6">
            <a:extLst>
              <a:ext uri="{FF2B5EF4-FFF2-40B4-BE49-F238E27FC236}">
                <a16:creationId xmlns:a16="http://schemas.microsoft.com/office/drawing/2014/main" id="{7589FFE4-00C6-4E96-89F6-560E71AEBEDC}"/>
              </a:ext>
            </a:extLst>
          </p:cNvPr>
          <p:cNvSpPr txBox="1"/>
          <p:nvPr/>
        </p:nvSpPr>
        <p:spPr>
          <a:xfrm>
            <a:off x="2625424"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239" name="TextBox 67">
            <a:extLst>
              <a:ext uri="{FF2B5EF4-FFF2-40B4-BE49-F238E27FC236}">
                <a16:creationId xmlns:a16="http://schemas.microsoft.com/office/drawing/2014/main" id="{DE2A9265-73B6-47BD-AB11-11989051CEB5}"/>
              </a:ext>
            </a:extLst>
          </p:cNvPr>
          <p:cNvSpPr txBox="1"/>
          <p:nvPr/>
        </p:nvSpPr>
        <p:spPr>
          <a:xfrm>
            <a:off x="4278578" y="4376021"/>
            <a:ext cx="1245849" cy="584775"/>
          </a:xfrm>
          <a:prstGeom prst="rect">
            <a:avLst/>
          </a:prstGeom>
          <a:noFill/>
        </p:spPr>
        <p:txBody>
          <a:bodyPr wrap="square" rtlCol="0">
            <a:spAutoFit/>
          </a:bodyPr>
          <a:lstStyle/>
          <a:p>
            <a:pPr lvl="0" algn="ctr" defTabSz="914400">
              <a:defRPr/>
            </a:pPr>
            <a:r>
              <a:rPr lang="fr-FR" altLang="zh-CN" sz="1600" b="1" kern="0" dirty="0">
                <a:solidFill>
                  <a:prstClr val="white"/>
                </a:solidFill>
                <a:sym typeface="+mn-lt"/>
              </a:rPr>
              <a:t>Revue des réponses</a:t>
            </a:r>
          </a:p>
        </p:txBody>
      </p:sp>
      <p:sp>
        <p:nvSpPr>
          <p:cNvPr id="240" name="TextBox 68">
            <a:extLst>
              <a:ext uri="{FF2B5EF4-FFF2-40B4-BE49-F238E27FC236}">
                <a16:creationId xmlns:a16="http://schemas.microsoft.com/office/drawing/2014/main" id="{E5911C3B-7644-464D-A817-1054A1DD28AF}"/>
              </a:ext>
            </a:extLst>
          </p:cNvPr>
          <p:cNvSpPr txBox="1"/>
          <p:nvPr/>
        </p:nvSpPr>
        <p:spPr>
          <a:xfrm>
            <a:off x="4578019"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219" name="Rectangle 218">
            <a:extLst>
              <a:ext uri="{FF2B5EF4-FFF2-40B4-BE49-F238E27FC236}">
                <a16:creationId xmlns:a16="http://schemas.microsoft.com/office/drawing/2014/main" id="{CE250EEC-ADAC-49CD-9026-A473AB009DBD}"/>
              </a:ext>
            </a:extLst>
          </p:cNvPr>
          <p:cNvSpPr>
            <a:spLocks noChangeArrowheads="1"/>
          </p:cNvSpPr>
          <p:nvPr/>
        </p:nvSpPr>
        <p:spPr bwMode="auto">
          <a:xfrm>
            <a:off x="5846394" y="2865147"/>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0" name="Rectangle 219">
            <a:extLst>
              <a:ext uri="{FF2B5EF4-FFF2-40B4-BE49-F238E27FC236}">
                <a16:creationId xmlns:a16="http://schemas.microsoft.com/office/drawing/2014/main" id="{9468B8E1-D409-4D45-B105-2FECC1CA291A}"/>
              </a:ext>
            </a:extLst>
          </p:cNvPr>
          <p:cNvSpPr>
            <a:spLocks noChangeArrowheads="1"/>
          </p:cNvSpPr>
          <p:nvPr/>
        </p:nvSpPr>
        <p:spPr bwMode="auto">
          <a:xfrm>
            <a:off x="5846394"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1" name="Rectangle 220">
            <a:extLst>
              <a:ext uri="{FF2B5EF4-FFF2-40B4-BE49-F238E27FC236}">
                <a16:creationId xmlns:a16="http://schemas.microsoft.com/office/drawing/2014/main" id="{EF2FD853-AE05-446F-8970-C5528DFFCA2E}"/>
              </a:ext>
            </a:extLst>
          </p:cNvPr>
          <p:cNvSpPr>
            <a:spLocks noChangeArrowheads="1"/>
          </p:cNvSpPr>
          <p:nvPr/>
        </p:nvSpPr>
        <p:spPr bwMode="auto">
          <a:xfrm>
            <a:off x="5846394" y="2865147"/>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1" name="TextBox 69">
            <a:extLst>
              <a:ext uri="{FF2B5EF4-FFF2-40B4-BE49-F238E27FC236}">
                <a16:creationId xmlns:a16="http://schemas.microsoft.com/office/drawing/2014/main" id="{2B99B28A-2254-459A-9CAD-6C4085C8060B}"/>
              </a:ext>
            </a:extLst>
          </p:cNvPr>
          <p:cNvSpPr txBox="1"/>
          <p:nvPr/>
        </p:nvSpPr>
        <p:spPr>
          <a:xfrm>
            <a:off x="6186080"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Formulation des constats</a:t>
            </a:r>
          </a:p>
        </p:txBody>
      </p:sp>
      <p:sp>
        <p:nvSpPr>
          <p:cNvPr id="242" name="TextBox 70">
            <a:extLst>
              <a:ext uri="{FF2B5EF4-FFF2-40B4-BE49-F238E27FC236}">
                <a16:creationId xmlns:a16="http://schemas.microsoft.com/office/drawing/2014/main" id="{9478CA70-5A3B-4DA8-BC35-21CCDD84D178}"/>
              </a:ext>
            </a:extLst>
          </p:cNvPr>
          <p:cNvSpPr txBox="1"/>
          <p:nvPr/>
        </p:nvSpPr>
        <p:spPr>
          <a:xfrm>
            <a:off x="6514120"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pic>
        <p:nvPicPr>
          <p:cNvPr id="24" name="Graphique 23" descr="Chat contour">
            <a:extLst>
              <a:ext uri="{FF2B5EF4-FFF2-40B4-BE49-F238E27FC236}">
                <a16:creationId xmlns:a16="http://schemas.microsoft.com/office/drawing/2014/main" id="{2D2C3054-2D7A-469B-8216-075534B1DF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6563" y="3288422"/>
            <a:ext cx="914400" cy="914400"/>
          </a:xfrm>
          <a:prstGeom prst="rect">
            <a:avLst/>
          </a:prstGeom>
        </p:spPr>
      </p:pic>
      <p:pic>
        <p:nvPicPr>
          <p:cNvPr id="26" name="Graphique 25" descr="Presse-papiers mixte contour">
            <a:extLst>
              <a:ext uri="{FF2B5EF4-FFF2-40B4-BE49-F238E27FC236}">
                <a16:creationId xmlns:a16="http://schemas.microsoft.com/office/drawing/2014/main" id="{DCA36B17-D25C-444A-A6B6-28D4B4B06C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1615" y="3386516"/>
            <a:ext cx="727200" cy="727200"/>
          </a:xfrm>
          <a:prstGeom prst="rect">
            <a:avLst/>
          </a:prstGeom>
        </p:spPr>
      </p:pic>
      <p:pic>
        <p:nvPicPr>
          <p:cNvPr id="28" name="Graphique 27" descr="Document contour">
            <a:extLst>
              <a:ext uri="{FF2B5EF4-FFF2-40B4-BE49-F238E27FC236}">
                <a16:creationId xmlns:a16="http://schemas.microsoft.com/office/drawing/2014/main" id="{45ADA4EF-0402-431D-B481-E48973DF36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9198" y="3447767"/>
            <a:ext cx="715439" cy="715439"/>
          </a:xfrm>
          <a:prstGeom prst="rect">
            <a:avLst/>
          </a:prstGeom>
        </p:spPr>
      </p:pic>
      <p:sp>
        <p:nvSpPr>
          <p:cNvPr id="125" name="Rectangle 124">
            <a:extLst>
              <a:ext uri="{FF2B5EF4-FFF2-40B4-BE49-F238E27FC236}">
                <a16:creationId xmlns:a16="http://schemas.microsoft.com/office/drawing/2014/main" id="{B13A2A16-8C2E-481C-A667-CF9C7C4FEC51}"/>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127" name="ZoneTexte 126">
            <a:extLst>
              <a:ext uri="{FF2B5EF4-FFF2-40B4-BE49-F238E27FC236}">
                <a16:creationId xmlns:a16="http://schemas.microsoft.com/office/drawing/2014/main" id="{23127442-D8BD-4127-98E3-CFC617786C46}"/>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8</a:t>
            </a:r>
          </a:p>
        </p:txBody>
      </p:sp>
      <p:sp>
        <p:nvSpPr>
          <p:cNvPr id="128" name="Rectangle 127">
            <a:extLst>
              <a:ext uri="{FF2B5EF4-FFF2-40B4-BE49-F238E27FC236}">
                <a16:creationId xmlns:a16="http://schemas.microsoft.com/office/drawing/2014/main" id="{BC14654A-8B22-43FE-9092-16A72F62F1D4}"/>
              </a:ext>
            </a:extLst>
          </p:cNvPr>
          <p:cNvSpPr>
            <a:spLocks noChangeArrowheads="1"/>
          </p:cNvSpPr>
          <p:nvPr/>
        </p:nvSpPr>
        <p:spPr bwMode="auto">
          <a:xfrm>
            <a:off x="7787022" y="2865147"/>
            <a:ext cx="1951326" cy="2404267"/>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29" name="Rectangle 128">
            <a:extLst>
              <a:ext uri="{FF2B5EF4-FFF2-40B4-BE49-F238E27FC236}">
                <a16:creationId xmlns:a16="http://schemas.microsoft.com/office/drawing/2014/main" id="{13C7390C-C296-484F-AB7C-223A2975E46D}"/>
              </a:ext>
            </a:extLst>
          </p:cNvPr>
          <p:cNvSpPr>
            <a:spLocks noChangeArrowheads="1"/>
          </p:cNvSpPr>
          <p:nvPr/>
        </p:nvSpPr>
        <p:spPr bwMode="auto">
          <a:xfrm>
            <a:off x="7787022"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0" name="Rectangle 129">
            <a:extLst>
              <a:ext uri="{FF2B5EF4-FFF2-40B4-BE49-F238E27FC236}">
                <a16:creationId xmlns:a16="http://schemas.microsoft.com/office/drawing/2014/main" id="{6608CE72-48EE-489F-BD51-392A0CD13F69}"/>
              </a:ext>
            </a:extLst>
          </p:cNvPr>
          <p:cNvSpPr>
            <a:spLocks noChangeArrowheads="1"/>
          </p:cNvSpPr>
          <p:nvPr/>
        </p:nvSpPr>
        <p:spPr bwMode="auto">
          <a:xfrm>
            <a:off x="7787022" y="2865147"/>
            <a:ext cx="1951326" cy="233449"/>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1" name="Rectangle 130">
            <a:extLst>
              <a:ext uri="{FF2B5EF4-FFF2-40B4-BE49-F238E27FC236}">
                <a16:creationId xmlns:a16="http://schemas.microsoft.com/office/drawing/2014/main" id="{C0D32440-338D-4FA5-ADA9-4E29E8F0AB62}"/>
              </a:ext>
            </a:extLst>
          </p:cNvPr>
          <p:cNvSpPr>
            <a:spLocks noChangeArrowheads="1"/>
          </p:cNvSpPr>
          <p:nvPr/>
        </p:nvSpPr>
        <p:spPr bwMode="auto">
          <a:xfrm>
            <a:off x="9733821" y="2865147"/>
            <a:ext cx="1951326" cy="2404267"/>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2" name="Rectangle 131">
            <a:extLst>
              <a:ext uri="{FF2B5EF4-FFF2-40B4-BE49-F238E27FC236}">
                <a16:creationId xmlns:a16="http://schemas.microsoft.com/office/drawing/2014/main" id="{EE122197-15D8-4B3E-9AE4-026BBBC459F6}"/>
              </a:ext>
            </a:extLst>
          </p:cNvPr>
          <p:cNvSpPr>
            <a:spLocks noChangeArrowheads="1"/>
          </p:cNvSpPr>
          <p:nvPr/>
        </p:nvSpPr>
        <p:spPr bwMode="auto">
          <a:xfrm>
            <a:off x="9733821"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3" name="Rectangle 132">
            <a:extLst>
              <a:ext uri="{FF2B5EF4-FFF2-40B4-BE49-F238E27FC236}">
                <a16:creationId xmlns:a16="http://schemas.microsoft.com/office/drawing/2014/main" id="{BC707877-961D-44DD-9C14-F896A108270C}"/>
              </a:ext>
            </a:extLst>
          </p:cNvPr>
          <p:cNvSpPr>
            <a:spLocks noChangeArrowheads="1"/>
          </p:cNvSpPr>
          <p:nvPr/>
        </p:nvSpPr>
        <p:spPr bwMode="auto">
          <a:xfrm>
            <a:off x="9733821" y="2865147"/>
            <a:ext cx="1951326" cy="23344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4" name="TextBox 69">
            <a:extLst>
              <a:ext uri="{FF2B5EF4-FFF2-40B4-BE49-F238E27FC236}">
                <a16:creationId xmlns:a16="http://schemas.microsoft.com/office/drawing/2014/main" id="{B46BB861-DB9E-4BFE-86D5-6F595825F172}"/>
              </a:ext>
            </a:extLst>
          </p:cNvPr>
          <p:cNvSpPr txBox="1"/>
          <p:nvPr/>
        </p:nvSpPr>
        <p:spPr>
          <a:xfrm>
            <a:off x="8036965" y="4394291"/>
            <a:ext cx="1520290" cy="830997"/>
          </a:xfrm>
          <a:prstGeom prst="rect">
            <a:avLst/>
          </a:prstGeom>
          <a:noFill/>
        </p:spPr>
        <p:txBody>
          <a:bodyPr wrap="square" rtlCol="0">
            <a:spAutoFit/>
          </a:bodyPr>
          <a:lstStyle/>
          <a:p>
            <a:pPr lvl="0" algn="ctr">
              <a:defRPr/>
            </a:pPr>
            <a:r>
              <a:rPr lang="fr-FR" altLang="zh-CN" sz="1600" b="1" kern="0" dirty="0">
                <a:solidFill>
                  <a:prstClr val="white"/>
                </a:solidFill>
                <a:sym typeface="+mn-lt"/>
              </a:rPr>
              <a:t>Présentation des résultats et du Dashboard</a:t>
            </a:r>
          </a:p>
        </p:txBody>
      </p:sp>
      <p:sp>
        <p:nvSpPr>
          <p:cNvPr id="135" name="TextBox 70">
            <a:extLst>
              <a:ext uri="{FF2B5EF4-FFF2-40B4-BE49-F238E27FC236}">
                <a16:creationId xmlns:a16="http://schemas.microsoft.com/office/drawing/2014/main" id="{73BCE9A8-CBAD-45F5-9822-3DB82CA9BAA0}"/>
              </a:ext>
            </a:extLst>
          </p:cNvPr>
          <p:cNvSpPr txBox="1"/>
          <p:nvPr/>
        </p:nvSpPr>
        <p:spPr>
          <a:xfrm>
            <a:off x="8510887"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4</a:t>
            </a:r>
          </a:p>
        </p:txBody>
      </p:sp>
      <p:pic>
        <p:nvPicPr>
          <p:cNvPr id="137" name="Graphique 136" descr="Présentation avec camembert contour">
            <a:extLst>
              <a:ext uri="{FF2B5EF4-FFF2-40B4-BE49-F238E27FC236}">
                <a16:creationId xmlns:a16="http://schemas.microsoft.com/office/drawing/2014/main" id="{1FBBEC6D-0722-444C-B8AA-7930A3709B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8430" y="3338625"/>
            <a:ext cx="914400" cy="914400"/>
          </a:xfrm>
          <a:prstGeom prst="rect">
            <a:avLst/>
          </a:prstGeom>
        </p:spPr>
      </p:pic>
      <p:sp>
        <p:nvSpPr>
          <p:cNvPr id="138" name="TextBox 69">
            <a:extLst>
              <a:ext uri="{FF2B5EF4-FFF2-40B4-BE49-F238E27FC236}">
                <a16:creationId xmlns:a16="http://schemas.microsoft.com/office/drawing/2014/main" id="{4B92A2FC-9247-4FFE-B09C-F16470631455}"/>
              </a:ext>
            </a:extLst>
          </p:cNvPr>
          <p:cNvSpPr txBox="1"/>
          <p:nvPr/>
        </p:nvSpPr>
        <p:spPr>
          <a:xfrm>
            <a:off x="10047275"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Identification des écarts</a:t>
            </a:r>
          </a:p>
        </p:txBody>
      </p:sp>
      <p:sp>
        <p:nvSpPr>
          <p:cNvPr id="139" name="TextBox 70">
            <a:extLst>
              <a:ext uri="{FF2B5EF4-FFF2-40B4-BE49-F238E27FC236}">
                <a16:creationId xmlns:a16="http://schemas.microsoft.com/office/drawing/2014/main" id="{60A19388-5A39-4088-9381-3FE9DF31AB3E}"/>
              </a:ext>
            </a:extLst>
          </p:cNvPr>
          <p:cNvSpPr txBox="1"/>
          <p:nvPr/>
        </p:nvSpPr>
        <p:spPr>
          <a:xfrm>
            <a:off x="10375315"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5</a:t>
            </a:r>
          </a:p>
        </p:txBody>
      </p:sp>
      <p:pic>
        <p:nvPicPr>
          <p:cNvPr id="140" name="Graphique 139" descr="Diagramme de Venn contour">
            <a:extLst>
              <a:ext uri="{FF2B5EF4-FFF2-40B4-BE49-F238E27FC236}">
                <a16:creationId xmlns:a16="http://schemas.microsoft.com/office/drawing/2014/main" id="{76F0E9C8-8CA4-41D0-934A-BFBD08DA0E8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70787" y="3502689"/>
            <a:ext cx="660517" cy="660517"/>
          </a:xfrm>
          <a:prstGeom prst="rect">
            <a:avLst/>
          </a:prstGeom>
        </p:spPr>
      </p:pic>
      <p:sp>
        <p:nvSpPr>
          <p:cNvPr id="52" name="Freeform 926">
            <a:extLst>
              <a:ext uri="{FF2B5EF4-FFF2-40B4-BE49-F238E27FC236}">
                <a16:creationId xmlns:a16="http://schemas.microsoft.com/office/drawing/2014/main" id="{024DF68F-9212-427E-ADB4-42910BD26CC5}"/>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926">
            <a:extLst>
              <a:ext uri="{FF2B5EF4-FFF2-40B4-BE49-F238E27FC236}">
                <a16:creationId xmlns:a16="http://schemas.microsoft.com/office/drawing/2014/main" id="{16225E57-EEB7-4B26-9CA2-A708959086AF}"/>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TextBox 219">
            <a:extLst>
              <a:ext uri="{FF2B5EF4-FFF2-40B4-BE49-F238E27FC236}">
                <a16:creationId xmlns:a16="http://schemas.microsoft.com/office/drawing/2014/main" id="{51BA5EFA-CE40-4B61-973F-6B36E923746C}"/>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55" name="TextBox 219">
            <a:extLst>
              <a:ext uri="{FF2B5EF4-FFF2-40B4-BE49-F238E27FC236}">
                <a16:creationId xmlns:a16="http://schemas.microsoft.com/office/drawing/2014/main" id="{CE487441-AC0C-42A2-A46E-49E96D3C59C5}"/>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56" name="TextBox 219">
            <a:extLst>
              <a:ext uri="{FF2B5EF4-FFF2-40B4-BE49-F238E27FC236}">
                <a16:creationId xmlns:a16="http://schemas.microsoft.com/office/drawing/2014/main" id="{4F203BF3-9AA1-4F2C-851C-69E066E8895D}"/>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57" name="Freeform 926">
            <a:extLst>
              <a:ext uri="{FF2B5EF4-FFF2-40B4-BE49-F238E27FC236}">
                <a16:creationId xmlns:a16="http://schemas.microsoft.com/office/drawing/2014/main" id="{51E91C6E-7771-4EFF-B1C9-8CD2542FF3C9}"/>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Rectangle 57">
            <a:extLst>
              <a:ext uri="{FF2B5EF4-FFF2-40B4-BE49-F238E27FC236}">
                <a16:creationId xmlns:a16="http://schemas.microsoft.com/office/drawing/2014/main" id="{6AE08BB2-7CF3-4D5A-95A8-B6FC9EADD5F6}"/>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59" name="Rectangle 58">
            <a:extLst>
              <a:ext uri="{FF2B5EF4-FFF2-40B4-BE49-F238E27FC236}">
                <a16:creationId xmlns:a16="http://schemas.microsoft.com/office/drawing/2014/main" id="{F80D7C2C-65F8-4ABD-B120-6FFDD3134312}"/>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60" name="Rectangle 59">
            <a:extLst>
              <a:ext uri="{FF2B5EF4-FFF2-40B4-BE49-F238E27FC236}">
                <a16:creationId xmlns:a16="http://schemas.microsoft.com/office/drawing/2014/main" id="{BE9DF208-E761-4115-AC93-85F57CCEF1A7}"/>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61" name="Rectangle 60">
            <a:extLst>
              <a:ext uri="{FF2B5EF4-FFF2-40B4-BE49-F238E27FC236}">
                <a16:creationId xmlns:a16="http://schemas.microsoft.com/office/drawing/2014/main" id="{B62751A5-E7A4-4818-B0F4-655A039424CD}"/>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17967682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20">
            <a:extLst>
              <a:ext uri="{FF2B5EF4-FFF2-40B4-BE49-F238E27FC236}">
                <a16:creationId xmlns:a16="http://schemas.microsoft.com/office/drawing/2014/main" id="{1E42EEE4-355B-4F6D-BDBC-DE36D257FAAF}"/>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179" name="Group 73">
            <a:extLst>
              <a:ext uri="{FF2B5EF4-FFF2-40B4-BE49-F238E27FC236}">
                <a16:creationId xmlns:a16="http://schemas.microsoft.com/office/drawing/2014/main" id="{A88D32F9-A61D-4EA3-BD03-88DC8D790FA5}"/>
              </a:ext>
            </a:extLst>
          </p:cNvPr>
          <p:cNvGrpSpPr/>
          <p:nvPr/>
        </p:nvGrpSpPr>
        <p:grpSpPr>
          <a:xfrm>
            <a:off x="5832064" y="2474374"/>
            <a:ext cx="1953864" cy="3445905"/>
            <a:chOff x="990600" y="2196640"/>
            <a:chExt cx="1953864" cy="3445905"/>
          </a:xfrm>
        </p:grpSpPr>
        <p:sp>
          <p:nvSpPr>
            <p:cNvPr id="180" name="Freeform 5">
              <a:extLst>
                <a:ext uri="{FF2B5EF4-FFF2-40B4-BE49-F238E27FC236}">
                  <a16:creationId xmlns:a16="http://schemas.microsoft.com/office/drawing/2014/main" id="{5F018933-331A-4DDD-910B-FF4B614CF89E}"/>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81" name="Rectangle 6">
              <a:extLst>
                <a:ext uri="{FF2B5EF4-FFF2-40B4-BE49-F238E27FC236}">
                  <a16:creationId xmlns:a16="http://schemas.microsoft.com/office/drawing/2014/main" id="{BDF09F37-D0AA-4BAD-B1C4-3DF7D1A5F2FC}"/>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2" name="Oval 7">
              <a:extLst>
                <a:ext uri="{FF2B5EF4-FFF2-40B4-BE49-F238E27FC236}">
                  <a16:creationId xmlns:a16="http://schemas.microsoft.com/office/drawing/2014/main" id="{E723C2C8-7AC2-48D8-9BB3-23699C7D6A70}"/>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183" name="Rectangle 182">
            <a:extLst>
              <a:ext uri="{FF2B5EF4-FFF2-40B4-BE49-F238E27FC236}">
                <a16:creationId xmlns:a16="http://schemas.microsoft.com/office/drawing/2014/main" id="{DA1FC4E6-0B06-4EBB-9F1C-1B82D66ECDF6}"/>
              </a:ext>
            </a:extLst>
          </p:cNvPr>
          <p:cNvSpPr>
            <a:spLocks noChangeArrowheads="1"/>
          </p:cNvSpPr>
          <p:nvPr/>
        </p:nvSpPr>
        <p:spPr bwMode="auto">
          <a:xfrm>
            <a:off x="1956429" y="2865147"/>
            <a:ext cx="1953864" cy="2404267"/>
          </a:xfrm>
          <a:prstGeom prst="rect">
            <a:avLst/>
          </a:prstGeom>
          <a:solidFill>
            <a:srgbClr val="9DD4C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4" name="Rectangle 183">
            <a:extLst>
              <a:ext uri="{FF2B5EF4-FFF2-40B4-BE49-F238E27FC236}">
                <a16:creationId xmlns:a16="http://schemas.microsoft.com/office/drawing/2014/main" id="{FD53738C-A654-47CF-9A61-A80E2114FCBF}"/>
              </a:ext>
            </a:extLst>
          </p:cNvPr>
          <p:cNvSpPr>
            <a:spLocks noChangeArrowheads="1"/>
          </p:cNvSpPr>
          <p:nvPr/>
        </p:nvSpPr>
        <p:spPr bwMode="auto">
          <a:xfrm>
            <a:off x="1956429" y="2865147"/>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5" name="Rectangle 184">
            <a:extLst>
              <a:ext uri="{FF2B5EF4-FFF2-40B4-BE49-F238E27FC236}">
                <a16:creationId xmlns:a16="http://schemas.microsoft.com/office/drawing/2014/main" id="{FB8ACB29-1DF9-4607-A912-D5378A031FF5}"/>
              </a:ext>
            </a:extLst>
          </p:cNvPr>
          <p:cNvSpPr>
            <a:spLocks noChangeArrowheads="1"/>
          </p:cNvSpPr>
          <p:nvPr/>
        </p:nvSpPr>
        <p:spPr bwMode="auto">
          <a:xfrm>
            <a:off x="1956429" y="2865147"/>
            <a:ext cx="1953864" cy="233449"/>
          </a:xfrm>
          <a:prstGeom prst="rect">
            <a:avLst/>
          </a:pr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1" name="Rectangle 200">
            <a:extLst>
              <a:ext uri="{FF2B5EF4-FFF2-40B4-BE49-F238E27FC236}">
                <a16:creationId xmlns:a16="http://schemas.microsoft.com/office/drawing/2014/main" id="{384CDD65-DE5F-4FE7-918A-0BF883765E2E}"/>
              </a:ext>
            </a:extLst>
          </p:cNvPr>
          <p:cNvSpPr>
            <a:spLocks noChangeArrowheads="1"/>
          </p:cNvSpPr>
          <p:nvPr/>
        </p:nvSpPr>
        <p:spPr bwMode="auto">
          <a:xfrm>
            <a:off x="3910293" y="2865147"/>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2" name="Rectangle 201">
            <a:extLst>
              <a:ext uri="{FF2B5EF4-FFF2-40B4-BE49-F238E27FC236}">
                <a16:creationId xmlns:a16="http://schemas.microsoft.com/office/drawing/2014/main" id="{9FB6A365-8C03-465F-B78B-98E2602B25FA}"/>
              </a:ext>
            </a:extLst>
          </p:cNvPr>
          <p:cNvSpPr>
            <a:spLocks noChangeArrowheads="1"/>
          </p:cNvSpPr>
          <p:nvPr/>
        </p:nvSpPr>
        <p:spPr bwMode="auto">
          <a:xfrm>
            <a:off x="3910293"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3" name="Rectangle 202">
            <a:extLst>
              <a:ext uri="{FF2B5EF4-FFF2-40B4-BE49-F238E27FC236}">
                <a16:creationId xmlns:a16="http://schemas.microsoft.com/office/drawing/2014/main" id="{9A29B085-E377-47FF-B23E-4E37C9064B8F}"/>
              </a:ext>
            </a:extLst>
          </p:cNvPr>
          <p:cNvSpPr>
            <a:spLocks noChangeArrowheads="1"/>
          </p:cNvSpPr>
          <p:nvPr/>
        </p:nvSpPr>
        <p:spPr bwMode="auto">
          <a:xfrm>
            <a:off x="3910293" y="2865147"/>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237" name="TextBox 5">
            <a:extLst>
              <a:ext uri="{FF2B5EF4-FFF2-40B4-BE49-F238E27FC236}">
                <a16:creationId xmlns:a16="http://schemas.microsoft.com/office/drawing/2014/main" id="{907086B0-DDA4-4E08-865D-ADA0E3DBBB98}"/>
              </a:ext>
            </a:extLst>
          </p:cNvPr>
          <p:cNvSpPr txBox="1"/>
          <p:nvPr/>
        </p:nvSpPr>
        <p:spPr>
          <a:xfrm>
            <a:off x="2240148" y="4430115"/>
            <a:ext cx="138592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dirty="0">
                <a:ln>
                  <a:noFill/>
                </a:ln>
                <a:solidFill>
                  <a:prstClr val="white"/>
                </a:solidFill>
                <a:effectLst/>
                <a:uLnTx/>
                <a:uFillTx/>
                <a:sym typeface="+mn-lt"/>
              </a:rPr>
              <a:t>Déroulement</a:t>
            </a:r>
            <a:r>
              <a:rPr kumimoji="0" lang="fr-FR" sz="1400" b="1" i="0" u="none" strike="noStrike" kern="0" cap="none" spc="0" normalizeH="0" dirty="0">
                <a:ln>
                  <a:noFill/>
                </a:ln>
                <a:solidFill>
                  <a:prstClr val="white"/>
                </a:solidFill>
                <a:effectLst/>
                <a:uLnTx/>
                <a:uFillTx/>
                <a:sym typeface="+mn-lt"/>
              </a:rPr>
              <a:t> des entretiens</a:t>
            </a:r>
            <a:endParaRPr kumimoji="0" lang="fr-FR" sz="1400" b="1" i="0" u="none" strike="noStrike" kern="0" cap="none" spc="0" normalizeH="0" baseline="0" dirty="0">
              <a:ln>
                <a:noFill/>
              </a:ln>
              <a:solidFill>
                <a:prstClr val="white"/>
              </a:solidFill>
              <a:effectLst/>
              <a:uLnTx/>
              <a:uFillTx/>
              <a:sym typeface="+mn-lt"/>
            </a:endParaRPr>
          </a:p>
        </p:txBody>
      </p:sp>
      <p:sp>
        <p:nvSpPr>
          <p:cNvPr id="238" name="TextBox 6">
            <a:extLst>
              <a:ext uri="{FF2B5EF4-FFF2-40B4-BE49-F238E27FC236}">
                <a16:creationId xmlns:a16="http://schemas.microsoft.com/office/drawing/2014/main" id="{7589FFE4-00C6-4E96-89F6-560E71AEBEDC}"/>
              </a:ext>
            </a:extLst>
          </p:cNvPr>
          <p:cNvSpPr txBox="1"/>
          <p:nvPr/>
        </p:nvSpPr>
        <p:spPr>
          <a:xfrm>
            <a:off x="2625424"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239" name="TextBox 67">
            <a:extLst>
              <a:ext uri="{FF2B5EF4-FFF2-40B4-BE49-F238E27FC236}">
                <a16:creationId xmlns:a16="http://schemas.microsoft.com/office/drawing/2014/main" id="{DE2A9265-73B6-47BD-AB11-11989051CEB5}"/>
              </a:ext>
            </a:extLst>
          </p:cNvPr>
          <p:cNvSpPr txBox="1"/>
          <p:nvPr/>
        </p:nvSpPr>
        <p:spPr>
          <a:xfrm>
            <a:off x="4278578" y="4376021"/>
            <a:ext cx="1245849" cy="584775"/>
          </a:xfrm>
          <a:prstGeom prst="rect">
            <a:avLst/>
          </a:prstGeom>
          <a:noFill/>
        </p:spPr>
        <p:txBody>
          <a:bodyPr wrap="square" rtlCol="0">
            <a:spAutoFit/>
          </a:bodyPr>
          <a:lstStyle/>
          <a:p>
            <a:pPr lvl="0" algn="ctr" defTabSz="914400">
              <a:defRPr/>
            </a:pPr>
            <a:r>
              <a:rPr lang="fr-FR" altLang="zh-CN" sz="1600" b="1" kern="0" dirty="0">
                <a:solidFill>
                  <a:prstClr val="white"/>
                </a:solidFill>
                <a:sym typeface="+mn-lt"/>
              </a:rPr>
              <a:t>Revue des réponses</a:t>
            </a:r>
          </a:p>
        </p:txBody>
      </p:sp>
      <p:sp>
        <p:nvSpPr>
          <p:cNvPr id="240" name="TextBox 68">
            <a:extLst>
              <a:ext uri="{FF2B5EF4-FFF2-40B4-BE49-F238E27FC236}">
                <a16:creationId xmlns:a16="http://schemas.microsoft.com/office/drawing/2014/main" id="{E5911C3B-7644-464D-A817-1054A1DD28AF}"/>
              </a:ext>
            </a:extLst>
          </p:cNvPr>
          <p:cNvSpPr txBox="1"/>
          <p:nvPr/>
        </p:nvSpPr>
        <p:spPr>
          <a:xfrm>
            <a:off x="4578019"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219" name="Rectangle 218">
            <a:extLst>
              <a:ext uri="{FF2B5EF4-FFF2-40B4-BE49-F238E27FC236}">
                <a16:creationId xmlns:a16="http://schemas.microsoft.com/office/drawing/2014/main" id="{CE250EEC-ADAC-49CD-9026-A473AB009DBD}"/>
              </a:ext>
            </a:extLst>
          </p:cNvPr>
          <p:cNvSpPr>
            <a:spLocks noChangeArrowheads="1"/>
          </p:cNvSpPr>
          <p:nvPr/>
        </p:nvSpPr>
        <p:spPr bwMode="auto">
          <a:xfrm>
            <a:off x="5846394" y="2865147"/>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0" name="Rectangle 219">
            <a:extLst>
              <a:ext uri="{FF2B5EF4-FFF2-40B4-BE49-F238E27FC236}">
                <a16:creationId xmlns:a16="http://schemas.microsoft.com/office/drawing/2014/main" id="{9468B8E1-D409-4D45-B105-2FECC1CA291A}"/>
              </a:ext>
            </a:extLst>
          </p:cNvPr>
          <p:cNvSpPr>
            <a:spLocks noChangeArrowheads="1"/>
          </p:cNvSpPr>
          <p:nvPr/>
        </p:nvSpPr>
        <p:spPr bwMode="auto">
          <a:xfrm>
            <a:off x="5846394"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1" name="Rectangle 220">
            <a:extLst>
              <a:ext uri="{FF2B5EF4-FFF2-40B4-BE49-F238E27FC236}">
                <a16:creationId xmlns:a16="http://schemas.microsoft.com/office/drawing/2014/main" id="{EF2FD853-AE05-446F-8970-C5528DFFCA2E}"/>
              </a:ext>
            </a:extLst>
          </p:cNvPr>
          <p:cNvSpPr>
            <a:spLocks noChangeArrowheads="1"/>
          </p:cNvSpPr>
          <p:nvPr/>
        </p:nvSpPr>
        <p:spPr bwMode="auto">
          <a:xfrm>
            <a:off x="5846394" y="2865147"/>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1" name="TextBox 69">
            <a:extLst>
              <a:ext uri="{FF2B5EF4-FFF2-40B4-BE49-F238E27FC236}">
                <a16:creationId xmlns:a16="http://schemas.microsoft.com/office/drawing/2014/main" id="{2B99B28A-2254-459A-9CAD-6C4085C8060B}"/>
              </a:ext>
            </a:extLst>
          </p:cNvPr>
          <p:cNvSpPr txBox="1"/>
          <p:nvPr/>
        </p:nvSpPr>
        <p:spPr>
          <a:xfrm>
            <a:off x="6186080"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Formulation des constats</a:t>
            </a:r>
          </a:p>
        </p:txBody>
      </p:sp>
      <p:sp>
        <p:nvSpPr>
          <p:cNvPr id="242" name="TextBox 70">
            <a:extLst>
              <a:ext uri="{FF2B5EF4-FFF2-40B4-BE49-F238E27FC236}">
                <a16:creationId xmlns:a16="http://schemas.microsoft.com/office/drawing/2014/main" id="{9478CA70-5A3B-4DA8-BC35-21CCDD84D178}"/>
              </a:ext>
            </a:extLst>
          </p:cNvPr>
          <p:cNvSpPr txBox="1"/>
          <p:nvPr/>
        </p:nvSpPr>
        <p:spPr>
          <a:xfrm>
            <a:off x="6514120"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pic>
        <p:nvPicPr>
          <p:cNvPr id="24" name="Graphique 23" descr="Chat contour">
            <a:extLst>
              <a:ext uri="{FF2B5EF4-FFF2-40B4-BE49-F238E27FC236}">
                <a16:creationId xmlns:a16="http://schemas.microsoft.com/office/drawing/2014/main" id="{2D2C3054-2D7A-469B-8216-075534B1DF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6563" y="3288422"/>
            <a:ext cx="914400" cy="914400"/>
          </a:xfrm>
          <a:prstGeom prst="rect">
            <a:avLst/>
          </a:prstGeom>
        </p:spPr>
      </p:pic>
      <p:pic>
        <p:nvPicPr>
          <p:cNvPr id="26" name="Graphique 25" descr="Presse-papiers mixte contour">
            <a:extLst>
              <a:ext uri="{FF2B5EF4-FFF2-40B4-BE49-F238E27FC236}">
                <a16:creationId xmlns:a16="http://schemas.microsoft.com/office/drawing/2014/main" id="{DCA36B17-D25C-444A-A6B6-28D4B4B06C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1615" y="3386516"/>
            <a:ext cx="727200" cy="727200"/>
          </a:xfrm>
          <a:prstGeom prst="rect">
            <a:avLst/>
          </a:prstGeom>
        </p:spPr>
      </p:pic>
      <p:pic>
        <p:nvPicPr>
          <p:cNvPr id="28" name="Graphique 27" descr="Document contour">
            <a:extLst>
              <a:ext uri="{FF2B5EF4-FFF2-40B4-BE49-F238E27FC236}">
                <a16:creationId xmlns:a16="http://schemas.microsoft.com/office/drawing/2014/main" id="{45ADA4EF-0402-431D-B481-E48973DF36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9198" y="3447767"/>
            <a:ext cx="715439" cy="715439"/>
          </a:xfrm>
          <a:prstGeom prst="rect">
            <a:avLst/>
          </a:prstGeom>
        </p:spPr>
      </p:pic>
      <p:sp>
        <p:nvSpPr>
          <p:cNvPr id="125" name="Rectangle 124">
            <a:extLst>
              <a:ext uri="{FF2B5EF4-FFF2-40B4-BE49-F238E27FC236}">
                <a16:creationId xmlns:a16="http://schemas.microsoft.com/office/drawing/2014/main" id="{B2833E65-210D-4B37-B65B-466F914821AC}"/>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127" name="ZoneTexte 126">
            <a:extLst>
              <a:ext uri="{FF2B5EF4-FFF2-40B4-BE49-F238E27FC236}">
                <a16:creationId xmlns:a16="http://schemas.microsoft.com/office/drawing/2014/main" id="{5B7D021B-0447-4721-9A70-8643BCDE4C4B}"/>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8</a:t>
            </a:r>
          </a:p>
        </p:txBody>
      </p:sp>
      <p:sp>
        <p:nvSpPr>
          <p:cNvPr id="128" name="Rectangle 127">
            <a:extLst>
              <a:ext uri="{FF2B5EF4-FFF2-40B4-BE49-F238E27FC236}">
                <a16:creationId xmlns:a16="http://schemas.microsoft.com/office/drawing/2014/main" id="{CE62CC29-1353-4992-8E6F-6E24C922A427}"/>
              </a:ext>
            </a:extLst>
          </p:cNvPr>
          <p:cNvSpPr>
            <a:spLocks noChangeArrowheads="1"/>
          </p:cNvSpPr>
          <p:nvPr/>
        </p:nvSpPr>
        <p:spPr bwMode="auto">
          <a:xfrm>
            <a:off x="7787022" y="2865147"/>
            <a:ext cx="1951326" cy="2404267"/>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29" name="Rectangle 128">
            <a:extLst>
              <a:ext uri="{FF2B5EF4-FFF2-40B4-BE49-F238E27FC236}">
                <a16:creationId xmlns:a16="http://schemas.microsoft.com/office/drawing/2014/main" id="{8DF64EAA-2030-4481-B231-FCADFF6A4880}"/>
              </a:ext>
            </a:extLst>
          </p:cNvPr>
          <p:cNvSpPr>
            <a:spLocks noChangeArrowheads="1"/>
          </p:cNvSpPr>
          <p:nvPr/>
        </p:nvSpPr>
        <p:spPr bwMode="auto">
          <a:xfrm>
            <a:off x="7787022"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0" name="Rectangle 129">
            <a:extLst>
              <a:ext uri="{FF2B5EF4-FFF2-40B4-BE49-F238E27FC236}">
                <a16:creationId xmlns:a16="http://schemas.microsoft.com/office/drawing/2014/main" id="{10E38588-3812-4CD7-AE4F-E9B8A2E3DB76}"/>
              </a:ext>
            </a:extLst>
          </p:cNvPr>
          <p:cNvSpPr>
            <a:spLocks noChangeArrowheads="1"/>
          </p:cNvSpPr>
          <p:nvPr/>
        </p:nvSpPr>
        <p:spPr bwMode="auto">
          <a:xfrm>
            <a:off x="7787022" y="2865147"/>
            <a:ext cx="1951326" cy="233449"/>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1" name="Rectangle 130">
            <a:extLst>
              <a:ext uri="{FF2B5EF4-FFF2-40B4-BE49-F238E27FC236}">
                <a16:creationId xmlns:a16="http://schemas.microsoft.com/office/drawing/2014/main" id="{12C80BB4-BB76-4E15-9E8A-E50B618F6FC1}"/>
              </a:ext>
            </a:extLst>
          </p:cNvPr>
          <p:cNvSpPr>
            <a:spLocks noChangeArrowheads="1"/>
          </p:cNvSpPr>
          <p:nvPr/>
        </p:nvSpPr>
        <p:spPr bwMode="auto">
          <a:xfrm>
            <a:off x="9733821" y="2865147"/>
            <a:ext cx="1951326" cy="2404267"/>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2" name="Rectangle 131">
            <a:extLst>
              <a:ext uri="{FF2B5EF4-FFF2-40B4-BE49-F238E27FC236}">
                <a16:creationId xmlns:a16="http://schemas.microsoft.com/office/drawing/2014/main" id="{C6FDEB10-752F-41BD-AFDB-F19ACB8D56AE}"/>
              </a:ext>
            </a:extLst>
          </p:cNvPr>
          <p:cNvSpPr>
            <a:spLocks noChangeArrowheads="1"/>
          </p:cNvSpPr>
          <p:nvPr/>
        </p:nvSpPr>
        <p:spPr bwMode="auto">
          <a:xfrm>
            <a:off x="9733821"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3" name="Rectangle 132">
            <a:extLst>
              <a:ext uri="{FF2B5EF4-FFF2-40B4-BE49-F238E27FC236}">
                <a16:creationId xmlns:a16="http://schemas.microsoft.com/office/drawing/2014/main" id="{18A0D2D1-CED0-433F-9526-4B37D001C2D9}"/>
              </a:ext>
            </a:extLst>
          </p:cNvPr>
          <p:cNvSpPr>
            <a:spLocks noChangeArrowheads="1"/>
          </p:cNvSpPr>
          <p:nvPr/>
        </p:nvSpPr>
        <p:spPr bwMode="auto">
          <a:xfrm>
            <a:off x="9733821" y="2865147"/>
            <a:ext cx="1951326" cy="23344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4" name="TextBox 69">
            <a:extLst>
              <a:ext uri="{FF2B5EF4-FFF2-40B4-BE49-F238E27FC236}">
                <a16:creationId xmlns:a16="http://schemas.microsoft.com/office/drawing/2014/main" id="{511773DA-761F-4C0E-8F17-59394188A532}"/>
              </a:ext>
            </a:extLst>
          </p:cNvPr>
          <p:cNvSpPr txBox="1"/>
          <p:nvPr/>
        </p:nvSpPr>
        <p:spPr>
          <a:xfrm>
            <a:off x="8036965" y="4394291"/>
            <a:ext cx="1520290" cy="830997"/>
          </a:xfrm>
          <a:prstGeom prst="rect">
            <a:avLst/>
          </a:prstGeom>
          <a:noFill/>
        </p:spPr>
        <p:txBody>
          <a:bodyPr wrap="square" rtlCol="0">
            <a:spAutoFit/>
          </a:bodyPr>
          <a:lstStyle/>
          <a:p>
            <a:pPr lvl="0" algn="ctr">
              <a:defRPr/>
            </a:pPr>
            <a:r>
              <a:rPr lang="fr-FR" altLang="zh-CN" sz="1600" b="1" kern="0" dirty="0">
                <a:solidFill>
                  <a:prstClr val="white"/>
                </a:solidFill>
                <a:sym typeface="+mn-lt"/>
              </a:rPr>
              <a:t>Présentation des résultats et du Dashboard</a:t>
            </a:r>
          </a:p>
        </p:txBody>
      </p:sp>
      <p:sp>
        <p:nvSpPr>
          <p:cNvPr id="135" name="TextBox 70">
            <a:extLst>
              <a:ext uri="{FF2B5EF4-FFF2-40B4-BE49-F238E27FC236}">
                <a16:creationId xmlns:a16="http://schemas.microsoft.com/office/drawing/2014/main" id="{DC75C9D7-233A-4A60-B7EE-5D838DC93871}"/>
              </a:ext>
            </a:extLst>
          </p:cNvPr>
          <p:cNvSpPr txBox="1"/>
          <p:nvPr/>
        </p:nvSpPr>
        <p:spPr>
          <a:xfrm>
            <a:off x="8510887"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4</a:t>
            </a:r>
          </a:p>
        </p:txBody>
      </p:sp>
      <p:pic>
        <p:nvPicPr>
          <p:cNvPr id="137" name="Graphique 136" descr="Présentation avec camembert contour">
            <a:extLst>
              <a:ext uri="{FF2B5EF4-FFF2-40B4-BE49-F238E27FC236}">
                <a16:creationId xmlns:a16="http://schemas.microsoft.com/office/drawing/2014/main" id="{B091EFB4-6BA5-4E3D-B754-2D11B31237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8430" y="3338625"/>
            <a:ext cx="914400" cy="914400"/>
          </a:xfrm>
          <a:prstGeom prst="rect">
            <a:avLst/>
          </a:prstGeom>
        </p:spPr>
      </p:pic>
      <p:sp>
        <p:nvSpPr>
          <p:cNvPr id="138" name="TextBox 69">
            <a:extLst>
              <a:ext uri="{FF2B5EF4-FFF2-40B4-BE49-F238E27FC236}">
                <a16:creationId xmlns:a16="http://schemas.microsoft.com/office/drawing/2014/main" id="{6CA0326E-D74D-4213-B625-21B5BC2325C2}"/>
              </a:ext>
            </a:extLst>
          </p:cNvPr>
          <p:cNvSpPr txBox="1"/>
          <p:nvPr/>
        </p:nvSpPr>
        <p:spPr>
          <a:xfrm>
            <a:off x="10047275"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Identification des écarts</a:t>
            </a:r>
          </a:p>
        </p:txBody>
      </p:sp>
      <p:sp>
        <p:nvSpPr>
          <p:cNvPr id="139" name="TextBox 70">
            <a:extLst>
              <a:ext uri="{FF2B5EF4-FFF2-40B4-BE49-F238E27FC236}">
                <a16:creationId xmlns:a16="http://schemas.microsoft.com/office/drawing/2014/main" id="{FDF4DBE0-8292-43C0-AA76-208D186B4153}"/>
              </a:ext>
            </a:extLst>
          </p:cNvPr>
          <p:cNvSpPr txBox="1"/>
          <p:nvPr/>
        </p:nvSpPr>
        <p:spPr>
          <a:xfrm>
            <a:off x="10375315"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5</a:t>
            </a:r>
          </a:p>
        </p:txBody>
      </p:sp>
      <p:pic>
        <p:nvPicPr>
          <p:cNvPr id="140" name="Graphique 139" descr="Diagramme de Venn contour">
            <a:extLst>
              <a:ext uri="{FF2B5EF4-FFF2-40B4-BE49-F238E27FC236}">
                <a16:creationId xmlns:a16="http://schemas.microsoft.com/office/drawing/2014/main" id="{0F60F450-6425-4431-9F5B-87AB6B42457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70787" y="3502689"/>
            <a:ext cx="660517" cy="660517"/>
          </a:xfrm>
          <a:prstGeom prst="rect">
            <a:avLst/>
          </a:prstGeom>
        </p:spPr>
      </p:pic>
      <p:sp>
        <p:nvSpPr>
          <p:cNvPr id="52" name="Freeform 926">
            <a:extLst>
              <a:ext uri="{FF2B5EF4-FFF2-40B4-BE49-F238E27FC236}">
                <a16:creationId xmlns:a16="http://schemas.microsoft.com/office/drawing/2014/main" id="{A3BD6267-7A8A-4CDE-A5DB-989650EA1678}"/>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926">
            <a:extLst>
              <a:ext uri="{FF2B5EF4-FFF2-40B4-BE49-F238E27FC236}">
                <a16:creationId xmlns:a16="http://schemas.microsoft.com/office/drawing/2014/main" id="{3475334E-EE30-450B-9CEB-1FDED973AC4A}"/>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TextBox 219">
            <a:extLst>
              <a:ext uri="{FF2B5EF4-FFF2-40B4-BE49-F238E27FC236}">
                <a16:creationId xmlns:a16="http://schemas.microsoft.com/office/drawing/2014/main" id="{9306FF73-1D9A-4B91-AE9F-26D2B3DDEB8A}"/>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55" name="TextBox 219">
            <a:extLst>
              <a:ext uri="{FF2B5EF4-FFF2-40B4-BE49-F238E27FC236}">
                <a16:creationId xmlns:a16="http://schemas.microsoft.com/office/drawing/2014/main" id="{A3A45B90-4B00-4F9F-97D3-7B095172699B}"/>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56" name="TextBox 219">
            <a:extLst>
              <a:ext uri="{FF2B5EF4-FFF2-40B4-BE49-F238E27FC236}">
                <a16:creationId xmlns:a16="http://schemas.microsoft.com/office/drawing/2014/main" id="{1810CD9F-BFB7-4E3E-9A09-8104E1EA8D4B}"/>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57" name="Freeform 926">
            <a:extLst>
              <a:ext uri="{FF2B5EF4-FFF2-40B4-BE49-F238E27FC236}">
                <a16:creationId xmlns:a16="http://schemas.microsoft.com/office/drawing/2014/main" id="{18931D78-5D04-4C1E-AA58-1A9706B3FFDC}"/>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Rectangle 57">
            <a:extLst>
              <a:ext uri="{FF2B5EF4-FFF2-40B4-BE49-F238E27FC236}">
                <a16:creationId xmlns:a16="http://schemas.microsoft.com/office/drawing/2014/main" id="{2A4133EF-74CD-4902-A40B-EF82C432663B}"/>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59" name="Rectangle 58">
            <a:extLst>
              <a:ext uri="{FF2B5EF4-FFF2-40B4-BE49-F238E27FC236}">
                <a16:creationId xmlns:a16="http://schemas.microsoft.com/office/drawing/2014/main" id="{A446CB40-BB95-495A-A64F-17F610E4F2B4}"/>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60" name="Rectangle 59">
            <a:extLst>
              <a:ext uri="{FF2B5EF4-FFF2-40B4-BE49-F238E27FC236}">
                <a16:creationId xmlns:a16="http://schemas.microsoft.com/office/drawing/2014/main" id="{00BEDCB4-FC23-43EE-9857-DB1564AA3E33}"/>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61" name="Rectangle 60">
            <a:extLst>
              <a:ext uri="{FF2B5EF4-FFF2-40B4-BE49-F238E27FC236}">
                <a16:creationId xmlns:a16="http://schemas.microsoft.com/office/drawing/2014/main" id="{FEDE317D-FB58-420E-BDF0-CEE682098AA2}"/>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39185471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20">
            <a:extLst>
              <a:ext uri="{FF2B5EF4-FFF2-40B4-BE49-F238E27FC236}">
                <a16:creationId xmlns:a16="http://schemas.microsoft.com/office/drawing/2014/main" id="{1E42EEE4-355B-4F6D-BDBC-DE36D257FAAF}"/>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179" name="Group 73">
            <a:extLst>
              <a:ext uri="{FF2B5EF4-FFF2-40B4-BE49-F238E27FC236}">
                <a16:creationId xmlns:a16="http://schemas.microsoft.com/office/drawing/2014/main" id="{A88D32F9-A61D-4EA3-BD03-88DC8D790FA5}"/>
              </a:ext>
            </a:extLst>
          </p:cNvPr>
          <p:cNvGrpSpPr/>
          <p:nvPr/>
        </p:nvGrpSpPr>
        <p:grpSpPr>
          <a:xfrm>
            <a:off x="7772319" y="2474374"/>
            <a:ext cx="1953864" cy="3445905"/>
            <a:chOff x="990600" y="2196640"/>
            <a:chExt cx="1953864" cy="3445905"/>
          </a:xfrm>
        </p:grpSpPr>
        <p:sp>
          <p:nvSpPr>
            <p:cNvPr id="180" name="Freeform 5">
              <a:extLst>
                <a:ext uri="{FF2B5EF4-FFF2-40B4-BE49-F238E27FC236}">
                  <a16:creationId xmlns:a16="http://schemas.microsoft.com/office/drawing/2014/main" id="{5F018933-331A-4DDD-910B-FF4B614CF89E}"/>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81" name="Rectangle 6">
              <a:extLst>
                <a:ext uri="{FF2B5EF4-FFF2-40B4-BE49-F238E27FC236}">
                  <a16:creationId xmlns:a16="http://schemas.microsoft.com/office/drawing/2014/main" id="{BDF09F37-D0AA-4BAD-B1C4-3DF7D1A5F2FC}"/>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2" name="Oval 7">
              <a:extLst>
                <a:ext uri="{FF2B5EF4-FFF2-40B4-BE49-F238E27FC236}">
                  <a16:creationId xmlns:a16="http://schemas.microsoft.com/office/drawing/2014/main" id="{E723C2C8-7AC2-48D8-9BB3-23699C7D6A70}"/>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183" name="Rectangle 182">
            <a:extLst>
              <a:ext uri="{FF2B5EF4-FFF2-40B4-BE49-F238E27FC236}">
                <a16:creationId xmlns:a16="http://schemas.microsoft.com/office/drawing/2014/main" id="{DA1FC4E6-0B06-4EBB-9F1C-1B82D66ECDF6}"/>
              </a:ext>
            </a:extLst>
          </p:cNvPr>
          <p:cNvSpPr>
            <a:spLocks noChangeArrowheads="1"/>
          </p:cNvSpPr>
          <p:nvPr/>
        </p:nvSpPr>
        <p:spPr bwMode="auto">
          <a:xfrm>
            <a:off x="1956429" y="2865147"/>
            <a:ext cx="1953864" cy="2404267"/>
          </a:xfrm>
          <a:prstGeom prst="rect">
            <a:avLst/>
          </a:prstGeom>
          <a:solidFill>
            <a:srgbClr val="9DD4C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4" name="Rectangle 183">
            <a:extLst>
              <a:ext uri="{FF2B5EF4-FFF2-40B4-BE49-F238E27FC236}">
                <a16:creationId xmlns:a16="http://schemas.microsoft.com/office/drawing/2014/main" id="{FD53738C-A654-47CF-9A61-A80E2114FCBF}"/>
              </a:ext>
            </a:extLst>
          </p:cNvPr>
          <p:cNvSpPr>
            <a:spLocks noChangeArrowheads="1"/>
          </p:cNvSpPr>
          <p:nvPr/>
        </p:nvSpPr>
        <p:spPr bwMode="auto">
          <a:xfrm>
            <a:off x="1956429" y="2865147"/>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5" name="Rectangle 184">
            <a:extLst>
              <a:ext uri="{FF2B5EF4-FFF2-40B4-BE49-F238E27FC236}">
                <a16:creationId xmlns:a16="http://schemas.microsoft.com/office/drawing/2014/main" id="{FB8ACB29-1DF9-4607-A912-D5378A031FF5}"/>
              </a:ext>
            </a:extLst>
          </p:cNvPr>
          <p:cNvSpPr>
            <a:spLocks noChangeArrowheads="1"/>
          </p:cNvSpPr>
          <p:nvPr/>
        </p:nvSpPr>
        <p:spPr bwMode="auto">
          <a:xfrm>
            <a:off x="1956429" y="2865147"/>
            <a:ext cx="1953864" cy="233449"/>
          </a:xfrm>
          <a:prstGeom prst="rect">
            <a:avLst/>
          </a:pr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1" name="Rectangle 200">
            <a:extLst>
              <a:ext uri="{FF2B5EF4-FFF2-40B4-BE49-F238E27FC236}">
                <a16:creationId xmlns:a16="http://schemas.microsoft.com/office/drawing/2014/main" id="{384CDD65-DE5F-4FE7-918A-0BF883765E2E}"/>
              </a:ext>
            </a:extLst>
          </p:cNvPr>
          <p:cNvSpPr>
            <a:spLocks noChangeArrowheads="1"/>
          </p:cNvSpPr>
          <p:nvPr/>
        </p:nvSpPr>
        <p:spPr bwMode="auto">
          <a:xfrm>
            <a:off x="3910293" y="2865147"/>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2" name="Rectangle 201">
            <a:extLst>
              <a:ext uri="{FF2B5EF4-FFF2-40B4-BE49-F238E27FC236}">
                <a16:creationId xmlns:a16="http://schemas.microsoft.com/office/drawing/2014/main" id="{9FB6A365-8C03-465F-B78B-98E2602B25FA}"/>
              </a:ext>
            </a:extLst>
          </p:cNvPr>
          <p:cNvSpPr>
            <a:spLocks noChangeArrowheads="1"/>
          </p:cNvSpPr>
          <p:nvPr/>
        </p:nvSpPr>
        <p:spPr bwMode="auto">
          <a:xfrm>
            <a:off x="3910293"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3" name="Rectangle 202">
            <a:extLst>
              <a:ext uri="{FF2B5EF4-FFF2-40B4-BE49-F238E27FC236}">
                <a16:creationId xmlns:a16="http://schemas.microsoft.com/office/drawing/2014/main" id="{9A29B085-E377-47FF-B23E-4E37C9064B8F}"/>
              </a:ext>
            </a:extLst>
          </p:cNvPr>
          <p:cNvSpPr>
            <a:spLocks noChangeArrowheads="1"/>
          </p:cNvSpPr>
          <p:nvPr/>
        </p:nvSpPr>
        <p:spPr bwMode="auto">
          <a:xfrm>
            <a:off x="3910293" y="2865147"/>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37" name="TextBox 5">
            <a:extLst>
              <a:ext uri="{FF2B5EF4-FFF2-40B4-BE49-F238E27FC236}">
                <a16:creationId xmlns:a16="http://schemas.microsoft.com/office/drawing/2014/main" id="{907086B0-DDA4-4E08-865D-ADA0E3DBBB98}"/>
              </a:ext>
            </a:extLst>
          </p:cNvPr>
          <p:cNvSpPr txBox="1"/>
          <p:nvPr/>
        </p:nvSpPr>
        <p:spPr>
          <a:xfrm>
            <a:off x="2240148" y="4430115"/>
            <a:ext cx="138592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dirty="0">
                <a:ln>
                  <a:noFill/>
                </a:ln>
                <a:solidFill>
                  <a:prstClr val="white"/>
                </a:solidFill>
                <a:effectLst/>
                <a:uLnTx/>
                <a:uFillTx/>
                <a:sym typeface="+mn-lt"/>
              </a:rPr>
              <a:t>Déroulement</a:t>
            </a:r>
            <a:r>
              <a:rPr kumimoji="0" lang="fr-FR" sz="1400" b="1" i="0" u="none" strike="noStrike" kern="0" cap="none" spc="0" normalizeH="0" dirty="0">
                <a:ln>
                  <a:noFill/>
                </a:ln>
                <a:solidFill>
                  <a:prstClr val="white"/>
                </a:solidFill>
                <a:effectLst/>
                <a:uLnTx/>
                <a:uFillTx/>
                <a:sym typeface="+mn-lt"/>
              </a:rPr>
              <a:t> des entretiens</a:t>
            </a:r>
            <a:endParaRPr kumimoji="0" lang="fr-FR" sz="1400" b="1" i="0" u="none" strike="noStrike" kern="0" cap="none" spc="0" normalizeH="0" baseline="0" dirty="0">
              <a:ln>
                <a:noFill/>
              </a:ln>
              <a:solidFill>
                <a:prstClr val="white"/>
              </a:solidFill>
              <a:effectLst/>
              <a:uLnTx/>
              <a:uFillTx/>
              <a:sym typeface="+mn-lt"/>
            </a:endParaRPr>
          </a:p>
        </p:txBody>
      </p:sp>
      <p:sp>
        <p:nvSpPr>
          <p:cNvPr id="238" name="TextBox 6">
            <a:extLst>
              <a:ext uri="{FF2B5EF4-FFF2-40B4-BE49-F238E27FC236}">
                <a16:creationId xmlns:a16="http://schemas.microsoft.com/office/drawing/2014/main" id="{7589FFE4-00C6-4E96-89F6-560E71AEBEDC}"/>
              </a:ext>
            </a:extLst>
          </p:cNvPr>
          <p:cNvSpPr txBox="1"/>
          <p:nvPr/>
        </p:nvSpPr>
        <p:spPr>
          <a:xfrm>
            <a:off x="2625424"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239" name="TextBox 67">
            <a:extLst>
              <a:ext uri="{FF2B5EF4-FFF2-40B4-BE49-F238E27FC236}">
                <a16:creationId xmlns:a16="http://schemas.microsoft.com/office/drawing/2014/main" id="{DE2A9265-73B6-47BD-AB11-11989051CEB5}"/>
              </a:ext>
            </a:extLst>
          </p:cNvPr>
          <p:cNvSpPr txBox="1"/>
          <p:nvPr/>
        </p:nvSpPr>
        <p:spPr>
          <a:xfrm>
            <a:off x="4278578" y="4376021"/>
            <a:ext cx="1245849" cy="584775"/>
          </a:xfrm>
          <a:prstGeom prst="rect">
            <a:avLst/>
          </a:prstGeom>
          <a:noFill/>
        </p:spPr>
        <p:txBody>
          <a:bodyPr wrap="square" rtlCol="0">
            <a:spAutoFit/>
          </a:bodyPr>
          <a:lstStyle/>
          <a:p>
            <a:pPr lvl="0" algn="ctr" defTabSz="914400">
              <a:defRPr/>
            </a:pPr>
            <a:r>
              <a:rPr lang="fr-FR" altLang="zh-CN" sz="1600" b="1" kern="0" dirty="0">
                <a:solidFill>
                  <a:prstClr val="white"/>
                </a:solidFill>
                <a:sym typeface="+mn-lt"/>
              </a:rPr>
              <a:t>Revue des réponses</a:t>
            </a:r>
          </a:p>
        </p:txBody>
      </p:sp>
      <p:sp>
        <p:nvSpPr>
          <p:cNvPr id="240" name="TextBox 68">
            <a:extLst>
              <a:ext uri="{FF2B5EF4-FFF2-40B4-BE49-F238E27FC236}">
                <a16:creationId xmlns:a16="http://schemas.microsoft.com/office/drawing/2014/main" id="{E5911C3B-7644-464D-A817-1054A1DD28AF}"/>
              </a:ext>
            </a:extLst>
          </p:cNvPr>
          <p:cNvSpPr txBox="1"/>
          <p:nvPr/>
        </p:nvSpPr>
        <p:spPr>
          <a:xfrm>
            <a:off x="4578019"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219" name="Rectangle 218">
            <a:extLst>
              <a:ext uri="{FF2B5EF4-FFF2-40B4-BE49-F238E27FC236}">
                <a16:creationId xmlns:a16="http://schemas.microsoft.com/office/drawing/2014/main" id="{CE250EEC-ADAC-49CD-9026-A473AB009DBD}"/>
              </a:ext>
            </a:extLst>
          </p:cNvPr>
          <p:cNvSpPr>
            <a:spLocks noChangeArrowheads="1"/>
          </p:cNvSpPr>
          <p:nvPr/>
        </p:nvSpPr>
        <p:spPr bwMode="auto">
          <a:xfrm>
            <a:off x="5846394" y="2865147"/>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0" name="Rectangle 219">
            <a:extLst>
              <a:ext uri="{FF2B5EF4-FFF2-40B4-BE49-F238E27FC236}">
                <a16:creationId xmlns:a16="http://schemas.microsoft.com/office/drawing/2014/main" id="{9468B8E1-D409-4D45-B105-2FECC1CA291A}"/>
              </a:ext>
            </a:extLst>
          </p:cNvPr>
          <p:cNvSpPr>
            <a:spLocks noChangeArrowheads="1"/>
          </p:cNvSpPr>
          <p:nvPr/>
        </p:nvSpPr>
        <p:spPr bwMode="auto">
          <a:xfrm>
            <a:off x="5846394"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1" name="Rectangle 220">
            <a:extLst>
              <a:ext uri="{FF2B5EF4-FFF2-40B4-BE49-F238E27FC236}">
                <a16:creationId xmlns:a16="http://schemas.microsoft.com/office/drawing/2014/main" id="{EF2FD853-AE05-446F-8970-C5528DFFCA2E}"/>
              </a:ext>
            </a:extLst>
          </p:cNvPr>
          <p:cNvSpPr>
            <a:spLocks noChangeArrowheads="1"/>
          </p:cNvSpPr>
          <p:nvPr/>
        </p:nvSpPr>
        <p:spPr bwMode="auto">
          <a:xfrm>
            <a:off x="5846394" y="2865147"/>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1" name="TextBox 69">
            <a:extLst>
              <a:ext uri="{FF2B5EF4-FFF2-40B4-BE49-F238E27FC236}">
                <a16:creationId xmlns:a16="http://schemas.microsoft.com/office/drawing/2014/main" id="{2B99B28A-2254-459A-9CAD-6C4085C8060B}"/>
              </a:ext>
            </a:extLst>
          </p:cNvPr>
          <p:cNvSpPr txBox="1"/>
          <p:nvPr/>
        </p:nvSpPr>
        <p:spPr>
          <a:xfrm>
            <a:off x="6186080"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Formulation des constats</a:t>
            </a:r>
          </a:p>
        </p:txBody>
      </p:sp>
      <p:sp>
        <p:nvSpPr>
          <p:cNvPr id="242" name="TextBox 70">
            <a:extLst>
              <a:ext uri="{FF2B5EF4-FFF2-40B4-BE49-F238E27FC236}">
                <a16:creationId xmlns:a16="http://schemas.microsoft.com/office/drawing/2014/main" id="{9478CA70-5A3B-4DA8-BC35-21CCDD84D178}"/>
              </a:ext>
            </a:extLst>
          </p:cNvPr>
          <p:cNvSpPr txBox="1"/>
          <p:nvPr/>
        </p:nvSpPr>
        <p:spPr>
          <a:xfrm>
            <a:off x="6514120"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sp>
        <p:nvSpPr>
          <p:cNvPr id="273" name="Rectangle 272">
            <a:extLst>
              <a:ext uri="{FF2B5EF4-FFF2-40B4-BE49-F238E27FC236}">
                <a16:creationId xmlns:a16="http://schemas.microsoft.com/office/drawing/2014/main" id="{BCC0A54D-1C1E-4C06-BF7C-1414A583989F}"/>
              </a:ext>
            </a:extLst>
          </p:cNvPr>
          <p:cNvSpPr>
            <a:spLocks noChangeArrowheads="1"/>
          </p:cNvSpPr>
          <p:nvPr/>
        </p:nvSpPr>
        <p:spPr bwMode="auto">
          <a:xfrm>
            <a:off x="7787022"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pic>
        <p:nvPicPr>
          <p:cNvPr id="24" name="Graphique 23" descr="Chat contour">
            <a:extLst>
              <a:ext uri="{FF2B5EF4-FFF2-40B4-BE49-F238E27FC236}">
                <a16:creationId xmlns:a16="http://schemas.microsoft.com/office/drawing/2014/main" id="{2D2C3054-2D7A-469B-8216-075534B1DF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6563" y="3288422"/>
            <a:ext cx="914400" cy="914400"/>
          </a:xfrm>
          <a:prstGeom prst="rect">
            <a:avLst/>
          </a:prstGeom>
        </p:spPr>
      </p:pic>
      <p:pic>
        <p:nvPicPr>
          <p:cNvPr id="26" name="Graphique 25" descr="Presse-papiers mixte contour">
            <a:extLst>
              <a:ext uri="{FF2B5EF4-FFF2-40B4-BE49-F238E27FC236}">
                <a16:creationId xmlns:a16="http://schemas.microsoft.com/office/drawing/2014/main" id="{DCA36B17-D25C-444A-A6B6-28D4B4B06C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1615" y="3386516"/>
            <a:ext cx="727200" cy="727200"/>
          </a:xfrm>
          <a:prstGeom prst="rect">
            <a:avLst/>
          </a:prstGeom>
        </p:spPr>
      </p:pic>
      <p:pic>
        <p:nvPicPr>
          <p:cNvPr id="28" name="Graphique 27" descr="Document contour">
            <a:extLst>
              <a:ext uri="{FF2B5EF4-FFF2-40B4-BE49-F238E27FC236}">
                <a16:creationId xmlns:a16="http://schemas.microsoft.com/office/drawing/2014/main" id="{45ADA4EF-0402-431D-B481-E48973DF36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9198" y="3447767"/>
            <a:ext cx="715439" cy="715439"/>
          </a:xfrm>
          <a:prstGeom prst="rect">
            <a:avLst/>
          </a:prstGeom>
        </p:spPr>
      </p:pic>
      <p:sp>
        <p:nvSpPr>
          <p:cNvPr id="125" name="Rectangle 124">
            <a:extLst>
              <a:ext uri="{FF2B5EF4-FFF2-40B4-BE49-F238E27FC236}">
                <a16:creationId xmlns:a16="http://schemas.microsoft.com/office/drawing/2014/main" id="{460C8E66-D4EE-430B-B670-EE52329ECB8F}"/>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127" name="ZoneTexte 126">
            <a:extLst>
              <a:ext uri="{FF2B5EF4-FFF2-40B4-BE49-F238E27FC236}">
                <a16:creationId xmlns:a16="http://schemas.microsoft.com/office/drawing/2014/main" id="{88287C8F-F565-4A07-A611-D1527AF2C111}"/>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8</a:t>
            </a:r>
          </a:p>
        </p:txBody>
      </p:sp>
      <p:sp>
        <p:nvSpPr>
          <p:cNvPr id="128" name="Rectangle 127">
            <a:extLst>
              <a:ext uri="{FF2B5EF4-FFF2-40B4-BE49-F238E27FC236}">
                <a16:creationId xmlns:a16="http://schemas.microsoft.com/office/drawing/2014/main" id="{3E61BA7E-F1C6-4BB2-85B9-423852E06064}"/>
              </a:ext>
            </a:extLst>
          </p:cNvPr>
          <p:cNvSpPr>
            <a:spLocks noChangeArrowheads="1"/>
          </p:cNvSpPr>
          <p:nvPr/>
        </p:nvSpPr>
        <p:spPr bwMode="auto">
          <a:xfrm>
            <a:off x="7787022" y="2865147"/>
            <a:ext cx="1951326" cy="2404267"/>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29" name="Rectangle 128">
            <a:extLst>
              <a:ext uri="{FF2B5EF4-FFF2-40B4-BE49-F238E27FC236}">
                <a16:creationId xmlns:a16="http://schemas.microsoft.com/office/drawing/2014/main" id="{C9F6C88E-386E-4F28-ADC9-7F828316A283}"/>
              </a:ext>
            </a:extLst>
          </p:cNvPr>
          <p:cNvSpPr>
            <a:spLocks noChangeArrowheads="1"/>
          </p:cNvSpPr>
          <p:nvPr/>
        </p:nvSpPr>
        <p:spPr bwMode="auto">
          <a:xfrm>
            <a:off x="7787022"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0" name="Rectangle 129">
            <a:extLst>
              <a:ext uri="{FF2B5EF4-FFF2-40B4-BE49-F238E27FC236}">
                <a16:creationId xmlns:a16="http://schemas.microsoft.com/office/drawing/2014/main" id="{FAF5AEF7-A2E8-4099-8655-F24A811EC524}"/>
              </a:ext>
            </a:extLst>
          </p:cNvPr>
          <p:cNvSpPr>
            <a:spLocks noChangeArrowheads="1"/>
          </p:cNvSpPr>
          <p:nvPr/>
        </p:nvSpPr>
        <p:spPr bwMode="auto">
          <a:xfrm>
            <a:off x="7787022" y="2865147"/>
            <a:ext cx="1951326" cy="233449"/>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1" name="Rectangle 130">
            <a:extLst>
              <a:ext uri="{FF2B5EF4-FFF2-40B4-BE49-F238E27FC236}">
                <a16:creationId xmlns:a16="http://schemas.microsoft.com/office/drawing/2014/main" id="{F326062C-DE51-4882-A40B-4190462F71F8}"/>
              </a:ext>
            </a:extLst>
          </p:cNvPr>
          <p:cNvSpPr>
            <a:spLocks noChangeArrowheads="1"/>
          </p:cNvSpPr>
          <p:nvPr/>
        </p:nvSpPr>
        <p:spPr bwMode="auto">
          <a:xfrm>
            <a:off x="9733821" y="2865147"/>
            <a:ext cx="1951326" cy="2404267"/>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2" name="Rectangle 131">
            <a:extLst>
              <a:ext uri="{FF2B5EF4-FFF2-40B4-BE49-F238E27FC236}">
                <a16:creationId xmlns:a16="http://schemas.microsoft.com/office/drawing/2014/main" id="{50C4ADCF-6CE2-45CA-ACC0-E569B08CE8AC}"/>
              </a:ext>
            </a:extLst>
          </p:cNvPr>
          <p:cNvSpPr>
            <a:spLocks noChangeArrowheads="1"/>
          </p:cNvSpPr>
          <p:nvPr/>
        </p:nvSpPr>
        <p:spPr bwMode="auto">
          <a:xfrm>
            <a:off x="9733821"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3" name="Rectangle 132">
            <a:extLst>
              <a:ext uri="{FF2B5EF4-FFF2-40B4-BE49-F238E27FC236}">
                <a16:creationId xmlns:a16="http://schemas.microsoft.com/office/drawing/2014/main" id="{61A20885-92E8-4C6A-A43E-A8DCC210AE7B}"/>
              </a:ext>
            </a:extLst>
          </p:cNvPr>
          <p:cNvSpPr>
            <a:spLocks noChangeArrowheads="1"/>
          </p:cNvSpPr>
          <p:nvPr/>
        </p:nvSpPr>
        <p:spPr bwMode="auto">
          <a:xfrm>
            <a:off x="9733821" y="2865147"/>
            <a:ext cx="1951326" cy="23344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4" name="TextBox 69">
            <a:extLst>
              <a:ext uri="{FF2B5EF4-FFF2-40B4-BE49-F238E27FC236}">
                <a16:creationId xmlns:a16="http://schemas.microsoft.com/office/drawing/2014/main" id="{2AAAC282-8809-4C8B-AB6A-2BA6D21F84E9}"/>
              </a:ext>
            </a:extLst>
          </p:cNvPr>
          <p:cNvSpPr txBox="1"/>
          <p:nvPr/>
        </p:nvSpPr>
        <p:spPr>
          <a:xfrm>
            <a:off x="8036965" y="4394291"/>
            <a:ext cx="1520290" cy="830997"/>
          </a:xfrm>
          <a:prstGeom prst="rect">
            <a:avLst/>
          </a:prstGeom>
          <a:noFill/>
        </p:spPr>
        <p:txBody>
          <a:bodyPr wrap="square" rtlCol="0">
            <a:spAutoFit/>
          </a:bodyPr>
          <a:lstStyle/>
          <a:p>
            <a:pPr lvl="0" algn="ctr">
              <a:defRPr/>
            </a:pPr>
            <a:r>
              <a:rPr lang="fr-FR" altLang="zh-CN" sz="1600" b="1" kern="0" dirty="0">
                <a:solidFill>
                  <a:prstClr val="white"/>
                </a:solidFill>
                <a:sym typeface="+mn-lt"/>
              </a:rPr>
              <a:t>Présentation des résultats et du Dashboard</a:t>
            </a:r>
          </a:p>
        </p:txBody>
      </p:sp>
      <p:sp>
        <p:nvSpPr>
          <p:cNvPr id="135" name="TextBox 70">
            <a:extLst>
              <a:ext uri="{FF2B5EF4-FFF2-40B4-BE49-F238E27FC236}">
                <a16:creationId xmlns:a16="http://schemas.microsoft.com/office/drawing/2014/main" id="{E83179EA-CC69-4D16-A784-75AB4435AD37}"/>
              </a:ext>
            </a:extLst>
          </p:cNvPr>
          <p:cNvSpPr txBox="1"/>
          <p:nvPr/>
        </p:nvSpPr>
        <p:spPr>
          <a:xfrm>
            <a:off x="8510887"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4</a:t>
            </a:r>
          </a:p>
        </p:txBody>
      </p:sp>
      <p:pic>
        <p:nvPicPr>
          <p:cNvPr id="137" name="Graphique 136" descr="Présentation avec camembert contour">
            <a:extLst>
              <a:ext uri="{FF2B5EF4-FFF2-40B4-BE49-F238E27FC236}">
                <a16:creationId xmlns:a16="http://schemas.microsoft.com/office/drawing/2014/main" id="{7A50E90F-439F-4F8E-A33C-C67494D0E5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8430" y="3338625"/>
            <a:ext cx="914400" cy="914400"/>
          </a:xfrm>
          <a:prstGeom prst="rect">
            <a:avLst/>
          </a:prstGeom>
        </p:spPr>
      </p:pic>
      <p:sp>
        <p:nvSpPr>
          <p:cNvPr id="138" name="TextBox 69">
            <a:extLst>
              <a:ext uri="{FF2B5EF4-FFF2-40B4-BE49-F238E27FC236}">
                <a16:creationId xmlns:a16="http://schemas.microsoft.com/office/drawing/2014/main" id="{56530CC9-3C03-40CD-9306-BE97A7416EC6}"/>
              </a:ext>
            </a:extLst>
          </p:cNvPr>
          <p:cNvSpPr txBox="1"/>
          <p:nvPr/>
        </p:nvSpPr>
        <p:spPr>
          <a:xfrm>
            <a:off x="10047275"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Identification des écarts</a:t>
            </a:r>
          </a:p>
        </p:txBody>
      </p:sp>
      <p:sp>
        <p:nvSpPr>
          <p:cNvPr id="139" name="TextBox 70">
            <a:extLst>
              <a:ext uri="{FF2B5EF4-FFF2-40B4-BE49-F238E27FC236}">
                <a16:creationId xmlns:a16="http://schemas.microsoft.com/office/drawing/2014/main" id="{BE89EEF3-25EA-4CCE-BB22-7E533C8DB8BA}"/>
              </a:ext>
            </a:extLst>
          </p:cNvPr>
          <p:cNvSpPr txBox="1"/>
          <p:nvPr/>
        </p:nvSpPr>
        <p:spPr>
          <a:xfrm>
            <a:off x="10375315"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5</a:t>
            </a:r>
          </a:p>
        </p:txBody>
      </p:sp>
      <p:pic>
        <p:nvPicPr>
          <p:cNvPr id="140" name="Graphique 139" descr="Diagramme de Venn contour">
            <a:extLst>
              <a:ext uri="{FF2B5EF4-FFF2-40B4-BE49-F238E27FC236}">
                <a16:creationId xmlns:a16="http://schemas.microsoft.com/office/drawing/2014/main" id="{31F76495-098D-45B9-A4BD-9640596B300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70787" y="3502689"/>
            <a:ext cx="660517" cy="660517"/>
          </a:xfrm>
          <a:prstGeom prst="rect">
            <a:avLst/>
          </a:prstGeom>
        </p:spPr>
      </p:pic>
      <p:sp>
        <p:nvSpPr>
          <p:cNvPr id="53" name="Freeform 926">
            <a:extLst>
              <a:ext uri="{FF2B5EF4-FFF2-40B4-BE49-F238E27FC236}">
                <a16:creationId xmlns:a16="http://schemas.microsoft.com/office/drawing/2014/main" id="{09A3A13D-D53B-4931-87C8-56F250EB10F0}"/>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926">
            <a:extLst>
              <a:ext uri="{FF2B5EF4-FFF2-40B4-BE49-F238E27FC236}">
                <a16:creationId xmlns:a16="http://schemas.microsoft.com/office/drawing/2014/main" id="{A803C9AE-81B8-4311-87EA-514AA3CC5CAE}"/>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TextBox 219">
            <a:extLst>
              <a:ext uri="{FF2B5EF4-FFF2-40B4-BE49-F238E27FC236}">
                <a16:creationId xmlns:a16="http://schemas.microsoft.com/office/drawing/2014/main" id="{B7CDCEBD-E972-4734-86AA-5421FB0602B5}"/>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56" name="TextBox 219">
            <a:extLst>
              <a:ext uri="{FF2B5EF4-FFF2-40B4-BE49-F238E27FC236}">
                <a16:creationId xmlns:a16="http://schemas.microsoft.com/office/drawing/2014/main" id="{0260DEC1-8283-449F-A9C6-2A0C1FBCEDEA}"/>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57" name="TextBox 219">
            <a:extLst>
              <a:ext uri="{FF2B5EF4-FFF2-40B4-BE49-F238E27FC236}">
                <a16:creationId xmlns:a16="http://schemas.microsoft.com/office/drawing/2014/main" id="{E382A613-AB06-4FED-A32E-5749AB6555C7}"/>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58" name="Freeform 926">
            <a:extLst>
              <a:ext uri="{FF2B5EF4-FFF2-40B4-BE49-F238E27FC236}">
                <a16:creationId xmlns:a16="http://schemas.microsoft.com/office/drawing/2014/main" id="{1B4AFC27-9052-49CB-B8D1-5C50BBCD4702}"/>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Rectangle 58">
            <a:extLst>
              <a:ext uri="{FF2B5EF4-FFF2-40B4-BE49-F238E27FC236}">
                <a16:creationId xmlns:a16="http://schemas.microsoft.com/office/drawing/2014/main" id="{193DE5DF-ADCD-4354-9BAC-783551226999}"/>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60" name="Rectangle 59">
            <a:extLst>
              <a:ext uri="{FF2B5EF4-FFF2-40B4-BE49-F238E27FC236}">
                <a16:creationId xmlns:a16="http://schemas.microsoft.com/office/drawing/2014/main" id="{13997681-184B-47E6-A22F-D9FDD778B2B9}"/>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61" name="Rectangle 60">
            <a:extLst>
              <a:ext uri="{FF2B5EF4-FFF2-40B4-BE49-F238E27FC236}">
                <a16:creationId xmlns:a16="http://schemas.microsoft.com/office/drawing/2014/main" id="{A50F7287-271D-4272-9D95-56CA91F70529}"/>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62" name="Rectangle 61">
            <a:extLst>
              <a:ext uri="{FF2B5EF4-FFF2-40B4-BE49-F238E27FC236}">
                <a16:creationId xmlns:a16="http://schemas.microsoft.com/office/drawing/2014/main" id="{EFBB0CF7-C3EB-4A7D-A133-6025B8BCAE96}"/>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670040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4"/>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5"/>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6"/>
            <a:stretch>
              <a:fillRect/>
            </a:stretch>
          </p:blipFill>
          <p:spPr>
            <a:xfrm>
              <a:off x="3624806" y="0"/>
              <a:ext cx="5760720" cy="1719580"/>
            </a:xfrm>
            <a:prstGeom prst="rect">
              <a:avLst/>
            </a:prstGeom>
          </p:spPr>
        </p:pic>
      </p:grpSp>
      <p:sp>
        <p:nvSpPr>
          <p:cNvPr id="24" name="Rectangle 23">
            <a:extLst>
              <a:ext uri="{FF2B5EF4-FFF2-40B4-BE49-F238E27FC236}">
                <a16:creationId xmlns:a16="http://schemas.microsoft.com/office/drawing/2014/main" id="{9014089C-40CF-478A-AB3C-D25EC6B791D7}"/>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26" name="ZoneTexte 25">
            <a:extLst>
              <a:ext uri="{FF2B5EF4-FFF2-40B4-BE49-F238E27FC236}">
                <a16:creationId xmlns:a16="http://schemas.microsoft.com/office/drawing/2014/main" id="{C05185DA-9EB2-42AA-BF30-DC88CEC63CF5}"/>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1</a:t>
            </a:r>
          </a:p>
        </p:txBody>
      </p:sp>
      <p:sp>
        <p:nvSpPr>
          <p:cNvPr id="27" name="Freeform 926">
            <a:extLst>
              <a:ext uri="{FF2B5EF4-FFF2-40B4-BE49-F238E27FC236}">
                <a16:creationId xmlns:a16="http://schemas.microsoft.com/office/drawing/2014/main" id="{4CEA07A5-BC83-4F37-A01A-DA20AE80DD45}"/>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926">
            <a:extLst>
              <a:ext uri="{FF2B5EF4-FFF2-40B4-BE49-F238E27FC236}">
                <a16:creationId xmlns:a16="http://schemas.microsoft.com/office/drawing/2014/main" id="{23510BB0-B71C-4E73-A683-CB0EBB81D47C}"/>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TextBox 219">
            <a:extLst>
              <a:ext uri="{FF2B5EF4-FFF2-40B4-BE49-F238E27FC236}">
                <a16:creationId xmlns:a16="http://schemas.microsoft.com/office/drawing/2014/main" id="{53C41FE2-0308-4225-9072-748AE2680983}"/>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30" name="TextBox 219">
            <a:extLst>
              <a:ext uri="{FF2B5EF4-FFF2-40B4-BE49-F238E27FC236}">
                <a16:creationId xmlns:a16="http://schemas.microsoft.com/office/drawing/2014/main" id="{9BF60037-AE5B-45AC-8CB1-6214C63403FB}"/>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1" name="TextBox 219">
            <a:extLst>
              <a:ext uri="{FF2B5EF4-FFF2-40B4-BE49-F238E27FC236}">
                <a16:creationId xmlns:a16="http://schemas.microsoft.com/office/drawing/2014/main" id="{2390677D-A841-4ED2-B713-8E8EC524958E}"/>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2" name="Freeform 926">
            <a:extLst>
              <a:ext uri="{FF2B5EF4-FFF2-40B4-BE49-F238E27FC236}">
                <a16:creationId xmlns:a16="http://schemas.microsoft.com/office/drawing/2014/main" id="{6037A436-F408-4AF3-AF9D-A766061392A2}"/>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Rectangle 32">
            <a:extLst>
              <a:ext uri="{FF2B5EF4-FFF2-40B4-BE49-F238E27FC236}">
                <a16:creationId xmlns:a16="http://schemas.microsoft.com/office/drawing/2014/main" id="{EAAFD7F5-0DC9-4379-B3B1-A6E2B22E5CAF}"/>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4" name="Rectangle 33">
            <a:extLst>
              <a:ext uri="{FF2B5EF4-FFF2-40B4-BE49-F238E27FC236}">
                <a16:creationId xmlns:a16="http://schemas.microsoft.com/office/drawing/2014/main" id="{C72EAB63-726B-4B65-BB80-D3861DDDA5A6}"/>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5" name="Rectangle 34">
            <a:extLst>
              <a:ext uri="{FF2B5EF4-FFF2-40B4-BE49-F238E27FC236}">
                <a16:creationId xmlns:a16="http://schemas.microsoft.com/office/drawing/2014/main" id="{E3601470-507F-4F30-8818-43282216A248}"/>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36" name="Rectangle 35">
            <a:extLst>
              <a:ext uri="{FF2B5EF4-FFF2-40B4-BE49-F238E27FC236}">
                <a16:creationId xmlns:a16="http://schemas.microsoft.com/office/drawing/2014/main" id="{142A0729-D267-40A4-ABE6-E6E6FB614020}"/>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3463172032"/>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ack text on a black background&#10;&#10;Description automatically generated with low confidence">
            <a:extLst>
              <a:ext uri="{FF2B5EF4-FFF2-40B4-BE49-F238E27FC236}">
                <a16:creationId xmlns:a16="http://schemas.microsoft.com/office/drawing/2014/main" id="{4B59B698-8FD0-4574-A7F2-86213F718AED}"/>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361577" y="1403277"/>
            <a:ext cx="1011108" cy="219073"/>
          </a:xfrm>
          <a:prstGeom prst="rect">
            <a:avLst/>
          </a:prstGeom>
        </p:spPr>
      </p:pic>
      <p:cxnSp>
        <p:nvCxnSpPr>
          <p:cNvPr id="192" name="Straight Connector 191">
            <a:extLst>
              <a:ext uri="{FF2B5EF4-FFF2-40B4-BE49-F238E27FC236}">
                <a16:creationId xmlns:a16="http://schemas.microsoft.com/office/drawing/2014/main" id="{FFA0365C-058D-419F-92A9-39DE56EC407C}"/>
              </a:ext>
            </a:extLst>
          </p:cNvPr>
          <p:cNvCxnSpPr>
            <a:cxnSpLocks/>
          </p:cNvCxnSpPr>
          <p:nvPr/>
        </p:nvCxnSpPr>
        <p:spPr>
          <a:xfrm>
            <a:off x="6549007" y="1330567"/>
            <a:ext cx="0" cy="5877629"/>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3CB11FF-18AE-4A55-8BDD-8DEFDF079A9A}"/>
              </a:ext>
            </a:extLst>
          </p:cNvPr>
          <p:cNvGrpSpPr/>
          <p:nvPr/>
        </p:nvGrpSpPr>
        <p:grpSpPr>
          <a:xfrm>
            <a:off x="689199" y="2670623"/>
            <a:ext cx="5460637" cy="2109350"/>
            <a:chOff x="689199" y="2402270"/>
            <a:chExt cx="5460637" cy="2109350"/>
          </a:xfrm>
        </p:grpSpPr>
        <p:sp>
          <p:nvSpPr>
            <p:cNvPr id="523" name="Rectangle 522">
              <a:extLst>
                <a:ext uri="{FF2B5EF4-FFF2-40B4-BE49-F238E27FC236}">
                  <a16:creationId xmlns:a16="http://schemas.microsoft.com/office/drawing/2014/main" id="{DBA14919-DD6F-4063-9A36-7F87C3CF4DCA}"/>
                </a:ext>
              </a:extLst>
            </p:cNvPr>
            <p:cNvSpPr/>
            <p:nvPr/>
          </p:nvSpPr>
          <p:spPr bwMode="gray">
            <a:xfrm>
              <a:off x="689199" y="2402270"/>
              <a:ext cx="5460637" cy="2109350"/>
            </a:xfrm>
            <a:prstGeom prst="rect">
              <a:avLst/>
            </a:prstGeom>
            <a:solidFill>
              <a:srgbClr val="F8FCF2">
                <a:alpha val="8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524" name="Forme libre : forme 30">
              <a:extLst>
                <a:ext uri="{FF2B5EF4-FFF2-40B4-BE49-F238E27FC236}">
                  <a16:creationId xmlns:a16="http://schemas.microsoft.com/office/drawing/2014/main" id="{7C87F89C-CF17-4191-BE02-4DE890B49566}"/>
                </a:ext>
              </a:extLst>
            </p:cNvPr>
            <p:cNvSpPr/>
            <p:nvPr/>
          </p:nvSpPr>
          <p:spPr>
            <a:xfrm>
              <a:off x="1839625" y="2537048"/>
              <a:ext cx="758938" cy="1787029"/>
            </a:xfrm>
            <a:custGeom>
              <a:avLst/>
              <a:gdLst>
                <a:gd name="connsiteX0" fmla="*/ 593098 w 841611"/>
                <a:gd name="connsiteY0" fmla="*/ 1584771 h 1905536"/>
                <a:gd name="connsiteX1" fmla="*/ 593098 w 841611"/>
                <a:gd name="connsiteY1" fmla="*/ 0 h 1905536"/>
                <a:gd name="connsiteX2" fmla="*/ 298216 w 841611"/>
                <a:gd name="connsiteY2" fmla="*/ 0 h 1905536"/>
                <a:gd name="connsiteX3" fmla="*/ 0 w 841611"/>
                <a:gd name="connsiteY3" fmla="*/ 196429 h 1905536"/>
                <a:gd name="connsiteX4" fmla="*/ 0 w 841611"/>
                <a:gd name="connsiteY4" fmla="*/ 442084 h 1905536"/>
                <a:gd name="connsiteX5" fmla="*/ 244544 w 841611"/>
                <a:gd name="connsiteY5" fmla="*/ 442084 h 1905536"/>
                <a:gd name="connsiteX6" fmla="*/ 244544 w 841611"/>
                <a:gd name="connsiteY6" fmla="*/ 1584771 h 1905536"/>
                <a:gd name="connsiteX7" fmla="*/ 0 w 841611"/>
                <a:gd name="connsiteY7" fmla="*/ 1584771 h 1905536"/>
                <a:gd name="connsiteX8" fmla="*/ 0 w 841611"/>
                <a:gd name="connsiteY8" fmla="*/ 1918081 h 1905536"/>
                <a:gd name="connsiteX9" fmla="*/ 843676 w 841611"/>
                <a:gd name="connsiteY9" fmla="*/ 1918081 h 1905536"/>
                <a:gd name="connsiteX10" fmla="*/ 843676 w 841611"/>
                <a:gd name="connsiteY10" fmla="*/ 1584771 h 1905536"/>
                <a:gd name="connsiteX11" fmla="*/ 593098 w 841611"/>
                <a:gd name="connsiteY11" fmla="*/ 1584771 h 190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1611" h="1905536">
                  <a:moveTo>
                    <a:pt x="593098" y="1584771"/>
                  </a:moveTo>
                  <a:lnTo>
                    <a:pt x="593098" y="0"/>
                  </a:lnTo>
                  <a:lnTo>
                    <a:pt x="298216" y="0"/>
                  </a:lnTo>
                  <a:cubicBezTo>
                    <a:pt x="217866" y="134658"/>
                    <a:pt x="0" y="196429"/>
                    <a:pt x="0" y="196429"/>
                  </a:cubicBezTo>
                  <a:lnTo>
                    <a:pt x="0" y="442084"/>
                  </a:lnTo>
                  <a:lnTo>
                    <a:pt x="244544" y="442084"/>
                  </a:lnTo>
                  <a:lnTo>
                    <a:pt x="244544" y="1584771"/>
                  </a:lnTo>
                  <a:lnTo>
                    <a:pt x="0" y="1584771"/>
                  </a:lnTo>
                  <a:lnTo>
                    <a:pt x="0" y="1918081"/>
                  </a:lnTo>
                  <a:cubicBezTo>
                    <a:pt x="246926" y="1918081"/>
                    <a:pt x="596909" y="1918081"/>
                    <a:pt x="843676" y="1918081"/>
                  </a:cubicBezTo>
                  <a:lnTo>
                    <a:pt x="843676" y="1584771"/>
                  </a:lnTo>
                  <a:lnTo>
                    <a:pt x="593098" y="1584771"/>
                  </a:lnTo>
                  <a:close/>
                </a:path>
              </a:pathLst>
            </a:custGeom>
            <a:solidFill>
              <a:srgbClr val="86BD28"/>
            </a:solidFill>
            <a:ln w="15875" cap="flat">
              <a:noFill/>
              <a:prstDash val="solid"/>
              <a:miter/>
            </a:ln>
          </p:spPr>
          <p:txBody>
            <a:bodyPr rtlCol="0" anchor="ctr"/>
            <a:lstStyle/>
            <a:p>
              <a:endParaRPr lang="fr-FR"/>
            </a:p>
          </p:txBody>
        </p:sp>
        <p:grpSp>
          <p:nvGrpSpPr>
            <p:cNvPr id="525" name="Group 524">
              <a:extLst>
                <a:ext uri="{FF2B5EF4-FFF2-40B4-BE49-F238E27FC236}">
                  <a16:creationId xmlns:a16="http://schemas.microsoft.com/office/drawing/2014/main" id="{C34B6ED5-5A30-4267-A663-5EC328618765}"/>
                </a:ext>
              </a:extLst>
            </p:cNvPr>
            <p:cNvGrpSpPr/>
            <p:nvPr/>
          </p:nvGrpSpPr>
          <p:grpSpPr>
            <a:xfrm>
              <a:off x="835639" y="3178492"/>
              <a:ext cx="2794112" cy="578300"/>
              <a:chOff x="546256" y="1822000"/>
              <a:chExt cx="2395235" cy="495744"/>
            </a:xfrm>
          </p:grpSpPr>
          <p:sp>
            <p:nvSpPr>
              <p:cNvPr id="526" name="Forme libre : forme 24">
                <a:extLst>
                  <a:ext uri="{FF2B5EF4-FFF2-40B4-BE49-F238E27FC236}">
                    <a16:creationId xmlns:a16="http://schemas.microsoft.com/office/drawing/2014/main" id="{328D7B69-7633-443D-8402-72353973197F}"/>
                  </a:ext>
                </a:extLst>
              </p:cNvPr>
              <p:cNvSpPr/>
              <p:nvPr/>
            </p:nvSpPr>
            <p:spPr>
              <a:xfrm>
                <a:off x="546256" y="1931115"/>
                <a:ext cx="544144" cy="386629"/>
              </a:xfrm>
              <a:custGeom>
                <a:avLst/>
                <a:gdLst>
                  <a:gd name="connsiteX0" fmla="*/ 0 w 603419"/>
                  <a:gd name="connsiteY0" fmla="*/ 0 h 428745"/>
                  <a:gd name="connsiteX1" fmla="*/ 140851 w 603419"/>
                  <a:gd name="connsiteY1" fmla="*/ 215008 h 428745"/>
                  <a:gd name="connsiteX2" fmla="*/ 0 w 603419"/>
                  <a:gd name="connsiteY2" fmla="*/ 429857 h 428745"/>
                  <a:gd name="connsiteX3" fmla="*/ 610407 w 603419"/>
                  <a:gd name="connsiteY3" fmla="*/ 429857 h 428745"/>
                  <a:gd name="connsiteX4" fmla="*/ 519100 w 603419"/>
                  <a:gd name="connsiteY4" fmla="*/ 0 h 428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419" h="428745">
                    <a:moveTo>
                      <a:pt x="0" y="0"/>
                    </a:moveTo>
                    <a:lnTo>
                      <a:pt x="140851" y="215008"/>
                    </a:lnTo>
                    <a:lnTo>
                      <a:pt x="0" y="429857"/>
                    </a:lnTo>
                    <a:lnTo>
                      <a:pt x="610407" y="429857"/>
                    </a:lnTo>
                    <a:lnTo>
                      <a:pt x="519100" y="0"/>
                    </a:lnTo>
                    <a:close/>
                  </a:path>
                </a:pathLst>
              </a:custGeom>
              <a:solidFill>
                <a:srgbClr val="117197"/>
              </a:solidFill>
              <a:ln w="15875" cap="flat">
                <a:noFill/>
                <a:prstDash val="solid"/>
                <a:miter/>
              </a:ln>
            </p:spPr>
            <p:txBody>
              <a:bodyPr rtlCol="0" anchor="ctr"/>
              <a:lstStyle/>
              <a:p>
                <a:endParaRPr lang="fr-FR"/>
              </a:p>
            </p:txBody>
          </p:sp>
          <p:sp>
            <p:nvSpPr>
              <p:cNvPr id="527" name="Forme libre : forme 25">
                <a:extLst>
                  <a:ext uri="{FF2B5EF4-FFF2-40B4-BE49-F238E27FC236}">
                    <a16:creationId xmlns:a16="http://schemas.microsoft.com/office/drawing/2014/main" id="{EC61AC90-C175-440C-8744-8BD973563DA6}"/>
                  </a:ext>
                </a:extLst>
              </p:cNvPr>
              <p:cNvSpPr/>
              <p:nvPr/>
            </p:nvSpPr>
            <p:spPr>
              <a:xfrm>
                <a:off x="2397347" y="1931115"/>
                <a:ext cx="544144" cy="386629"/>
              </a:xfrm>
              <a:custGeom>
                <a:avLst/>
                <a:gdLst>
                  <a:gd name="connsiteX0" fmla="*/ 91307 w 603419"/>
                  <a:gd name="connsiteY0" fmla="*/ 0 h 428745"/>
                  <a:gd name="connsiteX1" fmla="*/ 0 w 603419"/>
                  <a:gd name="connsiteY1" fmla="*/ 430016 h 428745"/>
                  <a:gd name="connsiteX2" fmla="*/ 610407 w 603419"/>
                  <a:gd name="connsiteY2" fmla="*/ 430016 h 428745"/>
                  <a:gd name="connsiteX3" fmla="*/ 469556 w 603419"/>
                  <a:gd name="connsiteY3" fmla="*/ 215008 h 428745"/>
                  <a:gd name="connsiteX4" fmla="*/ 610407 w 603419"/>
                  <a:gd name="connsiteY4" fmla="*/ 0 h 428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419" h="428745">
                    <a:moveTo>
                      <a:pt x="91307" y="0"/>
                    </a:moveTo>
                    <a:lnTo>
                      <a:pt x="0" y="430016"/>
                    </a:lnTo>
                    <a:lnTo>
                      <a:pt x="610407" y="430016"/>
                    </a:lnTo>
                    <a:lnTo>
                      <a:pt x="469556" y="215008"/>
                    </a:lnTo>
                    <a:lnTo>
                      <a:pt x="610407" y="0"/>
                    </a:lnTo>
                    <a:close/>
                  </a:path>
                </a:pathLst>
              </a:custGeom>
              <a:solidFill>
                <a:srgbClr val="117197"/>
              </a:solidFill>
              <a:ln w="15875" cap="flat">
                <a:noFill/>
                <a:prstDash val="solid"/>
                <a:miter/>
              </a:ln>
            </p:spPr>
            <p:txBody>
              <a:bodyPr rtlCol="0" anchor="ctr"/>
              <a:lstStyle/>
              <a:p>
                <a:endParaRPr lang="fr-FR"/>
              </a:p>
            </p:txBody>
          </p:sp>
          <p:sp>
            <p:nvSpPr>
              <p:cNvPr id="528" name="Forme libre : forme 26">
                <a:extLst>
                  <a:ext uri="{FF2B5EF4-FFF2-40B4-BE49-F238E27FC236}">
                    <a16:creationId xmlns:a16="http://schemas.microsoft.com/office/drawing/2014/main" id="{81D34898-51C7-403E-BE78-0380047ADF67}"/>
                  </a:ext>
                </a:extLst>
              </p:cNvPr>
              <p:cNvSpPr/>
              <p:nvPr/>
            </p:nvSpPr>
            <p:spPr>
              <a:xfrm>
                <a:off x="921142" y="1931115"/>
                <a:ext cx="658700" cy="386629"/>
              </a:xfrm>
              <a:custGeom>
                <a:avLst/>
                <a:gdLst>
                  <a:gd name="connsiteX0" fmla="*/ 0 w 730455"/>
                  <a:gd name="connsiteY0" fmla="*/ 0 h 428745"/>
                  <a:gd name="connsiteX1" fmla="*/ 730614 w 730455"/>
                  <a:gd name="connsiteY1" fmla="*/ 0 h 428745"/>
                  <a:gd name="connsiteX2" fmla="*/ 730614 w 730455"/>
                  <a:gd name="connsiteY2" fmla="*/ 429857 h 428745"/>
                  <a:gd name="connsiteX3" fmla="*/ 0 w 730455"/>
                  <a:gd name="connsiteY3" fmla="*/ 429857 h 428745"/>
                </a:gdLst>
                <a:ahLst/>
                <a:cxnLst>
                  <a:cxn ang="0">
                    <a:pos x="connsiteX0" y="connsiteY0"/>
                  </a:cxn>
                  <a:cxn ang="0">
                    <a:pos x="connsiteX1" y="connsiteY1"/>
                  </a:cxn>
                  <a:cxn ang="0">
                    <a:pos x="connsiteX2" y="connsiteY2"/>
                  </a:cxn>
                  <a:cxn ang="0">
                    <a:pos x="connsiteX3" y="connsiteY3"/>
                  </a:cxn>
                </a:cxnLst>
                <a:rect l="l" t="t" r="r" b="b"/>
                <a:pathLst>
                  <a:path w="730455" h="428745">
                    <a:moveTo>
                      <a:pt x="0" y="0"/>
                    </a:moveTo>
                    <a:lnTo>
                      <a:pt x="730614" y="0"/>
                    </a:lnTo>
                    <a:lnTo>
                      <a:pt x="730614" y="429857"/>
                    </a:lnTo>
                    <a:lnTo>
                      <a:pt x="0" y="429857"/>
                    </a:lnTo>
                    <a:close/>
                  </a:path>
                </a:pathLst>
              </a:custGeom>
              <a:solidFill>
                <a:srgbClr val="117197"/>
              </a:solidFill>
              <a:ln w="15875" cap="flat">
                <a:noFill/>
                <a:prstDash val="solid"/>
                <a:miter/>
              </a:ln>
            </p:spPr>
            <p:txBody>
              <a:bodyPr rtlCol="0" anchor="ctr"/>
              <a:lstStyle/>
              <a:p>
                <a:endParaRPr lang="fr-FR"/>
              </a:p>
            </p:txBody>
          </p:sp>
          <p:sp>
            <p:nvSpPr>
              <p:cNvPr id="529" name="Forme libre : forme 27">
                <a:extLst>
                  <a:ext uri="{FF2B5EF4-FFF2-40B4-BE49-F238E27FC236}">
                    <a16:creationId xmlns:a16="http://schemas.microsoft.com/office/drawing/2014/main" id="{2E6BA2DD-F06D-4536-83ED-56ABE0489901}"/>
                  </a:ext>
                </a:extLst>
              </p:cNvPr>
              <p:cNvSpPr/>
              <p:nvPr/>
            </p:nvSpPr>
            <p:spPr>
              <a:xfrm>
                <a:off x="1890148" y="1931115"/>
                <a:ext cx="658700" cy="386629"/>
              </a:xfrm>
              <a:custGeom>
                <a:avLst/>
                <a:gdLst>
                  <a:gd name="connsiteX0" fmla="*/ 0 w 730455"/>
                  <a:gd name="connsiteY0" fmla="*/ 0 h 428745"/>
                  <a:gd name="connsiteX1" fmla="*/ 730455 w 730455"/>
                  <a:gd name="connsiteY1" fmla="*/ 0 h 428745"/>
                  <a:gd name="connsiteX2" fmla="*/ 730455 w 730455"/>
                  <a:gd name="connsiteY2" fmla="*/ 429857 h 428745"/>
                  <a:gd name="connsiteX3" fmla="*/ 0 w 730455"/>
                  <a:gd name="connsiteY3" fmla="*/ 429857 h 428745"/>
                </a:gdLst>
                <a:ahLst/>
                <a:cxnLst>
                  <a:cxn ang="0">
                    <a:pos x="connsiteX0" y="connsiteY0"/>
                  </a:cxn>
                  <a:cxn ang="0">
                    <a:pos x="connsiteX1" y="connsiteY1"/>
                  </a:cxn>
                  <a:cxn ang="0">
                    <a:pos x="connsiteX2" y="connsiteY2"/>
                  </a:cxn>
                  <a:cxn ang="0">
                    <a:pos x="connsiteX3" y="connsiteY3"/>
                  </a:cxn>
                </a:cxnLst>
                <a:rect l="l" t="t" r="r" b="b"/>
                <a:pathLst>
                  <a:path w="730455" h="428745">
                    <a:moveTo>
                      <a:pt x="0" y="0"/>
                    </a:moveTo>
                    <a:lnTo>
                      <a:pt x="730455" y="0"/>
                    </a:lnTo>
                    <a:lnTo>
                      <a:pt x="730455" y="429857"/>
                    </a:lnTo>
                    <a:lnTo>
                      <a:pt x="0" y="429857"/>
                    </a:lnTo>
                    <a:close/>
                  </a:path>
                </a:pathLst>
              </a:custGeom>
              <a:solidFill>
                <a:srgbClr val="117197"/>
              </a:solidFill>
              <a:ln w="15875" cap="flat">
                <a:noFill/>
                <a:prstDash val="solid"/>
                <a:miter/>
              </a:ln>
            </p:spPr>
            <p:txBody>
              <a:bodyPr rtlCol="0" anchor="ctr"/>
              <a:lstStyle/>
              <a:p>
                <a:endParaRPr lang="fr-FR"/>
              </a:p>
            </p:txBody>
          </p:sp>
          <p:sp>
            <p:nvSpPr>
              <p:cNvPr id="530" name="Forme libre : forme 28">
                <a:extLst>
                  <a:ext uri="{FF2B5EF4-FFF2-40B4-BE49-F238E27FC236}">
                    <a16:creationId xmlns:a16="http://schemas.microsoft.com/office/drawing/2014/main" id="{DED0B033-BA63-45EB-BE92-A8E05E0F9072}"/>
                  </a:ext>
                </a:extLst>
              </p:cNvPr>
              <p:cNvSpPr/>
              <p:nvPr/>
            </p:nvSpPr>
            <p:spPr>
              <a:xfrm>
                <a:off x="1704853" y="2207196"/>
                <a:ext cx="1016690" cy="57278"/>
              </a:xfrm>
              <a:custGeom>
                <a:avLst/>
                <a:gdLst>
                  <a:gd name="connsiteX0" fmla="*/ 148791 w 1127441"/>
                  <a:gd name="connsiteY0" fmla="*/ 0 h 63517"/>
                  <a:gd name="connsiteX1" fmla="*/ 0 w 1127441"/>
                  <a:gd name="connsiteY1" fmla="*/ 74157 h 63517"/>
                  <a:gd name="connsiteX2" fmla="*/ 1141575 w 1127441"/>
                  <a:gd name="connsiteY2" fmla="*/ 0 h 63517"/>
                </a:gdLst>
                <a:ahLst/>
                <a:cxnLst>
                  <a:cxn ang="0">
                    <a:pos x="connsiteX0" y="connsiteY0"/>
                  </a:cxn>
                  <a:cxn ang="0">
                    <a:pos x="connsiteX1" y="connsiteY1"/>
                  </a:cxn>
                  <a:cxn ang="0">
                    <a:pos x="connsiteX2" y="connsiteY2"/>
                  </a:cxn>
                </a:cxnLst>
                <a:rect l="l" t="t" r="r" b="b"/>
                <a:pathLst>
                  <a:path w="1127441" h="63517">
                    <a:moveTo>
                      <a:pt x="148791" y="0"/>
                    </a:moveTo>
                    <a:lnTo>
                      <a:pt x="0" y="74157"/>
                    </a:lnTo>
                    <a:lnTo>
                      <a:pt x="1141575" y="0"/>
                    </a:lnTo>
                    <a:close/>
                  </a:path>
                </a:pathLst>
              </a:custGeom>
              <a:solidFill>
                <a:srgbClr val="085E7D"/>
              </a:solidFill>
              <a:ln w="15875" cap="flat">
                <a:noFill/>
                <a:prstDash val="solid"/>
                <a:miter/>
              </a:ln>
            </p:spPr>
            <p:txBody>
              <a:bodyPr rtlCol="0" anchor="ctr"/>
              <a:lstStyle/>
              <a:p>
                <a:endParaRPr lang="fr-FR"/>
              </a:p>
            </p:txBody>
          </p:sp>
          <p:sp>
            <p:nvSpPr>
              <p:cNvPr id="531" name="Forme libre : forme 29">
                <a:extLst>
                  <a:ext uri="{FF2B5EF4-FFF2-40B4-BE49-F238E27FC236}">
                    <a16:creationId xmlns:a16="http://schemas.microsoft.com/office/drawing/2014/main" id="{83391210-F3DA-4C8A-A6EB-4DDE8BA22B6F}"/>
                  </a:ext>
                </a:extLst>
              </p:cNvPr>
              <p:cNvSpPr/>
              <p:nvPr/>
            </p:nvSpPr>
            <p:spPr>
              <a:xfrm>
                <a:off x="759761" y="2207196"/>
                <a:ext cx="959411" cy="57278"/>
              </a:xfrm>
              <a:custGeom>
                <a:avLst/>
                <a:gdLst>
                  <a:gd name="connsiteX0" fmla="*/ 925614 w 1063924"/>
                  <a:gd name="connsiteY0" fmla="*/ 0 h 63517"/>
                  <a:gd name="connsiteX1" fmla="*/ 1064401 w 1063924"/>
                  <a:gd name="connsiteY1" fmla="*/ 74157 h 63517"/>
                  <a:gd name="connsiteX2" fmla="*/ 0 w 1063924"/>
                  <a:gd name="connsiteY2" fmla="*/ 0 h 63517"/>
                </a:gdLst>
                <a:ahLst/>
                <a:cxnLst>
                  <a:cxn ang="0">
                    <a:pos x="connsiteX0" y="connsiteY0"/>
                  </a:cxn>
                  <a:cxn ang="0">
                    <a:pos x="connsiteX1" y="connsiteY1"/>
                  </a:cxn>
                  <a:cxn ang="0">
                    <a:pos x="connsiteX2" y="connsiteY2"/>
                  </a:cxn>
                </a:cxnLst>
                <a:rect l="l" t="t" r="r" b="b"/>
                <a:pathLst>
                  <a:path w="1063924" h="63517">
                    <a:moveTo>
                      <a:pt x="925614" y="0"/>
                    </a:moveTo>
                    <a:lnTo>
                      <a:pt x="1064401" y="74157"/>
                    </a:lnTo>
                    <a:lnTo>
                      <a:pt x="0" y="0"/>
                    </a:lnTo>
                    <a:close/>
                  </a:path>
                </a:pathLst>
              </a:custGeom>
              <a:solidFill>
                <a:srgbClr val="085E7D"/>
              </a:solidFill>
              <a:ln w="15875" cap="flat">
                <a:noFill/>
                <a:prstDash val="solid"/>
                <a:miter/>
              </a:ln>
            </p:spPr>
            <p:txBody>
              <a:bodyPr rtlCol="0" anchor="ctr"/>
              <a:lstStyle/>
              <a:p>
                <a:endParaRPr lang="fr-FR"/>
              </a:p>
            </p:txBody>
          </p:sp>
          <p:sp>
            <p:nvSpPr>
              <p:cNvPr id="532" name="Forme libre : forme 31">
                <a:extLst>
                  <a:ext uri="{FF2B5EF4-FFF2-40B4-BE49-F238E27FC236}">
                    <a16:creationId xmlns:a16="http://schemas.microsoft.com/office/drawing/2014/main" id="{5CB27CE1-8D31-467B-9D62-4149B5769F31}"/>
                  </a:ext>
                </a:extLst>
              </p:cNvPr>
              <p:cNvSpPr/>
              <p:nvPr/>
            </p:nvSpPr>
            <p:spPr>
              <a:xfrm>
                <a:off x="760047" y="1822000"/>
                <a:ext cx="1961782" cy="386629"/>
              </a:xfrm>
              <a:custGeom>
                <a:avLst/>
                <a:gdLst>
                  <a:gd name="connsiteX0" fmla="*/ 0 w 2175486"/>
                  <a:gd name="connsiteY0" fmla="*/ 0 h 428745"/>
                  <a:gd name="connsiteX1" fmla="*/ 2188984 w 2175486"/>
                  <a:gd name="connsiteY1" fmla="*/ 0 h 428745"/>
                  <a:gd name="connsiteX2" fmla="*/ 2188984 w 2175486"/>
                  <a:gd name="connsiteY2" fmla="*/ 429857 h 428745"/>
                  <a:gd name="connsiteX3" fmla="*/ 0 w 2175486"/>
                  <a:gd name="connsiteY3" fmla="*/ 429857 h 428745"/>
                </a:gdLst>
                <a:ahLst/>
                <a:cxnLst>
                  <a:cxn ang="0">
                    <a:pos x="connsiteX0" y="connsiteY0"/>
                  </a:cxn>
                  <a:cxn ang="0">
                    <a:pos x="connsiteX1" y="connsiteY1"/>
                  </a:cxn>
                  <a:cxn ang="0">
                    <a:pos x="connsiteX2" y="connsiteY2"/>
                  </a:cxn>
                  <a:cxn ang="0">
                    <a:pos x="connsiteX3" y="connsiteY3"/>
                  </a:cxn>
                </a:cxnLst>
                <a:rect l="l" t="t" r="r" b="b"/>
                <a:pathLst>
                  <a:path w="2175486" h="428745">
                    <a:moveTo>
                      <a:pt x="0" y="0"/>
                    </a:moveTo>
                    <a:lnTo>
                      <a:pt x="2188984" y="0"/>
                    </a:lnTo>
                    <a:lnTo>
                      <a:pt x="2188984" y="429857"/>
                    </a:lnTo>
                    <a:lnTo>
                      <a:pt x="0" y="429857"/>
                    </a:lnTo>
                    <a:close/>
                  </a:path>
                </a:pathLst>
              </a:custGeom>
              <a:solidFill>
                <a:srgbClr val="097FB3"/>
              </a:solidFill>
              <a:ln w="15875" cap="flat">
                <a:noFill/>
                <a:prstDash val="solid"/>
                <a:miter/>
              </a:ln>
            </p:spPr>
            <p:txBody>
              <a:bodyPr rtlCol="0" anchor="ctr"/>
              <a:lstStyle/>
              <a:p>
                <a:endParaRPr lang="fr-FR"/>
              </a:p>
            </p:txBody>
          </p:sp>
        </p:grpSp>
        <p:sp>
          <p:nvSpPr>
            <p:cNvPr id="533" name="Rectangle 532">
              <a:extLst>
                <a:ext uri="{FF2B5EF4-FFF2-40B4-BE49-F238E27FC236}">
                  <a16:creationId xmlns:a16="http://schemas.microsoft.com/office/drawing/2014/main" id="{7F0964D9-0C44-4683-B949-E4F3DA33738F}"/>
                </a:ext>
              </a:extLst>
            </p:cNvPr>
            <p:cNvSpPr/>
            <p:nvPr/>
          </p:nvSpPr>
          <p:spPr>
            <a:xfrm>
              <a:off x="3855000" y="2795454"/>
              <a:ext cx="2085830" cy="1528624"/>
            </a:xfrm>
            <a:prstGeom prst="rect">
              <a:avLst/>
            </a:prstGeom>
          </p:spPr>
          <p:txBody>
            <a:bodyPr wrap="square" lIns="0" tIns="0" rIns="0" bIns="0" anchor="t">
              <a:spAutoFit/>
            </a:bodyPr>
            <a:lstStyle/>
            <a:p>
              <a:pPr defTabSz="685800">
                <a:spcAft>
                  <a:spcPts val="408"/>
                </a:spcAft>
                <a:defRPr/>
              </a:pPr>
              <a:r>
                <a:rPr lang="fr-FR" b="1" i="1" kern="0" dirty="0">
                  <a:solidFill>
                    <a:prstClr val="black"/>
                  </a:solidFill>
                  <a:cs typeface="Arial" panose="020B0604020202020204" pitchFamily="34" charset="0"/>
                </a:rPr>
                <a:t>Gartner</a:t>
              </a:r>
              <a:r>
                <a:rPr lang="fr-FR" sz="1400" i="1" kern="0" dirty="0">
                  <a:solidFill>
                    <a:prstClr val="black"/>
                  </a:solidFill>
                  <a:cs typeface="Arial" panose="020B0604020202020204" pitchFamily="34" charset="0"/>
                </a:rPr>
                <a:t> classe Deloitte au </a:t>
              </a:r>
              <a:r>
                <a:rPr lang="fr-FR" b="1" i="1" kern="0" dirty="0">
                  <a:solidFill>
                    <a:srgbClr val="86BC25"/>
                  </a:solidFill>
                  <a:cs typeface="Arial" panose="020B0604020202020204" pitchFamily="34" charset="0"/>
                </a:rPr>
                <a:t>1</a:t>
              </a:r>
              <a:r>
                <a:rPr lang="fr-FR" b="1" i="1" kern="0" baseline="30000" dirty="0">
                  <a:solidFill>
                    <a:srgbClr val="86BC25"/>
                  </a:solidFill>
                  <a:cs typeface="Arial" panose="020B0604020202020204" pitchFamily="34" charset="0"/>
                </a:rPr>
                <a:t>er</a:t>
              </a:r>
              <a:r>
                <a:rPr lang="fr-FR" b="1" i="1" kern="0" dirty="0">
                  <a:solidFill>
                    <a:srgbClr val="86BC25"/>
                  </a:solidFill>
                  <a:cs typeface="Arial" panose="020B0604020202020204" pitchFamily="34" charset="0"/>
                </a:rPr>
                <a:t> rang mondial </a:t>
              </a:r>
              <a:r>
                <a:rPr lang="fr-FR" sz="1400" i="1" kern="0" dirty="0">
                  <a:solidFill>
                    <a:prstClr val="black"/>
                  </a:solidFill>
                  <a:cs typeface="Arial" panose="020B0604020202020204" pitchFamily="34" charset="0"/>
                </a:rPr>
                <a:t>en matière de conseil en sécurité pour la </a:t>
              </a:r>
              <a:r>
                <a:rPr lang="fr-FR" sz="1400" b="1" i="1" kern="0" dirty="0">
                  <a:solidFill>
                    <a:srgbClr val="86BC25"/>
                  </a:solidFill>
                  <a:cs typeface="Arial" panose="020B0604020202020204" pitchFamily="34" charset="0"/>
                </a:rPr>
                <a:t>9</a:t>
              </a:r>
              <a:r>
                <a:rPr lang="fr-FR" sz="1400" b="1" i="1" kern="0" baseline="30000" dirty="0">
                  <a:solidFill>
                    <a:srgbClr val="86BC25"/>
                  </a:solidFill>
                  <a:cs typeface="Arial" panose="020B0604020202020204" pitchFamily="34" charset="0"/>
                </a:rPr>
                <a:t>ème</a:t>
              </a:r>
              <a:r>
                <a:rPr lang="fr-FR" sz="1400" b="1" i="1" kern="0" dirty="0">
                  <a:solidFill>
                    <a:srgbClr val="86BC25"/>
                  </a:solidFill>
                  <a:cs typeface="Arial" panose="020B0604020202020204" pitchFamily="34" charset="0"/>
                </a:rPr>
                <a:t> année consécutive.</a:t>
              </a:r>
            </a:p>
            <a:p>
              <a:pPr defTabSz="685800">
                <a:spcAft>
                  <a:spcPts val="408"/>
                </a:spcAft>
                <a:defRPr/>
              </a:pPr>
              <a:r>
                <a:rPr lang="fr-FR" sz="900" kern="0" dirty="0">
                  <a:solidFill>
                    <a:prstClr val="black"/>
                  </a:solidFill>
                  <a:cs typeface="Arial" panose="020B0604020202020204" pitchFamily="34" charset="0"/>
                </a:rPr>
                <a:t>Source: Gartner Market Insight: Security Consulting - 2020</a:t>
              </a:r>
              <a:endParaRPr lang="fr-FR" sz="2400" kern="0" dirty="0">
                <a:solidFill>
                  <a:prstClr val="black"/>
                </a:solidFill>
                <a:cs typeface="Arial" panose="020B0604020202020204" pitchFamily="34" charset="0"/>
              </a:endParaRPr>
            </a:p>
          </p:txBody>
        </p:sp>
        <p:sp>
          <p:nvSpPr>
            <p:cNvPr id="534" name="Rectangle 533">
              <a:extLst>
                <a:ext uri="{FF2B5EF4-FFF2-40B4-BE49-F238E27FC236}">
                  <a16:creationId xmlns:a16="http://schemas.microsoft.com/office/drawing/2014/main" id="{9AC2DF6B-59E6-490A-A525-8BD7AEB0AE68}"/>
                </a:ext>
              </a:extLst>
            </p:cNvPr>
            <p:cNvSpPr/>
            <p:nvPr/>
          </p:nvSpPr>
          <p:spPr>
            <a:xfrm>
              <a:off x="1094092" y="3193611"/>
              <a:ext cx="2209560" cy="430887"/>
            </a:xfrm>
            <a:prstGeom prst="rect">
              <a:avLst/>
            </a:prstGeom>
          </p:spPr>
          <p:txBody>
            <a:bodyPr wrap="square" lIns="0" tIns="0" rIns="0" bIns="0" anchor="t">
              <a:spAutoFit/>
            </a:bodyPr>
            <a:lstStyle/>
            <a:p>
              <a:pPr lvl="0" algn="ctr"/>
              <a:r>
                <a:rPr lang="fr-FR" sz="1400" b="1" dirty="0">
                  <a:solidFill>
                    <a:schemeClr val="bg1"/>
                  </a:solidFill>
                </a:rPr>
                <a:t>Leader dans les solutions de gestion des Risques Cyber</a:t>
              </a:r>
            </a:p>
          </p:txBody>
        </p:sp>
      </p:grpSp>
      <p:grpSp>
        <p:nvGrpSpPr>
          <p:cNvPr id="535" name="Group 534">
            <a:extLst>
              <a:ext uri="{FF2B5EF4-FFF2-40B4-BE49-F238E27FC236}">
                <a16:creationId xmlns:a16="http://schemas.microsoft.com/office/drawing/2014/main" id="{9D989540-01EE-4D56-956E-6392BF57978D}"/>
              </a:ext>
            </a:extLst>
          </p:cNvPr>
          <p:cNvGrpSpPr/>
          <p:nvPr/>
        </p:nvGrpSpPr>
        <p:grpSpPr>
          <a:xfrm>
            <a:off x="915048" y="5334066"/>
            <a:ext cx="2103011" cy="600164"/>
            <a:chOff x="6281276" y="1051861"/>
            <a:chExt cx="2103011" cy="600164"/>
          </a:xfrm>
        </p:grpSpPr>
        <p:sp>
          <p:nvSpPr>
            <p:cNvPr id="536" name="Rectangle 535">
              <a:extLst>
                <a:ext uri="{FF2B5EF4-FFF2-40B4-BE49-F238E27FC236}">
                  <a16:creationId xmlns:a16="http://schemas.microsoft.com/office/drawing/2014/main" id="{040F0ED0-ED0F-48B4-9056-2F64FFB93B48}"/>
                </a:ext>
              </a:extLst>
            </p:cNvPr>
            <p:cNvSpPr/>
            <p:nvPr/>
          </p:nvSpPr>
          <p:spPr>
            <a:xfrm>
              <a:off x="6746242" y="1051861"/>
              <a:ext cx="1638045" cy="600164"/>
            </a:xfrm>
            <a:prstGeom prst="rect">
              <a:avLst/>
            </a:prstGeom>
          </p:spPr>
          <p:txBody>
            <a:bodyPr wrap="square" lIns="0" tIns="0" rIns="0" bIns="0" anchor="t">
              <a:spAutoFit/>
            </a:bodyPr>
            <a:lstStyle/>
            <a:p>
              <a:pPr lvl="0"/>
              <a:r>
                <a:rPr lang="fr-FR" b="1" dirty="0">
                  <a:solidFill>
                    <a:srgbClr val="62B5E5"/>
                  </a:solidFill>
                </a:rPr>
                <a:t>$59.3 Milliards </a:t>
              </a:r>
            </a:p>
            <a:p>
              <a:pPr lvl="0"/>
              <a:r>
                <a:rPr lang="fr-FR" sz="1050" dirty="0"/>
                <a:t>En 2022, comparé à 50.2 M$ en 2021</a:t>
              </a:r>
            </a:p>
          </p:txBody>
        </p:sp>
        <p:sp>
          <p:nvSpPr>
            <p:cNvPr id="537" name="Oval 63">
              <a:extLst>
                <a:ext uri="{FF2B5EF4-FFF2-40B4-BE49-F238E27FC236}">
                  <a16:creationId xmlns:a16="http://schemas.microsoft.com/office/drawing/2014/main" id="{71315E30-D109-454D-A36B-20B6E2985A01}"/>
                </a:ext>
              </a:extLst>
            </p:cNvPr>
            <p:cNvSpPr/>
            <p:nvPr/>
          </p:nvSpPr>
          <p:spPr bwMode="gray">
            <a:xfrm>
              <a:off x="6345247" y="1504377"/>
              <a:ext cx="239852" cy="58841"/>
            </a:xfrm>
            <a:prstGeom prst="ellipse">
              <a:avLst/>
            </a:prstGeom>
            <a:solidFill>
              <a:schemeClr val="bg1">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fr-FR" sz="1200" b="1">
                <a:solidFill>
                  <a:schemeClr val="bg1"/>
                </a:solidFill>
              </a:endParaRPr>
            </a:p>
          </p:txBody>
        </p:sp>
        <p:grpSp>
          <p:nvGrpSpPr>
            <p:cNvPr id="538" name="Group 537">
              <a:extLst>
                <a:ext uri="{FF2B5EF4-FFF2-40B4-BE49-F238E27FC236}">
                  <a16:creationId xmlns:a16="http://schemas.microsoft.com/office/drawing/2014/main" id="{221ECEBE-0C77-44CF-9D02-0B8EF4B1C593}"/>
                </a:ext>
              </a:extLst>
            </p:cNvPr>
            <p:cNvGrpSpPr/>
            <p:nvPr/>
          </p:nvGrpSpPr>
          <p:grpSpPr>
            <a:xfrm>
              <a:off x="6281276" y="1083008"/>
              <a:ext cx="360000" cy="360000"/>
              <a:chOff x="6404809" y="1910845"/>
              <a:chExt cx="360000" cy="360000"/>
            </a:xfrm>
          </p:grpSpPr>
          <p:sp>
            <p:nvSpPr>
              <p:cNvPr id="539" name="Oval 538">
                <a:extLst>
                  <a:ext uri="{FF2B5EF4-FFF2-40B4-BE49-F238E27FC236}">
                    <a16:creationId xmlns:a16="http://schemas.microsoft.com/office/drawing/2014/main" id="{3C90BD35-E5F2-4137-90A9-6C5DEB415A41}"/>
                  </a:ext>
                </a:extLst>
              </p:cNvPr>
              <p:cNvSpPr/>
              <p:nvPr/>
            </p:nvSpPr>
            <p:spPr bwMode="gray">
              <a:xfrm>
                <a:off x="6404809" y="1910845"/>
                <a:ext cx="360000" cy="360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pic>
            <p:nvPicPr>
              <p:cNvPr id="540" name="Graphic 539" descr="Dollar with solid fill">
                <a:extLst>
                  <a:ext uri="{FF2B5EF4-FFF2-40B4-BE49-F238E27FC236}">
                    <a16:creationId xmlns:a16="http://schemas.microsoft.com/office/drawing/2014/main" id="{5DF2C52C-E7D2-43FB-8450-AC8B050BC2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42047" y="1948083"/>
                <a:ext cx="285524" cy="285524"/>
              </a:xfrm>
              <a:prstGeom prst="rect">
                <a:avLst/>
              </a:prstGeom>
            </p:spPr>
          </p:pic>
        </p:grpSp>
      </p:grpSp>
      <p:grpSp>
        <p:nvGrpSpPr>
          <p:cNvPr id="541" name="Group 540">
            <a:extLst>
              <a:ext uri="{FF2B5EF4-FFF2-40B4-BE49-F238E27FC236}">
                <a16:creationId xmlns:a16="http://schemas.microsoft.com/office/drawing/2014/main" id="{48B6B3A8-7C28-4514-A29A-5F58FE9EB33D}"/>
              </a:ext>
            </a:extLst>
          </p:cNvPr>
          <p:cNvGrpSpPr/>
          <p:nvPr/>
        </p:nvGrpSpPr>
        <p:grpSpPr>
          <a:xfrm>
            <a:off x="915048" y="6164210"/>
            <a:ext cx="1984303" cy="480210"/>
            <a:chOff x="6281276" y="1753987"/>
            <a:chExt cx="1984303" cy="480210"/>
          </a:xfrm>
        </p:grpSpPr>
        <p:sp>
          <p:nvSpPr>
            <p:cNvPr id="542" name="Rectangle 541">
              <a:extLst>
                <a:ext uri="{FF2B5EF4-FFF2-40B4-BE49-F238E27FC236}">
                  <a16:creationId xmlns:a16="http://schemas.microsoft.com/office/drawing/2014/main" id="{5FF142DE-FBE5-43F8-A22E-AAC14B03AB13}"/>
                </a:ext>
              </a:extLst>
            </p:cNvPr>
            <p:cNvSpPr/>
            <p:nvPr/>
          </p:nvSpPr>
          <p:spPr>
            <a:xfrm>
              <a:off x="6746243" y="1760044"/>
              <a:ext cx="1519336" cy="438582"/>
            </a:xfrm>
            <a:prstGeom prst="rect">
              <a:avLst/>
            </a:prstGeom>
          </p:spPr>
          <p:txBody>
            <a:bodyPr wrap="square" lIns="0" tIns="0" rIns="0" bIns="0" anchor="t">
              <a:spAutoFit/>
            </a:bodyPr>
            <a:lstStyle/>
            <a:p>
              <a:pPr lvl="0"/>
              <a:r>
                <a:rPr lang="fr-FR" sz="1050" dirty="0"/>
                <a:t>Plus de </a:t>
              </a:r>
              <a:r>
                <a:rPr lang="fr-FR" b="1" dirty="0">
                  <a:solidFill>
                    <a:schemeClr val="accent1"/>
                  </a:solidFill>
                </a:rPr>
                <a:t>411.000</a:t>
              </a:r>
            </a:p>
            <a:p>
              <a:pPr lvl="0"/>
              <a:r>
                <a:rPr lang="fr-FR" sz="1050" dirty="0"/>
                <a:t>Experts et professionnels</a:t>
              </a:r>
            </a:p>
          </p:txBody>
        </p:sp>
        <p:sp>
          <p:nvSpPr>
            <p:cNvPr id="543" name="Oval 63">
              <a:extLst>
                <a:ext uri="{FF2B5EF4-FFF2-40B4-BE49-F238E27FC236}">
                  <a16:creationId xmlns:a16="http://schemas.microsoft.com/office/drawing/2014/main" id="{91706061-4C0B-4D7E-B7BA-FEC51F7C7EFA}"/>
                </a:ext>
              </a:extLst>
            </p:cNvPr>
            <p:cNvSpPr/>
            <p:nvPr/>
          </p:nvSpPr>
          <p:spPr bwMode="gray">
            <a:xfrm>
              <a:off x="6345247" y="2175356"/>
              <a:ext cx="239852" cy="58841"/>
            </a:xfrm>
            <a:prstGeom prst="ellipse">
              <a:avLst/>
            </a:prstGeom>
            <a:solidFill>
              <a:schemeClr val="bg1">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fr-FR" sz="1200" b="1">
                <a:solidFill>
                  <a:schemeClr val="bg1"/>
                </a:solidFill>
              </a:endParaRPr>
            </a:p>
          </p:txBody>
        </p:sp>
        <p:grpSp>
          <p:nvGrpSpPr>
            <p:cNvPr id="544" name="Group 543">
              <a:extLst>
                <a:ext uri="{FF2B5EF4-FFF2-40B4-BE49-F238E27FC236}">
                  <a16:creationId xmlns:a16="http://schemas.microsoft.com/office/drawing/2014/main" id="{B2D4EC6A-FF55-427D-A49C-B530501AED78}"/>
                </a:ext>
              </a:extLst>
            </p:cNvPr>
            <p:cNvGrpSpPr/>
            <p:nvPr/>
          </p:nvGrpSpPr>
          <p:grpSpPr>
            <a:xfrm>
              <a:off x="6281276" y="1753987"/>
              <a:ext cx="360000" cy="360000"/>
              <a:chOff x="6281276" y="1753987"/>
              <a:chExt cx="360000" cy="360000"/>
            </a:xfrm>
          </p:grpSpPr>
          <p:sp>
            <p:nvSpPr>
              <p:cNvPr id="545" name="Oval 544">
                <a:extLst>
                  <a:ext uri="{FF2B5EF4-FFF2-40B4-BE49-F238E27FC236}">
                    <a16:creationId xmlns:a16="http://schemas.microsoft.com/office/drawing/2014/main" id="{AE2BA02C-2C28-473C-9733-B9F80097F813}"/>
                  </a:ext>
                </a:extLst>
              </p:cNvPr>
              <p:cNvSpPr/>
              <p:nvPr/>
            </p:nvSpPr>
            <p:spPr bwMode="gray">
              <a:xfrm>
                <a:off x="6281276" y="1753987"/>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pic>
            <p:nvPicPr>
              <p:cNvPr id="546" name="Graphic 545" descr="Users with solid fill">
                <a:extLst>
                  <a:ext uri="{FF2B5EF4-FFF2-40B4-BE49-F238E27FC236}">
                    <a16:creationId xmlns:a16="http://schemas.microsoft.com/office/drawing/2014/main" id="{CCD15BBB-832C-46E2-AEAD-09C8F18D33D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13239" y="1786339"/>
                <a:ext cx="294162" cy="294162"/>
              </a:xfrm>
              <a:prstGeom prst="rect">
                <a:avLst/>
              </a:prstGeom>
            </p:spPr>
          </p:pic>
        </p:grpSp>
      </p:grpSp>
      <p:grpSp>
        <p:nvGrpSpPr>
          <p:cNvPr id="547" name="Group 546">
            <a:extLst>
              <a:ext uri="{FF2B5EF4-FFF2-40B4-BE49-F238E27FC236}">
                <a16:creationId xmlns:a16="http://schemas.microsoft.com/office/drawing/2014/main" id="{F8D80365-1D48-4CBF-93B1-B97CC7A956A0}"/>
              </a:ext>
            </a:extLst>
          </p:cNvPr>
          <p:cNvGrpSpPr/>
          <p:nvPr/>
        </p:nvGrpSpPr>
        <p:grpSpPr>
          <a:xfrm>
            <a:off x="4201389" y="5335792"/>
            <a:ext cx="1984303" cy="480210"/>
            <a:chOff x="6281276" y="2515987"/>
            <a:chExt cx="1984303" cy="480210"/>
          </a:xfrm>
        </p:grpSpPr>
        <p:sp>
          <p:nvSpPr>
            <p:cNvPr id="548" name="Rectangle 547">
              <a:extLst>
                <a:ext uri="{FF2B5EF4-FFF2-40B4-BE49-F238E27FC236}">
                  <a16:creationId xmlns:a16="http://schemas.microsoft.com/office/drawing/2014/main" id="{B39E544F-560C-44EB-A03B-73E9966C594B}"/>
                </a:ext>
              </a:extLst>
            </p:cNvPr>
            <p:cNvSpPr/>
            <p:nvPr/>
          </p:nvSpPr>
          <p:spPr>
            <a:xfrm>
              <a:off x="6746243" y="2522044"/>
              <a:ext cx="1519336" cy="438582"/>
            </a:xfrm>
            <a:prstGeom prst="rect">
              <a:avLst/>
            </a:prstGeom>
          </p:spPr>
          <p:txBody>
            <a:bodyPr wrap="square" lIns="0" tIns="0" rIns="0" bIns="0" anchor="t">
              <a:spAutoFit/>
            </a:bodyPr>
            <a:lstStyle/>
            <a:p>
              <a:pPr lvl="0"/>
              <a:r>
                <a:rPr lang="fr-FR" sz="1050" dirty="0"/>
                <a:t>Plus de </a:t>
              </a:r>
              <a:r>
                <a:rPr lang="fr-FR" b="1" dirty="0">
                  <a:solidFill>
                    <a:schemeClr val="accent5"/>
                  </a:solidFill>
                </a:rPr>
                <a:t>150 Pays</a:t>
              </a:r>
            </a:p>
            <a:p>
              <a:pPr lvl="0"/>
              <a:r>
                <a:rPr lang="fr-FR" sz="1050" dirty="0"/>
                <a:t>Couverts autour du globe</a:t>
              </a:r>
            </a:p>
          </p:txBody>
        </p:sp>
        <p:sp>
          <p:nvSpPr>
            <p:cNvPr id="549" name="Oval 63">
              <a:extLst>
                <a:ext uri="{FF2B5EF4-FFF2-40B4-BE49-F238E27FC236}">
                  <a16:creationId xmlns:a16="http://schemas.microsoft.com/office/drawing/2014/main" id="{5E3F20A3-A5F7-49C4-9E37-D4FEE7AC6115}"/>
                </a:ext>
              </a:extLst>
            </p:cNvPr>
            <p:cNvSpPr/>
            <p:nvPr/>
          </p:nvSpPr>
          <p:spPr bwMode="gray">
            <a:xfrm>
              <a:off x="6345247" y="2937356"/>
              <a:ext cx="239852" cy="58841"/>
            </a:xfrm>
            <a:prstGeom prst="ellipse">
              <a:avLst/>
            </a:prstGeom>
            <a:solidFill>
              <a:schemeClr val="bg1">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fr-FR" sz="1200" b="1">
                <a:solidFill>
                  <a:schemeClr val="bg1"/>
                </a:solidFill>
              </a:endParaRPr>
            </a:p>
          </p:txBody>
        </p:sp>
        <p:grpSp>
          <p:nvGrpSpPr>
            <p:cNvPr id="550" name="Group 549">
              <a:extLst>
                <a:ext uri="{FF2B5EF4-FFF2-40B4-BE49-F238E27FC236}">
                  <a16:creationId xmlns:a16="http://schemas.microsoft.com/office/drawing/2014/main" id="{336E5B7A-4C6B-4559-86F2-562295B21ACC}"/>
                </a:ext>
              </a:extLst>
            </p:cNvPr>
            <p:cNvGrpSpPr/>
            <p:nvPr/>
          </p:nvGrpSpPr>
          <p:grpSpPr>
            <a:xfrm>
              <a:off x="6281276" y="2515987"/>
              <a:ext cx="360000" cy="360000"/>
              <a:chOff x="6281276" y="2515987"/>
              <a:chExt cx="360000" cy="360000"/>
            </a:xfrm>
          </p:grpSpPr>
          <p:sp>
            <p:nvSpPr>
              <p:cNvPr id="551" name="Oval 550">
                <a:extLst>
                  <a:ext uri="{FF2B5EF4-FFF2-40B4-BE49-F238E27FC236}">
                    <a16:creationId xmlns:a16="http://schemas.microsoft.com/office/drawing/2014/main" id="{C9EEB700-2D52-4F90-BE33-97B4DD49CDB6}"/>
                  </a:ext>
                </a:extLst>
              </p:cNvPr>
              <p:cNvSpPr/>
              <p:nvPr/>
            </p:nvSpPr>
            <p:spPr bwMode="gray">
              <a:xfrm>
                <a:off x="6281276" y="2515987"/>
                <a:ext cx="360000" cy="3600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pic>
            <p:nvPicPr>
              <p:cNvPr id="552" name="Graphic 551" descr="World outline">
                <a:extLst>
                  <a:ext uri="{FF2B5EF4-FFF2-40B4-BE49-F238E27FC236}">
                    <a16:creationId xmlns:a16="http://schemas.microsoft.com/office/drawing/2014/main" id="{C086DD36-54D5-4685-A3F7-148FD16D6A6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15999" y="2550710"/>
                <a:ext cx="290555" cy="290555"/>
              </a:xfrm>
              <a:prstGeom prst="rect">
                <a:avLst/>
              </a:prstGeom>
            </p:spPr>
          </p:pic>
        </p:grpSp>
      </p:grpSp>
      <p:grpSp>
        <p:nvGrpSpPr>
          <p:cNvPr id="553" name="Group 552">
            <a:extLst>
              <a:ext uri="{FF2B5EF4-FFF2-40B4-BE49-F238E27FC236}">
                <a16:creationId xmlns:a16="http://schemas.microsoft.com/office/drawing/2014/main" id="{4FBE6BAC-CAF8-4469-A1C3-4A6831957D9A}"/>
              </a:ext>
            </a:extLst>
          </p:cNvPr>
          <p:cNvGrpSpPr/>
          <p:nvPr/>
        </p:nvGrpSpPr>
        <p:grpSpPr>
          <a:xfrm>
            <a:off x="4201389" y="6152483"/>
            <a:ext cx="1984303" cy="609835"/>
            <a:chOff x="9567617" y="2180876"/>
            <a:chExt cx="1984303" cy="609835"/>
          </a:xfrm>
        </p:grpSpPr>
        <p:grpSp>
          <p:nvGrpSpPr>
            <p:cNvPr id="554" name="Group 553">
              <a:extLst>
                <a:ext uri="{FF2B5EF4-FFF2-40B4-BE49-F238E27FC236}">
                  <a16:creationId xmlns:a16="http://schemas.microsoft.com/office/drawing/2014/main" id="{552DD832-6028-47E1-8677-603C6E063F9C}"/>
                </a:ext>
              </a:extLst>
            </p:cNvPr>
            <p:cNvGrpSpPr/>
            <p:nvPr/>
          </p:nvGrpSpPr>
          <p:grpSpPr>
            <a:xfrm>
              <a:off x="9631588" y="2190547"/>
              <a:ext cx="1920332" cy="600164"/>
              <a:chOff x="6345247" y="2522044"/>
              <a:chExt cx="1920332" cy="600164"/>
            </a:xfrm>
          </p:grpSpPr>
          <p:sp>
            <p:nvSpPr>
              <p:cNvPr id="556" name="Rectangle 555">
                <a:extLst>
                  <a:ext uri="{FF2B5EF4-FFF2-40B4-BE49-F238E27FC236}">
                    <a16:creationId xmlns:a16="http://schemas.microsoft.com/office/drawing/2014/main" id="{E4CB17D8-7F2F-494B-AA33-58777E752A86}"/>
                  </a:ext>
                </a:extLst>
              </p:cNvPr>
              <p:cNvSpPr/>
              <p:nvPr/>
            </p:nvSpPr>
            <p:spPr>
              <a:xfrm>
                <a:off x="6746243" y="2522044"/>
                <a:ext cx="1519336" cy="600164"/>
              </a:xfrm>
              <a:prstGeom prst="rect">
                <a:avLst/>
              </a:prstGeom>
            </p:spPr>
            <p:txBody>
              <a:bodyPr wrap="square" lIns="0" tIns="0" rIns="0" bIns="0" anchor="t">
                <a:spAutoFit/>
              </a:bodyPr>
              <a:lstStyle/>
              <a:p>
                <a:pPr lvl="0"/>
                <a:r>
                  <a:rPr lang="fr-FR" sz="1050" dirty="0"/>
                  <a:t>Plus de </a:t>
                </a:r>
                <a:r>
                  <a:rPr lang="fr-FR" b="1" dirty="0">
                    <a:solidFill>
                      <a:schemeClr val="accent4"/>
                    </a:solidFill>
                  </a:rPr>
                  <a:t>2300</a:t>
                </a:r>
              </a:p>
              <a:p>
                <a:pPr lvl="0"/>
                <a:r>
                  <a:rPr lang="fr-FR" sz="1050" dirty="0"/>
                  <a:t>Missions mondiales en matière de risques cyber</a:t>
                </a:r>
              </a:p>
            </p:txBody>
          </p:sp>
          <p:sp>
            <p:nvSpPr>
              <p:cNvPr id="557" name="Oval 63">
                <a:extLst>
                  <a:ext uri="{FF2B5EF4-FFF2-40B4-BE49-F238E27FC236}">
                    <a16:creationId xmlns:a16="http://schemas.microsoft.com/office/drawing/2014/main" id="{05731C6C-DE1D-4830-89EE-C95C484F48FF}"/>
                  </a:ext>
                </a:extLst>
              </p:cNvPr>
              <p:cNvSpPr/>
              <p:nvPr/>
            </p:nvSpPr>
            <p:spPr bwMode="gray">
              <a:xfrm>
                <a:off x="6345247" y="2937356"/>
                <a:ext cx="239852" cy="58841"/>
              </a:xfrm>
              <a:prstGeom prst="ellipse">
                <a:avLst/>
              </a:prstGeom>
              <a:solidFill>
                <a:schemeClr val="bg1">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fr-FR" sz="1200" b="1">
                  <a:solidFill>
                    <a:schemeClr val="bg1"/>
                  </a:solidFill>
                </a:endParaRPr>
              </a:p>
            </p:txBody>
          </p:sp>
        </p:grpSp>
        <p:sp>
          <p:nvSpPr>
            <p:cNvPr id="555" name="Forme libre : forme 16">
              <a:extLst>
                <a:ext uri="{FF2B5EF4-FFF2-40B4-BE49-F238E27FC236}">
                  <a16:creationId xmlns:a16="http://schemas.microsoft.com/office/drawing/2014/main" id="{89E6B562-B16D-414F-9E27-1096D20C248C}"/>
                </a:ext>
              </a:extLst>
            </p:cNvPr>
            <p:cNvSpPr/>
            <p:nvPr/>
          </p:nvSpPr>
          <p:spPr>
            <a:xfrm>
              <a:off x="9567617" y="2180876"/>
              <a:ext cx="360000" cy="360000"/>
            </a:xfrm>
            <a:custGeom>
              <a:avLst/>
              <a:gdLst>
                <a:gd name="connsiteX0" fmla="*/ 106013 w 266700"/>
                <a:gd name="connsiteY0" fmla="*/ 182975 h 266700"/>
                <a:gd name="connsiteX1" fmla="*/ 134969 w 266700"/>
                <a:gd name="connsiteY1" fmla="*/ 207264 h 266700"/>
                <a:gd name="connsiteX2" fmla="*/ 197739 w 266700"/>
                <a:gd name="connsiteY2" fmla="*/ 91250 h 266700"/>
                <a:gd name="connsiteX3" fmla="*/ 106013 w 266700"/>
                <a:gd name="connsiteY3" fmla="*/ 182975 h 266700"/>
                <a:gd name="connsiteX4" fmla="*/ 207740 w 266700"/>
                <a:gd name="connsiteY4" fmla="*/ 78010 h 266700"/>
                <a:gd name="connsiteX5" fmla="*/ 204597 w 266700"/>
                <a:gd name="connsiteY5" fmla="*/ 73247 h 266700"/>
                <a:gd name="connsiteX6" fmla="*/ 199358 w 266700"/>
                <a:gd name="connsiteY6" fmla="*/ 73819 h 266700"/>
                <a:gd name="connsiteX7" fmla="*/ 138684 w 266700"/>
                <a:gd name="connsiteY7" fmla="*/ 63246 h 266700"/>
                <a:gd name="connsiteX8" fmla="*/ 130778 w 266700"/>
                <a:gd name="connsiteY8" fmla="*/ 63246 h 266700"/>
                <a:gd name="connsiteX9" fmla="*/ 70104 w 266700"/>
                <a:gd name="connsiteY9" fmla="*/ 73819 h 266700"/>
                <a:gd name="connsiteX10" fmla="*/ 64865 w 266700"/>
                <a:gd name="connsiteY10" fmla="*/ 73247 h 266700"/>
                <a:gd name="connsiteX11" fmla="*/ 61722 w 266700"/>
                <a:gd name="connsiteY11" fmla="*/ 78010 h 266700"/>
                <a:gd name="connsiteX12" fmla="*/ 132398 w 266700"/>
                <a:gd name="connsiteY12" fmla="*/ 218313 h 266700"/>
                <a:gd name="connsiteX13" fmla="*/ 132969 w 266700"/>
                <a:gd name="connsiteY13" fmla="*/ 218884 h 266700"/>
                <a:gd name="connsiteX14" fmla="*/ 133541 w 266700"/>
                <a:gd name="connsiteY14" fmla="*/ 218884 h 266700"/>
                <a:gd name="connsiteX15" fmla="*/ 135160 w 266700"/>
                <a:gd name="connsiteY15" fmla="*/ 219361 h 266700"/>
                <a:gd name="connsiteX16" fmla="*/ 136208 w 266700"/>
                <a:gd name="connsiteY16" fmla="*/ 218884 h 266700"/>
                <a:gd name="connsiteX17" fmla="*/ 136779 w 266700"/>
                <a:gd name="connsiteY17" fmla="*/ 218884 h 266700"/>
                <a:gd name="connsiteX18" fmla="*/ 137827 w 266700"/>
                <a:gd name="connsiteY18" fmla="*/ 218313 h 266700"/>
                <a:gd name="connsiteX19" fmla="*/ 207740 w 266700"/>
                <a:gd name="connsiteY19" fmla="*/ 78010 h 266700"/>
                <a:gd name="connsiteX20" fmla="*/ 270034 w 266700"/>
                <a:gd name="connsiteY20" fmla="*/ 134969 h 266700"/>
                <a:gd name="connsiteX21" fmla="*/ 135065 w 266700"/>
                <a:gd name="connsiteY21" fmla="*/ 269938 h 266700"/>
                <a:gd name="connsiteX22" fmla="*/ 0 w 266700"/>
                <a:gd name="connsiteY22" fmla="*/ 134969 h 266700"/>
                <a:gd name="connsiteX23" fmla="*/ 134969 w 266700"/>
                <a:gd name="connsiteY23" fmla="*/ 0 h 266700"/>
                <a:gd name="connsiteX24" fmla="*/ 270034 w 266700"/>
                <a:gd name="connsiteY24" fmla="*/ 134969 h 266700"/>
                <a:gd name="connsiteX25" fmla="*/ 170307 w 266700"/>
                <a:gd name="connsiteY25" fmla="*/ 90202 h 266700"/>
                <a:gd name="connsiteX26" fmla="*/ 93345 w 266700"/>
                <a:gd name="connsiteY26" fmla="*/ 167164 h 266700"/>
                <a:gd name="connsiteX27" fmla="*/ 98584 w 266700"/>
                <a:gd name="connsiteY27" fmla="*/ 174593 h 266700"/>
                <a:gd name="connsiteX28" fmla="*/ 182975 w 266700"/>
                <a:gd name="connsiteY28" fmla="*/ 90202 h 266700"/>
                <a:gd name="connsiteX29" fmla="*/ 170307 w 266700"/>
                <a:gd name="connsiteY29" fmla="*/ 90202 h 266700"/>
                <a:gd name="connsiteX30" fmla="*/ 157163 w 266700"/>
                <a:gd name="connsiteY30" fmla="*/ 87535 h 266700"/>
                <a:gd name="connsiteX31" fmla="*/ 87535 w 266700"/>
                <a:gd name="connsiteY31" fmla="*/ 157639 h 266700"/>
                <a:gd name="connsiteX32" fmla="*/ 72200 w 266700"/>
                <a:gd name="connsiteY32" fmla="*/ 86963 h 266700"/>
                <a:gd name="connsiteX33" fmla="*/ 134969 w 266700"/>
                <a:gd name="connsiteY33" fmla="*/ 74867 h 266700"/>
                <a:gd name="connsiteX34" fmla="*/ 157163 w 266700"/>
                <a:gd name="connsiteY34" fmla="*/ 8753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66700" h="266700">
                  <a:moveTo>
                    <a:pt x="106013" y="182975"/>
                  </a:moveTo>
                  <a:cubicBezTo>
                    <a:pt x="118110" y="196120"/>
                    <a:pt x="129731" y="204025"/>
                    <a:pt x="134969" y="207264"/>
                  </a:cubicBezTo>
                  <a:cubicBezTo>
                    <a:pt x="147638" y="199834"/>
                    <a:pt x="200311" y="164021"/>
                    <a:pt x="197739" y="91250"/>
                  </a:cubicBezTo>
                  <a:lnTo>
                    <a:pt x="106013" y="182975"/>
                  </a:lnTo>
                  <a:close/>
                  <a:moveTo>
                    <a:pt x="207740" y="78010"/>
                  </a:moveTo>
                  <a:cubicBezTo>
                    <a:pt x="207740" y="75914"/>
                    <a:pt x="206693" y="74295"/>
                    <a:pt x="204597" y="73247"/>
                  </a:cubicBezTo>
                  <a:cubicBezTo>
                    <a:pt x="202978" y="72771"/>
                    <a:pt x="200882" y="72771"/>
                    <a:pt x="199358" y="73819"/>
                  </a:cubicBezTo>
                  <a:cubicBezTo>
                    <a:pt x="199358" y="73819"/>
                    <a:pt x="167164" y="91726"/>
                    <a:pt x="138684" y="63246"/>
                  </a:cubicBezTo>
                  <a:cubicBezTo>
                    <a:pt x="136589" y="61150"/>
                    <a:pt x="132874" y="61150"/>
                    <a:pt x="130778" y="63246"/>
                  </a:cubicBezTo>
                  <a:cubicBezTo>
                    <a:pt x="102870" y="91726"/>
                    <a:pt x="71152" y="74295"/>
                    <a:pt x="70104" y="73819"/>
                  </a:cubicBezTo>
                  <a:cubicBezTo>
                    <a:pt x="68485" y="72771"/>
                    <a:pt x="66389" y="72771"/>
                    <a:pt x="64865" y="73247"/>
                  </a:cubicBezTo>
                  <a:cubicBezTo>
                    <a:pt x="63246" y="74295"/>
                    <a:pt x="61722" y="75914"/>
                    <a:pt x="61722" y="78010"/>
                  </a:cubicBezTo>
                  <a:cubicBezTo>
                    <a:pt x="50102" y="175069"/>
                    <a:pt x="131350" y="218313"/>
                    <a:pt x="132398" y="218313"/>
                  </a:cubicBezTo>
                  <a:cubicBezTo>
                    <a:pt x="132398" y="218884"/>
                    <a:pt x="132969" y="218884"/>
                    <a:pt x="132969" y="218884"/>
                  </a:cubicBezTo>
                  <a:lnTo>
                    <a:pt x="133541" y="218884"/>
                  </a:lnTo>
                  <a:cubicBezTo>
                    <a:pt x="134017" y="219361"/>
                    <a:pt x="134588" y="219361"/>
                    <a:pt x="135160" y="219361"/>
                  </a:cubicBezTo>
                  <a:cubicBezTo>
                    <a:pt x="135731" y="219361"/>
                    <a:pt x="135731" y="219361"/>
                    <a:pt x="136208" y="218884"/>
                  </a:cubicBezTo>
                  <a:lnTo>
                    <a:pt x="136779" y="218884"/>
                  </a:lnTo>
                  <a:cubicBezTo>
                    <a:pt x="137351" y="218884"/>
                    <a:pt x="137351" y="218884"/>
                    <a:pt x="137827" y="218313"/>
                  </a:cubicBezTo>
                  <a:cubicBezTo>
                    <a:pt x="138208" y="218313"/>
                    <a:pt x="219361" y="175069"/>
                    <a:pt x="207740" y="78010"/>
                  </a:cubicBezTo>
                  <a:moveTo>
                    <a:pt x="270034" y="134969"/>
                  </a:moveTo>
                  <a:cubicBezTo>
                    <a:pt x="270034" y="209359"/>
                    <a:pt x="209360" y="269938"/>
                    <a:pt x="135065" y="269938"/>
                  </a:cubicBezTo>
                  <a:cubicBezTo>
                    <a:pt x="60103" y="270034"/>
                    <a:pt x="0" y="209359"/>
                    <a:pt x="0" y="134969"/>
                  </a:cubicBezTo>
                  <a:cubicBezTo>
                    <a:pt x="0" y="60103"/>
                    <a:pt x="60103" y="0"/>
                    <a:pt x="134969" y="0"/>
                  </a:cubicBezTo>
                  <a:cubicBezTo>
                    <a:pt x="209360" y="0"/>
                    <a:pt x="270034" y="60103"/>
                    <a:pt x="270034" y="134969"/>
                  </a:cubicBezTo>
                  <a:moveTo>
                    <a:pt x="170307" y="90202"/>
                  </a:moveTo>
                  <a:lnTo>
                    <a:pt x="93345" y="167164"/>
                  </a:lnTo>
                  <a:cubicBezTo>
                    <a:pt x="94964" y="169831"/>
                    <a:pt x="97060" y="171926"/>
                    <a:pt x="98584" y="174593"/>
                  </a:cubicBezTo>
                  <a:lnTo>
                    <a:pt x="182975" y="90202"/>
                  </a:lnTo>
                  <a:cubicBezTo>
                    <a:pt x="178784" y="90678"/>
                    <a:pt x="174593" y="90678"/>
                    <a:pt x="170307" y="90202"/>
                  </a:cubicBezTo>
                  <a:moveTo>
                    <a:pt x="157163" y="87535"/>
                  </a:moveTo>
                  <a:lnTo>
                    <a:pt x="87535" y="157639"/>
                  </a:lnTo>
                  <a:cubicBezTo>
                    <a:pt x="76962" y="139160"/>
                    <a:pt x="70104" y="116014"/>
                    <a:pt x="72200" y="86963"/>
                  </a:cubicBezTo>
                  <a:cubicBezTo>
                    <a:pt x="84868" y="91154"/>
                    <a:pt x="110681" y="95917"/>
                    <a:pt x="134969" y="74867"/>
                  </a:cubicBezTo>
                  <a:cubicBezTo>
                    <a:pt x="142399" y="81248"/>
                    <a:pt x="149733" y="85439"/>
                    <a:pt x="157163" y="87535"/>
                  </a:cubicBezTo>
                </a:path>
              </a:pathLst>
            </a:custGeom>
            <a:solidFill>
              <a:schemeClr val="accent4"/>
            </a:solidFill>
            <a:ln w="9525" cap="flat">
              <a:noFill/>
              <a:prstDash val="solid"/>
              <a:miter/>
            </a:ln>
          </p:spPr>
          <p:txBody>
            <a:bodyPr rtlCol="0" anchor="ctr"/>
            <a:lstStyle/>
            <a:p>
              <a:endParaRPr lang="fr-FR"/>
            </a:p>
          </p:txBody>
        </p:sp>
      </p:grpSp>
      <p:grpSp>
        <p:nvGrpSpPr>
          <p:cNvPr id="19" name="Group 18">
            <a:extLst>
              <a:ext uri="{FF2B5EF4-FFF2-40B4-BE49-F238E27FC236}">
                <a16:creationId xmlns:a16="http://schemas.microsoft.com/office/drawing/2014/main" id="{1DC95DED-AE68-49DF-B788-5C02F9B6DC37}"/>
              </a:ext>
            </a:extLst>
          </p:cNvPr>
          <p:cNvGrpSpPr/>
          <p:nvPr/>
        </p:nvGrpSpPr>
        <p:grpSpPr>
          <a:xfrm>
            <a:off x="9926832" y="2220057"/>
            <a:ext cx="3346636" cy="4464324"/>
            <a:chOff x="10865740" y="1045376"/>
            <a:chExt cx="3900954" cy="5593860"/>
          </a:xfrm>
        </p:grpSpPr>
        <p:pic>
          <p:nvPicPr>
            <p:cNvPr id="558" name="Graphique 1342" descr="Afrique avec un remplissage uni">
              <a:extLst>
                <a:ext uri="{FF2B5EF4-FFF2-40B4-BE49-F238E27FC236}">
                  <a16:creationId xmlns:a16="http://schemas.microsoft.com/office/drawing/2014/main" id="{ED5DC17A-4D6F-49D0-B03E-3E5595904353}"/>
                </a:ext>
              </a:extLst>
            </p:cNvPr>
            <p:cNvPicPr>
              <a:picLocks noChangeAspect="1"/>
            </p:cNvPicPr>
            <p:nvPr>
              <p:custDataLst>
                <p:tags r:id="rId1"/>
              </p:custDataLst>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085737" y="4214542"/>
              <a:ext cx="2424694" cy="2424694"/>
            </a:xfrm>
            <a:prstGeom prst="rect">
              <a:avLst/>
            </a:prstGeom>
          </p:spPr>
        </p:pic>
        <p:pic>
          <p:nvPicPr>
            <p:cNvPr id="559" name="Graphique 1341" descr="Europe avec un remplissage uni">
              <a:extLst>
                <a:ext uri="{FF2B5EF4-FFF2-40B4-BE49-F238E27FC236}">
                  <a16:creationId xmlns:a16="http://schemas.microsoft.com/office/drawing/2014/main" id="{41BFC673-DDA6-48BE-85F9-CDC5E04FDACD}"/>
                </a:ext>
              </a:extLst>
            </p:cNvPr>
            <p:cNvPicPr>
              <a:picLocks noChangeAspect="1"/>
            </p:cNvPicPr>
            <p:nvPr>
              <p:custDataLst>
                <p:tags r:id="rId2"/>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865740" y="1045376"/>
              <a:ext cx="3900954" cy="3900955"/>
            </a:xfrm>
            <a:prstGeom prst="rect">
              <a:avLst/>
            </a:prstGeom>
          </p:spPr>
        </p:pic>
        <p:sp>
          <p:nvSpPr>
            <p:cNvPr id="562" name="Rectangle 561">
              <a:extLst>
                <a:ext uri="{FF2B5EF4-FFF2-40B4-BE49-F238E27FC236}">
                  <a16:creationId xmlns:a16="http://schemas.microsoft.com/office/drawing/2014/main" id="{E58DF6CF-D551-45FB-A1DE-C719953F1F84}"/>
                </a:ext>
              </a:extLst>
            </p:cNvPr>
            <p:cNvSpPr/>
            <p:nvPr>
              <p:custDataLst>
                <p:tags r:id="rId3"/>
              </p:custDataLst>
            </p:nvPr>
          </p:nvSpPr>
          <p:spPr>
            <a:xfrm>
              <a:off x="11522877" y="4005224"/>
              <a:ext cx="1280508" cy="90171"/>
            </a:xfrm>
            <a:prstGeom prst="rect">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900" b="1">
                  <a:solidFill>
                    <a:schemeClr val="tx1"/>
                  </a:solidFill>
                  <a:latin typeface="Calibri" panose="020F0502020204030204" pitchFamily="34" charset="0"/>
                  <a:cs typeface="Calibri" panose="020F0502020204030204" pitchFamily="34" charset="0"/>
                </a:rPr>
                <a:t>ECC Madrid</a:t>
              </a:r>
            </a:p>
          </p:txBody>
        </p:sp>
        <p:sp>
          <p:nvSpPr>
            <p:cNvPr id="560" name="Rectangle 559">
              <a:extLst>
                <a:ext uri="{FF2B5EF4-FFF2-40B4-BE49-F238E27FC236}">
                  <a16:creationId xmlns:a16="http://schemas.microsoft.com/office/drawing/2014/main" id="{424C22C5-4746-4101-B8B3-DFC71AD04270}"/>
                </a:ext>
              </a:extLst>
            </p:cNvPr>
            <p:cNvSpPr/>
            <p:nvPr>
              <p:custDataLst>
                <p:tags r:id="rId4"/>
              </p:custDataLst>
            </p:nvPr>
          </p:nvSpPr>
          <p:spPr>
            <a:xfrm>
              <a:off x="11665860" y="4438713"/>
              <a:ext cx="1226374" cy="406835"/>
            </a:xfrm>
            <a:prstGeom prst="rect">
              <a:avLst/>
            </a:prstGeom>
            <a:solidFill>
              <a:schemeClr val="accent1">
                <a:lumMod val="20000"/>
                <a:lumOff val="80000"/>
              </a:schemeClr>
            </a:solidFill>
            <a:ln w="9525">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000" b="1">
                  <a:solidFill>
                    <a:schemeClr val="tx1"/>
                  </a:solidFill>
                  <a:latin typeface="Calibri" panose="020F0502020204030204" pitchFamily="34" charset="0"/>
                  <a:cs typeface="Calibri" panose="020F0502020204030204" pitchFamily="34" charset="0"/>
                </a:rPr>
                <a:t>Casablanca</a:t>
              </a:r>
            </a:p>
            <a:p>
              <a:pPr algn="ctr" defTabSz="914400"/>
              <a:r>
                <a:rPr lang="fr-FR" sz="1000" b="1">
                  <a:solidFill>
                    <a:schemeClr val="tx1"/>
                  </a:solidFill>
                  <a:latin typeface="Calibri" panose="020F0502020204030204" pitchFamily="34" charset="0"/>
                  <a:cs typeface="Calibri" panose="020F0502020204030204" pitchFamily="34" charset="0"/>
                </a:rPr>
                <a:t>DMCC</a:t>
              </a:r>
            </a:p>
          </p:txBody>
        </p:sp>
        <p:sp>
          <p:nvSpPr>
            <p:cNvPr id="563" name="Rectangle 562">
              <a:extLst>
                <a:ext uri="{FF2B5EF4-FFF2-40B4-BE49-F238E27FC236}">
                  <a16:creationId xmlns:a16="http://schemas.microsoft.com/office/drawing/2014/main" id="{07B38B3A-CF20-4113-BC98-A78E4C3B04B9}"/>
                </a:ext>
              </a:extLst>
            </p:cNvPr>
            <p:cNvSpPr/>
            <p:nvPr>
              <p:custDataLst>
                <p:tags r:id="rId5"/>
              </p:custDataLst>
            </p:nvPr>
          </p:nvSpPr>
          <p:spPr>
            <a:xfrm>
              <a:off x="11726701" y="3535941"/>
              <a:ext cx="1889374" cy="237981"/>
            </a:xfrm>
            <a:prstGeom prst="rect">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Paris Cyber Campus</a:t>
              </a:r>
            </a:p>
          </p:txBody>
        </p:sp>
        <p:pic>
          <p:nvPicPr>
            <p:cNvPr id="566" name="Graphic 565" descr="Marker outline">
              <a:extLst>
                <a:ext uri="{FF2B5EF4-FFF2-40B4-BE49-F238E27FC236}">
                  <a16:creationId xmlns:a16="http://schemas.microsoft.com/office/drawing/2014/main" id="{7EDE5560-0BBF-433A-95A4-AE9B3C3AED4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1827764" y="3531981"/>
              <a:ext cx="333754" cy="333753"/>
            </a:xfrm>
            <a:prstGeom prst="rect">
              <a:avLst/>
            </a:prstGeom>
          </p:spPr>
        </p:pic>
        <p:sp>
          <p:nvSpPr>
            <p:cNvPr id="567" name="Arc 566">
              <a:extLst>
                <a:ext uri="{FF2B5EF4-FFF2-40B4-BE49-F238E27FC236}">
                  <a16:creationId xmlns:a16="http://schemas.microsoft.com/office/drawing/2014/main" id="{E4E14E29-C432-42F1-B144-08D3BEB4CEB6}"/>
                </a:ext>
              </a:extLst>
            </p:cNvPr>
            <p:cNvSpPr/>
            <p:nvPr>
              <p:custDataLst>
                <p:tags r:id="rId6"/>
              </p:custDataLst>
            </p:nvPr>
          </p:nvSpPr>
          <p:spPr>
            <a:xfrm rot="6685486" flipV="1">
              <a:off x="11425390" y="3879401"/>
              <a:ext cx="1271113" cy="1000417"/>
            </a:xfrm>
            <a:prstGeom prst="arc">
              <a:avLst>
                <a:gd name="adj1" fmla="val 12778714"/>
                <a:gd name="adj2" fmla="val 18047507"/>
              </a:avLst>
            </a:prstGeom>
            <a:ln w="28575">
              <a:solidFill>
                <a:schemeClr val="accent2">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pic>
          <p:nvPicPr>
            <p:cNvPr id="565" name="Graphic 564" descr="Marker outline">
              <a:extLst>
                <a:ext uri="{FF2B5EF4-FFF2-40B4-BE49-F238E27FC236}">
                  <a16:creationId xmlns:a16="http://schemas.microsoft.com/office/drawing/2014/main" id="{0386A914-2B75-45C9-ABAF-D89C1F995B8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1473664" y="3777885"/>
              <a:ext cx="377084" cy="377083"/>
            </a:xfrm>
            <a:prstGeom prst="rect">
              <a:avLst/>
            </a:prstGeom>
          </p:spPr>
        </p:pic>
        <p:pic>
          <p:nvPicPr>
            <p:cNvPr id="564" name="Graphic 563" descr="Marker outline">
              <a:extLst>
                <a:ext uri="{FF2B5EF4-FFF2-40B4-BE49-F238E27FC236}">
                  <a16:creationId xmlns:a16="http://schemas.microsoft.com/office/drawing/2014/main" id="{42BBA6A0-32D7-4679-95C3-DA3159568FC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1388386" y="4233399"/>
              <a:ext cx="372620" cy="355013"/>
            </a:xfrm>
            <a:prstGeom prst="rect">
              <a:avLst/>
            </a:prstGeom>
          </p:spPr>
        </p:pic>
      </p:grpSp>
      <p:grpSp>
        <p:nvGrpSpPr>
          <p:cNvPr id="7" name="Groupe 6">
            <a:extLst>
              <a:ext uri="{FF2B5EF4-FFF2-40B4-BE49-F238E27FC236}">
                <a16:creationId xmlns:a16="http://schemas.microsoft.com/office/drawing/2014/main" id="{BB980937-70BA-4A81-A18C-7AC3B452206E}"/>
              </a:ext>
            </a:extLst>
          </p:cNvPr>
          <p:cNvGrpSpPr/>
          <p:nvPr/>
        </p:nvGrpSpPr>
        <p:grpSpPr>
          <a:xfrm>
            <a:off x="6785736" y="2927778"/>
            <a:ext cx="2873110" cy="3113257"/>
            <a:chOff x="7169477" y="4000746"/>
            <a:chExt cx="2873110" cy="2548609"/>
          </a:xfrm>
          <a:noFill/>
        </p:grpSpPr>
        <p:sp>
          <p:nvSpPr>
            <p:cNvPr id="2" name="Rectangle 1">
              <a:extLst>
                <a:ext uri="{FF2B5EF4-FFF2-40B4-BE49-F238E27FC236}">
                  <a16:creationId xmlns:a16="http://schemas.microsoft.com/office/drawing/2014/main" id="{80779F18-9B9E-46ED-A5CF-D9DD67264B4D}"/>
                </a:ext>
              </a:extLst>
            </p:cNvPr>
            <p:cNvSpPr/>
            <p:nvPr/>
          </p:nvSpPr>
          <p:spPr bwMode="gray">
            <a:xfrm>
              <a:off x="7169477" y="4000746"/>
              <a:ext cx="2873110" cy="432000"/>
            </a:xfrm>
            <a:prstGeom prst="rect">
              <a:avLst/>
            </a:prstGeom>
            <a:grp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116" name="Rectangle 115">
              <a:extLst>
                <a:ext uri="{FF2B5EF4-FFF2-40B4-BE49-F238E27FC236}">
                  <a16:creationId xmlns:a16="http://schemas.microsoft.com/office/drawing/2014/main" id="{4B483E24-4838-439D-BB48-DA06298152A2}"/>
                </a:ext>
              </a:extLst>
            </p:cNvPr>
            <p:cNvSpPr/>
            <p:nvPr/>
          </p:nvSpPr>
          <p:spPr bwMode="gray">
            <a:xfrm>
              <a:off x="7169477" y="4516904"/>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dirty="0">
                  <a:latin typeface="+mj-lt"/>
                </a:rPr>
                <a:t>Detect &amp; Respond</a:t>
              </a:r>
            </a:p>
          </p:txBody>
        </p:sp>
        <p:sp>
          <p:nvSpPr>
            <p:cNvPr id="117" name="Rectangle 116">
              <a:extLst>
                <a:ext uri="{FF2B5EF4-FFF2-40B4-BE49-F238E27FC236}">
                  <a16:creationId xmlns:a16="http://schemas.microsoft.com/office/drawing/2014/main" id="{3411532A-5305-468D-AD1B-91067CE67C89}"/>
                </a:ext>
              </a:extLst>
            </p:cNvPr>
            <p:cNvSpPr/>
            <p:nvPr/>
          </p:nvSpPr>
          <p:spPr bwMode="gray">
            <a:xfrm>
              <a:off x="8644504" y="4516904"/>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dirty="0">
                  <a:latin typeface="+mj-lt"/>
                </a:rPr>
                <a:t>Identity and Access Management</a:t>
              </a:r>
            </a:p>
          </p:txBody>
        </p:sp>
        <p:sp>
          <p:nvSpPr>
            <p:cNvPr id="118" name="Rectangle 117">
              <a:extLst>
                <a:ext uri="{FF2B5EF4-FFF2-40B4-BE49-F238E27FC236}">
                  <a16:creationId xmlns:a16="http://schemas.microsoft.com/office/drawing/2014/main" id="{0F5629D5-4953-4B31-9C08-F209D043BC5E}"/>
                </a:ext>
              </a:extLst>
            </p:cNvPr>
            <p:cNvSpPr/>
            <p:nvPr/>
          </p:nvSpPr>
          <p:spPr bwMode="gray">
            <a:xfrm>
              <a:off x="7169477" y="5050559"/>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a:latin typeface="+mj-lt"/>
                </a:rPr>
                <a:t>Cloud Security</a:t>
              </a:r>
            </a:p>
          </p:txBody>
        </p:sp>
        <p:sp>
          <p:nvSpPr>
            <p:cNvPr id="119" name="Rectangle 118">
              <a:extLst>
                <a:ext uri="{FF2B5EF4-FFF2-40B4-BE49-F238E27FC236}">
                  <a16:creationId xmlns:a16="http://schemas.microsoft.com/office/drawing/2014/main" id="{5DC481B6-8439-4283-A1D1-963A1180A917}"/>
                </a:ext>
              </a:extLst>
            </p:cNvPr>
            <p:cNvSpPr/>
            <p:nvPr/>
          </p:nvSpPr>
          <p:spPr bwMode="gray">
            <a:xfrm>
              <a:off x="8644504" y="5050559"/>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a:latin typeface="+mj-lt"/>
                </a:rPr>
                <a:t>Data &amp; Privacy</a:t>
              </a:r>
            </a:p>
          </p:txBody>
        </p:sp>
        <p:sp>
          <p:nvSpPr>
            <p:cNvPr id="277" name="Rectangle 276">
              <a:extLst>
                <a:ext uri="{FF2B5EF4-FFF2-40B4-BE49-F238E27FC236}">
                  <a16:creationId xmlns:a16="http://schemas.microsoft.com/office/drawing/2014/main" id="{C69BDEC9-973B-4541-AE12-627EEC58E67B}"/>
                </a:ext>
              </a:extLst>
            </p:cNvPr>
            <p:cNvSpPr/>
            <p:nvPr/>
          </p:nvSpPr>
          <p:spPr bwMode="gray">
            <a:xfrm>
              <a:off x="7169477" y="5583957"/>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a:latin typeface="+mj-lt"/>
                </a:rPr>
                <a:t>Application Security</a:t>
              </a:r>
            </a:p>
          </p:txBody>
        </p:sp>
        <p:sp>
          <p:nvSpPr>
            <p:cNvPr id="278" name="Rectangle 277">
              <a:extLst>
                <a:ext uri="{FF2B5EF4-FFF2-40B4-BE49-F238E27FC236}">
                  <a16:creationId xmlns:a16="http://schemas.microsoft.com/office/drawing/2014/main" id="{D01EECE2-0853-4795-9EF2-F0CB657C7606}"/>
                </a:ext>
              </a:extLst>
            </p:cNvPr>
            <p:cNvSpPr/>
            <p:nvPr/>
          </p:nvSpPr>
          <p:spPr bwMode="gray">
            <a:xfrm>
              <a:off x="8644504" y="5583957"/>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a:latin typeface="+mj-lt"/>
                </a:rPr>
                <a:t>Infrastructure Security</a:t>
              </a:r>
            </a:p>
          </p:txBody>
        </p:sp>
        <p:sp>
          <p:nvSpPr>
            <p:cNvPr id="279" name="Rectangle 278">
              <a:extLst>
                <a:ext uri="{FF2B5EF4-FFF2-40B4-BE49-F238E27FC236}">
                  <a16:creationId xmlns:a16="http://schemas.microsoft.com/office/drawing/2014/main" id="{E2A8B299-704C-4080-9E6F-9B698DE05F5B}"/>
                </a:ext>
              </a:extLst>
            </p:cNvPr>
            <p:cNvSpPr/>
            <p:nvPr/>
          </p:nvSpPr>
          <p:spPr bwMode="gray">
            <a:xfrm>
              <a:off x="7169477" y="6117355"/>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a:latin typeface="+mj-lt"/>
                </a:rPr>
                <a:t>Emerging Technologies</a:t>
              </a:r>
            </a:p>
          </p:txBody>
        </p:sp>
        <p:sp>
          <p:nvSpPr>
            <p:cNvPr id="280" name="Rectangle 279">
              <a:extLst>
                <a:ext uri="{FF2B5EF4-FFF2-40B4-BE49-F238E27FC236}">
                  <a16:creationId xmlns:a16="http://schemas.microsoft.com/office/drawing/2014/main" id="{B2027423-60EA-44AA-B9BE-DDDAC10E5054}"/>
                </a:ext>
              </a:extLst>
            </p:cNvPr>
            <p:cNvSpPr/>
            <p:nvPr/>
          </p:nvSpPr>
          <p:spPr bwMode="gray">
            <a:xfrm>
              <a:off x="8644504" y="6117355"/>
              <a:ext cx="1398083" cy="432000"/>
            </a:xfrm>
            <a:prstGeom prst="rect">
              <a:avLst/>
            </a:prstGeom>
            <a:grpFill/>
            <a:ln w="3175" algn="ctr">
              <a:solidFill>
                <a:schemeClr val="accent1"/>
              </a:solidFill>
              <a:miter lim="800000"/>
              <a:headEnd/>
              <a:tailEnd/>
            </a:ln>
          </p:spPr>
          <p:txBody>
            <a:bodyPr wrap="square" lIns="88900" tIns="88900" rIns="88900" bIns="88900" rtlCol="0" anchor="ctr"/>
            <a:lstStyle/>
            <a:p>
              <a:pPr algn="ctr" defTabSz="742950">
                <a:defRPr/>
              </a:pPr>
              <a:r>
                <a:rPr lang="en-US" sz="1100" b="1">
                  <a:latin typeface="+mj-lt"/>
                </a:rPr>
                <a:t>Offensive Security</a:t>
              </a:r>
            </a:p>
          </p:txBody>
        </p:sp>
        <p:sp>
          <p:nvSpPr>
            <p:cNvPr id="121" name="Freeform 362">
              <a:extLst>
                <a:ext uri="{FF2B5EF4-FFF2-40B4-BE49-F238E27FC236}">
                  <a16:creationId xmlns:a16="http://schemas.microsoft.com/office/drawing/2014/main" id="{87FCE6BD-54CB-4164-AB14-585AE14A8CA8}"/>
                </a:ext>
              </a:extLst>
            </p:cNvPr>
            <p:cNvSpPr>
              <a:spLocks noEditPoints="1"/>
            </p:cNvSpPr>
            <p:nvPr/>
          </p:nvSpPr>
          <p:spPr bwMode="auto">
            <a:xfrm>
              <a:off x="7859925" y="4085876"/>
              <a:ext cx="288000" cy="23576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en-GB" sz="1000">
                <a:latin typeface="+mj-lt"/>
              </a:endParaRPr>
            </a:p>
          </p:txBody>
        </p:sp>
        <p:sp>
          <p:nvSpPr>
            <p:cNvPr id="155" name="Rectangle 154">
              <a:extLst>
                <a:ext uri="{FF2B5EF4-FFF2-40B4-BE49-F238E27FC236}">
                  <a16:creationId xmlns:a16="http://schemas.microsoft.com/office/drawing/2014/main" id="{0E90A204-AE39-40C6-98F1-41E69CBD86AC}"/>
                </a:ext>
              </a:extLst>
            </p:cNvPr>
            <p:cNvSpPr/>
            <p:nvPr/>
          </p:nvSpPr>
          <p:spPr>
            <a:xfrm>
              <a:off x="8147925" y="4104383"/>
              <a:ext cx="1398082" cy="251956"/>
            </a:xfrm>
            <a:prstGeom prst="rect">
              <a:avLst/>
            </a:prstGeom>
            <a:grpFill/>
          </p:spPr>
          <p:txBody>
            <a:bodyPr wrap="square">
              <a:spAutoFit/>
            </a:bodyPr>
            <a:lstStyle/>
            <a:p>
              <a:pPr algn="ctr" defTabSz="742950">
                <a:defRPr/>
              </a:pPr>
              <a:r>
                <a:rPr lang="en-US" sz="1400" b="1" dirty="0">
                  <a:latin typeface="+mj-lt"/>
                </a:rPr>
                <a:t>Cyber Strategy</a:t>
              </a:r>
            </a:p>
          </p:txBody>
        </p:sp>
        <p:sp>
          <p:nvSpPr>
            <p:cNvPr id="122" name="Freeform 921">
              <a:extLst>
                <a:ext uri="{FF2B5EF4-FFF2-40B4-BE49-F238E27FC236}">
                  <a16:creationId xmlns:a16="http://schemas.microsoft.com/office/drawing/2014/main" id="{7D68C00A-9F53-4D35-BF7E-348A65ED5467}"/>
                </a:ext>
              </a:extLst>
            </p:cNvPr>
            <p:cNvSpPr>
              <a:spLocks noEditPoints="1"/>
            </p:cNvSpPr>
            <p:nvPr/>
          </p:nvSpPr>
          <p:spPr bwMode="auto">
            <a:xfrm>
              <a:off x="7956912" y="4119006"/>
              <a:ext cx="97044" cy="147354"/>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en-GB" sz="1000">
                <a:latin typeface="+mj-lt"/>
              </a:endParaRPr>
            </a:p>
          </p:txBody>
        </p:sp>
      </p:grpSp>
      <p:sp>
        <p:nvSpPr>
          <p:cNvPr id="11" name="Rectangle 10">
            <a:extLst>
              <a:ext uri="{FF2B5EF4-FFF2-40B4-BE49-F238E27FC236}">
                <a16:creationId xmlns:a16="http://schemas.microsoft.com/office/drawing/2014/main" id="{58455F4E-10EF-4F1A-A3D9-6E8A421D9617}"/>
              </a:ext>
            </a:extLst>
          </p:cNvPr>
          <p:cNvSpPr/>
          <p:nvPr/>
        </p:nvSpPr>
        <p:spPr bwMode="gray">
          <a:xfrm>
            <a:off x="272374" y="1330567"/>
            <a:ext cx="6089514" cy="1302818"/>
          </a:xfrm>
          <a:prstGeom prst="rect">
            <a:avLst/>
          </a:prstGeom>
          <a:noFill/>
          <a:ln w="6350" algn="ctr">
            <a:solidFill>
              <a:schemeClr val="accent1"/>
            </a:solidFill>
            <a:prstDash val="dash"/>
            <a:miter lim="800000"/>
            <a:headEnd/>
            <a:tailEnd/>
          </a:ln>
        </p:spPr>
        <p:txBody>
          <a:bodyPr wrap="square" lIns="88900" tIns="88900" rIns="88900" bIns="88900" rtlCol="0" anchor="ctr"/>
          <a:lstStyle/>
          <a:p>
            <a:pPr algn="just">
              <a:lnSpc>
                <a:spcPct val="106000"/>
              </a:lnSpc>
              <a:buFont typeface="Wingdings 2" pitchFamily="18" charset="2"/>
              <a:buNone/>
            </a:pPr>
            <a:r>
              <a:rPr lang="fr-FR" sz="1200" dirty="0">
                <a:solidFill>
                  <a:srgbClr val="1D1D1B"/>
                </a:solidFill>
                <a:cs typeface="Times New Roman" panose="02020603050405020304" pitchFamily="18" charset="0"/>
              </a:rPr>
              <a:t>                              </a:t>
            </a:r>
            <a:r>
              <a:rPr lang="fr-FR" sz="1400" dirty="0">
                <a:solidFill>
                  <a:srgbClr val="1D1D1B"/>
                </a:solidFill>
                <a:cs typeface="Times New Roman" panose="02020603050405020304" pitchFamily="18" charset="0"/>
              </a:rPr>
              <a:t>est un acteur mondial de référence en Audit et Conseil avec un héritage de plus de 175 ans d’excellence. Deloitte est réputée d’être le plus ancien et le plus large des cabinets BIG 4 avec un chiffre d’affaires qui s’est élevé à 59.3 milliards d’USD en 2022, et une expertise de plus de 411.000 professionnels couvrant plus de 150 pays.</a:t>
            </a:r>
            <a:endParaRPr lang="fr-FR" sz="1400" b="1" dirty="0">
              <a:solidFill>
                <a:schemeClr val="bg1"/>
              </a:solidFill>
            </a:endParaRPr>
          </a:p>
        </p:txBody>
      </p:sp>
      <p:sp>
        <p:nvSpPr>
          <p:cNvPr id="281" name="Rectangle 280">
            <a:extLst>
              <a:ext uri="{FF2B5EF4-FFF2-40B4-BE49-F238E27FC236}">
                <a16:creationId xmlns:a16="http://schemas.microsoft.com/office/drawing/2014/main" id="{2E42B290-6F1E-4CAA-82D3-DDC9AAC12111}"/>
              </a:ext>
            </a:extLst>
          </p:cNvPr>
          <p:cNvSpPr/>
          <p:nvPr/>
        </p:nvSpPr>
        <p:spPr bwMode="gray">
          <a:xfrm>
            <a:off x="6747639" y="1330567"/>
            <a:ext cx="6089514" cy="1257850"/>
          </a:xfrm>
          <a:prstGeom prst="rect">
            <a:avLst/>
          </a:prstGeom>
          <a:noFill/>
          <a:ln w="6350" algn="ctr">
            <a:solidFill>
              <a:schemeClr val="accent1"/>
            </a:solidFill>
            <a:prstDash val="dash"/>
            <a:miter lim="800000"/>
            <a:headEnd/>
            <a:tailEnd/>
          </a:ln>
        </p:spPr>
        <p:txBody>
          <a:bodyPr wrap="square" lIns="88900" tIns="88900" rIns="88900" bIns="88900" rtlCol="0" anchor="t"/>
          <a:lstStyle/>
          <a:p>
            <a:pPr algn="just">
              <a:spcBef>
                <a:spcPts val="600"/>
              </a:spcBef>
              <a:buSzPct val="100000"/>
            </a:pPr>
            <a:r>
              <a:rPr lang="fr-FR" sz="1400" dirty="0"/>
              <a:t>Le</a:t>
            </a:r>
            <a:r>
              <a:rPr lang="fr-FR" dirty="0"/>
              <a:t> </a:t>
            </a:r>
            <a:r>
              <a:rPr lang="fr-FR" b="1" dirty="0"/>
              <a:t>DMCC</a:t>
            </a:r>
            <a:r>
              <a:rPr lang="fr-FR" dirty="0"/>
              <a:t> </a:t>
            </a:r>
            <a:r>
              <a:rPr lang="fr-FR" sz="1400" dirty="0"/>
              <a:t>est un centre de Cyber Intelligence qui dispose d'un pool de spécialistes cybersécurité, de technologies et de services pour répondre au besoin croissant d'expertise cyber, et pour élargir l'offre de services de Deloitte Global.</a:t>
            </a:r>
          </a:p>
        </p:txBody>
      </p:sp>
      <p:sp>
        <p:nvSpPr>
          <p:cNvPr id="3" name="ZoneTexte 2">
            <a:extLst>
              <a:ext uri="{FF2B5EF4-FFF2-40B4-BE49-F238E27FC236}">
                <a16:creationId xmlns:a16="http://schemas.microsoft.com/office/drawing/2014/main" id="{E074D4AA-DC5C-4204-ADD7-349E87186212}"/>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a:t>
            </a:r>
          </a:p>
        </p:txBody>
      </p:sp>
      <p:sp>
        <p:nvSpPr>
          <p:cNvPr id="73" name="Rectangle 72">
            <a:extLst>
              <a:ext uri="{FF2B5EF4-FFF2-40B4-BE49-F238E27FC236}">
                <a16:creationId xmlns:a16="http://schemas.microsoft.com/office/drawing/2014/main" id="{2F0AD329-AA20-4A56-A817-A060F243E199}"/>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400" b="1" dirty="0">
                <a:solidFill>
                  <a:schemeClr val="tx1">
                    <a:lumMod val="85000"/>
                    <a:lumOff val="15000"/>
                  </a:schemeClr>
                </a:solidFill>
              </a:rPr>
              <a:t>         I.  </a:t>
            </a:r>
            <a:r>
              <a:rPr lang="fr-FR" sz="1600" b="1" dirty="0">
                <a:solidFill>
                  <a:schemeClr val="tx1">
                    <a:lumMod val="85000"/>
                    <a:lumOff val="15000"/>
                  </a:schemeClr>
                </a:solidFill>
              </a:rPr>
              <a:t>Contexte général</a:t>
            </a:r>
            <a:endParaRPr lang="fr-FR" sz="1400" b="1" dirty="0">
              <a:solidFill>
                <a:schemeClr val="tx1">
                  <a:lumMod val="85000"/>
                  <a:lumOff val="15000"/>
                </a:schemeClr>
              </a:solidFill>
            </a:endParaRPr>
          </a:p>
        </p:txBody>
      </p:sp>
      <p:sp>
        <p:nvSpPr>
          <p:cNvPr id="74" name="Rectangle 73">
            <a:extLst>
              <a:ext uri="{FF2B5EF4-FFF2-40B4-BE49-F238E27FC236}">
                <a16:creationId xmlns:a16="http://schemas.microsoft.com/office/drawing/2014/main" id="{45A71E01-9D9C-4712-AAF0-B9FB65662F39}"/>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75" name="Freeform 926">
            <a:extLst>
              <a:ext uri="{FF2B5EF4-FFF2-40B4-BE49-F238E27FC236}">
                <a16:creationId xmlns:a16="http://schemas.microsoft.com/office/drawing/2014/main" id="{EFCB643B-A94C-45C3-B746-E720246EE6F4}"/>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926">
            <a:extLst>
              <a:ext uri="{FF2B5EF4-FFF2-40B4-BE49-F238E27FC236}">
                <a16:creationId xmlns:a16="http://schemas.microsoft.com/office/drawing/2014/main" id="{C6D17C9F-E3C7-4729-B15F-F755D8716AF9}"/>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Rectangle 76">
            <a:extLst>
              <a:ext uri="{FF2B5EF4-FFF2-40B4-BE49-F238E27FC236}">
                <a16:creationId xmlns:a16="http://schemas.microsoft.com/office/drawing/2014/main" id="{4BF70E39-721C-451C-8F64-C0B1D262912E}"/>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78" name="TextBox 219">
            <a:extLst>
              <a:ext uri="{FF2B5EF4-FFF2-40B4-BE49-F238E27FC236}">
                <a16:creationId xmlns:a16="http://schemas.microsoft.com/office/drawing/2014/main" id="{732A4D0C-83C9-4AF1-9B5B-7E4178916A04}"/>
              </a:ext>
            </a:extLst>
          </p:cNvPr>
          <p:cNvSpPr txBox="1"/>
          <p:nvPr/>
        </p:nvSpPr>
        <p:spPr>
          <a:xfrm>
            <a:off x="2126176" y="469879"/>
            <a:ext cx="2169863"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Organisme d’accueil</a:t>
            </a:r>
          </a:p>
        </p:txBody>
      </p:sp>
      <p:sp>
        <p:nvSpPr>
          <p:cNvPr id="79" name="TextBox 220">
            <a:extLst>
              <a:ext uri="{FF2B5EF4-FFF2-40B4-BE49-F238E27FC236}">
                <a16:creationId xmlns:a16="http://schemas.microsoft.com/office/drawing/2014/main" id="{6791E474-0E02-4278-884D-DDB11EDC9752}"/>
              </a:ext>
            </a:extLst>
          </p:cNvPr>
          <p:cNvSpPr txBox="1"/>
          <p:nvPr/>
        </p:nvSpPr>
        <p:spPr>
          <a:xfrm>
            <a:off x="5819704" y="469879"/>
            <a:ext cx="2169863" cy="307777"/>
          </a:xfrm>
          <a:prstGeom prst="rect">
            <a:avLst/>
          </a:prstGeom>
          <a:noFill/>
        </p:spPr>
        <p:txBody>
          <a:bodyPr wrap="square">
            <a:spAutoFit/>
          </a:bodyPr>
          <a:lstStyle/>
          <a:p>
            <a:pPr>
              <a:spcAft>
                <a:spcPts val="0"/>
              </a:spcAft>
            </a:pPr>
            <a:r>
              <a:rPr lang="fr-FR" altLang="zh-CN" sz="1400" dirty="0">
                <a:solidFill>
                  <a:schemeClr val="tx2"/>
                </a:solidFill>
              </a:rPr>
              <a:t>Problématique et objectifs</a:t>
            </a:r>
          </a:p>
        </p:txBody>
      </p:sp>
      <p:sp>
        <p:nvSpPr>
          <p:cNvPr id="80" name="TextBox 38">
            <a:extLst>
              <a:ext uri="{FF2B5EF4-FFF2-40B4-BE49-F238E27FC236}">
                <a16:creationId xmlns:a16="http://schemas.microsoft.com/office/drawing/2014/main" id="{0D56D69B-0792-4945-8843-646E90D03D30}"/>
              </a:ext>
            </a:extLst>
          </p:cNvPr>
          <p:cNvSpPr txBox="1"/>
          <p:nvPr/>
        </p:nvSpPr>
        <p:spPr>
          <a:xfrm>
            <a:off x="9513234" y="500490"/>
            <a:ext cx="2071392"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81" name="Freeform 926">
            <a:extLst>
              <a:ext uri="{FF2B5EF4-FFF2-40B4-BE49-F238E27FC236}">
                <a16:creationId xmlns:a16="http://schemas.microsoft.com/office/drawing/2014/main" id="{FD882820-9FFD-4883-BB50-5A725A32490D}"/>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 name="Rectangle 81">
            <a:extLst>
              <a:ext uri="{FF2B5EF4-FFF2-40B4-BE49-F238E27FC236}">
                <a16:creationId xmlns:a16="http://schemas.microsoft.com/office/drawing/2014/main" id="{6FB96888-5222-4DD2-8185-C38AAE74D86D}"/>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11647792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535"/>
                                        </p:tgtEl>
                                        <p:attrNameLst>
                                          <p:attrName>style.visibility</p:attrName>
                                        </p:attrNameLst>
                                      </p:cBhvr>
                                      <p:to>
                                        <p:strVal val="visible"/>
                                      </p:to>
                                    </p:set>
                                    <p:animEffect transition="in" filter="fade">
                                      <p:cBhvr>
                                        <p:cTn id="13" dur="500"/>
                                        <p:tgtEl>
                                          <p:spTgt spid="535"/>
                                        </p:tgtEl>
                                      </p:cBhvr>
                                    </p:animEffect>
                                  </p:childTnLst>
                                </p:cTn>
                              </p:par>
                              <p:par>
                                <p:cTn id="14" presetID="10" presetClass="entr" presetSubtype="0" fill="hold" nodeType="withEffect">
                                  <p:stCondLst>
                                    <p:cond delay="0"/>
                                  </p:stCondLst>
                                  <p:childTnLst>
                                    <p:set>
                                      <p:cBhvr>
                                        <p:cTn id="15" dur="1" fill="hold">
                                          <p:stCondLst>
                                            <p:cond delay="0"/>
                                          </p:stCondLst>
                                        </p:cTn>
                                        <p:tgtEl>
                                          <p:spTgt spid="541"/>
                                        </p:tgtEl>
                                        <p:attrNameLst>
                                          <p:attrName>style.visibility</p:attrName>
                                        </p:attrNameLst>
                                      </p:cBhvr>
                                      <p:to>
                                        <p:strVal val="visible"/>
                                      </p:to>
                                    </p:set>
                                    <p:animEffect transition="in" filter="fade">
                                      <p:cBhvr>
                                        <p:cTn id="16" dur="500"/>
                                        <p:tgtEl>
                                          <p:spTgt spid="541"/>
                                        </p:tgtEl>
                                      </p:cBhvr>
                                    </p:animEffect>
                                  </p:childTnLst>
                                </p:cTn>
                              </p:par>
                              <p:par>
                                <p:cTn id="17" presetID="10" presetClass="entr" presetSubtype="0" fill="hold" nodeType="withEffect">
                                  <p:stCondLst>
                                    <p:cond delay="0"/>
                                  </p:stCondLst>
                                  <p:childTnLst>
                                    <p:set>
                                      <p:cBhvr>
                                        <p:cTn id="18" dur="1" fill="hold">
                                          <p:stCondLst>
                                            <p:cond delay="0"/>
                                          </p:stCondLst>
                                        </p:cTn>
                                        <p:tgtEl>
                                          <p:spTgt spid="547"/>
                                        </p:tgtEl>
                                        <p:attrNameLst>
                                          <p:attrName>style.visibility</p:attrName>
                                        </p:attrNameLst>
                                      </p:cBhvr>
                                      <p:to>
                                        <p:strVal val="visible"/>
                                      </p:to>
                                    </p:set>
                                    <p:animEffect transition="in" filter="fade">
                                      <p:cBhvr>
                                        <p:cTn id="19" dur="500"/>
                                        <p:tgtEl>
                                          <p:spTgt spid="547"/>
                                        </p:tgtEl>
                                      </p:cBhvr>
                                    </p:animEffect>
                                  </p:childTnLst>
                                </p:cTn>
                              </p:par>
                              <p:par>
                                <p:cTn id="20" presetID="10" presetClass="entr" presetSubtype="0" fill="hold" nodeType="withEffect">
                                  <p:stCondLst>
                                    <p:cond delay="0"/>
                                  </p:stCondLst>
                                  <p:childTnLst>
                                    <p:set>
                                      <p:cBhvr>
                                        <p:cTn id="21" dur="1" fill="hold">
                                          <p:stCondLst>
                                            <p:cond delay="0"/>
                                          </p:stCondLst>
                                        </p:cTn>
                                        <p:tgtEl>
                                          <p:spTgt spid="553"/>
                                        </p:tgtEl>
                                        <p:attrNameLst>
                                          <p:attrName>style.visibility</p:attrName>
                                        </p:attrNameLst>
                                      </p:cBhvr>
                                      <p:to>
                                        <p:strVal val="visible"/>
                                      </p:to>
                                    </p:set>
                                    <p:animEffect transition="in" filter="fade">
                                      <p:cBhvr>
                                        <p:cTn id="22" dur="500"/>
                                        <p:tgtEl>
                                          <p:spTgt spid="55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92"/>
                                        </p:tgtEl>
                                        <p:attrNameLst>
                                          <p:attrName>style.visibility</p:attrName>
                                        </p:attrNameLst>
                                      </p:cBhvr>
                                      <p:to>
                                        <p:strVal val="visible"/>
                                      </p:to>
                                    </p:set>
                                    <p:animEffect transition="in" filter="fade">
                                      <p:cBhvr>
                                        <p:cTn id="30" dur="500"/>
                                        <p:tgtEl>
                                          <p:spTgt spid="19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ntr" presetSubtype="0" fill="hold"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1"/>
                                        </p:tgtEl>
                                        <p:attrNameLst>
                                          <p:attrName>style.visibility</p:attrName>
                                        </p:attrNameLst>
                                      </p:cBhvr>
                                      <p:to>
                                        <p:strVal val="visible"/>
                                      </p:to>
                                    </p:set>
                                    <p:animEffect transition="in" filter="fade">
                                      <p:cBhvr>
                                        <p:cTn id="41" dur="500"/>
                                        <p:tgtEl>
                                          <p:spTgt spid="2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4"/>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5"/>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6"/>
            <a:stretch>
              <a:fillRect/>
            </a:stretch>
          </p:blipFill>
          <p:spPr>
            <a:xfrm>
              <a:off x="3624806" y="0"/>
              <a:ext cx="5760720" cy="1719580"/>
            </a:xfrm>
            <a:prstGeom prst="rect">
              <a:avLst/>
            </a:prstGeom>
          </p:spPr>
        </p:pic>
      </p:grpSp>
      <p:sp>
        <p:nvSpPr>
          <p:cNvPr id="24" name="Rectangle 23">
            <a:extLst>
              <a:ext uri="{FF2B5EF4-FFF2-40B4-BE49-F238E27FC236}">
                <a16:creationId xmlns:a16="http://schemas.microsoft.com/office/drawing/2014/main" id="{9014089C-40CF-478A-AB3C-D25EC6B791D7}"/>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26" name="ZoneTexte 25">
            <a:extLst>
              <a:ext uri="{FF2B5EF4-FFF2-40B4-BE49-F238E27FC236}">
                <a16:creationId xmlns:a16="http://schemas.microsoft.com/office/drawing/2014/main" id="{C05185DA-9EB2-42AA-BF30-DC88CEC63CF5}"/>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1</a:t>
            </a:r>
          </a:p>
        </p:txBody>
      </p:sp>
      <p:pic>
        <p:nvPicPr>
          <p:cNvPr id="3" name="Image 2">
            <a:extLst>
              <a:ext uri="{FF2B5EF4-FFF2-40B4-BE49-F238E27FC236}">
                <a16:creationId xmlns:a16="http://schemas.microsoft.com/office/drawing/2014/main" id="{29D9E3E0-AF5F-41F8-9FC0-36A854966FF4}"/>
              </a:ext>
            </a:extLst>
          </p:cNvPr>
          <p:cNvPicPr>
            <a:picLocks noChangeAspect="1"/>
          </p:cNvPicPr>
          <p:nvPr/>
        </p:nvPicPr>
        <p:blipFill>
          <a:blip r:embed="rId7"/>
          <a:stretch>
            <a:fillRect/>
          </a:stretch>
        </p:blipFill>
        <p:spPr>
          <a:xfrm>
            <a:off x="5716155" y="1166082"/>
            <a:ext cx="2868815" cy="1092882"/>
          </a:xfrm>
          <a:prstGeom prst="rect">
            <a:avLst/>
          </a:prstGeom>
        </p:spPr>
      </p:pic>
      <p:sp>
        <p:nvSpPr>
          <p:cNvPr id="29" name="Flèche : pentagone 28">
            <a:extLst>
              <a:ext uri="{FF2B5EF4-FFF2-40B4-BE49-F238E27FC236}">
                <a16:creationId xmlns:a16="http://schemas.microsoft.com/office/drawing/2014/main" id="{F9657EB2-8117-42D8-A4E0-9FDBF0393410}"/>
              </a:ext>
            </a:extLst>
          </p:cNvPr>
          <p:cNvSpPr/>
          <p:nvPr/>
        </p:nvSpPr>
        <p:spPr bwMode="gray">
          <a:xfrm>
            <a:off x="903250" y="1289514"/>
            <a:ext cx="3300760" cy="691919"/>
          </a:xfrm>
          <a:prstGeom prst="homePlate">
            <a:avLst/>
          </a:prstGeom>
          <a:solidFill>
            <a:srgbClr val="FDF8F5"/>
          </a:solidFill>
          <a:ln w="19050" algn="ctr">
            <a:solidFill>
              <a:schemeClr val="accent1"/>
            </a:solidFill>
            <a:miter lim="800000"/>
            <a:headEnd/>
            <a:tailEnd/>
          </a:ln>
        </p:spPr>
        <p:txBody>
          <a:bodyPr wrap="square" lIns="88900" tIns="88900" rIns="88900" bIns="88900" rtlCol="0" anchor="ctr"/>
          <a:lstStyle/>
          <a:p>
            <a:pPr algn="just"/>
            <a:r>
              <a:rPr lang="fr-FR" sz="1400" b="0" i="0" u="none" strike="noStrike" baseline="0" dirty="0">
                <a:solidFill>
                  <a:srgbClr val="000000"/>
                </a:solidFill>
                <a:latin typeface="Calibri" panose="020F0502020204030204" pitchFamily="34" charset="0"/>
              </a:rPr>
              <a:t>Bouton automatisé pour mettre à jours les données.</a:t>
            </a:r>
          </a:p>
        </p:txBody>
      </p:sp>
      <p:sp>
        <p:nvSpPr>
          <p:cNvPr id="27" name="Freeform 926">
            <a:extLst>
              <a:ext uri="{FF2B5EF4-FFF2-40B4-BE49-F238E27FC236}">
                <a16:creationId xmlns:a16="http://schemas.microsoft.com/office/drawing/2014/main" id="{A6A6DFE1-29B8-4953-A607-A2E8C84D884A}"/>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926">
            <a:extLst>
              <a:ext uri="{FF2B5EF4-FFF2-40B4-BE49-F238E27FC236}">
                <a16:creationId xmlns:a16="http://schemas.microsoft.com/office/drawing/2014/main" id="{8FB8DB8A-6305-45E7-AA32-98151D672F26}"/>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TextBox 219">
            <a:extLst>
              <a:ext uri="{FF2B5EF4-FFF2-40B4-BE49-F238E27FC236}">
                <a16:creationId xmlns:a16="http://schemas.microsoft.com/office/drawing/2014/main" id="{E698215D-2906-4AF3-8C95-9BB7C829056F}"/>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31" name="TextBox 219">
            <a:extLst>
              <a:ext uri="{FF2B5EF4-FFF2-40B4-BE49-F238E27FC236}">
                <a16:creationId xmlns:a16="http://schemas.microsoft.com/office/drawing/2014/main" id="{BD62E2C7-3684-42DD-8482-2C4FFDBBCAAA}"/>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2" name="TextBox 219">
            <a:extLst>
              <a:ext uri="{FF2B5EF4-FFF2-40B4-BE49-F238E27FC236}">
                <a16:creationId xmlns:a16="http://schemas.microsoft.com/office/drawing/2014/main" id="{F7B2160B-1041-40EE-B540-E3D94F9C560E}"/>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3" name="Freeform 926">
            <a:extLst>
              <a:ext uri="{FF2B5EF4-FFF2-40B4-BE49-F238E27FC236}">
                <a16:creationId xmlns:a16="http://schemas.microsoft.com/office/drawing/2014/main" id="{2DB1AE3D-F94D-4470-9EF6-29B8FC483F07}"/>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Rectangle 33">
            <a:extLst>
              <a:ext uri="{FF2B5EF4-FFF2-40B4-BE49-F238E27FC236}">
                <a16:creationId xmlns:a16="http://schemas.microsoft.com/office/drawing/2014/main" id="{6BD95E57-0932-4C32-958A-4ED6B56A65A0}"/>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5" name="Rectangle 34">
            <a:extLst>
              <a:ext uri="{FF2B5EF4-FFF2-40B4-BE49-F238E27FC236}">
                <a16:creationId xmlns:a16="http://schemas.microsoft.com/office/drawing/2014/main" id="{6F7BC709-8599-4CED-A93D-E384204C1B0C}"/>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6" name="Rectangle 35">
            <a:extLst>
              <a:ext uri="{FF2B5EF4-FFF2-40B4-BE49-F238E27FC236}">
                <a16:creationId xmlns:a16="http://schemas.microsoft.com/office/drawing/2014/main" id="{49EB29D1-7A85-44D5-9A18-3C3C165698FC}"/>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37" name="Rectangle 36">
            <a:extLst>
              <a:ext uri="{FF2B5EF4-FFF2-40B4-BE49-F238E27FC236}">
                <a16:creationId xmlns:a16="http://schemas.microsoft.com/office/drawing/2014/main" id="{9C6BED86-5A20-48B1-B50E-87DD16270C76}"/>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38974411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4"/>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5"/>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6"/>
            <a:stretch>
              <a:fillRect/>
            </a:stretch>
          </p:blipFill>
          <p:spPr>
            <a:xfrm>
              <a:off x="3624806" y="0"/>
              <a:ext cx="5760720" cy="1719580"/>
            </a:xfrm>
            <a:prstGeom prst="rect">
              <a:avLst/>
            </a:prstGeom>
          </p:spPr>
        </p:pic>
      </p:grpSp>
      <p:sp>
        <p:nvSpPr>
          <p:cNvPr id="24" name="Rectangle 23">
            <a:extLst>
              <a:ext uri="{FF2B5EF4-FFF2-40B4-BE49-F238E27FC236}">
                <a16:creationId xmlns:a16="http://schemas.microsoft.com/office/drawing/2014/main" id="{A1FCD7DC-9EA1-4563-8ED0-041C52CFED20}"/>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25" name="Flèche : pentagone 24">
            <a:extLst>
              <a:ext uri="{FF2B5EF4-FFF2-40B4-BE49-F238E27FC236}">
                <a16:creationId xmlns:a16="http://schemas.microsoft.com/office/drawing/2014/main" id="{3A139E06-5F43-4B74-B5EA-7FA3600F1E43}"/>
              </a:ext>
            </a:extLst>
          </p:cNvPr>
          <p:cNvSpPr/>
          <p:nvPr/>
        </p:nvSpPr>
        <p:spPr bwMode="gray">
          <a:xfrm>
            <a:off x="903250" y="1608622"/>
            <a:ext cx="3300760" cy="865752"/>
          </a:xfrm>
          <a:prstGeom prst="homePlate">
            <a:avLst/>
          </a:prstGeom>
          <a:solidFill>
            <a:srgbClr val="FDF8F5"/>
          </a:solidFill>
          <a:ln w="19050" algn="ctr">
            <a:solidFill>
              <a:schemeClr val="accent1"/>
            </a:solidFill>
            <a:miter lim="800000"/>
            <a:headEnd/>
            <a:tailEnd/>
          </a:ln>
        </p:spPr>
        <p:txBody>
          <a:bodyPr wrap="square" lIns="88900" tIns="88900" rIns="88900" bIns="88900" rtlCol="0" anchor="ctr"/>
          <a:lstStyle/>
          <a:p>
            <a:pPr algn="just"/>
            <a:r>
              <a:rPr lang="fr-FR" sz="1400" b="0" i="0" u="none" strike="noStrike" baseline="0" dirty="0">
                <a:solidFill>
                  <a:srgbClr val="000000"/>
                </a:solidFill>
                <a:latin typeface="Calibri" panose="020F0502020204030204" pitchFamily="34" charset="0"/>
              </a:rPr>
              <a:t>Niveau de maturité global.</a:t>
            </a:r>
          </a:p>
        </p:txBody>
      </p:sp>
      <p:sp>
        <p:nvSpPr>
          <p:cNvPr id="27" name="ZoneTexte 26">
            <a:extLst>
              <a:ext uri="{FF2B5EF4-FFF2-40B4-BE49-F238E27FC236}">
                <a16:creationId xmlns:a16="http://schemas.microsoft.com/office/drawing/2014/main" id="{2C13325E-50C6-4ACB-AE00-DFFB93D06166}"/>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2</a:t>
            </a:r>
          </a:p>
        </p:txBody>
      </p:sp>
      <p:pic>
        <p:nvPicPr>
          <p:cNvPr id="34" name="Image 33">
            <a:extLst>
              <a:ext uri="{FF2B5EF4-FFF2-40B4-BE49-F238E27FC236}">
                <a16:creationId xmlns:a16="http://schemas.microsoft.com/office/drawing/2014/main" id="{735D7D4E-52FC-4538-AD3E-0DE240F00B24}"/>
              </a:ext>
            </a:extLst>
          </p:cNvPr>
          <p:cNvPicPr>
            <a:picLocks noChangeAspect="1"/>
          </p:cNvPicPr>
          <p:nvPr/>
        </p:nvPicPr>
        <p:blipFill>
          <a:blip r:embed="rId7"/>
          <a:stretch>
            <a:fillRect/>
          </a:stretch>
        </p:blipFill>
        <p:spPr>
          <a:xfrm>
            <a:off x="6866924" y="1912458"/>
            <a:ext cx="1508209" cy="963826"/>
          </a:xfrm>
          <a:prstGeom prst="rect">
            <a:avLst/>
          </a:prstGeom>
          <a:ln>
            <a:noFill/>
          </a:ln>
          <a:effectLst/>
        </p:spPr>
      </p:pic>
      <p:sp>
        <p:nvSpPr>
          <p:cNvPr id="29" name="Freeform 926">
            <a:extLst>
              <a:ext uri="{FF2B5EF4-FFF2-40B4-BE49-F238E27FC236}">
                <a16:creationId xmlns:a16="http://schemas.microsoft.com/office/drawing/2014/main" id="{05D2512A-CFD4-4B27-9C18-BB027178CC84}"/>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926">
            <a:extLst>
              <a:ext uri="{FF2B5EF4-FFF2-40B4-BE49-F238E27FC236}">
                <a16:creationId xmlns:a16="http://schemas.microsoft.com/office/drawing/2014/main" id="{BD7EFAE0-51BF-4B3B-B70B-28E65F7BDE18}"/>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TextBox 219">
            <a:extLst>
              <a:ext uri="{FF2B5EF4-FFF2-40B4-BE49-F238E27FC236}">
                <a16:creationId xmlns:a16="http://schemas.microsoft.com/office/drawing/2014/main" id="{19F86B6D-374C-4E8B-9AD7-15E046EBFDEA}"/>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32" name="TextBox 219">
            <a:extLst>
              <a:ext uri="{FF2B5EF4-FFF2-40B4-BE49-F238E27FC236}">
                <a16:creationId xmlns:a16="http://schemas.microsoft.com/office/drawing/2014/main" id="{A9F81312-B324-42AE-A92E-E18C1B37CE28}"/>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5" name="TextBox 219">
            <a:extLst>
              <a:ext uri="{FF2B5EF4-FFF2-40B4-BE49-F238E27FC236}">
                <a16:creationId xmlns:a16="http://schemas.microsoft.com/office/drawing/2014/main" id="{37C4E6E7-34EA-44A2-8260-4D6B56F4E057}"/>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6" name="Freeform 926">
            <a:extLst>
              <a:ext uri="{FF2B5EF4-FFF2-40B4-BE49-F238E27FC236}">
                <a16:creationId xmlns:a16="http://schemas.microsoft.com/office/drawing/2014/main" id="{D77F5C5C-D154-4F40-81E4-39448D532162}"/>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Rectangle 36">
            <a:extLst>
              <a:ext uri="{FF2B5EF4-FFF2-40B4-BE49-F238E27FC236}">
                <a16:creationId xmlns:a16="http://schemas.microsoft.com/office/drawing/2014/main" id="{DE03822C-506C-4E6C-9EDE-A771D2E67E25}"/>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8" name="Rectangle 37">
            <a:extLst>
              <a:ext uri="{FF2B5EF4-FFF2-40B4-BE49-F238E27FC236}">
                <a16:creationId xmlns:a16="http://schemas.microsoft.com/office/drawing/2014/main" id="{D594A287-07DF-49E6-AF22-1A8862975B19}"/>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9" name="Rectangle 38">
            <a:extLst>
              <a:ext uri="{FF2B5EF4-FFF2-40B4-BE49-F238E27FC236}">
                <a16:creationId xmlns:a16="http://schemas.microsoft.com/office/drawing/2014/main" id="{783775FE-AA81-444B-A3C6-1475D0BF5C4D}"/>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40" name="Rectangle 39">
            <a:extLst>
              <a:ext uri="{FF2B5EF4-FFF2-40B4-BE49-F238E27FC236}">
                <a16:creationId xmlns:a16="http://schemas.microsoft.com/office/drawing/2014/main" id="{BB01BE70-59AD-4816-A905-93A7447EF4F2}"/>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pic>
        <p:nvPicPr>
          <p:cNvPr id="33" name="Image 32">
            <a:extLst>
              <a:ext uri="{FF2B5EF4-FFF2-40B4-BE49-F238E27FC236}">
                <a16:creationId xmlns:a16="http://schemas.microsoft.com/office/drawing/2014/main" id="{F5CF68CC-A17A-4449-BE78-6521E2B0EB6B}"/>
              </a:ext>
            </a:extLst>
          </p:cNvPr>
          <p:cNvPicPr>
            <a:picLocks noChangeAspect="1"/>
          </p:cNvPicPr>
          <p:nvPr/>
        </p:nvPicPr>
        <p:blipFill>
          <a:blip r:embed="rId8"/>
          <a:stretch>
            <a:fillRect/>
          </a:stretch>
        </p:blipFill>
        <p:spPr>
          <a:xfrm>
            <a:off x="4343678" y="616576"/>
            <a:ext cx="4935084" cy="3342114"/>
          </a:xfrm>
          <a:prstGeom prst="rect">
            <a:avLst/>
          </a:prstGeom>
          <a:ln>
            <a:noFill/>
          </a:ln>
          <a:effectLst/>
        </p:spPr>
      </p:pic>
    </p:spTree>
    <p:extLst>
      <p:ext uri="{BB962C8B-B14F-4D97-AF65-F5344CB8AC3E}">
        <p14:creationId xmlns:p14="http://schemas.microsoft.com/office/powerpoint/2010/main" val="130048874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4"/>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5"/>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6"/>
            <a:stretch>
              <a:fillRect/>
            </a:stretch>
          </p:blipFill>
          <p:spPr>
            <a:xfrm>
              <a:off x="3624806" y="0"/>
              <a:ext cx="5760720" cy="1719580"/>
            </a:xfrm>
            <a:prstGeom prst="rect">
              <a:avLst/>
            </a:prstGeom>
          </p:spPr>
        </p:pic>
      </p:grpSp>
      <p:sp>
        <p:nvSpPr>
          <p:cNvPr id="22" name="Rectangle 21">
            <a:extLst>
              <a:ext uri="{FF2B5EF4-FFF2-40B4-BE49-F238E27FC236}">
                <a16:creationId xmlns:a16="http://schemas.microsoft.com/office/drawing/2014/main" id="{B9D139FD-47D5-4808-87D6-C94F67AB3428}"/>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23" name="Flèche : pentagone 22">
            <a:extLst>
              <a:ext uri="{FF2B5EF4-FFF2-40B4-BE49-F238E27FC236}">
                <a16:creationId xmlns:a16="http://schemas.microsoft.com/office/drawing/2014/main" id="{997BCDDD-0FAC-4BF4-ABD5-7F6973F9283D}"/>
              </a:ext>
            </a:extLst>
          </p:cNvPr>
          <p:cNvSpPr/>
          <p:nvPr/>
        </p:nvSpPr>
        <p:spPr bwMode="gray">
          <a:xfrm>
            <a:off x="903250" y="1608622"/>
            <a:ext cx="3300760" cy="865752"/>
          </a:xfrm>
          <a:prstGeom prst="homePlate">
            <a:avLst/>
          </a:prstGeom>
          <a:solidFill>
            <a:srgbClr val="FDF8F5"/>
          </a:solidFill>
          <a:ln w="19050" algn="ctr">
            <a:solidFill>
              <a:schemeClr val="accent1"/>
            </a:solidFill>
            <a:miter lim="800000"/>
            <a:headEnd/>
            <a:tailEnd/>
          </a:ln>
        </p:spPr>
        <p:txBody>
          <a:bodyPr wrap="square" lIns="88900" tIns="88900" rIns="88900" bIns="88900" rtlCol="0" anchor="ctr"/>
          <a:lstStyle/>
          <a:p>
            <a:pPr algn="just"/>
            <a:r>
              <a:rPr lang="fr-FR" sz="1400" dirty="0">
                <a:solidFill>
                  <a:srgbClr val="000000"/>
                </a:solidFill>
                <a:latin typeface="Calibri" panose="020F0502020204030204" pitchFamily="34" charset="0"/>
              </a:rPr>
              <a:t>C</a:t>
            </a:r>
            <a:r>
              <a:rPr lang="fr-FR" sz="1400" b="0" i="0" u="none" strike="noStrike" baseline="0" dirty="0">
                <a:solidFill>
                  <a:srgbClr val="000000"/>
                </a:solidFill>
                <a:latin typeface="Calibri" panose="020F0502020204030204" pitchFamily="34" charset="0"/>
              </a:rPr>
              <a:t>omparaison du niveau de maturité entre les différents services évalués .</a:t>
            </a:r>
          </a:p>
        </p:txBody>
      </p:sp>
      <p:sp>
        <p:nvSpPr>
          <p:cNvPr id="25" name="ZoneTexte 24">
            <a:extLst>
              <a:ext uri="{FF2B5EF4-FFF2-40B4-BE49-F238E27FC236}">
                <a16:creationId xmlns:a16="http://schemas.microsoft.com/office/drawing/2014/main" id="{2B8B02E2-52DF-48D8-BB0B-40BE852885B2}"/>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3</a:t>
            </a:r>
          </a:p>
        </p:txBody>
      </p:sp>
      <p:pic>
        <p:nvPicPr>
          <p:cNvPr id="28" name="Image 27">
            <a:extLst>
              <a:ext uri="{FF2B5EF4-FFF2-40B4-BE49-F238E27FC236}">
                <a16:creationId xmlns:a16="http://schemas.microsoft.com/office/drawing/2014/main" id="{0686CDA3-9036-4900-96D8-74924DD7CED2}"/>
              </a:ext>
            </a:extLst>
          </p:cNvPr>
          <p:cNvPicPr>
            <a:picLocks noChangeAspect="1"/>
          </p:cNvPicPr>
          <p:nvPr/>
        </p:nvPicPr>
        <p:blipFill>
          <a:blip r:embed="rId7"/>
          <a:stretch>
            <a:fillRect/>
          </a:stretch>
        </p:blipFill>
        <p:spPr>
          <a:xfrm>
            <a:off x="4914106" y="1854901"/>
            <a:ext cx="1508209" cy="1021383"/>
          </a:xfrm>
          <a:prstGeom prst="rect">
            <a:avLst/>
          </a:prstGeom>
          <a:ln>
            <a:noFill/>
          </a:ln>
          <a:effectLst/>
        </p:spPr>
      </p:pic>
      <p:pic>
        <p:nvPicPr>
          <p:cNvPr id="29" name="Image 28">
            <a:extLst>
              <a:ext uri="{FF2B5EF4-FFF2-40B4-BE49-F238E27FC236}">
                <a16:creationId xmlns:a16="http://schemas.microsoft.com/office/drawing/2014/main" id="{FE3BF6DE-DAD6-4BFF-903B-49497C060EF3}"/>
              </a:ext>
            </a:extLst>
          </p:cNvPr>
          <p:cNvPicPr>
            <a:picLocks noChangeAspect="1"/>
          </p:cNvPicPr>
          <p:nvPr/>
        </p:nvPicPr>
        <p:blipFill>
          <a:blip r:embed="rId8"/>
          <a:stretch>
            <a:fillRect/>
          </a:stretch>
        </p:blipFill>
        <p:spPr>
          <a:xfrm>
            <a:off x="5668210" y="3410360"/>
            <a:ext cx="95429" cy="45719"/>
          </a:xfrm>
          <a:prstGeom prst="rect">
            <a:avLst/>
          </a:prstGeom>
        </p:spPr>
      </p:pic>
      <p:sp>
        <p:nvSpPr>
          <p:cNvPr id="32" name="Freeform 926">
            <a:extLst>
              <a:ext uri="{FF2B5EF4-FFF2-40B4-BE49-F238E27FC236}">
                <a16:creationId xmlns:a16="http://schemas.microsoft.com/office/drawing/2014/main" id="{43452623-BDC4-4C86-AC00-F8E0BD1B3055}"/>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926">
            <a:extLst>
              <a:ext uri="{FF2B5EF4-FFF2-40B4-BE49-F238E27FC236}">
                <a16:creationId xmlns:a16="http://schemas.microsoft.com/office/drawing/2014/main" id="{FEF69FCE-A04D-4EAF-885F-762BF07F7EBD}"/>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TextBox 219">
            <a:extLst>
              <a:ext uri="{FF2B5EF4-FFF2-40B4-BE49-F238E27FC236}">
                <a16:creationId xmlns:a16="http://schemas.microsoft.com/office/drawing/2014/main" id="{226B45BA-366C-4249-9450-6840D76286FC}"/>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35" name="TextBox 219">
            <a:extLst>
              <a:ext uri="{FF2B5EF4-FFF2-40B4-BE49-F238E27FC236}">
                <a16:creationId xmlns:a16="http://schemas.microsoft.com/office/drawing/2014/main" id="{D060D498-8C0E-45CB-A6EA-34854B70D478}"/>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6" name="TextBox 219">
            <a:extLst>
              <a:ext uri="{FF2B5EF4-FFF2-40B4-BE49-F238E27FC236}">
                <a16:creationId xmlns:a16="http://schemas.microsoft.com/office/drawing/2014/main" id="{C29C337A-7EF1-477D-9C5E-3F556D2E9075}"/>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7" name="Freeform 926">
            <a:extLst>
              <a:ext uri="{FF2B5EF4-FFF2-40B4-BE49-F238E27FC236}">
                <a16:creationId xmlns:a16="http://schemas.microsoft.com/office/drawing/2014/main" id="{17B0649C-3363-4E87-9141-FA57957F1A11}"/>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Rectangle 37">
            <a:extLst>
              <a:ext uri="{FF2B5EF4-FFF2-40B4-BE49-F238E27FC236}">
                <a16:creationId xmlns:a16="http://schemas.microsoft.com/office/drawing/2014/main" id="{D3F340C5-FFA1-418F-AA6D-34F93C23C4C4}"/>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9" name="Rectangle 38">
            <a:extLst>
              <a:ext uri="{FF2B5EF4-FFF2-40B4-BE49-F238E27FC236}">
                <a16:creationId xmlns:a16="http://schemas.microsoft.com/office/drawing/2014/main" id="{9783BAEE-4F66-42F4-9EA3-37EC689F6C59}"/>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40" name="Rectangle 39">
            <a:extLst>
              <a:ext uri="{FF2B5EF4-FFF2-40B4-BE49-F238E27FC236}">
                <a16:creationId xmlns:a16="http://schemas.microsoft.com/office/drawing/2014/main" id="{93429808-B9E9-4B32-8D3C-4858E857A64F}"/>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41" name="Rectangle 40">
            <a:extLst>
              <a:ext uri="{FF2B5EF4-FFF2-40B4-BE49-F238E27FC236}">
                <a16:creationId xmlns:a16="http://schemas.microsoft.com/office/drawing/2014/main" id="{A7971433-1AF7-415E-8CFE-D17F7135FD23}"/>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pic>
        <p:nvPicPr>
          <p:cNvPr id="27" name="Image 26">
            <a:extLst>
              <a:ext uri="{FF2B5EF4-FFF2-40B4-BE49-F238E27FC236}">
                <a16:creationId xmlns:a16="http://schemas.microsoft.com/office/drawing/2014/main" id="{F0FA8C04-5C58-4C1D-9282-6229E7238B48}"/>
              </a:ext>
            </a:extLst>
          </p:cNvPr>
          <p:cNvPicPr>
            <a:picLocks noChangeAspect="1"/>
          </p:cNvPicPr>
          <p:nvPr/>
        </p:nvPicPr>
        <p:blipFill>
          <a:blip r:embed="rId9"/>
          <a:stretch>
            <a:fillRect/>
          </a:stretch>
        </p:blipFill>
        <p:spPr>
          <a:xfrm>
            <a:off x="4634504" y="1038326"/>
            <a:ext cx="4913378" cy="3139910"/>
          </a:xfrm>
          <a:prstGeom prst="rect">
            <a:avLst/>
          </a:prstGeom>
          <a:ln>
            <a:noFill/>
          </a:ln>
          <a:effectLst/>
        </p:spPr>
      </p:pic>
    </p:spTree>
    <p:extLst>
      <p:ext uri="{BB962C8B-B14F-4D97-AF65-F5344CB8AC3E}">
        <p14:creationId xmlns:p14="http://schemas.microsoft.com/office/powerpoint/2010/main" val="231531232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4"/>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5"/>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6"/>
            <a:stretch>
              <a:fillRect/>
            </a:stretch>
          </p:blipFill>
          <p:spPr>
            <a:xfrm>
              <a:off x="3624806" y="0"/>
              <a:ext cx="5760720" cy="1719580"/>
            </a:xfrm>
            <a:prstGeom prst="rect">
              <a:avLst/>
            </a:prstGeom>
          </p:spPr>
        </p:pic>
      </p:grpSp>
      <p:sp>
        <p:nvSpPr>
          <p:cNvPr id="30" name="Rectangle 29">
            <a:extLst>
              <a:ext uri="{FF2B5EF4-FFF2-40B4-BE49-F238E27FC236}">
                <a16:creationId xmlns:a16="http://schemas.microsoft.com/office/drawing/2014/main" id="{7CA1ABAA-8B38-4259-BC79-35A3B8912BE8}"/>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33" name="Flèche : pentagone 32">
            <a:extLst>
              <a:ext uri="{FF2B5EF4-FFF2-40B4-BE49-F238E27FC236}">
                <a16:creationId xmlns:a16="http://schemas.microsoft.com/office/drawing/2014/main" id="{0C10A029-C052-446E-968C-3D5EC2C6106E}"/>
              </a:ext>
            </a:extLst>
          </p:cNvPr>
          <p:cNvSpPr/>
          <p:nvPr/>
        </p:nvSpPr>
        <p:spPr bwMode="gray">
          <a:xfrm>
            <a:off x="903250" y="3000374"/>
            <a:ext cx="3300760" cy="1033743"/>
          </a:xfrm>
          <a:prstGeom prst="homePlate">
            <a:avLst/>
          </a:prstGeom>
          <a:solidFill>
            <a:srgbClr val="FDF8F5"/>
          </a:solidFill>
          <a:ln w="19050" algn="ctr">
            <a:solidFill>
              <a:schemeClr val="accent1"/>
            </a:solidFill>
            <a:miter lim="800000"/>
            <a:headEnd/>
            <a:tailEnd/>
          </a:ln>
        </p:spPr>
        <p:txBody>
          <a:bodyPr wrap="square" lIns="88900" tIns="88900" rIns="88900" bIns="88900" rtlCol="0" anchor="ctr"/>
          <a:lstStyle/>
          <a:p>
            <a:pPr algn="just"/>
            <a:r>
              <a:rPr lang="fr-FR" sz="1400" b="0" i="0" u="none" strike="noStrike" baseline="0" dirty="0">
                <a:solidFill>
                  <a:srgbClr val="000000"/>
                </a:solidFill>
                <a:latin typeface="Calibri" panose="020F0502020204030204" pitchFamily="34" charset="0"/>
              </a:rPr>
              <a:t>Le nombre de questions auxquelles des réponses ont été apportées lors de l'évaluation, ainsi que celles qui sont restées sans réponse. </a:t>
            </a:r>
          </a:p>
        </p:txBody>
      </p:sp>
      <p:sp>
        <p:nvSpPr>
          <p:cNvPr id="35" name="ZoneTexte 34">
            <a:extLst>
              <a:ext uri="{FF2B5EF4-FFF2-40B4-BE49-F238E27FC236}">
                <a16:creationId xmlns:a16="http://schemas.microsoft.com/office/drawing/2014/main" id="{ABBECA63-7CF9-4642-AA4C-8071057956F3}"/>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4</a:t>
            </a:r>
          </a:p>
        </p:txBody>
      </p:sp>
      <p:pic>
        <p:nvPicPr>
          <p:cNvPr id="38" name="Image 37">
            <a:extLst>
              <a:ext uri="{FF2B5EF4-FFF2-40B4-BE49-F238E27FC236}">
                <a16:creationId xmlns:a16="http://schemas.microsoft.com/office/drawing/2014/main" id="{B4B9C553-CA8E-4CFE-A588-0660877A6E0D}"/>
              </a:ext>
            </a:extLst>
          </p:cNvPr>
          <p:cNvPicPr>
            <a:picLocks noChangeAspect="1"/>
          </p:cNvPicPr>
          <p:nvPr/>
        </p:nvPicPr>
        <p:blipFill>
          <a:blip r:embed="rId7"/>
          <a:stretch>
            <a:fillRect/>
          </a:stretch>
        </p:blipFill>
        <p:spPr>
          <a:xfrm>
            <a:off x="6600410" y="3716792"/>
            <a:ext cx="115565" cy="68669"/>
          </a:xfrm>
          <a:prstGeom prst="rect">
            <a:avLst/>
          </a:prstGeom>
        </p:spPr>
      </p:pic>
      <p:pic>
        <p:nvPicPr>
          <p:cNvPr id="37" name="Image 36">
            <a:extLst>
              <a:ext uri="{FF2B5EF4-FFF2-40B4-BE49-F238E27FC236}">
                <a16:creationId xmlns:a16="http://schemas.microsoft.com/office/drawing/2014/main" id="{B58958BC-8969-4EA4-9ED0-CBE874A17C4A}"/>
              </a:ext>
            </a:extLst>
          </p:cNvPr>
          <p:cNvPicPr>
            <a:picLocks noChangeAspect="1"/>
          </p:cNvPicPr>
          <p:nvPr/>
        </p:nvPicPr>
        <p:blipFill>
          <a:blip r:embed="rId8"/>
          <a:stretch>
            <a:fillRect/>
          </a:stretch>
        </p:blipFill>
        <p:spPr>
          <a:xfrm>
            <a:off x="4260904" y="2053664"/>
            <a:ext cx="5909206" cy="2831027"/>
          </a:xfrm>
          <a:prstGeom prst="rect">
            <a:avLst/>
          </a:prstGeom>
        </p:spPr>
      </p:pic>
      <p:sp>
        <p:nvSpPr>
          <p:cNvPr id="26" name="Freeform 926">
            <a:extLst>
              <a:ext uri="{FF2B5EF4-FFF2-40B4-BE49-F238E27FC236}">
                <a16:creationId xmlns:a16="http://schemas.microsoft.com/office/drawing/2014/main" id="{35BE40F2-9E1C-4A4F-A45D-356B50A3DE70}"/>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926">
            <a:extLst>
              <a:ext uri="{FF2B5EF4-FFF2-40B4-BE49-F238E27FC236}">
                <a16:creationId xmlns:a16="http://schemas.microsoft.com/office/drawing/2014/main" id="{EC6D2449-E82C-4C65-8BF2-5340E3563D07}"/>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TextBox 219">
            <a:extLst>
              <a:ext uri="{FF2B5EF4-FFF2-40B4-BE49-F238E27FC236}">
                <a16:creationId xmlns:a16="http://schemas.microsoft.com/office/drawing/2014/main" id="{ABE39FF6-ABF9-4F0F-813B-717BFB62CA2A}"/>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29" name="TextBox 219">
            <a:extLst>
              <a:ext uri="{FF2B5EF4-FFF2-40B4-BE49-F238E27FC236}">
                <a16:creationId xmlns:a16="http://schemas.microsoft.com/office/drawing/2014/main" id="{A5000576-9CD7-4FBC-9450-F9F73BEAA055}"/>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1" name="TextBox 219">
            <a:extLst>
              <a:ext uri="{FF2B5EF4-FFF2-40B4-BE49-F238E27FC236}">
                <a16:creationId xmlns:a16="http://schemas.microsoft.com/office/drawing/2014/main" id="{80CF877D-0714-46DD-9C37-1980526A4165}"/>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2" name="Freeform 926">
            <a:extLst>
              <a:ext uri="{FF2B5EF4-FFF2-40B4-BE49-F238E27FC236}">
                <a16:creationId xmlns:a16="http://schemas.microsoft.com/office/drawing/2014/main" id="{216243C1-344D-43ED-AD00-B99479CFA6AE}"/>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Rectangle 33">
            <a:extLst>
              <a:ext uri="{FF2B5EF4-FFF2-40B4-BE49-F238E27FC236}">
                <a16:creationId xmlns:a16="http://schemas.microsoft.com/office/drawing/2014/main" id="{9CEDC8C2-686E-479C-9C02-F8805A0245D9}"/>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6" name="Rectangle 35">
            <a:extLst>
              <a:ext uri="{FF2B5EF4-FFF2-40B4-BE49-F238E27FC236}">
                <a16:creationId xmlns:a16="http://schemas.microsoft.com/office/drawing/2014/main" id="{182E13C1-1EC8-49DB-9A6F-16B1A3995F9D}"/>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9" name="Rectangle 38">
            <a:extLst>
              <a:ext uri="{FF2B5EF4-FFF2-40B4-BE49-F238E27FC236}">
                <a16:creationId xmlns:a16="http://schemas.microsoft.com/office/drawing/2014/main" id="{03B91CCD-6EE5-47A5-A2EB-3C69B0DA7D73}"/>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40" name="Rectangle 39">
            <a:extLst>
              <a:ext uri="{FF2B5EF4-FFF2-40B4-BE49-F238E27FC236}">
                <a16:creationId xmlns:a16="http://schemas.microsoft.com/office/drawing/2014/main" id="{2C374395-BAF3-47C5-8FA4-D31228CA6AB3}"/>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120152079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Image 34">
            <a:extLst>
              <a:ext uri="{FF2B5EF4-FFF2-40B4-BE49-F238E27FC236}">
                <a16:creationId xmlns:a16="http://schemas.microsoft.com/office/drawing/2014/main" id="{70964B11-96CE-4171-AE76-A903019772BC}"/>
              </a:ext>
            </a:extLst>
          </p:cNvPr>
          <p:cNvPicPr>
            <a:picLocks noChangeAspect="1"/>
          </p:cNvPicPr>
          <p:nvPr/>
        </p:nvPicPr>
        <p:blipFill>
          <a:blip r:embed="rId3"/>
          <a:stretch>
            <a:fillRect/>
          </a:stretch>
        </p:blipFill>
        <p:spPr>
          <a:xfrm>
            <a:off x="7573916" y="4862905"/>
            <a:ext cx="98202" cy="65730"/>
          </a:xfrm>
          <a:prstGeom prst="rect">
            <a:avLst/>
          </a:prstGeom>
        </p:spPr>
      </p:pic>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4"/>
          <a:srcRect l="18381"/>
          <a:stretch/>
        </p:blipFill>
        <p:spPr>
          <a:xfrm>
            <a:off x="0" y="2742187"/>
            <a:ext cx="13439775" cy="4238254"/>
          </a:xfrm>
          <a:prstGeom prst="rect">
            <a:avLst/>
          </a:prstGeom>
        </p:spPr>
      </p:pic>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5"/>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6"/>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7"/>
            <a:stretch>
              <a:fillRect/>
            </a:stretch>
          </p:blipFill>
          <p:spPr>
            <a:xfrm>
              <a:off x="3624806" y="0"/>
              <a:ext cx="5760720" cy="1719580"/>
            </a:xfrm>
            <a:prstGeom prst="rect">
              <a:avLst/>
            </a:prstGeom>
          </p:spPr>
        </p:pic>
      </p:grpSp>
      <p:sp>
        <p:nvSpPr>
          <p:cNvPr id="29" name="Rectangle 28">
            <a:extLst>
              <a:ext uri="{FF2B5EF4-FFF2-40B4-BE49-F238E27FC236}">
                <a16:creationId xmlns:a16="http://schemas.microsoft.com/office/drawing/2014/main" id="{AD9E9555-172A-41A7-8352-370E99AEFA39}"/>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30" name="Flèche : pentagone 29">
            <a:extLst>
              <a:ext uri="{FF2B5EF4-FFF2-40B4-BE49-F238E27FC236}">
                <a16:creationId xmlns:a16="http://schemas.microsoft.com/office/drawing/2014/main" id="{82BBE1E7-2365-4F6A-AE3F-453EDA09BAAB}"/>
              </a:ext>
            </a:extLst>
          </p:cNvPr>
          <p:cNvSpPr/>
          <p:nvPr/>
        </p:nvSpPr>
        <p:spPr bwMode="gray">
          <a:xfrm>
            <a:off x="903250" y="3451566"/>
            <a:ext cx="3300760" cy="1012858"/>
          </a:xfrm>
          <a:prstGeom prst="homePlate">
            <a:avLst/>
          </a:prstGeom>
          <a:solidFill>
            <a:srgbClr val="FDF8F5"/>
          </a:solidFill>
          <a:ln w="19050" algn="ctr">
            <a:solidFill>
              <a:schemeClr val="accent1"/>
            </a:solidFill>
            <a:miter lim="800000"/>
            <a:headEnd/>
            <a:tailEnd/>
          </a:ln>
        </p:spPr>
        <p:txBody>
          <a:bodyPr wrap="square" lIns="88900" tIns="88900" rIns="88900" bIns="88900" rtlCol="0" anchor="ctr"/>
          <a:lstStyle/>
          <a:p>
            <a:r>
              <a:rPr lang="fr-FR" sz="1400" b="0" i="0" u="none" strike="noStrike" baseline="0" dirty="0">
                <a:solidFill>
                  <a:srgbClr val="000000"/>
                </a:solidFill>
                <a:latin typeface="Calibri" panose="020F0502020204030204" pitchFamily="34" charset="0"/>
              </a:rPr>
              <a:t>Le niveau de maturité actuel du service, qui nous donne une indication claire de son degré d'avancement par rapport à l'état cible. </a:t>
            </a:r>
          </a:p>
        </p:txBody>
      </p:sp>
      <p:sp>
        <p:nvSpPr>
          <p:cNvPr id="32" name="ZoneTexte 31">
            <a:extLst>
              <a:ext uri="{FF2B5EF4-FFF2-40B4-BE49-F238E27FC236}">
                <a16:creationId xmlns:a16="http://schemas.microsoft.com/office/drawing/2014/main" id="{213A87F6-D7C5-48DA-8E15-62A924A2661B}"/>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5</a:t>
            </a:r>
          </a:p>
        </p:txBody>
      </p:sp>
      <p:pic>
        <p:nvPicPr>
          <p:cNvPr id="34" name="Image 33">
            <a:extLst>
              <a:ext uri="{FF2B5EF4-FFF2-40B4-BE49-F238E27FC236}">
                <a16:creationId xmlns:a16="http://schemas.microsoft.com/office/drawing/2014/main" id="{AF34AFE3-D78F-45AD-97FA-826A107FE1A4}"/>
              </a:ext>
            </a:extLst>
          </p:cNvPr>
          <p:cNvPicPr>
            <a:picLocks noChangeAspect="1"/>
          </p:cNvPicPr>
          <p:nvPr/>
        </p:nvPicPr>
        <p:blipFill>
          <a:blip r:embed="rId8"/>
          <a:stretch>
            <a:fillRect/>
          </a:stretch>
        </p:blipFill>
        <p:spPr>
          <a:xfrm>
            <a:off x="4491324" y="1866811"/>
            <a:ext cx="5269035" cy="3130876"/>
          </a:xfrm>
          <a:prstGeom prst="rect">
            <a:avLst/>
          </a:prstGeom>
        </p:spPr>
      </p:pic>
      <p:sp>
        <p:nvSpPr>
          <p:cNvPr id="26" name="Freeform 926">
            <a:extLst>
              <a:ext uri="{FF2B5EF4-FFF2-40B4-BE49-F238E27FC236}">
                <a16:creationId xmlns:a16="http://schemas.microsoft.com/office/drawing/2014/main" id="{03A941FD-2AB8-4653-B2FD-9F4430ED9D1C}"/>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926">
            <a:extLst>
              <a:ext uri="{FF2B5EF4-FFF2-40B4-BE49-F238E27FC236}">
                <a16:creationId xmlns:a16="http://schemas.microsoft.com/office/drawing/2014/main" id="{8D7B98A0-99E1-4E37-B09B-A9BABD6C1153}"/>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TextBox 219">
            <a:extLst>
              <a:ext uri="{FF2B5EF4-FFF2-40B4-BE49-F238E27FC236}">
                <a16:creationId xmlns:a16="http://schemas.microsoft.com/office/drawing/2014/main" id="{51EBA1FE-7141-4757-811D-302F6917847F}"/>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31" name="TextBox 219">
            <a:extLst>
              <a:ext uri="{FF2B5EF4-FFF2-40B4-BE49-F238E27FC236}">
                <a16:creationId xmlns:a16="http://schemas.microsoft.com/office/drawing/2014/main" id="{B31906DB-B8FD-4410-9CE4-99265D2A51C2}"/>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3" name="TextBox 219">
            <a:extLst>
              <a:ext uri="{FF2B5EF4-FFF2-40B4-BE49-F238E27FC236}">
                <a16:creationId xmlns:a16="http://schemas.microsoft.com/office/drawing/2014/main" id="{817E004F-C58E-494E-8BDB-CB52ED48E2C8}"/>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6" name="Freeform 926">
            <a:extLst>
              <a:ext uri="{FF2B5EF4-FFF2-40B4-BE49-F238E27FC236}">
                <a16:creationId xmlns:a16="http://schemas.microsoft.com/office/drawing/2014/main" id="{F159D929-A97D-4661-96F9-6E046928AE05}"/>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Rectangle 36">
            <a:extLst>
              <a:ext uri="{FF2B5EF4-FFF2-40B4-BE49-F238E27FC236}">
                <a16:creationId xmlns:a16="http://schemas.microsoft.com/office/drawing/2014/main" id="{71460050-9460-4A35-B1F9-FCB7609B7336}"/>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8" name="Rectangle 37">
            <a:extLst>
              <a:ext uri="{FF2B5EF4-FFF2-40B4-BE49-F238E27FC236}">
                <a16:creationId xmlns:a16="http://schemas.microsoft.com/office/drawing/2014/main" id="{645E3F4C-16BF-4DC5-B3E1-91351B84F95F}"/>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9" name="Rectangle 38">
            <a:extLst>
              <a:ext uri="{FF2B5EF4-FFF2-40B4-BE49-F238E27FC236}">
                <a16:creationId xmlns:a16="http://schemas.microsoft.com/office/drawing/2014/main" id="{D93C48BE-B09C-4A77-B3C6-23744EC868CD}"/>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40" name="Rectangle 39">
            <a:extLst>
              <a:ext uri="{FF2B5EF4-FFF2-40B4-BE49-F238E27FC236}">
                <a16:creationId xmlns:a16="http://schemas.microsoft.com/office/drawing/2014/main" id="{0A46540C-109C-454B-BE29-D8353576CA99}"/>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153066106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4"/>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5"/>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6"/>
            <a:stretch>
              <a:fillRect/>
            </a:stretch>
          </p:blipFill>
          <p:spPr>
            <a:xfrm>
              <a:off x="3624806" y="0"/>
              <a:ext cx="5760720" cy="1719580"/>
            </a:xfrm>
            <a:prstGeom prst="rect">
              <a:avLst/>
            </a:prstGeom>
          </p:spPr>
        </p:pic>
      </p:grpSp>
      <p:sp>
        <p:nvSpPr>
          <p:cNvPr id="22" name="Rectangle 21">
            <a:extLst>
              <a:ext uri="{FF2B5EF4-FFF2-40B4-BE49-F238E27FC236}">
                <a16:creationId xmlns:a16="http://schemas.microsoft.com/office/drawing/2014/main" id="{0D2E918F-A12F-4F87-B81E-5D0A39B4A2F3}"/>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23" name="Flèche : pentagone 22">
            <a:extLst>
              <a:ext uri="{FF2B5EF4-FFF2-40B4-BE49-F238E27FC236}">
                <a16:creationId xmlns:a16="http://schemas.microsoft.com/office/drawing/2014/main" id="{6E3DC3B4-5168-4372-8462-C57302EEE8A9}"/>
              </a:ext>
            </a:extLst>
          </p:cNvPr>
          <p:cNvSpPr/>
          <p:nvPr/>
        </p:nvSpPr>
        <p:spPr bwMode="gray">
          <a:xfrm>
            <a:off x="903250" y="3995561"/>
            <a:ext cx="3300760" cy="949517"/>
          </a:xfrm>
          <a:prstGeom prst="homePlate">
            <a:avLst/>
          </a:prstGeom>
          <a:solidFill>
            <a:srgbClr val="FDF8F5"/>
          </a:solidFill>
          <a:ln w="19050" algn="ctr">
            <a:solidFill>
              <a:schemeClr val="accent1"/>
            </a:solidFill>
            <a:miter lim="800000"/>
            <a:headEnd/>
            <a:tailEnd/>
          </a:ln>
        </p:spPr>
        <p:txBody>
          <a:bodyPr wrap="square" lIns="88900" tIns="88900" rIns="88900" bIns="88900" rtlCol="0" anchor="ctr"/>
          <a:lstStyle/>
          <a:p>
            <a:r>
              <a:rPr lang="fr-FR" sz="1400" b="0" i="0" u="none" strike="noStrike" baseline="0" dirty="0">
                <a:solidFill>
                  <a:srgbClr val="000000"/>
                </a:solidFill>
                <a:latin typeface="Calibri" panose="020F0502020204030204" pitchFamily="34" charset="0"/>
              </a:rPr>
              <a:t>Le niveau de maturité de chaque catégorie spécifique du service, ce qui nous permet de cibler les domaines à améliorer pour chaque service. </a:t>
            </a:r>
          </a:p>
        </p:txBody>
      </p:sp>
      <p:sp>
        <p:nvSpPr>
          <p:cNvPr id="25" name="ZoneTexte 24">
            <a:extLst>
              <a:ext uri="{FF2B5EF4-FFF2-40B4-BE49-F238E27FC236}">
                <a16:creationId xmlns:a16="http://schemas.microsoft.com/office/drawing/2014/main" id="{FEAC1113-CC69-43BE-8FCD-BCADC488CEB6}"/>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6</a:t>
            </a:r>
          </a:p>
        </p:txBody>
      </p:sp>
      <p:pic>
        <p:nvPicPr>
          <p:cNvPr id="28" name="Image 27">
            <a:extLst>
              <a:ext uri="{FF2B5EF4-FFF2-40B4-BE49-F238E27FC236}">
                <a16:creationId xmlns:a16="http://schemas.microsoft.com/office/drawing/2014/main" id="{E3962952-641E-42A0-9F0B-3C52F11AF4A5}"/>
              </a:ext>
            </a:extLst>
          </p:cNvPr>
          <p:cNvPicPr>
            <a:picLocks noChangeAspect="1"/>
          </p:cNvPicPr>
          <p:nvPr/>
        </p:nvPicPr>
        <p:blipFill>
          <a:blip r:embed="rId7"/>
          <a:stretch>
            <a:fillRect/>
          </a:stretch>
        </p:blipFill>
        <p:spPr>
          <a:xfrm>
            <a:off x="7547947" y="3713396"/>
            <a:ext cx="621192" cy="298722"/>
          </a:xfrm>
          <a:prstGeom prst="rect">
            <a:avLst/>
          </a:prstGeom>
        </p:spPr>
      </p:pic>
      <p:pic>
        <p:nvPicPr>
          <p:cNvPr id="27" name="Image 26">
            <a:extLst>
              <a:ext uri="{FF2B5EF4-FFF2-40B4-BE49-F238E27FC236}">
                <a16:creationId xmlns:a16="http://schemas.microsoft.com/office/drawing/2014/main" id="{4E271B8A-9557-4831-AB97-86ECC5B9DD94}"/>
              </a:ext>
            </a:extLst>
          </p:cNvPr>
          <p:cNvPicPr>
            <a:picLocks noChangeAspect="1"/>
          </p:cNvPicPr>
          <p:nvPr/>
        </p:nvPicPr>
        <p:blipFill>
          <a:blip r:embed="rId8"/>
          <a:stretch>
            <a:fillRect/>
          </a:stretch>
        </p:blipFill>
        <p:spPr>
          <a:xfrm>
            <a:off x="4298659" y="2644073"/>
            <a:ext cx="4960252" cy="3320062"/>
          </a:xfrm>
          <a:prstGeom prst="rect">
            <a:avLst/>
          </a:prstGeom>
        </p:spPr>
      </p:pic>
      <p:sp>
        <p:nvSpPr>
          <p:cNvPr id="31" name="Freeform 926">
            <a:extLst>
              <a:ext uri="{FF2B5EF4-FFF2-40B4-BE49-F238E27FC236}">
                <a16:creationId xmlns:a16="http://schemas.microsoft.com/office/drawing/2014/main" id="{D9FB5FCD-C4D2-48E4-AACD-9AB7ECE29D3A}"/>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926">
            <a:extLst>
              <a:ext uri="{FF2B5EF4-FFF2-40B4-BE49-F238E27FC236}">
                <a16:creationId xmlns:a16="http://schemas.microsoft.com/office/drawing/2014/main" id="{13DC5020-506F-4434-808D-E21E32FE4270}"/>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TextBox 219">
            <a:extLst>
              <a:ext uri="{FF2B5EF4-FFF2-40B4-BE49-F238E27FC236}">
                <a16:creationId xmlns:a16="http://schemas.microsoft.com/office/drawing/2014/main" id="{25BE2CE6-9108-4951-AB47-0A54A7A16C14}"/>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34" name="TextBox 219">
            <a:extLst>
              <a:ext uri="{FF2B5EF4-FFF2-40B4-BE49-F238E27FC236}">
                <a16:creationId xmlns:a16="http://schemas.microsoft.com/office/drawing/2014/main" id="{B4A5D952-951A-4E20-AC7F-61C61A55E403}"/>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5" name="TextBox 219">
            <a:extLst>
              <a:ext uri="{FF2B5EF4-FFF2-40B4-BE49-F238E27FC236}">
                <a16:creationId xmlns:a16="http://schemas.microsoft.com/office/drawing/2014/main" id="{A0F45C0E-7E8C-4672-A2CC-DBB3B287F6F3}"/>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6" name="Freeform 926">
            <a:extLst>
              <a:ext uri="{FF2B5EF4-FFF2-40B4-BE49-F238E27FC236}">
                <a16:creationId xmlns:a16="http://schemas.microsoft.com/office/drawing/2014/main" id="{B72A0996-A871-4F79-9CC9-AA67143BDD87}"/>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Rectangle 36">
            <a:extLst>
              <a:ext uri="{FF2B5EF4-FFF2-40B4-BE49-F238E27FC236}">
                <a16:creationId xmlns:a16="http://schemas.microsoft.com/office/drawing/2014/main" id="{9B9B5A1D-11EE-4AAF-B6A0-5DE055245FD6}"/>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8" name="Rectangle 37">
            <a:extLst>
              <a:ext uri="{FF2B5EF4-FFF2-40B4-BE49-F238E27FC236}">
                <a16:creationId xmlns:a16="http://schemas.microsoft.com/office/drawing/2014/main" id="{9AAC5270-AE9C-45FC-A761-16F7C98930EF}"/>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9" name="Rectangle 38">
            <a:extLst>
              <a:ext uri="{FF2B5EF4-FFF2-40B4-BE49-F238E27FC236}">
                <a16:creationId xmlns:a16="http://schemas.microsoft.com/office/drawing/2014/main" id="{1D118760-52C3-40C5-B31B-AB6D85B3AB6F}"/>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40" name="Rectangle 39">
            <a:extLst>
              <a:ext uri="{FF2B5EF4-FFF2-40B4-BE49-F238E27FC236}">
                <a16:creationId xmlns:a16="http://schemas.microsoft.com/office/drawing/2014/main" id="{D263C0CB-CD1A-4A65-823D-A04424E3727D}"/>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184024703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0">
            <a:extLst>
              <a:ext uri="{FF2B5EF4-FFF2-40B4-BE49-F238E27FC236}">
                <a16:creationId xmlns:a16="http://schemas.microsoft.com/office/drawing/2014/main" id="{60F2190A-0A80-4435-A50F-BFB664B97049}"/>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5" name="Rectangle 4">
            <a:extLst>
              <a:ext uri="{FF2B5EF4-FFF2-40B4-BE49-F238E27FC236}">
                <a16:creationId xmlns:a16="http://schemas.microsoft.com/office/drawing/2014/main" id="{3FBD5709-5EA5-4800-BFAE-D683E9EA59B7}"/>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grpSp>
        <p:nvGrpSpPr>
          <p:cNvPr id="20" name="Groupe 19">
            <a:extLst>
              <a:ext uri="{FF2B5EF4-FFF2-40B4-BE49-F238E27FC236}">
                <a16:creationId xmlns:a16="http://schemas.microsoft.com/office/drawing/2014/main" id="{291FDADA-E666-4DD9-A5F2-F157A287EBE1}"/>
              </a:ext>
            </a:extLst>
          </p:cNvPr>
          <p:cNvGrpSpPr/>
          <p:nvPr/>
        </p:nvGrpSpPr>
        <p:grpSpPr>
          <a:xfrm>
            <a:off x="4491324" y="1608622"/>
            <a:ext cx="4457126" cy="5340985"/>
            <a:chOff x="3624806" y="0"/>
            <a:chExt cx="5760720" cy="6903085"/>
          </a:xfrm>
        </p:grpSpPr>
        <p:grpSp>
          <p:nvGrpSpPr>
            <p:cNvPr id="18" name="Groupe 17">
              <a:extLst>
                <a:ext uri="{FF2B5EF4-FFF2-40B4-BE49-F238E27FC236}">
                  <a16:creationId xmlns:a16="http://schemas.microsoft.com/office/drawing/2014/main" id="{6AEC92D6-599C-4CCA-BC22-7EFCBF120DA3}"/>
                </a:ext>
              </a:extLst>
            </p:cNvPr>
            <p:cNvGrpSpPr/>
            <p:nvPr/>
          </p:nvGrpSpPr>
          <p:grpSpPr>
            <a:xfrm>
              <a:off x="3624806" y="1688465"/>
              <a:ext cx="5760720" cy="5214620"/>
              <a:chOff x="3624806" y="1688465"/>
              <a:chExt cx="5760720" cy="5214620"/>
            </a:xfrm>
          </p:grpSpPr>
          <p:pic>
            <p:nvPicPr>
              <p:cNvPr id="16" name="Picture 43">
                <a:extLst>
                  <a:ext uri="{FF2B5EF4-FFF2-40B4-BE49-F238E27FC236}">
                    <a16:creationId xmlns:a16="http://schemas.microsoft.com/office/drawing/2014/main" id="{C6CE5758-8175-4EB3-AA6A-C208AE87A1C0}"/>
                  </a:ext>
                </a:extLst>
              </p:cNvPr>
              <p:cNvPicPr>
                <a:picLocks noChangeAspect="1"/>
              </p:cNvPicPr>
              <p:nvPr/>
            </p:nvPicPr>
            <p:blipFill>
              <a:blip r:embed="rId4"/>
              <a:stretch>
                <a:fillRect/>
              </a:stretch>
            </p:blipFill>
            <p:spPr>
              <a:xfrm>
                <a:off x="3624806" y="1688465"/>
                <a:ext cx="5760720" cy="2623820"/>
              </a:xfrm>
              <a:prstGeom prst="rect">
                <a:avLst/>
              </a:prstGeom>
            </p:spPr>
          </p:pic>
          <p:pic>
            <p:nvPicPr>
              <p:cNvPr id="17" name="Picture 44">
                <a:extLst>
                  <a:ext uri="{FF2B5EF4-FFF2-40B4-BE49-F238E27FC236}">
                    <a16:creationId xmlns:a16="http://schemas.microsoft.com/office/drawing/2014/main" id="{AF3307EB-5635-40FD-8A79-E358FA8D15F5}"/>
                  </a:ext>
                </a:extLst>
              </p:cNvPr>
              <p:cNvPicPr>
                <a:picLocks noChangeAspect="1"/>
              </p:cNvPicPr>
              <p:nvPr/>
            </p:nvPicPr>
            <p:blipFill>
              <a:blip r:embed="rId5"/>
              <a:stretch>
                <a:fillRect/>
              </a:stretch>
            </p:blipFill>
            <p:spPr>
              <a:xfrm>
                <a:off x="3624806" y="4274185"/>
                <a:ext cx="5760720" cy="2628900"/>
              </a:xfrm>
              <a:prstGeom prst="rect">
                <a:avLst/>
              </a:prstGeom>
            </p:spPr>
          </p:pic>
        </p:grpSp>
        <p:pic>
          <p:nvPicPr>
            <p:cNvPr id="19" name="Picture 22">
              <a:extLst>
                <a:ext uri="{FF2B5EF4-FFF2-40B4-BE49-F238E27FC236}">
                  <a16:creationId xmlns:a16="http://schemas.microsoft.com/office/drawing/2014/main" id="{C7A8ABFC-FFB2-4F08-8513-44B1CD9168F0}"/>
                </a:ext>
              </a:extLst>
            </p:cNvPr>
            <p:cNvPicPr>
              <a:picLocks noChangeAspect="1"/>
            </p:cNvPicPr>
            <p:nvPr/>
          </p:nvPicPr>
          <p:blipFill>
            <a:blip r:embed="rId6"/>
            <a:stretch>
              <a:fillRect/>
            </a:stretch>
          </p:blipFill>
          <p:spPr>
            <a:xfrm>
              <a:off x="3624806" y="0"/>
              <a:ext cx="5760720" cy="1719580"/>
            </a:xfrm>
            <a:prstGeom prst="rect">
              <a:avLst/>
            </a:prstGeom>
          </p:spPr>
        </p:pic>
      </p:grpSp>
      <p:sp>
        <p:nvSpPr>
          <p:cNvPr id="23" name="Flèche : pentagone 22">
            <a:extLst>
              <a:ext uri="{FF2B5EF4-FFF2-40B4-BE49-F238E27FC236}">
                <a16:creationId xmlns:a16="http://schemas.microsoft.com/office/drawing/2014/main" id="{FB10D7B6-E1AF-40FD-B1F2-0A8872FDFA12}"/>
              </a:ext>
            </a:extLst>
          </p:cNvPr>
          <p:cNvSpPr/>
          <p:nvPr/>
        </p:nvSpPr>
        <p:spPr bwMode="gray">
          <a:xfrm>
            <a:off x="903250" y="3147756"/>
            <a:ext cx="3300760" cy="865752"/>
          </a:xfrm>
          <a:prstGeom prst="homePlate">
            <a:avLst/>
          </a:prstGeom>
          <a:solidFill>
            <a:srgbClr val="FDF8F5"/>
          </a:solidFill>
          <a:ln w="19050" algn="ctr">
            <a:solidFill>
              <a:schemeClr val="accent1"/>
            </a:solidFill>
            <a:miter lim="800000"/>
            <a:headEnd/>
            <a:tailEnd/>
          </a:ln>
        </p:spPr>
        <p:txBody>
          <a:bodyPr wrap="square" lIns="88900" tIns="88900" rIns="88900" bIns="88900" rtlCol="0" anchor="ctr"/>
          <a:lstStyle/>
          <a:p>
            <a:r>
              <a:rPr lang="fr-FR" sz="1400" b="0" i="0" u="none" strike="noStrike" baseline="0" dirty="0">
                <a:solidFill>
                  <a:srgbClr val="000000"/>
                </a:solidFill>
              </a:rPr>
              <a:t>Le statut de la mise en œuvre des recommandations </a:t>
            </a:r>
            <a:r>
              <a:rPr lang="fr-FR" sz="1400" b="0" i="0" u="none" strike="noStrike" baseline="0" dirty="0">
                <a:solidFill>
                  <a:srgbClr val="000000"/>
                </a:solidFill>
                <a:latin typeface="Calibri" panose="020F0502020204030204" pitchFamily="34" charset="0"/>
              </a:rPr>
              <a:t>. </a:t>
            </a:r>
          </a:p>
        </p:txBody>
      </p:sp>
      <p:sp>
        <p:nvSpPr>
          <p:cNvPr id="24" name="ZoneTexte 23">
            <a:extLst>
              <a:ext uri="{FF2B5EF4-FFF2-40B4-BE49-F238E27FC236}">
                <a16:creationId xmlns:a16="http://schemas.microsoft.com/office/drawing/2014/main" id="{BBC5D596-7A0F-4A17-B991-9305A9C36469}"/>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7</a:t>
            </a:r>
          </a:p>
        </p:txBody>
      </p:sp>
      <p:pic>
        <p:nvPicPr>
          <p:cNvPr id="26" name="Image 25">
            <a:extLst>
              <a:ext uri="{FF2B5EF4-FFF2-40B4-BE49-F238E27FC236}">
                <a16:creationId xmlns:a16="http://schemas.microsoft.com/office/drawing/2014/main" id="{9FDFD332-0B4E-4694-ADB6-70D4C76C470F}"/>
              </a:ext>
            </a:extLst>
          </p:cNvPr>
          <p:cNvPicPr>
            <a:picLocks noChangeAspect="1"/>
          </p:cNvPicPr>
          <p:nvPr/>
        </p:nvPicPr>
        <p:blipFill>
          <a:blip r:embed="rId7"/>
          <a:stretch>
            <a:fillRect/>
          </a:stretch>
        </p:blipFill>
        <p:spPr>
          <a:xfrm>
            <a:off x="4707927" y="2216186"/>
            <a:ext cx="5674727" cy="2728893"/>
          </a:xfrm>
          <a:prstGeom prst="rect">
            <a:avLst/>
          </a:prstGeom>
        </p:spPr>
      </p:pic>
      <p:sp>
        <p:nvSpPr>
          <p:cNvPr id="28" name="Freeform 926">
            <a:extLst>
              <a:ext uri="{FF2B5EF4-FFF2-40B4-BE49-F238E27FC236}">
                <a16:creationId xmlns:a16="http://schemas.microsoft.com/office/drawing/2014/main" id="{DB5A4C59-CB74-4154-8587-A7498C15D665}"/>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926">
            <a:extLst>
              <a:ext uri="{FF2B5EF4-FFF2-40B4-BE49-F238E27FC236}">
                <a16:creationId xmlns:a16="http://schemas.microsoft.com/office/drawing/2014/main" id="{665A76C5-5351-4D4E-A5B6-4F0E4C37A90F}"/>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TextBox 219">
            <a:extLst>
              <a:ext uri="{FF2B5EF4-FFF2-40B4-BE49-F238E27FC236}">
                <a16:creationId xmlns:a16="http://schemas.microsoft.com/office/drawing/2014/main" id="{A05EC5DB-3661-4369-9790-427947EB4CD0}"/>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31" name="TextBox 219">
            <a:extLst>
              <a:ext uri="{FF2B5EF4-FFF2-40B4-BE49-F238E27FC236}">
                <a16:creationId xmlns:a16="http://schemas.microsoft.com/office/drawing/2014/main" id="{6C18AA56-5AB4-4544-A2DF-78968B6A2122}"/>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32" name="TextBox 219">
            <a:extLst>
              <a:ext uri="{FF2B5EF4-FFF2-40B4-BE49-F238E27FC236}">
                <a16:creationId xmlns:a16="http://schemas.microsoft.com/office/drawing/2014/main" id="{51893279-E77E-4D9D-95E4-C0D9C80A6C58}"/>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33" name="Freeform 926">
            <a:extLst>
              <a:ext uri="{FF2B5EF4-FFF2-40B4-BE49-F238E27FC236}">
                <a16:creationId xmlns:a16="http://schemas.microsoft.com/office/drawing/2014/main" id="{00EEBECC-5ECB-4D9E-A578-725BDC77B478}"/>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Rectangle 33">
            <a:extLst>
              <a:ext uri="{FF2B5EF4-FFF2-40B4-BE49-F238E27FC236}">
                <a16:creationId xmlns:a16="http://schemas.microsoft.com/office/drawing/2014/main" id="{584633C4-1CAD-4C0A-87BA-EB8D92D6471A}"/>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5" name="Rectangle 34">
            <a:extLst>
              <a:ext uri="{FF2B5EF4-FFF2-40B4-BE49-F238E27FC236}">
                <a16:creationId xmlns:a16="http://schemas.microsoft.com/office/drawing/2014/main" id="{F756FFAD-97E4-46BD-850E-EF9660DB081F}"/>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6" name="Rectangle 35">
            <a:extLst>
              <a:ext uri="{FF2B5EF4-FFF2-40B4-BE49-F238E27FC236}">
                <a16:creationId xmlns:a16="http://schemas.microsoft.com/office/drawing/2014/main" id="{E139CD97-7D82-46B5-8E54-41A96C8537B0}"/>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37" name="Rectangle 36">
            <a:extLst>
              <a:ext uri="{FF2B5EF4-FFF2-40B4-BE49-F238E27FC236}">
                <a16:creationId xmlns:a16="http://schemas.microsoft.com/office/drawing/2014/main" id="{EDE5BABA-B3A5-411A-9B7B-547ACCD575A0}"/>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53234188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20">
            <a:extLst>
              <a:ext uri="{FF2B5EF4-FFF2-40B4-BE49-F238E27FC236}">
                <a16:creationId xmlns:a16="http://schemas.microsoft.com/office/drawing/2014/main" id="{1E42EEE4-355B-4F6D-BDBC-DE36D257FAAF}"/>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179" name="Group 73">
            <a:extLst>
              <a:ext uri="{FF2B5EF4-FFF2-40B4-BE49-F238E27FC236}">
                <a16:creationId xmlns:a16="http://schemas.microsoft.com/office/drawing/2014/main" id="{A88D32F9-A61D-4EA3-BD03-88DC8D790FA5}"/>
              </a:ext>
            </a:extLst>
          </p:cNvPr>
          <p:cNvGrpSpPr/>
          <p:nvPr/>
        </p:nvGrpSpPr>
        <p:grpSpPr>
          <a:xfrm>
            <a:off x="9728971" y="2474374"/>
            <a:ext cx="1953864" cy="3445905"/>
            <a:chOff x="990600" y="2196640"/>
            <a:chExt cx="1953864" cy="3445905"/>
          </a:xfrm>
        </p:grpSpPr>
        <p:sp>
          <p:nvSpPr>
            <p:cNvPr id="180" name="Freeform 5">
              <a:extLst>
                <a:ext uri="{FF2B5EF4-FFF2-40B4-BE49-F238E27FC236}">
                  <a16:creationId xmlns:a16="http://schemas.microsoft.com/office/drawing/2014/main" id="{5F018933-331A-4DDD-910B-FF4B614CF89E}"/>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81" name="Rectangle 6">
              <a:extLst>
                <a:ext uri="{FF2B5EF4-FFF2-40B4-BE49-F238E27FC236}">
                  <a16:creationId xmlns:a16="http://schemas.microsoft.com/office/drawing/2014/main" id="{BDF09F37-D0AA-4BAD-B1C4-3DF7D1A5F2FC}"/>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2" name="Oval 7">
              <a:extLst>
                <a:ext uri="{FF2B5EF4-FFF2-40B4-BE49-F238E27FC236}">
                  <a16:creationId xmlns:a16="http://schemas.microsoft.com/office/drawing/2014/main" id="{E723C2C8-7AC2-48D8-9BB3-23699C7D6A70}"/>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183" name="Rectangle 182">
            <a:extLst>
              <a:ext uri="{FF2B5EF4-FFF2-40B4-BE49-F238E27FC236}">
                <a16:creationId xmlns:a16="http://schemas.microsoft.com/office/drawing/2014/main" id="{DA1FC4E6-0B06-4EBB-9F1C-1B82D66ECDF6}"/>
              </a:ext>
            </a:extLst>
          </p:cNvPr>
          <p:cNvSpPr>
            <a:spLocks noChangeArrowheads="1"/>
          </p:cNvSpPr>
          <p:nvPr/>
        </p:nvSpPr>
        <p:spPr bwMode="auto">
          <a:xfrm>
            <a:off x="1956429" y="2865147"/>
            <a:ext cx="1953864" cy="2404267"/>
          </a:xfrm>
          <a:prstGeom prst="rect">
            <a:avLst/>
          </a:prstGeom>
          <a:solidFill>
            <a:srgbClr val="9DD4C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4" name="Rectangle 183">
            <a:extLst>
              <a:ext uri="{FF2B5EF4-FFF2-40B4-BE49-F238E27FC236}">
                <a16:creationId xmlns:a16="http://schemas.microsoft.com/office/drawing/2014/main" id="{FD53738C-A654-47CF-9A61-A80E2114FCBF}"/>
              </a:ext>
            </a:extLst>
          </p:cNvPr>
          <p:cNvSpPr>
            <a:spLocks noChangeArrowheads="1"/>
          </p:cNvSpPr>
          <p:nvPr/>
        </p:nvSpPr>
        <p:spPr bwMode="auto">
          <a:xfrm>
            <a:off x="1956429" y="2865147"/>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5" name="Rectangle 184">
            <a:extLst>
              <a:ext uri="{FF2B5EF4-FFF2-40B4-BE49-F238E27FC236}">
                <a16:creationId xmlns:a16="http://schemas.microsoft.com/office/drawing/2014/main" id="{FB8ACB29-1DF9-4607-A912-D5378A031FF5}"/>
              </a:ext>
            </a:extLst>
          </p:cNvPr>
          <p:cNvSpPr>
            <a:spLocks noChangeArrowheads="1"/>
          </p:cNvSpPr>
          <p:nvPr/>
        </p:nvSpPr>
        <p:spPr bwMode="auto">
          <a:xfrm>
            <a:off x="1956429" y="2865147"/>
            <a:ext cx="1953864" cy="233449"/>
          </a:xfrm>
          <a:prstGeom prst="rect">
            <a:avLst/>
          </a:pr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1" name="Rectangle 200">
            <a:extLst>
              <a:ext uri="{FF2B5EF4-FFF2-40B4-BE49-F238E27FC236}">
                <a16:creationId xmlns:a16="http://schemas.microsoft.com/office/drawing/2014/main" id="{384CDD65-DE5F-4FE7-918A-0BF883765E2E}"/>
              </a:ext>
            </a:extLst>
          </p:cNvPr>
          <p:cNvSpPr>
            <a:spLocks noChangeArrowheads="1"/>
          </p:cNvSpPr>
          <p:nvPr/>
        </p:nvSpPr>
        <p:spPr bwMode="auto">
          <a:xfrm>
            <a:off x="3910293" y="2865147"/>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2" name="Rectangle 201">
            <a:extLst>
              <a:ext uri="{FF2B5EF4-FFF2-40B4-BE49-F238E27FC236}">
                <a16:creationId xmlns:a16="http://schemas.microsoft.com/office/drawing/2014/main" id="{9FB6A365-8C03-465F-B78B-98E2602B25FA}"/>
              </a:ext>
            </a:extLst>
          </p:cNvPr>
          <p:cNvSpPr>
            <a:spLocks noChangeArrowheads="1"/>
          </p:cNvSpPr>
          <p:nvPr/>
        </p:nvSpPr>
        <p:spPr bwMode="auto">
          <a:xfrm>
            <a:off x="3910293"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3" name="Rectangle 202">
            <a:extLst>
              <a:ext uri="{FF2B5EF4-FFF2-40B4-BE49-F238E27FC236}">
                <a16:creationId xmlns:a16="http://schemas.microsoft.com/office/drawing/2014/main" id="{9A29B085-E377-47FF-B23E-4E37C9064B8F}"/>
              </a:ext>
            </a:extLst>
          </p:cNvPr>
          <p:cNvSpPr>
            <a:spLocks noChangeArrowheads="1"/>
          </p:cNvSpPr>
          <p:nvPr/>
        </p:nvSpPr>
        <p:spPr bwMode="auto">
          <a:xfrm>
            <a:off x="3910293" y="2865147"/>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37" name="TextBox 5">
            <a:extLst>
              <a:ext uri="{FF2B5EF4-FFF2-40B4-BE49-F238E27FC236}">
                <a16:creationId xmlns:a16="http://schemas.microsoft.com/office/drawing/2014/main" id="{907086B0-DDA4-4E08-865D-ADA0E3DBBB98}"/>
              </a:ext>
            </a:extLst>
          </p:cNvPr>
          <p:cNvSpPr txBox="1"/>
          <p:nvPr/>
        </p:nvSpPr>
        <p:spPr>
          <a:xfrm>
            <a:off x="2240148" y="4430115"/>
            <a:ext cx="138592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dirty="0">
                <a:ln>
                  <a:noFill/>
                </a:ln>
                <a:solidFill>
                  <a:prstClr val="white"/>
                </a:solidFill>
                <a:effectLst/>
                <a:uLnTx/>
                <a:uFillTx/>
                <a:sym typeface="+mn-lt"/>
              </a:rPr>
              <a:t>Déroulement</a:t>
            </a:r>
            <a:r>
              <a:rPr kumimoji="0" lang="fr-FR" sz="1400" b="1" i="0" u="none" strike="noStrike" kern="0" cap="none" spc="0" normalizeH="0" dirty="0">
                <a:ln>
                  <a:noFill/>
                </a:ln>
                <a:solidFill>
                  <a:prstClr val="white"/>
                </a:solidFill>
                <a:effectLst/>
                <a:uLnTx/>
                <a:uFillTx/>
                <a:sym typeface="+mn-lt"/>
              </a:rPr>
              <a:t> des entretiens</a:t>
            </a:r>
            <a:endParaRPr kumimoji="0" lang="fr-FR" sz="1400" b="1" i="0" u="none" strike="noStrike" kern="0" cap="none" spc="0" normalizeH="0" baseline="0" dirty="0">
              <a:ln>
                <a:noFill/>
              </a:ln>
              <a:solidFill>
                <a:prstClr val="white"/>
              </a:solidFill>
              <a:effectLst/>
              <a:uLnTx/>
              <a:uFillTx/>
              <a:sym typeface="+mn-lt"/>
            </a:endParaRPr>
          </a:p>
        </p:txBody>
      </p:sp>
      <p:sp>
        <p:nvSpPr>
          <p:cNvPr id="238" name="TextBox 6">
            <a:extLst>
              <a:ext uri="{FF2B5EF4-FFF2-40B4-BE49-F238E27FC236}">
                <a16:creationId xmlns:a16="http://schemas.microsoft.com/office/drawing/2014/main" id="{7589FFE4-00C6-4E96-89F6-560E71AEBEDC}"/>
              </a:ext>
            </a:extLst>
          </p:cNvPr>
          <p:cNvSpPr txBox="1"/>
          <p:nvPr/>
        </p:nvSpPr>
        <p:spPr>
          <a:xfrm>
            <a:off x="2625424"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239" name="TextBox 67">
            <a:extLst>
              <a:ext uri="{FF2B5EF4-FFF2-40B4-BE49-F238E27FC236}">
                <a16:creationId xmlns:a16="http://schemas.microsoft.com/office/drawing/2014/main" id="{DE2A9265-73B6-47BD-AB11-11989051CEB5}"/>
              </a:ext>
            </a:extLst>
          </p:cNvPr>
          <p:cNvSpPr txBox="1"/>
          <p:nvPr/>
        </p:nvSpPr>
        <p:spPr>
          <a:xfrm>
            <a:off x="4278578" y="4376021"/>
            <a:ext cx="1245849" cy="584775"/>
          </a:xfrm>
          <a:prstGeom prst="rect">
            <a:avLst/>
          </a:prstGeom>
          <a:noFill/>
        </p:spPr>
        <p:txBody>
          <a:bodyPr wrap="square" rtlCol="0">
            <a:spAutoFit/>
          </a:bodyPr>
          <a:lstStyle/>
          <a:p>
            <a:pPr lvl="0" algn="ctr" defTabSz="914400">
              <a:defRPr/>
            </a:pPr>
            <a:r>
              <a:rPr lang="fr-FR" altLang="zh-CN" sz="1600" b="1" kern="0" dirty="0">
                <a:solidFill>
                  <a:prstClr val="white"/>
                </a:solidFill>
                <a:sym typeface="+mn-lt"/>
              </a:rPr>
              <a:t>Revue des réponses</a:t>
            </a:r>
          </a:p>
        </p:txBody>
      </p:sp>
      <p:sp>
        <p:nvSpPr>
          <p:cNvPr id="240" name="TextBox 68">
            <a:extLst>
              <a:ext uri="{FF2B5EF4-FFF2-40B4-BE49-F238E27FC236}">
                <a16:creationId xmlns:a16="http://schemas.microsoft.com/office/drawing/2014/main" id="{E5911C3B-7644-464D-A817-1054A1DD28AF}"/>
              </a:ext>
            </a:extLst>
          </p:cNvPr>
          <p:cNvSpPr txBox="1"/>
          <p:nvPr/>
        </p:nvSpPr>
        <p:spPr>
          <a:xfrm>
            <a:off x="4578019"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219" name="Rectangle 218">
            <a:extLst>
              <a:ext uri="{FF2B5EF4-FFF2-40B4-BE49-F238E27FC236}">
                <a16:creationId xmlns:a16="http://schemas.microsoft.com/office/drawing/2014/main" id="{CE250EEC-ADAC-49CD-9026-A473AB009DBD}"/>
              </a:ext>
            </a:extLst>
          </p:cNvPr>
          <p:cNvSpPr>
            <a:spLocks noChangeArrowheads="1"/>
          </p:cNvSpPr>
          <p:nvPr/>
        </p:nvSpPr>
        <p:spPr bwMode="auto">
          <a:xfrm>
            <a:off x="5846394" y="2865147"/>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0" name="Rectangle 219">
            <a:extLst>
              <a:ext uri="{FF2B5EF4-FFF2-40B4-BE49-F238E27FC236}">
                <a16:creationId xmlns:a16="http://schemas.microsoft.com/office/drawing/2014/main" id="{9468B8E1-D409-4D45-B105-2FECC1CA291A}"/>
              </a:ext>
            </a:extLst>
          </p:cNvPr>
          <p:cNvSpPr>
            <a:spLocks noChangeArrowheads="1"/>
          </p:cNvSpPr>
          <p:nvPr/>
        </p:nvSpPr>
        <p:spPr bwMode="auto">
          <a:xfrm>
            <a:off x="5846394"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21" name="Rectangle 220">
            <a:extLst>
              <a:ext uri="{FF2B5EF4-FFF2-40B4-BE49-F238E27FC236}">
                <a16:creationId xmlns:a16="http://schemas.microsoft.com/office/drawing/2014/main" id="{EF2FD853-AE05-446F-8970-C5528DFFCA2E}"/>
              </a:ext>
            </a:extLst>
          </p:cNvPr>
          <p:cNvSpPr>
            <a:spLocks noChangeArrowheads="1"/>
          </p:cNvSpPr>
          <p:nvPr/>
        </p:nvSpPr>
        <p:spPr bwMode="auto">
          <a:xfrm>
            <a:off x="5846394" y="2865147"/>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1" name="TextBox 69">
            <a:extLst>
              <a:ext uri="{FF2B5EF4-FFF2-40B4-BE49-F238E27FC236}">
                <a16:creationId xmlns:a16="http://schemas.microsoft.com/office/drawing/2014/main" id="{2B99B28A-2254-459A-9CAD-6C4085C8060B}"/>
              </a:ext>
            </a:extLst>
          </p:cNvPr>
          <p:cNvSpPr txBox="1"/>
          <p:nvPr/>
        </p:nvSpPr>
        <p:spPr>
          <a:xfrm>
            <a:off x="6186080"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Formulation des constats</a:t>
            </a:r>
          </a:p>
        </p:txBody>
      </p:sp>
      <p:sp>
        <p:nvSpPr>
          <p:cNvPr id="242" name="TextBox 70">
            <a:extLst>
              <a:ext uri="{FF2B5EF4-FFF2-40B4-BE49-F238E27FC236}">
                <a16:creationId xmlns:a16="http://schemas.microsoft.com/office/drawing/2014/main" id="{9478CA70-5A3B-4DA8-BC35-21CCDD84D178}"/>
              </a:ext>
            </a:extLst>
          </p:cNvPr>
          <p:cNvSpPr txBox="1"/>
          <p:nvPr/>
        </p:nvSpPr>
        <p:spPr>
          <a:xfrm>
            <a:off x="6514120"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pic>
        <p:nvPicPr>
          <p:cNvPr id="24" name="Graphique 23" descr="Chat contour">
            <a:extLst>
              <a:ext uri="{FF2B5EF4-FFF2-40B4-BE49-F238E27FC236}">
                <a16:creationId xmlns:a16="http://schemas.microsoft.com/office/drawing/2014/main" id="{2D2C3054-2D7A-469B-8216-075534B1DF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6563" y="3288422"/>
            <a:ext cx="914400" cy="914400"/>
          </a:xfrm>
          <a:prstGeom prst="rect">
            <a:avLst/>
          </a:prstGeom>
        </p:spPr>
      </p:pic>
      <p:pic>
        <p:nvPicPr>
          <p:cNvPr id="26" name="Graphique 25" descr="Presse-papiers mixte contour">
            <a:extLst>
              <a:ext uri="{FF2B5EF4-FFF2-40B4-BE49-F238E27FC236}">
                <a16:creationId xmlns:a16="http://schemas.microsoft.com/office/drawing/2014/main" id="{DCA36B17-D25C-444A-A6B6-28D4B4B06C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1615" y="3386516"/>
            <a:ext cx="727200" cy="727200"/>
          </a:xfrm>
          <a:prstGeom prst="rect">
            <a:avLst/>
          </a:prstGeom>
        </p:spPr>
      </p:pic>
      <p:pic>
        <p:nvPicPr>
          <p:cNvPr id="28" name="Graphique 27" descr="Document contour">
            <a:extLst>
              <a:ext uri="{FF2B5EF4-FFF2-40B4-BE49-F238E27FC236}">
                <a16:creationId xmlns:a16="http://schemas.microsoft.com/office/drawing/2014/main" id="{45ADA4EF-0402-431D-B481-E48973DF36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9198" y="3447767"/>
            <a:ext cx="715439" cy="715439"/>
          </a:xfrm>
          <a:prstGeom prst="rect">
            <a:avLst/>
          </a:prstGeom>
        </p:spPr>
      </p:pic>
      <p:sp>
        <p:nvSpPr>
          <p:cNvPr id="125" name="Rectangle 124">
            <a:extLst>
              <a:ext uri="{FF2B5EF4-FFF2-40B4-BE49-F238E27FC236}">
                <a16:creationId xmlns:a16="http://schemas.microsoft.com/office/drawing/2014/main" id="{E70BD766-9563-48B9-969F-0D2A818B7A6E}"/>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127" name="ZoneTexte 126">
            <a:extLst>
              <a:ext uri="{FF2B5EF4-FFF2-40B4-BE49-F238E27FC236}">
                <a16:creationId xmlns:a16="http://schemas.microsoft.com/office/drawing/2014/main" id="{07936148-F5E1-4B39-AC05-AB556959E3EF}"/>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0</a:t>
            </a:r>
          </a:p>
        </p:txBody>
      </p:sp>
      <p:sp>
        <p:nvSpPr>
          <p:cNvPr id="128" name="Rectangle 127">
            <a:extLst>
              <a:ext uri="{FF2B5EF4-FFF2-40B4-BE49-F238E27FC236}">
                <a16:creationId xmlns:a16="http://schemas.microsoft.com/office/drawing/2014/main" id="{82D1747B-02C5-4E1A-9215-14BD74AA5248}"/>
              </a:ext>
            </a:extLst>
          </p:cNvPr>
          <p:cNvSpPr>
            <a:spLocks noChangeArrowheads="1"/>
          </p:cNvSpPr>
          <p:nvPr/>
        </p:nvSpPr>
        <p:spPr bwMode="auto">
          <a:xfrm>
            <a:off x="7787022" y="2865147"/>
            <a:ext cx="1951326" cy="2404267"/>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129" name="Rectangle 128">
            <a:extLst>
              <a:ext uri="{FF2B5EF4-FFF2-40B4-BE49-F238E27FC236}">
                <a16:creationId xmlns:a16="http://schemas.microsoft.com/office/drawing/2014/main" id="{2A3D930E-BD5F-485A-9E86-5FB18F9F096A}"/>
              </a:ext>
            </a:extLst>
          </p:cNvPr>
          <p:cNvSpPr>
            <a:spLocks noChangeArrowheads="1"/>
          </p:cNvSpPr>
          <p:nvPr/>
        </p:nvSpPr>
        <p:spPr bwMode="auto">
          <a:xfrm>
            <a:off x="7787022"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0" name="Rectangle 129">
            <a:extLst>
              <a:ext uri="{FF2B5EF4-FFF2-40B4-BE49-F238E27FC236}">
                <a16:creationId xmlns:a16="http://schemas.microsoft.com/office/drawing/2014/main" id="{EACC3F52-0907-499E-A469-6E6E2705C6BE}"/>
              </a:ext>
            </a:extLst>
          </p:cNvPr>
          <p:cNvSpPr>
            <a:spLocks noChangeArrowheads="1"/>
          </p:cNvSpPr>
          <p:nvPr/>
        </p:nvSpPr>
        <p:spPr bwMode="auto">
          <a:xfrm>
            <a:off x="7787022" y="2865147"/>
            <a:ext cx="1951326" cy="233449"/>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1" name="Rectangle 130">
            <a:extLst>
              <a:ext uri="{FF2B5EF4-FFF2-40B4-BE49-F238E27FC236}">
                <a16:creationId xmlns:a16="http://schemas.microsoft.com/office/drawing/2014/main" id="{91789E5A-267B-401C-931D-6619E1800ED9}"/>
              </a:ext>
            </a:extLst>
          </p:cNvPr>
          <p:cNvSpPr>
            <a:spLocks noChangeArrowheads="1"/>
          </p:cNvSpPr>
          <p:nvPr/>
        </p:nvSpPr>
        <p:spPr bwMode="auto">
          <a:xfrm>
            <a:off x="9733821" y="2865147"/>
            <a:ext cx="1951326" cy="2404267"/>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2" name="Rectangle 131">
            <a:extLst>
              <a:ext uri="{FF2B5EF4-FFF2-40B4-BE49-F238E27FC236}">
                <a16:creationId xmlns:a16="http://schemas.microsoft.com/office/drawing/2014/main" id="{9AA24C35-8A05-4F8D-96C3-98E80F2A76A9}"/>
              </a:ext>
            </a:extLst>
          </p:cNvPr>
          <p:cNvSpPr>
            <a:spLocks noChangeArrowheads="1"/>
          </p:cNvSpPr>
          <p:nvPr/>
        </p:nvSpPr>
        <p:spPr bwMode="auto">
          <a:xfrm>
            <a:off x="9733821" y="2865147"/>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3" name="Rectangle 132">
            <a:extLst>
              <a:ext uri="{FF2B5EF4-FFF2-40B4-BE49-F238E27FC236}">
                <a16:creationId xmlns:a16="http://schemas.microsoft.com/office/drawing/2014/main" id="{7D77FD33-35D0-468C-9740-37BE385D8C4A}"/>
              </a:ext>
            </a:extLst>
          </p:cNvPr>
          <p:cNvSpPr>
            <a:spLocks noChangeArrowheads="1"/>
          </p:cNvSpPr>
          <p:nvPr/>
        </p:nvSpPr>
        <p:spPr bwMode="auto">
          <a:xfrm>
            <a:off x="9733821" y="2865147"/>
            <a:ext cx="1951326" cy="23344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4" name="TextBox 69">
            <a:extLst>
              <a:ext uri="{FF2B5EF4-FFF2-40B4-BE49-F238E27FC236}">
                <a16:creationId xmlns:a16="http://schemas.microsoft.com/office/drawing/2014/main" id="{9DA0AC5C-A68F-4A9D-8253-D84173F50923}"/>
              </a:ext>
            </a:extLst>
          </p:cNvPr>
          <p:cNvSpPr txBox="1"/>
          <p:nvPr/>
        </p:nvSpPr>
        <p:spPr>
          <a:xfrm>
            <a:off x="8036965" y="4394291"/>
            <a:ext cx="1520290" cy="830997"/>
          </a:xfrm>
          <a:prstGeom prst="rect">
            <a:avLst/>
          </a:prstGeom>
          <a:noFill/>
        </p:spPr>
        <p:txBody>
          <a:bodyPr wrap="square" rtlCol="0">
            <a:spAutoFit/>
          </a:bodyPr>
          <a:lstStyle/>
          <a:p>
            <a:pPr lvl="0" algn="ctr">
              <a:defRPr/>
            </a:pPr>
            <a:r>
              <a:rPr lang="fr-FR" altLang="zh-CN" sz="1600" b="1" kern="0" dirty="0">
                <a:solidFill>
                  <a:prstClr val="white"/>
                </a:solidFill>
                <a:sym typeface="+mn-lt"/>
              </a:rPr>
              <a:t>Présentation des résultats et du Dashboard</a:t>
            </a:r>
          </a:p>
        </p:txBody>
      </p:sp>
      <p:sp>
        <p:nvSpPr>
          <p:cNvPr id="135" name="TextBox 70">
            <a:extLst>
              <a:ext uri="{FF2B5EF4-FFF2-40B4-BE49-F238E27FC236}">
                <a16:creationId xmlns:a16="http://schemas.microsoft.com/office/drawing/2014/main" id="{33E26789-6AD0-42CA-9EFA-6B4748F57F1B}"/>
              </a:ext>
            </a:extLst>
          </p:cNvPr>
          <p:cNvSpPr txBox="1"/>
          <p:nvPr/>
        </p:nvSpPr>
        <p:spPr>
          <a:xfrm>
            <a:off x="8510887"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4</a:t>
            </a:r>
          </a:p>
        </p:txBody>
      </p:sp>
      <p:pic>
        <p:nvPicPr>
          <p:cNvPr id="137" name="Graphique 136" descr="Présentation avec camembert contour">
            <a:extLst>
              <a:ext uri="{FF2B5EF4-FFF2-40B4-BE49-F238E27FC236}">
                <a16:creationId xmlns:a16="http://schemas.microsoft.com/office/drawing/2014/main" id="{CEA17F05-B7B2-411A-95F0-BED636DD00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8430" y="3338625"/>
            <a:ext cx="914400" cy="914400"/>
          </a:xfrm>
          <a:prstGeom prst="rect">
            <a:avLst/>
          </a:prstGeom>
        </p:spPr>
      </p:pic>
      <p:sp>
        <p:nvSpPr>
          <p:cNvPr id="138" name="TextBox 69">
            <a:extLst>
              <a:ext uri="{FF2B5EF4-FFF2-40B4-BE49-F238E27FC236}">
                <a16:creationId xmlns:a16="http://schemas.microsoft.com/office/drawing/2014/main" id="{1B8664AA-50CB-43EC-AF06-9409B823A263}"/>
              </a:ext>
            </a:extLst>
          </p:cNvPr>
          <p:cNvSpPr txBox="1"/>
          <p:nvPr/>
        </p:nvSpPr>
        <p:spPr>
          <a:xfrm>
            <a:off x="10047275" y="4394291"/>
            <a:ext cx="1361697" cy="584775"/>
          </a:xfrm>
          <a:prstGeom prst="rect">
            <a:avLst/>
          </a:prstGeom>
          <a:noFill/>
        </p:spPr>
        <p:txBody>
          <a:bodyPr wrap="square" rtlCol="0">
            <a:spAutoFit/>
          </a:bodyPr>
          <a:lstStyle/>
          <a:p>
            <a:pPr lvl="0" algn="ctr">
              <a:defRPr/>
            </a:pPr>
            <a:r>
              <a:rPr lang="fr-FR" altLang="zh-CN" sz="1600" b="1" kern="0" dirty="0">
                <a:solidFill>
                  <a:prstClr val="white"/>
                </a:solidFill>
                <a:sym typeface="+mn-lt"/>
              </a:rPr>
              <a:t>Identification des écarts</a:t>
            </a:r>
          </a:p>
        </p:txBody>
      </p:sp>
      <p:sp>
        <p:nvSpPr>
          <p:cNvPr id="139" name="TextBox 70">
            <a:extLst>
              <a:ext uri="{FF2B5EF4-FFF2-40B4-BE49-F238E27FC236}">
                <a16:creationId xmlns:a16="http://schemas.microsoft.com/office/drawing/2014/main" id="{399D0882-29CD-4B03-894C-738E1E510C62}"/>
              </a:ext>
            </a:extLst>
          </p:cNvPr>
          <p:cNvSpPr txBox="1"/>
          <p:nvPr/>
        </p:nvSpPr>
        <p:spPr>
          <a:xfrm>
            <a:off x="10375315" y="4253025"/>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5</a:t>
            </a:r>
          </a:p>
        </p:txBody>
      </p:sp>
      <p:pic>
        <p:nvPicPr>
          <p:cNvPr id="140" name="Graphique 139" descr="Diagramme de Venn contour">
            <a:extLst>
              <a:ext uri="{FF2B5EF4-FFF2-40B4-BE49-F238E27FC236}">
                <a16:creationId xmlns:a16="http://schemas.microsoft.com/office/drawing/2014/main" id="{FA891DAB-7A33-444E-B49C-479E8F3C8DD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70787" y="3502689"/>
            <a:ext cx="660517" cy="660517"/>
          </a:xfrm>
          <a:prstGeom prst="rect">
            <a:avLst/>
          </a:prstGeom>
        </p:spPr>
      </p:pic>
      <p:sp>
        <p:nvSpPr>
          <p:cNvPr id="52" name="Freeform 926">
            <a:extLst>
              <a:ext uri="{FF2B5EF4-FFF2-40B4-BE49-F238E27FC236}">
                <a16:creationId xmlns:a16="http://schemas.microsoft.com/office/drawing/2014/main" id="{3356E27E-B485-46FB-AFBE-C31BC893342B}"/>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926">
            <a:extLst>
              <a:ext uri="{FF2B5EF4-FFF2-40B4-BE49-F238E27FC236}">
                <a16:creationId xmlns:a16="http://schemas.microsoft.com/office/drawing/2014/main" id="{F0A1EE53-5944-4888-AFEA-682B2786D397}"/>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TextBox 219">
            <a:extLst>
              <a:ext uri="{FF2B5EF4-FFF2-40B4-BE49-F238E27FC236}">
                <a16:creationId xmlns:a16="http://schemas.microsoft.com/office/drawing/2014/main" id="{7CB20822-8F93-49BD-BBCF-3F8AC2BD208B}"/>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55" name="TextBox 219">
            <a:extLst>
              <a:ext uri="{FF2B5EF4-FFF2-40B4-BE49-F238E27FC236}">
                <a16:creationId xmlns:a16="http://schemas.microsoft.com/office/drawing/2014/main" id="{0E26E7DE-741C-40C0-B29B-43C009FB77C2}"/>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56" name="TextBox 219">
            <a:extLst>
              <a:ext uri="{FF2B5EF4-FFF2-40B4-BE49-F238E27FC236}">
                <a16:creationId xmlns:a16="http://schemas.microsoft.com/office/drawing/2014/main" id="{E34B3F73-CDB8-4CDA-A1A1-BE578AF90868}"/>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57" name="Freeform 926">
            <a:extLst>
              <a:ext uri="{FF2B5EF4-FFF2-40B4-BE49-F238E27FC236}">
                <a16:creationId xmlns:a16="http://schemas.microsoft.com/office/drawing/2014/main" id="{30FA0EE3-7362-4318-968D-31DC7B4B6985}"/>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Rectangle 57">
            <a:extLst>
              <a:ext uri="{FF2B5EF4-FFF2-40B4-BE49-F238E27FC236}">
                <a16:creationId xmlns:a16="http://schemas.microsoft.com/office/drawing/2014/main" id="{3AB42742-FE18-4F77-A823-F162131E0765}"/>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59" name="Rectangle 58">
            <a:extLst>
              <a:ext uri="{FF2B5EF4-FFF2-40B4-BE49-F238E27FC236}">
                <a16:creationId xmlns:a16="http://schemas.microsoft.com/office/drawing/2014/main" id="{A208FF70-07BC-4FA4-B02C-2090588DF6A0}"/>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60" name="Rectangle 59">
            <a:extLst>
              <a:ext uri="{FF2B5EF4-FFF2-40B4-BE49-F238E27FC236}">
                <a16:creationId xmlns:a16="http://schemas.microsoft.com/office/drawing/2014/main" id="{087068F9-CE0F-4037-A9C5-53EF9C2B318E}"/>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61" name="Rectangle 60">
            <a:extLst>
              <a:ext uri="{FF2B5EF4-FFF2-40B4-BE49-F238E27FC236}">
                <a16:creationId xmlns:a16="http://schemas.microsoft.com/office/drawing/2014/main" id="{61F4E018-6E29-4024-B104-5BF8FA9DE700}"/>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23413773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0">
            <a:extLst>
              <a:ext uri="{FF2B5EF4-FFF2-40B4-BE49-F238E27FC236}">
                <a16:creationId xmlns:a16="http://schemas.microsoft.com/office/drawing/2014/main" id="{CAFD9878-8A1A-4042-983B-19B17629CA1E}"/>
              </a:ext>
            </a:extLst>
          </p:cNvPr>
          <p:cNvPicPr>
            <a:picLocks noChangeAspect="1"/>
          </p:cNvPicPr>
          <p:nvPr/>
        </p:nvPicPr>
        <p:blipFill rotWithShape="1">
          <a:blip r:embed="rId3"/>
          <a:srcRect l="18381"/>
          <a:stretch/>
        </p:blipFill>
        <p:spPr>
          <a:xfrm>
            <a:off x="-1" y="2625308"/>
            <a:ext cx="13439775" cy="4238254"/>
          </a:xfrm>
          <a:prstGeom prst="rect">
            <a:avLst/>
          </a:prstGeom>
        </p:spPr>
      </p:pic>
      <p:cxnSp>
        <p:nvCxnSpPr>
          <p:cNvPr id="53" name="Straight Connector 30">
            <a:extLst>
              <a:ext uri="{FF2B5EF4-FFF2-40B4-BE49-F238E27FC236}">
                <a16:creationId xmlns:a16="http://schemas.microsoft.com/office/drawing/2014/main" id="{CC7934C1-B370-4AC9-8227-A4BD092211A1}"/>
              </a:ext>
            </a:extLst>
          </p:cNvPr>
          <p:cNvCxnSpPr>
            <a:cxnSpLocks noChangeShapeType="1"/>
          </p:cNvCxnSpPr>
          <p:nvPr/>
        </p:nvCxnSpPr>
        <p:spPr bwMode="auto">
          <a:xfrm>
            <a:off x="1680253" y="5554210"/>
            <a:ext cx="10853859" cy="1345"/>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sp>
        <p:nvSpPr>
          <p:cNvPr id="65" name="TextBox 13">
            <a:extLst>
              <a:ext uri="{FF2B5EF4-FFF2-40B4-BE49-F238E27FC236}">
                <a16:creationId xmlns:a16="http://schemas.microsoft.com/office/drawing/2014/main" id="{CE4109C4-F6A7-42B2-B77A-1793EDD62FA2}"/>
              </a:ext>
            </a:extLst>
          </p:cNvPr>
          <p:cNvSpPr txBox="1">
            <a:spLocks noChangeArrowheads="1"/>
          </p:cNvSpPr>
          <p:nvPr/>
        </p:nvSpPr>
        <p:spPr bwMode="auto">
          <a:xfrm>
            <a:off x="8957640" y="2355391"/>
            <a:ext cx="1918484" cy="474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ym typeface="Arial" panose="020B0604020202020204" pitchFamily="34" charset="0"/>
              </a:rPr>
              <a:t>Quantitatively managed</a:t>
            </a:r>
          </a:p>
        </p:txBody>
      </p:sp>
      <p:grpSp>
        <p:nvGrpSpPr>
          <p:cNvPr id="86" name="Groupe 85">
            <a:extLst>
              <a:ext uri="{FF2B5EF4-FFF2-40B4-BE49-F238E27FC236}">
                <a16:creationId xmlns:a16="http://schemas.microsoft.com/office/drawing/2014/main" id="{E0DF8F44-388B-4940-A724-8884C00A306D}"/>
              </a:ext>
            </a:extLst>
          </p:cNvPr>
          <p:cNvGrpSpPr/>
          <p:nvPr/>
        </p:nvGrpSpPr>
        <p:grpSpPr>
          <a:xfrm>
            <a:off x="3636822" y="2568130"/>
            <a:ext cx="2102820" cy="3100361"/>
            <a:chOff x="3080162" y="2625308"/>
            <a:chExt cx="2338388" cy="3660775"/>
          </a:xfrm>
        </p:grpSpPr>
        <p:sp>
          <p:nvSpPr>
            <p:cNvPr id="52" name="Oval 25">
              <a:extLst>
                <a:ext uri="{FF2B5EF4-FFF2-40B4-BE49-F238E27FC236}">
                  <a16:creationId xmlns:a16="http://schemas.microsoft.com/office/drawing/2014/main" id="{D097EF23-D5ED-432E-85ED-7E6B6A51F5A6}"/>
                </a:ext>
              </a:extLst>
            </p:cNvPr>
            <p:cNvSpPr>
              <a:spLocks noChangeArrowheads="1"/>
            </p:cNvSpPr>
            <p:nvPr/>
          </p:nvSpPr>
          <p:spPr bwMode="auto">
            <a:xfrm>
              <a:off x="3213513" y="2625308"/>
              <a:ext cx="2068512" cy="2068512"/>
            </a:xfrm>
            <a:prstGeom prst="ellipse">
              <a:avLst/>
            </a:prstGeom>
            <a:noFill/>
            <a:ln w="254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latin typeface="+mn-lt"/>
                <a:ea typeface="+mn-ea"/>
                <a:sym typeface="Arial" panose="020B0604020202020204" pitchFamily="34" charset="0"/>
              </a:endParaRPr>
            </a:p>
          </p:txBody>
        </p:sp>
        <p:sp>
          <p:nvSpPr>
            <p:cNvPr id="55" name="任意多边形 13">
              <a:extLst>
                <a:ext uri="{FF2B5EF4-FFF2-40B4-BE49-F238E27FC236}">
                  <a16:creationId xmlns:a16="http://schemas.microsoft.com/office/drawing/2014/main" id="{32A30521-6BD5-473E-8672-68FC095E7691}"/>
                </a:ext>
              </a:extLst>
            </p:cNvPr>
            <p:cNvSpPr>
              <a:spLocks noChangeArrowheads="1"/>
            </p:cNvSpPr>
            <p:nvPr/>
          </p:nvSpPr>
          <p:spPr bwMode="auto">
            <a:xfrm>
              <a:off x="3842163" y="4438233"/>
              <a:ext cx="811212" cy="1847850"/>
            </a:xfrm>
            <a:custGeom>
              <a:avLst/>
              <a:gdLst>
                <a:gd name="T0" fmla="*/ 393224 w 811214"/>
                <a:gd name="T1" fmla="*/ 1580390 h 1848522"/>
                <a:gd name="T2" fmla="*/ 527290 w 811214"/>
                <a:gd name="T3" fmla="*/ 1714456 h 1848522"/>
                <a:gd name="T4" fmla="*/ 393224 w 811214"/>
                <a:gd name="T5" fmla="*/ 1848522 h 1848522"/>
                <a:gd name="T6" fmla="*/ 259158 w 811214"/>
                <a:gd name="T7" fmla="*/ 1714456 h 1848522"/>
                <a:gd name="T8" fmla="*/ 393224 w 811214"/>
                <a:gd name="T9" fmla="*/ 1580390 h 1848522"/>
                <a:gd name="T10" fmla="*/ 405607 w 811214"/>
                <a:gd name="T11" fmla="*/ 0 h 1848522"/>
                <a:gd name="T12" fmla="*/ 811214 w 811214"/>
                <a:gd name="T13" fmla="*/ 405606 h 1848522"/>
                <a:gd name="T14" fmla="*/ 487351 w 811214"/>
                <a:gd name="T15" fmla="*/ 802972 h 1848522"/>
                <a:gd name="T16" fmla="*/ 445590 w 811214"/>
                <a:gd name="T17" fmla="*/ 807182 h 1848522"/>
                <a:gd name="T18" fmla="*/ 405607 w 811214"/>
                <a:gd name="T19" fmla="*/ 1574843 h 1848522"/>
                <a:gd name="T20" fmla="*/ 365625 w 811214"/>
                <a:gd name="T21" fmla="*/ 807182 h 1848522"/>
                <a:gd name="T22" fmla="*/ 323863 w 811214"/>
                <a:gd name="T23" fmla="*/ 802972 h 1848522"/>
                <a:gd name="T24" fmla="*/ 0 w 811214"/>
                <a:gd name="T25" fmla="*/ 405606 h 1848522"/>
                <a:gd name="T26" fmla="*/ 405607 w 811214"/>
                <a:gd name="T27" fmla="*/ 0 h 1848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1848522">
                  <a:moveTo>
                    <a:pt x="393224" y="1580390"/>
                  </a:moveTo>
                  <a:cubicBezTo>
                    <a:pt x="467267" y="1580390"/>
                    <a:pt x="527290" y="1640413"/>
                    <a:pt x="527290" y="1714456"/>
                  </a:cubicBezTo>
                  <a:cubicBezTo>
                    <a:pt x="527290" y="1788499"/>
                    <a:pt x="467267" y="1848522"/>
                    <a:pt x="393224" y="1848522"/>
                  </a:cubicBezTo>
                  <a:cubicBezTo>
                    <a:pt x="319181" y="1848522"/>
                    <a:pt x="259158" y="1788499"/>
                    <a:pt x="259158" y="1714456"/>
                  </a:cubicBezTo>
                  <a:cubicBezTo>
                    <a:pt x="259158" y="1640413"/>
                    <a:pt x="319181" y="1580390"/>
                    <a:pt x="393224" y="1580390"/>
                  </a:cubicBezTo>
                  <a:close/>
                  <a:moveTo>
                    <a:pt x="405607" y="0"/>
                  </a:moveTo>
                  <a:cubicBezTo>
                    <a:pt x="629618" y="0"/>
                    <a:pt x="811214" y="181596"/>
                    <a:pt x="811214" y="405606"/>
                  </a:cubicBezTo>
                  <a:cubicBezTo>
                    <a:pt x="811214" y="601615"/>
                    <a:pt x="672180" y="765151"/>
                    <a:pt x="487351" y="802972"/>
                  </a:cubicBezTo>
                  <a:lnTo>
                    <a:pt x="445590" y="807182"/>
                  </a:lnTo>
                  <a:lnTo>
                    <a:pt x="405607" y="1574843"/>
                  </a:lnTo>
                  <a:lnTo>
                    <a:pt x="365625" y="807182"/>
                  </a:lnTo>
                  <a:lnTo>
                    <a:pt x="323863" y="802972"/>
                  </a:lnTo>
                  <a:cubicBezTo>
                    <a:pt x="139035" y="765151"/>
                    <a:pt x="0" y="601615"/>
                    <a:pt x="0" y="405606"/>
                  </a:cubicBezTo>
                  <a:cubicBezTo>
                    <a:pt x="0" y="181596"/>
                    <a:pt x="181596" y="0"/>
                    <a:pt x="405607" y="0"/>
                  </a:cubicBezTo>
                  <a:close/>
                </a:path>
              </a:pathLst>
            </a:custGeom>
            <a:solidFill>
              <a:schemeClr val="accent2"/>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59" name="TextBox 13">
              <a:extLst>
                <a:ext uri="{FF2B5EF4-FFF2-40B4-BE49-F238E27FC236}">
                  <a16:creationId xmlns:a16="http://schemas.microsoft.com/office/drawing/2014/main" id="{70DE8F94-89A0-4D37-8ED5-EF8F362C858A}"/>
                </a:ext>
              </a:extLst>
            </p:cNvPr>
            <p:cNvSpPr txBox="1">
              <a:spLocks noChangeArrowheads="1"/>
            </p:cNvSpPr>
            <p:nvPr/>
          </p:nvSpPr>
          <p:spPr bwMode="auto">
            <a:xfrm>
              <a:off x="3080162" y="3472430"/>
              <a:ext cx="2338388" cy="280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ym typeface="Arial" panose="020B0604020202020204" pitchFamily="34" charset="0"/>
                </a:rPr>
                <a:t>Initial</a:t>
              </a:r>
            </a:p>
          </p:txBody>
        </p:sp>
        <p:sp>
          <p:nvSpPr>
            <p:cNvPr id="69" name="TextBox 13">
              <a:extLst>
                <a:ext uri="{FF2B5EF4-FFF2-40B4-BE49-F238E27FC236}">
                  <a16:creationId xmlns:a16="http://schemas.microsoft.com/office/drawing/2014/main" id="{5764D932-F3AD-409E-8972-2DC5C547CF3C}"/>
                </a:ext>
              </a:extLst>
            </p:cNvPr>
            <p:cNvSpPr txBox="1">
              <a:spLocks noChangeArrowheads="1"/>
            </p:cNvSpPr>
            <p:nvPr/>
          </p:nvSpPr>
          <p:spPr bwMode="auto">
            <a:xfrm>
              <a:off x="3765963" y="4647457"/>
              <a:ext cx="963612" cy="420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1</a:t>
              </a:r>
            </a:p>
          </p:txBody>
        </p:sp>
      </p:grpSp>
      <p:grpSp>
        <p:nvGrpSpPr>
          <p:cNvPr id="88" name="Groupe 87">
            <a:extLst>
              <a:ext uri="{FF2B5EF4-FFF2-40B4-BE49-F238E27FC236}">
                <a16:creationId xmlns:a16="http://schemas.microsoft.com/office/drawing/2014/main" id="{A9D83019-ECA7-4C1A-AD02-1E0FC17C486E}"/>
              </a:ext>
            </a:extLst>
          </p:cNvPr>
          <p:cNvGrpSpPr/>
          <p:nvPr/>
        </p:nvGrpSpPr>
        <p:grpSpPr>
          <a:xfrm>
            <a:off x="7107956" y="2315368"/>
            <a:ext cx="2102819" cy="3353123"/>
            <a:chOff x="6956837" y="2326858"/>
            <a:chExt cx="2338387" cy="3959225"/>
          </a:xfrm>
        </p:grpSpPr>
        <p:sp>
          <p:nvSpPr>
            <p:cNvPr id="50" name="Oval 15">
              <a:extLst>
                <a:ext uri="{FF2B5EF4-FFF2-40B4-BE49-F238E27FC236}">
                  <a16:creationId xmlns:a16="http://schemas.microsoft.com/office/drawing/2014/main" id="{9481D3A6-6D03-42C8-A4EC-C88F360A62AE}"/>
                </a:ext>
              </a:extLst>
            </p:cNvPr>
            <p:cNvSpPr>
              <a:spLocks noChangeArrowheads="1"/>
            </p:cNvSpPr>
            <p:nvPr/>
          </p:nvSpPr>
          <p:spPr bwMode="auto">
            <a:xfrm>
              <a:off x="7091775" y="2326858"/>
              <a:ext cx="2068513" cy="2068512"/>
            </a:xfrm>
            <a:prstGeom prst="ellipse">
              <a:avLst/>
            </a:prstGeom>
            <a:noFill/>
            <a:ln w="25400">
              <a:solidFill>
                <a:schemeClr val="accent4"/>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latin typeface="+mn-lt"/>
                <a:ea typeface="+mn-ea"/>
                <a:sym typeface="Arial" panose="020B0604020202020204" pitchFamily="34" charset="0"/>
              </a:endParaRPr>
            </a:p>
          </p:txBody>
        </p:sp>
        <p:sp>
          <p:nvSpPr>
            <p:cNvPr id="56" name="任意多边形 14">
              <a:extLst>
                <a:ext uri="{FF2B5EF4-FFF2-40B4-BE49-F238E27FC236}">
                  <a16:creationId xmlns:a16="http://schemas.microsoft.com/office/drawing/2014/main" id="{040750BA-9DA1-4204-8C0E-612A74C9763C}"/>
                </a:ext>
              </a:extLst>
            </p:cNvPr>
            <p:cNvSpPr>
              <a:spLocks noChangeArrowheads="1"/>
            </p:cNvSpPr>
            <p:nvPr/>
          </p:nvSpPr>
          <p:spPr bwMode="auto">
            <a:xfrm>
              <a:off x="7720425" y="4195345"/>
              <a:ext cx="811213" cy="2090738"/>
            </a:xfrm>
            <a:custGeom>
              <a:avLst/>
              <a:gdLst>
                <a:gd name="T0" fmla="*/ 405898 w 811214"/>
                <a:gd name="T1" fmla="*/ 1823754 h 2091886"/>
                <a:gd name="T2" fmla="*/ 539964 w 811214"/>
                <a:gd name="T3" fmla="*/ 1957820 h 2091886"/>
                <a:gd name="T4" fmla="*/ 405898 w 811214"/>
                <a:gd name="T5" fmla="*/ 2091886 h 2091886"/>
                <a:gd name="T6" fmla="*/ 271832 w 811214"/>
                <a:gd name="T7" fmla="*/ 1957820 h 2091886"/>
                <a:gd name="T8" fmla="*/ 405898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05898" y="1823754"/>
                  </a:moveTo>
                  <a:cubicBezTo>
                    <a:pt x="479941" y="1823754"/>
                    <a:pt x="539964" y="1883777"/>
                    <a:pt x="539964" y="1957820"/>
                  </a:cubicBezTo>
                  <a:cubicBezTo>
                    <a:pt x="539964" y="2031863"/>
                    <a:pt x="479941" y="2091886"/>
                    <a:pt x="405898" y="2091886"/>
                  </a:cubicBezTo>
                  <a:cubicBezTo>
                    <a:pt x="331855" y="2091886"/>
                    <a:pt x="271832" y="2031863"/>
                    <a:pt x="271832" y="1957820"/>
                  </a:cubicBezTo>
                  <a:cubicBezTo>
                    <a:pt x="271832" y="1883777"/>
                    <a:pt x="331855" y="1823754"/>
                    <a:pt x="405898"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5" y="765151"/>
                    <a:pt x="0" y="601615"/>
                    <a:pt x="0" y="405606"/>
                  </a:cubicBezTo>
                  <a:cubicBezTo>
                    <a:pt x="0" y="181596"/>
                    <a:pt x="181596" y="0"/>
                    <a:pt x="405607" y="0"/>
                  </a:cubicBezTo>
                  <a:close/>
                </a:path>
              </a:pathLst>
            </a:custGeom>
            <a:solidFill>
              <a:schemeClr val="accent4"/>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63" name="TextBox 13">
              <a:extLst>
                <a:ext uri="{FF2B5EF4-FFF2-40B4-BE49-F238E27FC236}">
                  <a16:creationId xmlns:a16="http://schemas.microsoft.com/office/drawing/2014/main" id="{6740C2A2-9294-4598-A218-1234D39E4992}"/>
                </a:ext>
              </a:extLst>
            </p:cNvPr>
            <p:cNvSpPr txBox="1">
              <a:spLocks noChangeArrowheads="1"/>
            </p:cNvSpPr>
            <p:nvPr/>
          </p:nvSpPr>
          <p:spPr bwMode="auto">
            <a:xfrm>
              <a:off x="6956837" y="3172314"/>
              <a:ext cx="2338387" cy="280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ym typeface="Arial" panose="020B0604020202020204" pitchFamily="34" charset="0"/>
                </a:rPr>
                <a:t>Defined</a:t>
              </a:r>
            </a:p>
          </p:txBody>
        </p:sp>
        <p:sp>
          <p:nvSpPr>
            <p:cNvPr id="70" name="TextBox 13">
              <a:extLst>
                <a:ext uri="{FF2B5EF4-FFF2-40B4-BE49-F238E27FC236}">
                  <a16:creationId xmlns:a16="http://schemas.microsoft.com/office/drawing/2014/main" id="{685E8A40-A2A6-4B27-9D6A-6C9B9134FB19}"/>
                </a:ext>
              </a:extLst>
            </p:cNvPr>
            <p:cNvSpPr txBox="1">
              <a:spLocks noChangeArrowheads="1"/>
            </p:cNvSpPr>
            <p:nvPr/>
          </p:nvSpPr>
          <p:spPr bwMode="auto">
            <a:xfrm>
              <a:off x="7648859" y="4407962"/>
              <a:ext cx="965200" cy="420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3</a:t>
              </a:r>
            </a:p>
          </p:txBody>
        </p:sp>
      </p:grpSp>
      <p:grpSp>
        <p:nvGrpSpPr>
          <p:cNvPr id="90" name="Groupe 89">
            <a:extLst>
              <a:ext uri="{FF2B5EF4-FFF2-40B4-BE49-F238E27FC236}">
                <a16:creationId xmlns:a16="http://schemas.microsoft.com/office/drawing/2014/main" id="{984BE51B-1CD1-442B-915B-7EBE57EF011A}"/>
              </a:ext>
            </a:extLst>
          </p:cNvPr>
          <p:cNvGrpSpPr/>
          <p:nvPr/>
        </p:nvGrpSpPr>
        <p:grpSpPr>
          <a:xfrm>
            <a:off x="10480791" y="2355702"/>
            <a:ext cx="2102819" cy="3312789"/>
            <a:chOff x="10974799" y="2374483"/>
            <a:chExt cx="2338387" cy="3911600"/>
          </a:xfrm>
        </p:grpSpPr>
        <p:sp>
          <p:nvSpPr>
            <p:cNvPr id="48" name="Oval 5">
              <a:extLst>
                <a:ext uri="{FF2B5EF4-FFF2-40B4-BE49-F238E27FC236}">
                  <a16:creationId xmlns:a16="http://schemas.microsoft.com/office/drawing/2014/main" id="{11ED3C6F-A752-41D5-AFDE-E67ED7B39BDF}"/>
                </a:ext>
              </a:extLst>
            </p:cNvPr>
            <p:cNvSpPr>
              <a:spLocks noChangeArrowheads="1"/>
            </p:cNvSpPr>
            <p:nvPr/>
          </p:nvSpPr>
          <p:spPr bwMode="auto">
            <a:xfrm>
              <a:off x="11109738" y="2374483"/>
              <a:ext cx="2068512" cy="2068512"/>
            </a:xfrm>
            <a:prstGeom prst="ellipse">
              <a:avLst/>
            </a:prstGeom>
            <a:solidFill>
              <a:srgbClr val="FFFFFF"/>
            </a:solidFill>
            <a:ln w="25400">
              <a:solidFill>
                <a:schemeClr val="accent6"/>
              </a:solidFill>
              <a:round/>
              <a:headEnd/>
              <a:tailEnd/>
            </a:ln>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dirty="0">
                <a:latin typeface="+mn-lt"/>
                <a:ea typeface="+mn-ea"/>
                <a:sym typeface="Arial" panose="020B0604020202020204" pitchFamily="34" charset="0"/>
              </a:endParaRPr>
            </a:p>
          </p:txBody>
        </p:sp>
        <p:sp>
          <p:nvSpPr>
            <p:cNvPr id="58" name="任意多边形 16">
              <a:extLst>
                <a:ext uri="{FF2B5EF4-FFF2-40B4-BE49-F238E27FC236}">
                  <a16:creationId xmlns:a16="http://schemas.microsoft.com/office/drawing/2014/main" id="{31FC65DF-3DEC-4EFA-8BCA-F9C86A060630}"/>
                </a:ext>
              </a:extLst>
            </p:cNvPr>
            <p:cNvSpPr>
              <a:spLocks noChangeArrowheads="1"/>
            </p:cNvSpPr>
            <p:nvPr/>
          </p:nvSpPr>
          <p:spPr bwMode="auto">
            <a:xfrm>
              <a:off x="11738388" y="4195345"/>
              <a:ext cx="811212" cy="2090738"/>
            </a:xfrm>
            <a:custGeom>
              <a:avLst/>
              <a:gdLst>
                <a:gd name="T0" fmla="*/ 418574 w 811214"/>
                <a:gd name="T1" fmla="*/ 1823754 h 2091886"/>
                <a:gd name="T2" fmla="*/ 552640 w 811214"/>
                <a:gd name="T3" fmla="*/ 1957820 h 2091886"/>
                <a:gd name="T4" fmla="*/ 418574 w 811214"/>
                <a:gd name="T5" fmla="*/ 2091886 h 2091886"/>
                <a:gd name="T6" fmla="*/ 284508 w 811214"/>
                <a:gd name="T7" fmla="*/ 1957820 h 2091886"/>
                <a:gd name="T8" fmla="*/ 418574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18574" y="1823754"/>
                  </a:moveTo>
                  <a:cubicBezTo>
                    <a:pt x="492617" y="1823754"/>
                    <a:pt x="552640" y="1883777"/>
                    <a:pt x="552640" y="1957820"/>
                  </a:cubicBezTo>
                  <a:cubicBezTo>
                    <a:pt x="552640" y="2031863"/>
                    <a:pt x="492617" y="2091886"/>
                    <a:pt x="418574" y="2091886"/>
                  </a:cubicBezTo>
                  <a:cubicBezTo>
                    <a:pt x="344531" y="2091886"/>
                    <a:pt x="284508" y="2031863"/>
                    <a:pt x="284508" y="1957820"/>
                  </a:cubicBezTo>
                  <a:cubicBezTo>
                    <a:pt x="284508" y="1883777"/>
                    <a:pt x="344531" y="1823754"/>
                    <a:pt x="418574"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4" y="765151"/>
                    <a:pt x="0" y="601615"/>
                    <a:pt x="0" y="405606"/>
                  </a:cubicBezTo>
                  <a:cubicBezTo>
                    <a:pt x="0" y="181596"/>
                    <a:pt x="181596" y="0"/>
                    <a:pt x="405607" y="0"/>
                  </a:cubicBezTo>
                  <a:close/>
                </a:path>
              </a:pathLst>
            </a:custGeom>
            <a:solidFill>
              <a:schemeClr val="accent6"/>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67" name="TextBox 13">
              <a:extLst>
                <a:ext uri="{FF2B5EF4-FFF2-40B4-BE49-F238E27FC236}">
                  <a16:creationId xmlns:a16="http://schemas.microsoft.com/office/drawing/2014/main" id="{8A8B73DF-E882-4DD8-89E9-6D09DD76BB8F}"/>
                </a:ext>
              </a:extLst>
            </p:cNvPr>
            <p:cNvSpPr txBox="1">
              <a:spLocks noChangeArrowheads="1"/>
            </p:cNvSpPr>
            <p:nvPr/>
          </p:nvSpPr>
          <p:spPr bwMode="auto">
            <a:xfrm>
              <a:off x="10974799" y="3229543"/>
              <a:ext cx="2338387" cy="280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ym typeface="Arial" panose="020B0604020202020204" pitchFamily="34" charset="0"/>
                </a:rPr>
                <a:t>Optimizing</a:t>
              </a:r>
            </a:p>
          </p:txBody>
        </p:sp>
        <p:sp>
          <p:nvSpPr>
            <p:cNvPr id="71" name="TextBox 13">
              <a:extLst>
                <a:ext uri="{FF2B5EF4-FFF2-40B4-BE49-F238E27FC236}">
                  <a16:creationId xmlns:a16="http://schemas.microsoft.com/office/drawing/2014/main" id="{98CAB4AB-8A8C-4E68-9849-FCED582B44C4}"/>
                </a:ext>
              </a:extLst>
            </p:cNvPr>
            <p:cNvSpPr txBox="1">
              <a:spLocks noChangeArrowheads="1"/>
            </p:cNvSpPr>
            <p:nvPr/>
          </p:nvSpPr>
          <p:spPr bwMode="auto">
            <a:xfrm>
              <a:off x="11674889" y="4417380"/>
              <a:ext cx="965200" cy="420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5</a:t>
              </a:r>
            </a:p>
          </p:txBody>
        </p:sp>
      </p:grpSp>
      <p:grpSp>
        <p:nvGrpSpPr>
          <p:cNvPr id="89" name="Groupe 88">
            <a:extLst>
              <a:ext uri="{FF2B5EF4-FFF2-40B4-BE49-F238E27FC236}">
                <a16:creationId xmlns:a16="http://schemas.microsoft.com/office/drawing/2014/main" id="{33324FC4-AE2F-4803-8C5A-A50C4AE70A8F}"/>
              </a:ext>
            </a:extLst>
          </p:cNvPr>
          <p:cNvGrpSpPr/>
          <p:nvPr/>
        </p:nvGrpSpPr>
        <p:grpSpPr>
          <a:xfrm>
            <a:off x="8985669" y="1710354"/>
            <a:ext cx="1860132" cy="3958137"/>
            <a:chOff x="9104725" y="1612483"/>
            <a:chExt cx="2068513" cy="4673600"/>
          </a:xfrm>
        </p:grpSpPr>
        <p:sp>
          <p:nvSpPr>
            <p:cNvPr id="49" name="Oval 10">
              <a:extLst>
                <a:ext uri="{FF2B5EF4-FFF2-40B4-BE49-F238E27FC236}">
                  <a16:creationId xmlns:a16="http://schemas.microsoft.com/office/drawing/2014/main" id="{39A7DC35-4830-4D86-A9F8-2D2E350012A5}"/>
                </a:ext>
              </a:extLst>
            </p:cNvPr>
            <p:cNvSpPr>
              <a:spLocks noChangeArrowheads="1"/>
            </p:cNvSpPr>
            <p:nvPr/>
          </p:nvSpPr>
          <p:spPr bwMode="auto">
            <a:xfrm>
              <a:off x="9104725" y="1612483"/>
              <a:ext cx="2068513" cy="2068512"/>
            </a:xfrm>
            <a:prstGeom prst="ellipse">
              <a:avLst/>
            </a:prstGeom>
            <a:noFill/>
            <a:ln w="25400">
              <a:solidFill>
                <a:schemeClr val="accent5"/>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latin typeface="+mn-lt"/>
                <a:ea typeface="+mn-ea"/>
                <a:sym typeface="Arial" panose="020B0604020202020204" pitchFamily="34" charset="0"/>
              </a:endParaRPr>
            </a:p>
          </p:txBody>
        </p:sp>
        <p:sp>
          <p:nvSpPr>
            <p:cNvPr id="57" name="任意多边形 15">
              <a:extLst>
                <a:ext uri="{FF2B5EF4-FFF2-40B4-BE49-F238E27FC236}">
                  <a16:creationId xmlns:a16="http://schemas.microsoft.com/office/drawing/2014/main" id="{4A54453A-16FD-42AB-8713-D6171D72043D}"/>
                </a:ext>
              </a:extLst>
            </p:cNvPr>
            <p:cNvSpPr>
              <a:spLocks noChangeArrowheads="1"/>
            </p:cNvSpPr>
            <p:nvPr/>
          </p:nvSpPr>
          <p:spPr bwMode="auto">
            <a:xfrm>
              <a:off x="9733375" y="3369845"/>
              <a:ext cx="811213" cy="2916238"/>
            </a:xfrm>
            <a:custGeom>
              <a:avLst/>
              <a:gdLst>
                <a:gd name="T0" fmla="*/ 395758 w 811214"/>
                <a:gd name="T1" fmla="*/ 2648181 h 2916313"/>
                <a:gd name="T2" fmla="*/ 529824 w 811214"/>
                <a:gd name="T3" fmla="*/ 2782247 h 2916313"/>
                <a:gd name="T4" fmla="*/ 395758 w 811214"/>
                <a:gd name="T5" fmla="*/ 2916313 h 2916313"/>
                <a:gd name="T6" fmla="*/ 261692 w 811214"/>
                <a:gd name="T7" fmla="*/ 2782247 h 2916313"/>
                <a:gd name="T8" fmla="*/ 395758 w 811214"/>
                <a:gd name="T9" fmla="*/ 2648181 h 2916313"/>
                <a:gd name="T10" fmla="*/ 405607 w 811214"/>
                <a:gd name="T11" fmla="*/ 0 h 2916313"/>
                <a:gd name="T12" fmla="*/ 811214 w 811214"/>
                <a:gd name="T13" fmla="*/ 405607 h 2916313"/>
                <a:gd name="T14" fmla="*/ 563488 w 811214"/>
                <a:gd name="T15" fmla="*/ 779340 h 2916313"/>
                <a:gd name="T16" fmla="*/ 455088 w 811214"/>
                <a:gd name="T17" fmla="*/ 801225 h 2916313"/>
                <a:gd name="T18" fmla="*/ 405605 w 811214"/>
                <a:gd name="T19" fmla="*/ 2582584 h 2916313"/>
                <a:gd name="T20" fmla="*/ 356123 w 811214"/>
                <a:gd name="T21" fmla="*/ 801224 h 2916313"/>
                <a:gd name="T22" fmla="*/ 247727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395758" y="2648181"/>
                  </a:moveTo>
                  <a:cubicBezTo>
                    <a:pt x="469801" y="2648181"/>
                    <a:pt x="529824" y="2708204"/>
                    <a:pt x="529824" y="2782247"/>
                  </a:cubicBezTo>
                  <a:cubicBezTo>
                    <a:pt x="529824" y="2856290"/>
                    <a:pt x="469801" y="2916313"/>
                    <a:pt x="395758" y="2916313"/>
                  </a:cubicBezTo>
                  <a:cubicBezTo>
                    <a:pt x="321715" y="2916313"/>
                    <a:pt x="261692" y="2856290"/>
                    <a:pt x="261692" y="2782247"/>
                  </a:cubicBezTo>
                  <a:cubicBezTo>
                    <a:pt x="261692" y="2708204"/>
                    <a:pt x="321715" y="2648181"/>
                    <a:pt x="395758" y="2648181"/>
                  </a:cubicBezTo>
                  <a:close/>
                  <a:moveTo>
                    <a:pt x="405607" y="0"/>
                  </a:moveTo>
                  <a:cubicBezTo>
                    <a:pt x="629618" y="0"/>
                    <a:pt x="811214" y="181596"/>
                    <a:pt x="811214" y="405607"/>
                  </a:cubicBezTo>
                  <a:cubicBezTo>
                    <a:pt x="811214" y="573615"/>
                    <a:pt x="709067" y="717765"/>
                    <a:pt x="563488" y="779340"/>
                  </a:cubicBezTo>
                  <a:lnTo>
                    <a:pt x="455088" y="801225"/>
                  </a:lnTo>
                  <a:lnTo>
                    <a:pt x="405605" y="2582584"/>
                  </a:lnTo>
                  <a:lnTo>
                    <a:pt x="356123" y="801224"/>
                  </a:lnTo>
                  <a:lnTo>
                    <a:pt x="247727" y="779340"/>
                  </a:lnTo>
                  <a:cubicBezTo>
                    <a:pt x="102148" y="717765"/>
                    <a:pt x="0" y="573615"/>
                    <a:pt x="0" y="405607"/>
                  </a:cubicBezTo>
                  <a:cubicBezTo>
                    <a:pt x="0" y="181596"/>
                    <a:pt x="181596" y="0"/>
                    <a:pt x="405607" y="0"/>
                  </a:cubicBezTo>
                  <a:close/>
                </a:path>
              </a:pathLst>
            </a:custGeom>
            <a:solidFill>
              <a:schemeClr val="accent5"/>
            </a:solidFill>
            <a:ln w="9525">
              <a:noFill/>
              <a:round/>
              <a:headEnd/>
              <a:tailEnd/>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72" name="TextBox 13">
              <a:extLst>
                <a:ext uri="{FF2B5EF4-FFF2-40B4-BE49-F238E27FC236}">
                  <a16:creationId xmlns:a16="http://schemas.microsoft.com/office/drawing/2014/main" id="{8143EBB8-2B96-47F8-95F7-783C104A6B87}"/>
                </a:ext>
              </a:extLst>
            </p:cNvPr>
            <p:cNvSpPr txBox="1">
              <a:spLocks noChangeArrowheads="1"/>
            </p:cNvSpPr>
            <p:nvPr/>
          </p:nvSpPr>
          <p:spPr bwMode="auto">
            <a:xfrm>
              <a:off x="9663525" y="3587333"/>
              <a:ext cx="963613" cy="420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4</a:t>
              </a:r>
            </a:p>
          </p:txBody>
        </p:sp>
      </p:grpSp>
      <p:grpSp>
        <p:nvGrpSpPr>
          <p:cNvPr id="87" name="Groupe 86">
            <a:extLst>
              <a:ext uri="{FF2B5EF4-FFF2-40B4-BE49-F238E27FC236}">
                <a16:creationId xmlns:a16="http://schemas.microsoft.com/office/drawing/2014/main" id="{430647BF-0571-43E7-8265-CFAD0B652C1C}"/>
              </a:ext>
            </a:extLst>
          </p:cNvPr>
          <p:cNvGrpSpPr/>
          <p:nvPr/>
        </p:nvGrpSpPr>
        <p:grpSpPr>
          <a:xfrm>
            <a:off x="5367816" y="1666013"/>
            <a:ext cx="2102820" cy="3987716"/>
            <a:chOff x="4930182" y="1460679"/>
            <a:chExt cx="2338388" cy="4708525"/>
          </a:xfrm>
        </p:grpSpPr>
        <p:sp>
          <p:nvSpPr>
            <p:cNvPr id="51" name="Oval 20">
              <a:extLst>
                <a:ext uri="{FF2B5EF4-FFF2-40B4-BE49-F238E27FC236}">
                  <a16:creationId xmlns:a16="http://schemas.microsoft.com/office/drawing/2014/main" id="{4210108C-F772-4C06-8CAA-2E5B886AF939}"/>
                </a:ext>
              </a:extLst>
            </p:cNvPr>
            <p:cNvSpPr>
              <a:spLocks noChangeArrowheads="1"/>
            </p:cNvSpPr>
            <p:nvPr/>
          </p:nvSpPr>
          <p:spPr bwMode="auto">
            <a:xfrm>
              <a:off x="5089937" y="1460679"/>
              <a:ext cx="2068512" cy="2068512"/>
            </a:xfrm>
            <a:prstGeom prst="ellipse">
              <a:avLst/>
            </a:prstGeom>
            <a:noFill/>
            <a:ln w="25400">
              <a:solidFill>
                <a:schemeClr val="accent3"/>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latin typeface="+mn-lt"/>
                <a:ea typeface="+mn-ea"/>
                <a:sym typeface="Arial" panose="020B0604020202020204" pitchFamily="34" charset="0"/>
              </a:endParaRPr>
            </a:p>
          </p:txBody>
        </p:sp>
        <p:sp>
          <p:nvSpPr>
            <p:cNvPr id="54" name="任意多边形 12">
              <a:extLst>
                <a:ext uri="{FF2B5EF4-FFF2-40B4-BE49-F238E27FC236}">
                  <a16:creationId xmlns:a16="http://schemas.microsoft.com/office/drawing/2014/main" id="{73E4E667-46BA-411C-BFAC-DD8F92CC33D1}"/>
                </a:ext>
              </a:extLst>
            </p:cNvPr>
            <p:cNvSpPr>
              <a:spLocks noChangeArrowheads="1"/>
            </p:cNvSpPr>
            <p:nvPr/>
          </p:nvSpPr>
          <p:spPr bwMode="auto">
            <a:xfrm>
              <a:off x="5718587" y="3252966"/>
              <a:ext cx="811212" cy="2916238"/>
            </a:xfrm>
            <a:custGeom>
              <a:avLst/>
              <a:gdLst>
                <a:gd name="T0" fmla="*/ 405898 w 811214"/>
                <a:gd name="T1" fmla="*/ 2648181 h 2916313"/>
                <a:gd name="T2" fmla="*/ 539964 w 811214"/>
                <a:gd name="T3" fmla="*/ 2782247 h 2916313"/>
                <a:gd name="T4" fmla="*/ 405898 w 811214"/>
                <a:gd name="T5" fmla="*/ 2916313 h 2916313"/>
                <a:gd name="T6" fmla="*/ 271832 w 811214"/>
                <a:gd name="T7" fmla="*/ 2782247 h 2916313"/>
                <a:gd name="T8" fmla="*/ 405898 w 811214"/>
                <a:gd name="T9" fmla="*/ 2648181 h 2916313"/>
                <a:gd name="T10" fmla="*/ 405607 w 811214"/>
                <a:gd name="T11" fmla="*/ 0 h 2916313"/>
                <a:gd name="T12" fmla="*/ 811214 w 811214"/>
                <a:gd name="T13" fmla="*/ 405607 h 2916313"/>
                <a:gd name="T14" fmla="*/ 563488 w 811214"/>
                <a:gd name="T15" fmla="*/ 779340 h 2916313"/>
                <a:gd name="T16" fmla="*/ 456199 w 811214"/>
                <a:gd name="T17" fmla="*/ 801000 h 2916313"/>
                <a:gd name="T18" fmla="*/ 405607 w 811214"/>
                <a:gd name="T19" fmla="*/ 2622314 h 2916313"/>
                <a:gd name="T20" fmla="*/ 355015 w 811214"/>
                <a:gd name="T21" fmla="*/ 801000 h 2916313"/>
                <a:gd name="T22" fmla="*/ 247726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405898" y="2648181"/>
                  </a:moveTo>
                  <a:cubicBezTo>
                    <a:pt x="479941" y="2648181"/>
                    <a:pt x="539964" y="2708204"/>
                    <a:pt x="539964" y="2782247"/>
                  </a:cubicBezTo>
                  <a:cubicBezTo>
                    <a:pt x="539964" y="2856290"/>
                    <a:pt x="479941" y="2916313"/>
                    <a:pt x="405898" y="2916313"/>
                  </a:cubicBezTo>
                  <a:cubicBezTo>
                    <a:pt x="331855" y="2916313"/>
                    <a:pt x="271832" y="2856290"/>
                    <a:pt x="271832" y="2782247"/>
                  </a:cubicBezTo>
                  <a:cubicBezTo>
                    <a:pt x="271832" y="2708204"/>
                    <a:pt x="331855" y="2648181"/>
                    <a:pt x="405898" y="2648181"/>
                  </a:cubicBezTo>
                  <a:close/>
                  <a:moveTo>
                    <a:pt x="405607" y="0"/>
                  </a:moveTo>
                  <a:cubicBezTo>
                    <a:pt x="629618" y="0"/>
                    <a:pt x="811214" y="181596"/>
                    <a:pt x="811214" y="405607"/>
                  </a:cubicBezTo>
                  <a:cubicBezTo>
                    <a:pt x="811214" y="573615"/>
                    <a:pt x="709067" y="717765"/>
                    <a:pt x="563488" y="779340"/>
                  </a:cubicBezTo>
                  <a:lnTo>
                    <a:pt x="456199" y="801000"/>
                  </a:lnTo>
                  <a:lnTo>
                    <a:pt x="405607" y="2622314"/>
                  </a:lnTo>
                  <a:lnTo>
                    <a:pt x="355015" y="801000"/>
                  </a:lnTo>
                  <a:lnTo>
                    <a:pt x="247726" y="779340"/>
                  </a:lnTo>
                  <a:cubicBezTo>
                    <a:pt x="102148" y="717765"/>
                    <a:pt x="0" y="573615"/>
                    <a:pt x="0" y="405607"/>
                  </a:cubicBezTo>
                  <a:cubicBezTo>
                    <a:pt x="0" y="181596"/>
                    <a:pt x="181596" y="0"/>
                    <a:pt x="405607" y="0"/>
                  </a:cubicBezTo>
                  <a:close/>
                </a:path>
              </a:pathLst>
            </a:custGeom>
            <a:solidFill>
              <a:schemeClr val="accent3"/>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61" name="TextBox 13">
              <a:extLst>
                <a:ext uri="{FF2B5EF4-FFF2-40B4-BE49-F238E27FC236}">
                  <a16:creationId xmlns:a16="http://schemas.microsoft.com/office/drawing/2014/main" id="{31060949-A84E-4945-A50D-90759717C5D8}"/>
                </a:ext>
              </a:extLst>
            </p:cNvPr>
            <p:cNvSpPr txBox="1">
              <a:spLocks noChangeArrowheads="1"/>
            </p:cNvSpPr>
            <p:nvPr/>
          </p:nvSpPr>
          <p:spPr bwMode="auto">
            <a:xfrm>
              <a:off x="4930182" y="2277691"/>
              <a:ext cx="2338388" cy="280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latin typeface="+mn-lt"/>
                  <a:ea typeface="+mn-ea"/>
                  <a:sym typeface="Arial" panose="020B0604020202020204" pitchFamily="34" charset="0"/>
                </a:rPr>
                <a:t>Managed</a:t>
              </a:r>
            </a:p>
          </p:txBody>
        </p:sp>
        <p:sp>
          <p:nvSpPr>
            <p:cNvPr id="73" name="TextBox 13">
              <a:extLst>
                <a:ext uri="{FF2B5EF4-FFF2-40B4-BE49-F238E27FC236}">
                  <a16:creationId xmlns:a16="http://schemas.microsoft.com/office/drawing/2014/main" id="{2D607EDB-3ED7-4E76-94D4-1185023E6F50}"/>
                </a:ext>
              </a:extLst>
            </p:cNvPr>
            <p:cNvSpPr txBox="1">
              <a:spLocks noChangeArrowheads="1"/>
            </p:cNvSpPr>
            <p:nvPr/>
          </p:nvSpPr>
          <p:spPr bwMode="auto">
            <a:xfrm>
              <a:off x="5636037" y="3470454"/>
              <a:ext cx="963612" cy="420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2</a:t>
              </a:r>
            </a:p>
          </p:txBody>
        </p:sp>
      </p:grpSp>
      <p:grpSp>
        <p:nvGrpSpPr>
          <p:cNvPr id="85" name="Groupe 84">
            <a:extLst>
              <a:ext uri="{FF2B5EF4-FFF2-40B4-BE49-F238E27FC236}">
                <a16:creationId xmlns:a16="http://schemas.microsoft.com/office/drawing/2014/main" id="{F039F60E-64AA-4C0E-BCFE-FBD5C549DE7C}"/>
              </a:ext>
            </a:extLst>
          </p:cNvPr>
          <p:cNvGrpSpPr/>
          <p:nvPr/>
        </p:nvGrpSpPr>
        <p:grpSpPr>
          <a:xfrm>
            <a:off x="2111151" y="1658034"/>
            <a:ext cx="2102820" cy="3987716"/>
            <a:chOff x="1130004" y="1544901"/>
            <a:chExt cx="2338389" cy="4708521"/>
          </a:xfrm>
        </p:grpSpPr>
        <p:sp>
          <p:nvSpPr>
            <p:cNvPr id="80" name="Oval 20">
              <a:extLst>
                <a:ext uri="{FF2B5EF4-FFF2-40B4-BE49-F238E27FC236}">
                  <a16:creationId xmlns:a16="http://schemas.microsoft.com/office/drawing/2014/main" id="{767EBBBD-A93B-429D-85B6-6F5D8DC5769A}"/>
                </a:ext>
              </a:extLst>
            </p:cNvPr>
            <p:cNvSpPr>
              <a:spLocks noChangeArrowheads="1"/>
            </p:cNvSpPr>
            <p:nvPr/>
          </p:nvSpPr>
          <p:spPr bwMode="auto">
            <a:xfrm>
              <a:off x="1240249" y="1544901"/>
              <a:ext cx="2068513" cy="2068511"/>
            </a:xfrm>
            <a:prstGeom prst="ellipse">
              <a:avLst/>
            </a:prstGeom>
            <a:noFill/>
            <a:ln w="254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latin typeface="+mn-lt"/>
                <a:ea typeface="+mn-ea"/>
                <a:sym typeface="Arial" panose="020B0604020202020204" pitchFamily="34" charset="0"/>
              </a:endParaRPr>
            </a:p>
          </p:txBody>
        </p:sp>
        <p:sp>
          <p:nvSpPr>
            <p:cNvPr id="81" name="任意多边形 12">
              <a:extLst>
                <a:ext uri="{FF2B5EF4-FFF2-40B4-BE49-F238E27FC236}">
                  <a16:creationId xmlns:a16="http://schemas.microsoft.com/office/drawing/2014/main" id="{224D4727-0933-4F52-9225-FE7298D9A54A}"/>
                </a:ext>
              </a:extLst>
            </p:cNvPr>
            <p:cNvSpPr>
              <a:spLocks noChangeArrowheads="1"/>
            </p:cNvSpPr>
            <p:nvPr/>
          </p:nvSpPr>
          <p:spPr bwMode="auto">
            <a:xfrm>
              <a:off x="1868899" y="3337186"/>
              <a:ext cx="811212" cy="2916236"/>
            </a:xfrm>
            <a:custGeom>
              <a:avLst/>
              <a:gdLst>
                <a:gd name="T0" fmla="*/ 405898 w 811214"/>
                <a:gd name="T1" fmla="*/ 2648181 h 2916313"/>
                <a:gd name="T2" fmla="*/ 539964 w 811214"/>
                <a:gd name="T3" fmla="*/ 2782247 h 2916313"/>
                <a:gd name="T4" fmla="*/ 405898 w 811214"/>
                <a:gd name="T5" fmla="*/ 2916313 h 2916313"/>
                <a:gd name="T6" fmla="*/ 271832 w 811214"/>
                <a:gd name="T7" fmla="*/ 2782247 h 2916313"/>
                <a:gd name="T8" fmla="*/ 405898 w 811214"/>
                <a:gd name="T9" fmla="*/ 2648181 h 2916313"/>
                <a:gd name="T10" fmla="*/ 405607 w 811214"/>
                <a:gd name="T11" fmla="*/ 0 h 2916313"/>
                <a:gd name="T12" fmla="*/ 811214 w 811214"/>
                <a:gd name="T13" fmla="*/ 405607 h 2916313"/>
                <a:gd name="T14" fmla="*/ 563488 w 811214"/>
                <a:gd name="T15" fmla="*/ 779340 h 2916313"/>
                <a:gd name="T16" fmla="*/ 456199 w 811214"/>
                <a:gd name="T17" fmla="*/ 801000 h 2916313"/>
                <a:gd name="T18" fmla="*/ 405607 w 811214"/>
                <a:gd name="T19" fmla="*/ 2622314 h 2916313"/>
                <a:gd name="T20" fmla="*/ 355015 w 811214"/>
                <a:gd name="T21" fmla="*/ 801000 h 2916313"/>
                <a:gd name="T22" fmla="*/ 247726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405898" y="2648181"/>
                  </a:moveTo>
                  <a:cubicBezTo>
                    <a:pt x="479941" y="2648181"/>
                    <a:pt x="539964" y="2708204"/>
                    <a:pt x="539964" y="2782247"/>
                  </a:cubicBezTo>
                  <a:cubicBezTo>
                    <a:pt x="539964" y="2856290"/>
                    <a:pt x="479941" y="2916313"/>
                    <a:pt x="405898" y="2916313"/>
                  </a:cubicBezTo>
                  <a:cubicBezTo>
                    <a:pt x="331855" y="2916313"/>
                    <a:pt x="271832" y="2856290"/>
                    <a:pt x="271832" y="2782247"/>
                  </a:cubicBezTo>
                  <a:cubicBezTo>
                    <a:pt x="271832" y="2708204"/>
                    <a:pt x="331855" y="2648181"/>
                    <a:pt x="405898" y="2648181"/>
                  </a:cubicBezTo>
                  <a:close/>
                  <a:moveTo>
                    <a:pt x="405607" y="0"/>
                  </a:moveTo>
                  <a:cubicBezTo>
                    <a:pt x="629618" y="0"/>
                    <a:pt x="811214" y="181596"/>
                    <a:pt x="811214" y="405607"/>
                  </a:cubicBezTo>
                  <a:cubicBezTo>
                    <a:pt x="811214" y="573615"/>
                    <a:pt x="709067" y="717765"/>
                    <a:pt x="563488" y="779340"/>
                  </a:cubicBezTo>
                  <a:lnTo>
                    <a:pt x="456199" y="801000"/>
                  </a:lnTo>
                  <a:lnTo>
                    <a:pt x="405607" y="2622314"/>
                  </a:lnTo>
                  <a:lnTo>
                    <a:pt x="355015" y="801000"/>
                  </a:lnTo>
                  <a:lnTo>
                    <a:pt x="247726" y="779340"/>
                  </a:lnTo>
                  <a:cubicBezTo>
                    <a:pt x="102148" y="717765"/>
                    <a:pt x="0" y="573615"/>
                    <a:pt x="0" y="405607"/>
                  </a:cubicBezTo>
                  <a:cubicBezTo>
                    <a:pt x="0" y="181596"/>
                    <a:pt x="181596" y="0"/>
                    <a:pt x="405607" y="0"/>
                  </a:cubicBezTo>
                  <a:close/>
                </a:path>
              </a:pathLst>
            </a:custGeom>
            <a:solidFill>
              <a:schemeClr val="accent1"/>
            </a:solidFill>
            <a:ln>
              <a:solidFill>
                <a:schemeClr val="accent1"/>
              </a:solid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82" name="TextBox 13">
              <a:extLst>
                <a:ext uri="{FF2B5EF4-FFF2-40B4-BE49-F238E27FC236}">
                  <a16:creationId xmlns:a16="http://schemas.microsoft.com/office/drawing/2014/main" id="{D77269AF-18BB-47E7-B084-B189B1F78C14}"/>
                </a:ext>
              </a:extLst>
            </p:cNvPr>
            <p:cNvSpPr txBox="1">
              <a:spLocks noChangeArrowheads="1"/>
            </p:cNvSpPr>
            <p:nvPr/>
          </p:nvSpPr>
          <p:spPr bwMode="auto">
            <a:xfrm>
              <a:off x="1130004" y="2356947"/>
              <a:ext cx="2338389" cy="280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latin typeface="+mn-lt"/>
                  <a:ea typeface="+mn-ea"/>
                  <a:sym typeface="Arial" panose="020B0604020202020204" pitchFamily="34" charset="0"/>
                </a:rPr>
                <a:t>Incomplete</a:t>
              </a:r>
            </a:p>
          </p:txBody>
        </p:sp>
        <p:sp>
          <p:nvSpPr>
            <p:cNvPr id="84" name="TextBox 13">
              <a:extLst>
                <a:ext uri="{FF2B5EF4-FFF2-40B4-BE49-F238E27FC236}">
                  <a16:creationId xmlns:a16="http://schemas.microsoft.com/office/drawing/2014/main" id="{E63BDE24-62AC-4354-A683-1701E3082117}"/>
                </a:ext>
              </a:extLst>
            </p:cNvPr>
            <p:cNvSpPr txBox="1">
              <a:spLocks noChangeArrowheads="1"/>
            </p:cNvSpPr>
            <p:nvPr/>
          </p:nvSpPr>
          <p:spPr bwMode="auto">
            <a:xfrm>
              <a:off x="1786349" y="3525887"/>
              <a:ext cx="963612" cy="4204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0</a:t>
              </a:r>
            </a:p>
          </p:txBody>
        </p:sp>
      </p:grpSp>
      <p:pic>
        <p:nvPicPr>
          <p:cNvPr id="98" name="Graphique 97" descr="Index pointant vers la droite vu du côté du dos de la main contour">
            <a:extLst>
              <a:ext uri="{FF2B5EF4-FFF2-40B4-BE49-F238E27FC236}">
                <a16:creationId xmlns:a16="http://schemas.microsoft.com/office/drawing/2014/main" id="{3129F2FB-52A5-4399-9179-D27CA985FA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7232396" y="5516565"/>
            <a:ext cx="914400" cy="914400"/>
          </a:xfrm>
          <a:prstGeom prst="rect">
            <a:avLst/>
          </a:prstGeom>
        </p:spPr>
      </p:pic>
      <p:pic>
        <p:nvPicPr>
          <p:cNvPr id="99" name="Graphique 98" descr="Index pointant vers la droite vu du côté du dos de la main contour">
            <a:extLst>
              <a:ext uri="{FF2B5EF4-FFF2-40B4-BE49-F238E27FC236}">
                <a16:creationId xmlns:a16="http://schemas.microsoft.com/office/drawing/2014/main" id="{AAE46FC6-3C3B-4A40-8C69-8A655A4C2A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9148494" y="5506787"/>
            <a:ext cx="914400" cy="914400"/>
          </a:xfrm>
          <a:prstGeom prst="rect">
            <a:avLst/>
          </a:prstGeom>
        </p:spPr>
      </p:pic>
      <p:sp>
        <p:nvSpPr>
          <p:cNvPr id="100" name="ZoneTexte 99">
            <a:extLst>
              <a:ext uri="{FF2B5EF4-FFF2-40B4-BE49-F238E27FC236}">
                <a16:creationId xmlns:a16="http://schemas.microsoft.com/office/drawing/2014/main" id="{5C97E622-0E03-40BC-A388-DC80F820FE68}"/>
              </a:ext>
            </a:extLst>
          </p:cNvPr>
          <p:cNvSpPr txBox="1"/>
          <p:nvPr/>
        </p:nvSpPr>
        <p:spPr>
          <a:xfrm>
            <a:off x="7024236" y="6499500"/>
            <a:ext cx="1460824" cy="553998"/>
          </a:xfrm>
          <a:prstGeom prst="rect">
            <a:avLst/>
          </a:prstGeom>
          <a:noFill/>
        </p:spPr>
        <p:txBody>
          <a:bodyPr wrap="square" lIns="0" tIns="0" rIns="0" bIns="0" rtlCol="0">
            <a:spAutoFit/>
          </a:bodyPr>
          <a:lstStyle/>
          <a:p>
            <a:pPr algn="ctr">
              <a:spcBef>
                <a:spcPts val="600"/>
              </a:spcBef>
              <a:buSzPct val="100000"/>
            </a:pPr>
            <a:r>
              <a:rPr lang="fr-FR" dirty="0">
                <a:solidFill>
                  <a:srgbClr val="313131"/>
                </a:solidFill>
              </a:rPr>
              <a:t>Etat de maturité </a:t>
            </a:r>
            <a:r>
              <a:rPr lang="fr-FR" b="1" dirty="0">
                <a:solidFill>
                  <a:srgbClr val="FF0000"/>
                </a:solidFill>
              </a:rPr>
              <a:t>actuel</a:t>
            </a:r>
          </a:p>
        </p:txBody>
      </p:sp>
      <p:sp>
        <p:nvSpPr>
          <p:cNvPr id="101" name="ZoneTexte 100">
            <a:extLst>
              <a:ext uri="{FF2B5EF4-FFF2-40B4-BE49-F238E27FC236}">
                <a16:creationId xmlns:a16="http://schemas.microsoft.com/office/drawing/2014/main" id="{2293CD82-947D-4D98-883A-C80C85DB9757}"/>
              </a:ext>
            </a:extLst>
          </p:cNvPr>
          <p:cNvSpPr txBox="1"/>
          <p:nvPr/>
        </p:nvSpPr>
        <p:spPr>
          <a:xfrm>
            <a:off x="8893891" y="6504537"/>
            <a:ext cx="1460824" cy="553998"/>
          </a:xfrm>
          <a:prstGeom prst="rect">
            <a:avLst/>
          </a:prstGeom>
          <a:noFill/>
        </p:spPr>
        <p:txBody>
          <a:bodyPr wrap="square" lIns="0" tIns="0" rIns="0" bIns="0" rtlCol="0">
            <a:spAutoFit/>
          </a:bodyPr>
          <a:lstStyle/>
          <a:p>
            <a:pPr algn="ctr">
              <a:spcBef>
                <a:spcPts val="600"/>
              </a:spcBef>
              <a:buSzPct val="100000"/>
            </a:pPr>
            <a:r>
              <a:rPr lang="fr-FR" dirty="0">
                <a:solidFill>
                  <a:srgbClr val="313131"/>
                </a:solidFill>
              </a:rPr>
              <a:t>Etat de maturité </a:t>
            </a:r>
            <a:r>
              <a:rPr lang="fr-FR" b="1" dirty="0">
                <a:solidFill>
                  <a:schemeClr val="accent2"/>
                </a:solidFill>
              </a:rPr>
              <a:t>cible</a:t>
            </a:r>
          </a:p>
        </p:txBody>
      </p:sp>
      <p:sp>
        <p:nvSpPr>
          <p:cNvPr id="103" name="Rectangle 102">
            <a:extLst>
              <a:ext uri="{FF2B5EF4-FFF2-40B4-BE49-F238E27FC236}">
                <a16:creationId xmlns:a16="http://schemas.microsoft.com/office/drawing/2014/main" id="{05392CB9-B160-4D58-ACCF-CE87DA3ACDAD}"/>
              </a:ext>
            </a:extLst>
          </p:cNvPr>
          <p:cNvSpPr/>
          <p:nvPr/>
        </p:nvSpPr>
        <p:spPr bwMode="gray">
          <a:xfrm rot="16200000">
            <a:off x="-2027453" y="4316991"/>
            <a:ext cx="4841702" cy="42353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b="1" dirty="0">
                <a:solidFill>
                  <a:schemeClr val="bg1"/>
                </a:solidFill>
              </a:rPr>
              <a:t>PHASE D’EVALUATION</a:t>
            </a:r>
          </a:p>
        </p:txBody>
      </p:sp>
      <p:sp>
        <p:nvSpPr>
          <p:cNvPr id="105" name="ZoneTexte 104">
            <a:extLst>
              <a:ext uri="{FF2B5EF4-FFF2-40B4-BE49-F238E27FC236}">
                <a16:creationId xmlns:a16="http://schemas.microsoft.com/office/drawing/2014/main" id="{C6E17B22-C55A-4833-88F6-35E54676CF12}"/>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19</a:t>
            </a:r>
          </a:p>
        </p:txBody>
      </p:sp>
      <p:sp>
        <p:nvSpPr>
          <p:cNvPr id="68" name="Freeform 926">
            <a:extLst>
              <a:ext uri="{FF2B5EF4-FFF2-40B4-BE49-F238E27FC236}">
                <a16:creationId xmlns:a16="http://schemas.microsoft.com/office/drawing/2014/main" id="{7325F47D-3610-4F0E-8156-3BCC87C40E8B}"/>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926">
            <a:extLst>
              <a:ext uri="{FF2B5EF4-FFF2-40B4-BE49-F238E27FC236}">
                <a16:creationId xmlns:a16="http://schemas.microsoft.com/office/drawing/2014/main" id="{E1376C29-5DFD-4B65-9E20-4198A5CE094C}"/>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 name="TextBox 219">
            <a:extLst>
              <a:ext uri="{FF2B5EF4-FFF2-40B4-BE49-F238E27FC236}">
                <a16:creationId xmlns:a16="http://schemas.microsoft.com/office/drawing/2014/main" id="{C546BE95-57DF-4402-B8C6-E466F9081B92}"/>
              </a:ext>
            </a:extLst>
          </p:cNvPr>
          <p:cNvSpPr txBox="1"/>
          <p:nvPr/>
        </p:nvSpPr>
        <p:spPr>
          <a:xfrm>
            <a:off x="6002373" y="519574"/>
            <a:ext cx="1870783" cy="307777"/>
          </a:xfrm>
          <a:prstGeom prst="rect">
            <a:avLst/>
          </a:prstGeom>
          <a:noFill/>
        </p:spPr>
        <p:txBody>
          <a:bodyPr wrap="square">
            <a:spAutoFit/>
          </a:bodyPr>
          <a:lstStyle/>
          <a:p>
            <a:pPr>
              <a:spcAft>
                <a:spcPts val="0"/>
              </a:spcAft>
            </a:pPr>
            <a:r>
              <a:rPr lang="fr-FR" altLang="zh-CN" sz="1400" b="1">
                <a:solidFill>
                  <a:schemeClr val="tx1">
                    <a:lumMod val="75000"/>
                    <a:lumOff val="25000"/>
                  </a:schemeClr>
                </a:solidFill>
              </a:rPr>
              <a:t>Approche et résultat</a:t>
            </a:r>
          </a:p>
        </p:txBody>
      </p:sp>
      <p:sp>
        <p:nvSpPr>
          <p:cNvPr id="76" name="TextBox 219">
            <a:extLst>
              <a:ext uri="{FF2B5EF4-FFF2-40B4-BE49-F238E27FC236}">
                <a16:creationId xmlns:a16="http://schemas.microsoft.com/office/drawing/2014/main" id="{D407462C-6E31-46CB-B9BF-0BA0641DBF88}"/>
              </a:ext>
            </a:extLst>
          </p:cNvPr>
          <p:cNvSpPr txBox="1"/>
          <p:nvPr/>
        </p:nvSpPr>
        <p:spPr>
          <a:xfrm>
            <a:off x="9738300" y="519574"/>
            <a:ext cx="1985346" cy="307777"/>
          </a:xfrm>
          <a:prstGeom prst="rect">
            <a:avLst/>
          </a:prstGeom>
          <a:noFill/>
        </p:spPr>
        <p:txBody>
          <a:bodyPr wrap="square">
            <a:spAutoFit/>
          </a:bodyPr>
          <a:lstStyle/>
          <a:p>
            <a:pPr>
              <a:spcAft>
                <a:spcPts val="0"/>
              </a:spcAft>
            </a:pPr>
            <a:r>
              <a:rPr lang="fr-FR" altLang="zh-CN" sz="1400">
                <a:solidFill>
                  <a:schemeClr val="tx2"/>
                </a:solidFill>
              </a:rPr>
              <a:t>Continuité de la mission</a:t>
            </a:r>
          </a:p>
        </p:txBody>
      </p:sp>
      <p:sp>
        <p:nvSpPr>
          <p:cNvPr id="77" name="TextBox 219">
            <a:extLst>
              <a:ext uri="{FF2B5EF4-FFF2-40B4-BE49-F238E27FC236}">
                <a16:creationId xmlns:a16="http://schemas.microsoft.com/office/drawing/2014/main" id="{B694173A-4F99-452A-B845-F944610E56B7}"/>
              </a:ext>
            </a:extLst>
          </p:cNvPr>
          <p:cNvSpPr txBox="1"/>
          <p:nvPr/>
        </p:nvSpPr>
        <p:spPr>
          <a:xfrm>
            <a:off x="2201931" y="519574"/>
            <a:ext cx="1730464" cy="307777"/>
          </a:xfrm>
          <a:prstGeom prst="rect">
            <a:avLst/>
          </a:prstGeom>
          <a:noFill/>
        </p:spPr>
        <p:txBody>
          <a:bodyPr wrap="square">
            <a:spAutoFit/>
          </a:bodyPr>
          <a:lstStyle/>
          <a:p>
            <a:pPr>
              <a:spcAft>
                <a:spcPts val="0"/>
              </a:spcAft>
            </a:pPr>
            <a:r>
              <a:rPr lang="fr-FR" altLang="zh-CN" sz="1400" dirty="0">
                <a:solidFill>
                  <a:schemeClr val="tx2"/>
                </a:solidFill>
              </a:rPr>
              <a:t>Contexte et objectifs</a:t>
            </a:r>
          </a:p>
        </p:txBody>
      </p:sp>
      <p:sp>
        <p:nvSpPr>
          <p:cNvPr id="78" name="Freeform 926">
            <a:extLst>
              <a:ext uri="{FF2B5EF4-FFF2-40B4-BE49-F238E27FC236}">
                <a16:creationId xmlns:a16="http://schemas.microsoft.com/office/drawing/2014/main" id="{4ACDEC07-602A-45FE-A4B9-C336D8802C05}"/>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 name="Rectangle 78">
            <a:extLst>
              <a:ext uri="{FF2B5EF4-FFF2-40B4-BE49-F238E27FC236}">
                <a16:creationId xmlns:a16="http://schemas.microsoft.com/office/drawing/2014/main" id="{122990BC-A729-4AE4-9F1D-0CB64369FAC8}"/>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83" name="Rectangle 82">
            <a:extLst>
              <a:ext uri="{FF2B5EF4-FFF2-40B4-BE49-F238E27FC236}">
                <a16:creationId xmlns:a16="http://schemas.microsoft.com/office/drawing/2014/main" id="{D9A418F4-6B0E-469A-BEC0-371F49C3E87D}"/>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91" name="Rectangle 90">
            <a:extLst>
              <a:ext uri="{FF2B5EF4-FFF2-40B4-BE49-F238E27FC236}">
                <a16:creationId xmlns:a16="http://schemas.microsoft.com/office/drawing/2014/main" id="{98090258-80F4-486B-8363-B30D8B4510E9}"/>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92" name="Rectangle 91">
            <a:extLst>
              <a:ext uri="{FF2B5EF4-FFF2-40B4-BE49-F238E27FC236}">
                <a16:creationId xmlns:a16="http://schemas.microsoft.com/office/drawing/2014/main" id="{272CCDC3-645E-44E2-896C-46CFD377CBC5}"/>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1342995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ppt_x"/>
                                          </p:val>
                                        </p:tav>
                                        <p:tav tm="100000">
                                          <p:val>
                                            <p:strVal val="#ppt_x"/>
                                          </p:val>
                                        </p:tav>
                                      </p:tavLst>
                                    </p:anim>
                                    <p:anim calcmode="lin" valueType="num">
                                      <p:cBhvr additive="base">
                                        <p:cTn id="8" dur="500" fill="hold"/>
                                        <p:tgtEl>
                                          <p:spTgt spid="9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0"/>
                                        </p:tgtEl>
                                        <p:attrNameLst>
                                          <p:attrName>style.visibility</p:attrName>
                                        </p:attrNameLst>
                                      </p:cBhvr>
                                      <p:to>
                                        <p:strVal val="visible"/>
                                      </p:to>
                                    </p:set>
                                    <p:anim calcmode="lin" valueType="num">
                                      <p:cBhvr additive="base">
                                        <p:cTn id="11" dur="500" fill="hold"/>
                                        <p:tgtEl>
                                          <p:spTgt spid="100"/>
                                        </p:tgtEl>
                                        <p:attrNameLst>
                                          <p:attrName>ppt_x</p:attrName>
                                        </p:attrNameLst>
                                      </p:cBhvr>
                                      <p:tavLst>
                                        <p:tav tm="0">
                                          <p:val>
                                            <p:strVal val="#ppt_x"/>
                                          </p:val>
                                        </p:tav>
                                        <p:tav tm="100000">
                                          <p:val>
                                            <p:strVal val="#ppt_x"/>
                                          </p:val>
                                        </p:tav>
                                      </p:tavLst>
                                    </p:anim>
                                    <p:anim calcmode="lin" valueType="num">
                                      <p:cBhvr additive="base">
                                        <p:cTn id="12" dur="500" fill="hold"/>
                                        <p:tgtEl>
                                          <p:spTgt spid="10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99"/>
                                        </p:tgtEl>
                                        <p:attrNameLst>
                                          <p:attrName>style.visibility</p:attrName>
                                        </p:attrNameLst>
                                      </p:cBhvr>
                                      <p:to>
                                        <p:strVal val="visible"/>
                                      </p:to>
                                    </p:set>
                                    <p:anim calcmode="lin" valueType="num">
                                      <p:cBhvr additive="base">
                                        <p:cTn id="17" dur="500" fill="hold"/>
                                        <p:tgtEl>
                                          <p:spTgt spid="99"/>
                                        </p:tgtEl>
                                        <p:attrNameLst>
                                          <p:attrName>ppt_x</p:attrName>
                                        </p:attrNameLst>
                                      </p:cBhvr>
                                      <p:tavLst>
                                        <p:tav tm="0">
                                          <p:val>
                                            <p:strVal val="#ppt_x"/>
                                          </p:val>
                                        </p:tav>
                                        <p:tav tm="100000">
                                          <p:val>
                                            <p:strVal val="#ppt_x"/>
                                          </p:val>
                                        </p:tav>
                                      </p:tavLst>
                                    </p:anim>
                                    <p:anim calcmode="lin" valueType="num">
                                      <p:cBhvr additive="base">
                                        <p:cTn id="18" dur="500" fill="hold"/>
                                        <p:tgtEl>
                                          <p:spTgt spid="99"/>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01"/>
                                        </p:tgtEl>
                                        <p:attrNameLst>
                                          <p:attrName>style.visibility</p:attrName>
                                        </p:attrNameLst>
                                      </p:cBhvr>
                                      <p:to>
                                        <p:strVal val="visible"/>
                                      </p:to>
                                    </p:set>
                                    <p:anim calcmode="lin" valueType="num">
                                      <p:cBhvr additive="base">
                                        <p:cTn id="21" dur="500" fill="hold"/>
                                        <p:tgtEl>
                                          <p:spTgt spid="101"/>
                                        </p:tgtEl>
                                        <p:attrNameLst>
                                          <p:attrName>ppt_x</p:attrName>
                                        </p:attrNameLst>
                                      </p:cBhvr>
                                      <p:tavLst>
                                        <p:tav tm="0">
                                          <p:val>
                                            <p:strVal val="#ppt_x"/>
                                          </p:val>
                                        </p:tav>
                                        <p:tav tm="100000">
                                          <p:val>
                                            <p:strVal val="#ppt_x"/>
                                          </p:val>
                                        </p:tav>
                                      </p:tavLst>
                                    </p:anim>
                                    <p:anim calcmode="lin" valueType="num">
                                      <p:cBhvr additive="base">
                                        <p:cTn id="22" dur="500" fill="hold"/>
                                        <p:tgtEl>
                                          <p:spTgt spid="10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101"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20">
            <a:extLst>
              <a:ext uri="{FF2B5EF4-FFF2-40B4-BE49-F238E27FC236}">
                <a16:creationId xmlns:a16="http://schemas.microsoft.com/office/drawing/2014/main" id="{4AECFFC7-4569-4BBF-8C49-12081FD8ABC1}"/>
              </a:ext>
            </a:extLst>
          </p:cNvPr>
          <p:cNvPicPr>
            <a:picLocks noChangeAspect="1"/>
          </p:cNvPicPr>
          <p:nvPr/>
        </p:nvPicPr>
        <p:blipFill rotWithShape="1">
          <a:blip r:embed="rId3"/>
          <a:srcRect l="18381"/>
          <a:stretch/>
        </p:blipFill>
        <p:spPr>
          <a:xfrm>
            <a:off x="0" y="2742187"/>
            <a:ext cx="13439775" cy="4238254"/>
          </a:xfrm>
          <a:prstGeom prst="rect">
            <a:avLst/>
          </a:prstGeom>
        </p:spPr>
      </p:pic>
      <p:sp>
        <p:nvSpPr>
          <p:cNvPr id="18" name="Freeform 926">
            <a:extLst>
              <a:ext uri="{FF2B5EF4-FFF2-40B4-BE49-F238E27FC236}">
                <a16:creationId xmlns:a16="http://schemas.microsoft.com/office/drawing/2014/main" id="{A9A55446-8B1B-49AE-805B-FCFE305B8072}"/>
              </a:ext>
            </a:extLst>
          </p:cNvPr>
          <p:cNvSpPr>
            <a:spLocks noChangeAspect="1" noEditPoints="1"/>
          </p:cNvSpPr>
          <p:nvPr/>
        </p:nvSpPr>
        <p:spPr bwMode="auto">
          <a:xfrm>
            <a:off x="650516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926">
            <a:extLst>
              <a:ext uri="{FF2B5EF4-FFF2-40B4-BE49-F238E27FC236}">
                <a16:creationId xmlns:a16="http://schemas.microsoft.com/office/drawing/2014/main" id="{0FA4C189-43B9-4D6F-A279-2AD9A302EF79}"/>
              </a:ext>
            </a:extLst>
          </p:cNvPr>
          <p:cNvSpPr>
            <a:spLocks noChangeAspect="1" noEditPoints="1"/>
          </p:cNvSpPr>
          <p:nvPr/>
        </p:nvSpPr>
        <p:spPr bwMode="auto">
          <a:xfrm>
            <a:off x="10314301"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TextBox 219">
            <a:extLst>
              <a:ext uri="{FF2B5EF4-FFF2-40B4-BE49-F238E27FC236}">
                <a16:creationId xmlns:a16="http://schemas.microsoft.com/office/drawing/2014/main" id="{B0196BE7-5875-4B65-84D3-332D6069E8EE}"/>
              </a:ext>
            </a:extLst>
          </p:cNvPr>
          <p:cNvSpPr txBox="1"/>
          <p:nvPr/>
        </p:nvSpPr>
        <p:spPr>
          <a:xfrm>
            <a:off x="6002373" y="519574"/>
            <a:ext cx="1944411" cy="307777"/>
          </a:xfrm>
          <a:prstGeom prst="rect">
            <a:avLst/>
          </a:prstGeom>
          <a:noFill/>
        </p:spPr>
        <p:txBody>
          <a:bodyPr wrap="square">
            <a:spAutoFit/>
          </a:bodyPr>
          <a:lstStyle/>
          <a:p>
            <a:pPr>
              <a:spcAft>
                <a:spcPts val="0"/>
              </a:spcAft>
            </a:pPr>
            <a:r>
              <a:rPr lang="fr-FR" altLang="zh-CN" sz="1400" dirty="0">
                <a:solidFill>
                  <a:schemeClr val="tx2"/>
                </a:solidFill>
              </a:rPr>
              <a:t>Approche et résultat</a:t>
            </a:r>
          </a:p>
        </p:txBody>
      </p:sp>
      <p:sp>
        <p:nvSpPr>
          <p:cNvPr id="21" name="TextBox 219">
            <a:extLst>
              <a:ext uri="{FF2B5EF4-FFF2-40B4-BE49-F238E27FC236}">
                <a16:creationId xmlns:a16="http://schemas.microsoft.com/office/drawing/2014/main" id="{BC4654CF-3E55-4582-862A-125C1CCD7752}"/>
              </a:ext>
            </a:extLst>
          </p:cNvPr>
          <p:cNvSpPr txBox="1"/>
          <p:nvPr/>
        </p:nvSpPr>
        <p:spPr>
          <a:xfrm>
            <a:off x="9738299" y="519574"/>
            <a:ext cx="2063483"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Continuité de la mission</a:t>
            </a:r>
          </a:p>
        </p:txBody>
      </p:sp>
      <p:sp>
        <p:nvSpPr>
          <p:cNvPr id="22" name="TextBox 219">
            <a:extLst>
              <a:ext uri="{FF2B5EF4-FFF2-40B4-BE49-F238E27FC236}">
                <a16:creationId xmlns:a16="http://schemas.microsoft.com/office/drawing/2014/main" id="{A3F7E8F7-0373-4EE7-9579-90ECB0A99875}"/>
              </a:ext>
            </a:extLst>
          </p:cNvPr>
          <p:cNvSpPr txBox="1"/>
          <p:nvPr/>
        </p:nvSpPr>
        <p:spPr>
          <a:xfrm>
            <a:off x="2201930" y="519574"/>
            <a:ext cx="1798569" cy="307777"/>
          </a:xfrm>
          <a:prstGeom prst="rect">
            <a:avLst/>
          </a:prstGeom>
          <a:noFill/>
        </p:spPr>
        <p:txBody>
          <a:bodyPr wrap="square">
            <a:spAutoFit/>
          </a:bodyPr>
          <a:lstStyle/>
          <a:p>
            <a:pPr>
              <a:spcAft>
                <a:spcPts val="0"/>
              </a:spcAft>
            </a:pPr>
            <a:r>
              <a:rPr lang="fr-FR" altLang="zh-CN" sz="1400">
                <a:solidFill>
                  <a:schemeClr val="tx2"/>
                </a:solidFill>
              </a:rPr>
              <a:t>Contexte et objectifs</a:t>
            </a:r>
          </a:p>
        </p:txBody>
      </p:sp>
      <p:sp>
        <p:nvSpPr>
          <p:cNvPr id="23" name="Freeform 926">
            <a:extLst>
              <a:ext uri="{FF2B5EF4-FFF2-40B4-BE49-F238E27FC236}">
                <a16:creationId xmlns:a16="http://schemas.microsoft.com/office/drawing/2014/main" id="{9EDD29BF-5065-4A89-A18F-78781C06768F}"/>
              </a:ext>
            </a:extLst>
          </p:cNvPr>
          <p:cNvSpPr>
            <a:spLocks noChangeAspect="1" noEditPoints="1"/>
          </p:cNvSpPr>
          <p:nvPr/>
        </p:nvSpPr>
        <p:spPr bwMode="auto">
          <a:xfrm>
            <a:off x="2821156" y="758332"/>
            <a:ext cx="306054" cy="306054"/>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ZoneTexte 47">
            <a:extLst>
              <a:ext uri="{FF2B5EF4-FFF2-40B4-BE49-F238E27FC236}">
                <a16:creationId xmlns:a16="http://schemas.microsoft.com/office/drawing/2014/main" id="{C0EE927E-8228-4B24-9E74-01766CAB0C81}"/>
              </a:ext>
            </a:extLst>
          </p:cNvPr>
          <p:cNvSpPr txBox="1"/>
          <p:nvPr/>
        </p:nvSpPr>
        <p:spPr>
          <a:xfrm>
            <a:off x="4493938" y="2888165"/>
            <a:ext cx="65" cy="276999"/>
          </a:xfrm>
          <a:prstGeom prst="rect">
            <a:avLst/>
          </a:prstGeom>
          <a:noFill/>
        </p:spPr>
        <p:txBody>
          <a:bodyPr wrap="none" lIns="0" tIns="0" rIns="0" bIns="0" rtlCol="0">
            <a:spAutoFit/>
          </a:bodyPr>
          <a:lstStyle/>
          <a:p>
            <a:pPr>
              <a:spcBef>
                <a:spcPts val="600"/>
              </a:spcBef>
              <a:buSzPct val="100000"/>
            </a:pPr>
            <a:endParaRPr lang="fr-FR" dirty="0">
              <a:solidFill>
                <a:srgbClr val="313131"/>
              </a:solidFill>
            </a:endParaRPr>
          </a:p>
        </p:txBody>
      </p:sp>
      <p:grpSp>
        <p:nvGrpSpPr>
          <p:cNvPr id="70" name="Groupe 69">
            <a:extLst>
              <a:ext uri="{FF2B5EF4-FFF2-40B4-BE49-F238E27FC236}">
                <a16:creationId xmlns:a16="http://schemas.microsoft.com/office/drawing/2014/main" id="{A3482F5A-6E3C-4F4C-A0B7-9ACA33A231C9}"/>
              </a:ext>
            </a:extLst>
          </p:cNvPr>
          <p:cNvGrpSpPr/>
          <p:nvPr/>
        </p:nvGrpSpPr>
        <p:grpSpPr>
          <a:xfrm>
            <a:off x="1159724" y="2435334"/>
            <a:ext cx="11362962" cy="1200329"/>
            <a:chOff x="1159724" y="2435334"/>
            <a:chExt cx="11362962" cy="1200329"/>
          </a:xfrm>
        </p:grpSpPr>
        <p:grpSp>
          <p:nvGrpSpPr>
            <p:cNvPr id="68" name="Groupe 67">
              <a:extLst>
                <a:ext uri="{FF2B5EF4-FFF2-40B4-BE49-F238E27FC236}">
                  <a16:creationId xmlns:a16="http://schemas.microsoft.com/office/drawing/2014/main" id="{3D4A0F4D-87A1-4474-AA0A-52D620CF9D80}"/>
                </a:ext>
              </a:extLst>
            </p:cNvPr>
            <p:cNvGrpSpPr/>
            <p:nvPr/>
          </p:nvGrpSpPr>
          <p:grpSpPr>
            <a:xfrm>
              <a:off x="1159724" y="2435334"/>
              <a:ext cx="11362962" cy="1200329"/>
              <a:chOff x="1159724" y="2435334"/>
              <a:chExt cx="11362962" cy="1200329"/>
            </a:xfrm>
          </p:grpSpPr>
          <p:sp>
            <p:nvSpPr>
              <p:cNvPr id="59" name="Rectangle 58">
                <a:extLst>
                  <a:ext uri="{FF2B5EF4-FFF2-40B4-BE49-F238E27FC236}">
                    <a16:creationId xmlns:a16="http://schemas.microsoft.com/office/drawing/2014/main" id="{F986F9AD-660A-4C99-86DC-DB49550D2C33}"/>
                  </a:ext>
                </a:extLst>
              </p:cNvPr>
              <p:cNvSpPr/>
              <p:nvPr/>
            </p:nvSpPr>
            <p:spPr bwMode="gray">
              <a:xfrm>
                <a:off x="1159724" y="2435334"/>
                <a:ext cx="3300658" cy="1200329"/>
              </a:xfrm>
              <a:prstGeom prst="rect">
                <a:avLst/>
              </a:prstGeom>
              <a:solidFill>
                <a:srgbClr val="D7EFAB"/>
              </a:solidFill>
              <a:ln w="19050" algn="ctr">
                <a:solidFill>
                  <a:schemeClr val="accent1">
                    <a:lumMod val="20000"/>
                    <a:lumOff val="8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75000"/>
                        <a:lumOff val="25000"/>
                      </a:schemeClr>
                    </a:solidFill>
                  </a:rPr>
                  <a:t>                  Recommandation</a:t>
                </a:r>
              </a:p>
            </p:txBody>
          </p:sp>
          <p:sp>
            <p:nvSpPr>
              <p:cNvPr id="64" name="Rectangle 63">
                <a:extLst>
                  <a:ext uri="{FF2B5EF4-FFF2-40B4-BE49-F238E27FC236}">
                    <a16:creationId xmlns:a16="http://schemas.microsoft.com/office/drawing/2014/main" id="{84255739-5FD5-46CF-8FAB-95E9B73D0D8F}"/>
                  </a:ext>
                </a:extLst>
              </p:cNvPr>
              <p:cNvSpPr/>
              <p:nvPr/>
            </p:nvSpPr>
            <p:spPr bwMode="gray">
              <a:xfrm>
                <a:off x="4493938" y="2435334"/>
                <a:ext cx="8028748" cy="1200329"/>
              </a:xfrm>
              <a:prstGeom prst="rect">
                <a:avLst/>
              </a:prstGeom>
              <a:solidFill>
                <a:srgbClr val="FDF8F5"/>
              </a:solidFill>
              <a:ln w="19050" algn="ctr">
                <a:solidFill>
                  <a:schemeClr val="accent1">
                    <a:lumMod val="20000"/>
                    <a:lumOff val="80000"/>
                  </a:schemeClr>
                </a:solidFill>
                <a:miter lim="800000"/>
                <a:headEnd/>
                <a:tailEnd/>
              </a:ln>
            </p:spPr>
            <p:txBody>
              <a:bodyPr wrap="square" lIns="88900" tIns="88900" rIns="88900" bIns="88900" rtlCol="0" anchor="ctr"/>
              <a:lstStyle/>
              <a:p>
                <a:pPr algn="just"/>
                <a:r>
                  <a:rPr lang="fr-FR" sz="1600" b="0" i="0" u="none" strike="noStrike" baseline="0" dirty="0">
                    <a:solidFill>
                      <a:srgbClr val="000000"/>
                    </a:solidFill>
                    <a:latin typeface="Calibri" panose="020F0502020204030204" pitchFamily="34" charset="0"/>
                  </a:rPr>
                  <a:t>Elaborer des recommandations détaillées et personnalisées  en se </a:t>
                </a:r>
                <a:r>
                  <a:rPr lang="fr-FR" sz="1600" dirty="0">
                    <a:solidFill>
                      <a:srgbClr val="000000"/>
                    </a:solidFill>
                    <a:latin typeface="Calibri" panose="020F0502020204030204" pitchFamily="34" charset="0"/>
                  </a:rPr>
                  <a:t>basant sur les approches optimales proposées sur notre Framework, ainsi que les meilleures pratiques de l'industrie tout en étant adaptées aux besoins spécifiques de notre client.</a:t>
                </a:r>
                <a:endParaRPr lang="fr-FR" sz="1600" dirty="0"/>
              </a:p>
            </p:txBody>
          </p:sp>
        </p:grpSp>
        <p:grpSp>
          <p:nvGrpSpPr>
            <p:cNvPr id="58" name="Groupe 57">
              <a:extLst>
                <a:ext uri="{FF2B5EF4-FFF2-40B4-BE49-F238E27FC236}">
                  <a16:creationId xmlns:a16="http://schemas.microsoft.com/office/drawing/2014/main" id="{4D15F827-E901-4A39-9D2F-FB9B0D926788}"/>
                </a:ext>
              </a:extLst>
            </p:cNvPr>
            <p:cNvGrpSpPr/>
            <p:nvPr/>
          </p:nvGrpSpPr>
          <p:grpSpPr>
            <a:xfrm>
              <a:off x="1498044" y="2699787"/>
              <a:ext cx="671422" cy="671422"/>
              <a:chOff x="1554823" y="2453414"/>
              <a:chExt cx="864000" cy="864000"/>
            </a:xfrm>
          </p:grpSpPr>
          <p:sp>
            <p:nvSpPr>
              <p:cNvPr id="56" name="Ellipse 55">
                <a:extLst>
                  <a:ext uri="{FF2B5EF4-FFF2-40B4-BE49-F238E27FC236}">
                    <a16:creationId xmlns:a16="http://schemas.microsoft.com/office/drawing/2014/main" id="{193E25E1-0101-478F-BE7E-315D6FA60C71}"/>
                  </a:ext>
                </a:extLst>
              </p:cNvPr>
              <p:cNvSpPr/>
              <p:nvPr/>
            </p:nvSpPr>
            <p:spPr bwMode="gray">
              <a:xfrm>
                <a:off x="1554823" y="2453414"/>
                <a:ext cx="864000" cy="864000"/>
              </a:xfrm>
              <a:prstGeom prst="ellipse">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55" name="AutoShape 12">
                <a:extLst>
                  <a:ext uri="{FF2B5EF4-FFF2-40B4-BE49-F238E27FC236}">
                    <a16:creationId xmlns:a16="http://schemas.microsoft.com/office/drawing/2014/main" id="{56FCA543-6235-4B89-A186-920944711955}"/>
                  </a:ext>
                </a:extLst>
              </p:cNvPr>
              <p:cNvSpPr>
                <a:spLocks/>
              </p:cNvSpPr>
              <p:nvPr/>
            </p:nvSpPr>
            <p:spPr bwMode="auto">
              <a:xfrm>
                <a:off x="1793405" y="2635092"/>
                <a:ext cx="409139" cy="478343"/>
              </a:xfrm>
              <a:custGeom>
                <a:avLst/>
                <a:gdLst/>
                <a:ahLst/>
                <a:cxnLst/>
                <a:rect l="0" t="0" r="r" b="b"/>
                <a:pathLst>
                  <a:path w="20651" h="21600">
                    <a:moveTo>
                      <a:pt x="9044" y="0"/>
                    </a:moveTo>
                    <a:cubicBezTo>
                      <a:pt x="4074" y="0"/>
                      <a:pt x="45" y="3606"/>
                      <a:pt x="45" y="8054"/>
                    </a:cubicBezTo>
                    <a:cubicBezTo>
                      <a:pt x="45" y="8054"/>
                      <a:pt x="-751" y="12302"/>
                      <a:pt x="4337" y="16786"/>
                    </a:cubicBezTo>
                    <a:lnTo>
                      <a:pt x="4337" y="21600"/>
                    </a:lnTo>
                    <a:lnTo>
                      <a:pt x="13909" y="21600"/>
                    </a:lnTo>
                    <a:lnTo>
                      <a:pt x="13909" y="18265"/>
                    </a:lnTo>
                    <a:cubicBezTo>
                      <a:pt x="13909" y="17800"/>
                      <a:pt x="14330" y="17423"/>
                      <a:pt x="14850" y="17423"/>
                    </a:cubicBezTo>
                    <a:lnTo>
                      <a:pt x="17575" y="17423"/>
                    </a:lnTo>
                    <a:cubicBezTo>
                      <a:pt x="18095" y="17423"/>
                      <a:pt x="18517" y="17046"/>
                      <a:pt x="18517" y="16580"/>
                    </a:cubicBezTo>
                    <a:lnTo>
                      <a:pt x="18201" y="15042"/>
                    </a:lnTo>
                    <a:cubicBezTo>
                      <a:pt x="18201" y="15042"/>
                      <a:pt x="17998" y="14332"/>
                      <a:pt x="18912" y="14111"/>
                    </a:cubicBezTo>
                    <a:lnTo>
                      <a:pt x="18747" y="13410"/>
                    </a:lnTo>
                    <a:cubicBezTo>
                      <a:pt x="19348" y="13043"/>
                      <a:pt x="19056" y="12797"/>
                      <a:pt x="19056" y="12797"/>
                    </a:cubicBezTo>
                    <a:cubicBezTo>
                      <a:pt x="18202" y="12079"/>
                      <a:pt x="18793" y="11584"/>
                      <a:pt x="18793" y="11584"/>
                    </a:cubicBezTo>
                    <a:cubicBezTo>
                      <a:pt x="18793" y="11584"/>
                      <a:pt x="19489" y="11455"/>
                      <a:pt x="20169" y="11377"/>
                    </a:cubicBezTo>
                    <a:cubicBezTo>
                      <a:pt x="20849" y="11299"/>
                      <a:pt x="20610" y="10788"/>
                      <a:pt x="20610" y="10788"/>
                    </a:cubicBezTo>
                    <a:cubicBezTo>
                      <a:pt x="20610" y="10788"/>
                      <a:pt x="18043" y="8054"/>
                      <a:pt x="18043" y="8054"/>
                    </a:cubicBezTo>
                    <a:cubicBezTo>
                      <a:pt x="18043" y="3606"/>
                      <a:pt x="14014" y="0"/>
                      <a:pt x="9044" y="0"/>
                    </a:cubicBezTo>
                    <a:close/>
                    <a:moveTo>
                      <a:pt x="8965" y="937"/>
                    </a:moveTo>
                    <a:cubicBezTo>
                      <a:pt x="13314" y="937"/>
                      <a:pt x="16838" y="4091"/>
                      <a:pt x="16838" y="7984"/>
                    </a:cubicBezTo>
                    <a:cubicBezTo>
                      <a:pt x="16838" y="11876"/>
                      <a:pt x="13314" y="15030"/>
                      <a:pt x="8965" y="15030"/>
                    </a:cubicBezTo>
                    <a:cubicBezTo>
                      <a:pt x="4616" y="15030"/>
                      <a:pt x="1092" y="11876"/>
                      <a:pt x="1092" y="7984"/>
                    </a:cubicBezTo>
                    <a:cubicBezTo>
                      <a:pt x="1092" y="4091"/>
                      <a:pt x="4616" y="937"/>
                      <a:pt x="8965" y="937"/>
                    </a:cubicBezTo>
                    <a:close/>
                    <a:moveTo>
                      <a:pt x="8636" y="3394"/>
                    </a:moveTo>
                    <a:lnTo>
                      <a:pt x="8636" y="4372"/>
                    </a:lnTo>
                    <a:lnTo>
                      <a:pt x="9241" y="4372"/>
                    </a:lnTo>
                    <a:cubicBezTo>
                      <a:pt x="9241" y="4372"/>
                      <a:pt x="9241" y="3394"/>
                      <a:pt x="9241" y="3394"/>
                    </a:cubicBezTo>
                    <a:lnTo>
                      <a:pt x="8636" y="3394"/>
                    </a:lnTo>
                    <a:close/>
                    <a:moveTo>
                      <a:pt x="7069" y="3771"/>
                    </a:moveTo>
                    <a:lnTo>
                      <a:pt x="6529" y="4030"/>
                    </a:lnTo>
                    <a:lnTo>
                      <a:pt x="7063" y="4920"/>
                    </a:lnTo>
                    <a:cubicBezTo>
                      <a:pt x="7063" y="4920"/>
                      <a:pt x="7602" y="4666"/>
                      <a:pt x="7602" y="4666"/>
                    </a:cubicBezTo>
                    <a:lnTo>
                      <a:pt x="7069" y="3771"/>
                    </a:lnTo>
                    <a:close/>
                    <a:moveTo>
                      <a:pt x="10854" y="3771"/>
                    </a:moveTo>
                    <a:lnTo>
                      <a:pt x="10321" y="4666"/>
                    </a:lnTo>
                    <a:lnTo>
                      <a:pt x="10861" y="4920"/>
                    </a:lnTo>
                    <a:cubicBezTo>
                      <a:pt x="10861" y="4920"/>
                      <a:pt x="11394" y="4030"/>
                      <a:pt x="11394" y="4030"/>
                    </a:cubicBezTo>
                    <a:lnTo>
                      <a:pt x="10854" y="3771"/>
                    </a:lnTo>
                    <a:close/>
                    <a:moveTo>
                      <a:pt x="5410" y="4902"/>
                    </a:moveTo>
                    <a:cubicBezTo>
                      <a:pt x="5410" y="4902"/>
                      <a:pt x="5055" y="5344"/>
                      <a:pt x="5055" y="5344"/>
                    </a:cubicBezTo>
                    <a:lnTo>
                      <a:pt x="6029" y="5969"/>
                    </a:lnTo>
                    <a:lnTo>
                      <a:pt x="6385" y="5527"/>
                    </a:lnTo>
                    <a:lnTo>
                      <a:pt x="5410" y="4902"/>
                    </a:lnTo>
                    <a:close/>
                    <a:moveTo>
                      <a:pt x="8866" y="4902"/>
                    </a:moveTo>
                    <a:cubicBezTo>
                      <a:pt x="7594" y="4902"/>
                      <a:pt x="6319" y="5632"/>
                      <a:pt x="6319" y="7088"/>
                    </a:cubicBezTo>
                    <a:cubicBezTo>
                      <a:pt x="6319" y="8443"/>
                      <a:pt x="7622" y="9201"/>
                      <a:pt x="7622" y="10270"/>
                    </a:cubicBezTo>
                    <a:lnTo>
                      <a:pt x="8221" y="10270"/>
                    </a:lnTo>
                    <a:cubicBezTo>
                      <a:pt x="8192" y="8921"/>
                      <a:pt x="6924" y="8258"/>
                      <a:pt x="6924" y="7088"/>
                    </a:cubicBezTo>
                    <a:cubicBezTo>
                      <a:pt x="6924" y="4892"/>
                      <a:pt x="10802" y="4896"/>
                      <a:pt x="10802" y="7088"/>
                    </a:cubicBezTo>
                    <a:cubicBezTo>
                      <a:pt x="10802" y="8259"/>
                      <a:pt x="9512" y="8952"/>
                      <a:pt x="9511" y="10270"/>
                    </a:cubicBezTo>
                    <a:lnTo>
                      <a:pt x="10104" y="10270"/>
                    </a:lnTo>
                    <a:cubicBezTo>
                      <a:pt x="10104" y="9201"/>
                      <a:pt x="11407" y="8443"/>
                      <a:pt x="11407" y="7088"/>
                    </a:cubicBezTo>
                    <a:cubicBezTo>
                      <a:pt x="11407" y="5631"/>
                      <a:pt x="10139" y="4902"/>
                      <a:pt x="8866" y="4902"/>
                    </a:cubicBezTo>
                    <a:close/>
                    <a:moveTo>
                      <a:pt x="12559" y="4902"/>
                    </a:moveTo>
                    <a:lnTo>
                      <a:pt x="11585" y="5527"/>
                    </a:lnTo>
                    <a:lnTo>
                      <a:pt x="11940" y="5969"/>
                    </a:lnTo>
                    <a:cubicBezTo>
                      <a:pt x="11940" y="5969"/>
                      <a:pt x="12915" y="5344"/>
                      <a:pt x="12915" y="5344"/>
                    </a:cubicBezTo>
                    <a:lnTo>
                      <a:pt x="12559" y="4902"/>
                    </a:lnTo>
                    <a:close/>
                    <a:moveTo>
                      <a:pt x="4423" y="6788"/>
                    </a:moveTo>
                    <a:lnTo>
                      <a:pt x="4423" y="7330"/>
                    </a:lnTo>
                    <a:lnTo>
                      <a:pt x="5667" y="7330"/>
                    </a:lnTo>
                    <a:cubicBezTo>
                      <a:pt x="5667" y="7330"/>
                      <a:pt x="5667" y="6788"/>
                      <a:pt x="5667" y="6788"/>
                    </a:cubicBezTo>
                    <a:lnTo>
                      <a:pt x="4423" y="6788"/>
                    </a:lnTo>
                    <a:close/>
                    <a:moveTo>
                      <a:pt x="12217" y="6788"/>
                    </a:moveTo>
                    <a:cubicBezTo>
                      <a:pt x="12217" y="6788"/>
                      <a:pt x="12217" y="7330"/>
                      <a:pt x="12217" y="7330"/>
                    </a:cubicBezTo>
                    <a:lnTo>
                      <a:pt x="13461" y="7330"/>
                    </a:lnTo>
                    <a:lnTo>
                      <a:pt x="13461" y="6788"/>
                    </a:lnTo>
                    <a:lnTo>
                      <a:pt x="12217" y="6788"/>
                    </a:lnTo>
                    <a:close/>
                    <a:moveTo>
                      <a:pt x="5937" y="8296"/>
                    </a:moveTo>
                    <a:cubicBezTo>
                      <a:pt x="5937" y="8296"/>
                      <a:pt x="4844" y="8738"/>
                      <a:pt x="4844" y="8738"/>
                    </a:cubicBezTo>
                    <a:lnTo>
                      <a:pt x="5094" y="9233"/>
                    </a:lnTo>
                    <a:lnTo>
                      <a:pt x="6187" y="8791"/>
                    </a:lnTo>
                    <a:lnTo>
                      <a:pt x="5937" y="8296"/>
                    </a:lnTo>
                    <a:close/>
                    <a:moveTo>
                      <a:pt x="12026" y="8296"/>
                    </a:moveTo>
                    <a:cubicBezTo>
                      <a:pt x="12026" y="8296"/>
                      <a:pt x="11796" y="8803"/>
                      <a:pt x="11796" y="8803"/>
                    </a:cubicBezTo>
                    <a:lnTo>
                      <a:pt x="12888" y="9197"/>
                    </a:lnTo>
                    <a:lnTo>
                      <a:pt x="13119" y="8691"/>
                    </a:lnTo>
                    <a:lnTo>
                      <a:pt x="12026" y="8296"/>
                    </a:lnTo>
                    <a:close/>
                    <a:moveTo>
                      <a:pt x="8017" y="10558"/>
                    </a:moveTo>
                    <a:cubicBezTo>
                      <a:pt x="7894" y="10558"/>
                      <a:pt x="7793" y="10648"/>
                      <a:pt x="7793" y="10759"/>
                    </a:cubicBezTo>
                    <a:cubicBezTo>
                      <a:pt x="7793" y="10869"/>
                      <a:pt x="7894" y="10959"/>
                      <a:pt x="8017" y="10959"/>
                    </a:cubicBezTo>
                    <a:lnTo>
                      <a:pt x="9781" y="10959"/>
                    </a:lnTo>
                    <a:cubicBezTo>
                      <a:pt x="9905" y="10959"/>
                      <a:pt x="9998" y="10869"/>
                      <a:pt x="9998" y="10759"/>
                    </a:cubicBezTo>
                    <a:cubicBezTo>
                      <a:pt x="9998" y="10648"/>
                      <a:pt x="9905" y="10558"/>
                      <a:pt x="9781" y="10558"/>
                    </a:cubicBezTo>
                    <a:lnTo>
                      <a:pt x="8017" y="10558"/>
                    </a:lnTo>
                    <a:close/>
                    <a:moveTo>
                      <a:pt x="8017" y="11313"/>
                    </a:moveTo>
                    <a:cubicBezTo>
                      <a:pt x="7894" y="11313"/>
                      <a:pt x="7793" y="11402"/>
                      <a:pt x="7793" y="11513"/>
                    </a:cubicBezTo>
                    <a:cubicBezTo>
                      <a:pt x="7793" y="11623"/>
                      <a:pt x="7894" y="11713"/>
                      <a:pt x="8017" y="11713"/>
                    </a:cubicBezTo>
                    <a:lnTo>
                      <a:pt x="9696" y="11713"/>
                    </a:lnTo>
                    <a:cubicBezTo>
                      <a:pt x="9819" y="11713"/>
                      <a:pt x="9919" y="11623"/>
                      <a:pt x="9919" y="11513"/>
                    </a:cubicBezTo>
                    <a:cubicBezTo>
                      <a:pt x="9919" y="11402"/>
                      <a:pt x="9819" y="11313"/>
                      <a:pt x="9696" y="11313"/>
                    </a:cubicBezTo>
                    <a:lnTo>
                      <a:pt x="8017" y="11313"/>
                    </a:lnTo>
                    <a:close/>
                    <a:moveTo>
                      <a:pt x="8109" y="11878"/>
                    </a:moveTo>
                    <a:cubicBezTo>
                      <a:pt x="8545" y="12238"/>
                      <a:pt x="8594" y="12308"/>
                      <a:pt x="8767" y="12308"/>
                    </a:cubicBezTo>
                    <a:lnTo>
                      <a:pt x="9103" y="12308"/>
                    </a:lnTo>
                    <a:cubicBezTo>
                      <a:pt x="9273" y="12308"/>
                      <a:pt x="9310" y="12244"/>
                      <a:pt x="9768" y="11878"/>
                    </a:cubicBezTo>
                    <a:lnTo>
                      <a:pt x="8109" y="11878"/>
                    </a:lnTo>
                    <a:close/>
                    <a:moveTo>
                      <a:pt x="8109" y="11878"/>
                    </a:moveTo>
                  </a:path>
                </a:pathLst>
              </a:custGeom>
              <a:solidFill>
                <a:schemeClr val="accent1"/>
              </a:solidFill>
              <a:ln>
                <a:noFill/>
              </a:ln>
            </p:spPr>
            <p:txBody>
              <a:bodyPr lIns="0" tIns="0" rIns="0" bIns="0"/>
              <a:lstStyle/>
              <a:p>
                <a:endParaRPr lang="pl-PL"/>
              </a:p>
            </p:txBody>
          </p:sp>
        </p:grpSp>
      </p:grpSp>
      <p:grpSp>
        <p:nvGrpSpPr>
          <p:cNvPr id="71" name="Groupe 70">
            <a:extLst>
              <a:ext uri="{FF2B5EF4-FFF2-40B4-BE49-F238E27FC236}">
                <a16:creationId xmlns:a16="http://schemas.microsoft.com/office/drawing/2014/main" id="{7491534F-A00F-42EF-BB88-61234C4315EE}"/>
              </a:ext>
            </a:extLst>
          </p:cNvPr>
          <p:cNvGrpSpPr/>
          <p:nvPr/>
        </p:nvGrpSpPr>
        <p:grpSpPr>
          <a:xfrm>
            <a:off x="1159724" y="3943311"/>
            <a:ext cx="11362962" cy="1200329"/>
            <a:chOff x="1159724" y="3943311"/>
            <a:chExt cx="11362962" cy="1200329"/>
          </a:xfrm>
        </p:grpSpPr>
        <p:grpSp>
          <p:nvGrpSpPr>
            <p:cNvPr id="69" name="Groupe 68">
              <a:extLst>
                <a:ext uri="{FF2B5EF4-FFF2-40B4-BE49-F238E27FC236}">
                  <a16:creationId xmlns:a16="http://schemas.microsoft.com/office/drawing/2014/main" id="{DAE2A0F6-7CF9-4040-9CAD-35E80F992733}"/>
                </a:ext>
              </a:extLst>
            </p:cNvPr>
            <p:cNvGrpSpPr/>
            <p:nvPr/>
          </p:nvGrpSpPr>
          <p:grpSpPr>
            <a:xfrm>
              <a:off x="1159724" y="3943311"/>
              <a:ext cx="11362962" cy="1200329"/>
              <a:chOff x="1159724" y="3943311"/>
              <a:chExt cx="11362962" cy="1200329"/>
            </a:xfrm>
          </p:grpSpPr>
          <p:sp>
            <p:nvSpPr>
              <p:cNvPr id="61" name="Rectangle 60">
                <a:extLst>
                  <a:ext uri="{FF2B5EF4-FFF2-40B4-BE49-F238E27FC236}">
                    <a16:creationId xmlns:a16="http://schemas.microsoft.com/office/drawing/2014/main" id="{CD34B70C-83FA-4887-9FF2-16B98D62FFBA}"/>
                  </a:ext>
                </a:extLst>
              </p:cNvPr>
              <p:cNvSpPr/>
              <p:nvPr/>
            </p:nvSpPr>
            <p:spPr bwMode="gray">
              <a:xfrm>
                <a:off x="1159724" y="3943311"/>
                <a:ext cx="3300658" cy="1200329"/>
              </a:xfrm>
              <a:prstGeom prst="rect">
                <a:avLst/>
              </a:prstGeom>
              <a:solidFill>
                <a:srgbClr val="D7EFAB"/>
              </a:solidFill>
              <a:ln w="19050" algn="ctr">
                <a:solidFill>
                  <a:schemeClr val="accent1">
                    <a:lumMod val="20000"/>
                    <a:lumOff val="8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75000"/>
                        <a:lumOff val="25000"/>
                      </a:schemeClr>
                    </a:solidFill>
                  </a:rPr>
                  <a:t>                Implémentation</a:t>
                </a:r>
              </a:p>
            </p:txBody>
          </p:sp>
          <p:sp>
            <p:nvSpPr>
              <p:cNvPr id="63" name="Rectangle 62">
                <a:extLst>
                  <a:ext uri="{FF2B5EF4-FFF2-40B4-BE49-F238E27FC236}">
                    <a16:creationId xmlns:a16="http://schemas.microsoft.com/office/drawing/2014/main" id="{050856CC-B82A-40D6-B5F8-E540E0872688}"/>
                  </a:ext>
                </a:extLst>
              </p:cNvPr>
              <p:cNvSpPr/>
              <p:nvPr/>
            </p:nvSpPr>
            <p:spPr bwMode="gray">
              <a:xfrm>
                <a:off x="4493938" y="3943311"/>
                <a:ext cx="8028748" cy="1200329"/>
              </a:xfrm>
              <a:prstGeom prst="rect">
                <a:avLst/>
              </a:prstGeom>
              <a:solidFill>
                <a:srgbClr val="FDF8F5"/>
              </a:solidFill>
              <a:ln w="19050" algn="ctr">
                <a:solidFill>
                  <a:schemeClr val="accent1">
                    <a:lumMod val="20000"/>
                    <a:lumOff val="80000"/>
                  </a:schemeClr>
                </a:solidFill>
                <a:miter lim="800000"/>
                <a:headEnd/>
                <a:tailEnd/>
              </a:ln>
            </p:spPr>
            <p:txBody>
              <a:bodyPr wrap="square" lIns="88900" tIns="88900" rIns="88900" bIns="88900" rtlCol="0" anchor="ctr"/>
              <a:lstStyle/>
              <a:p>
                <a:pPr algn="just"/>
                <a:r>
                  <a:rPr lang="fr-FR" sz="1600" dirty="0">
                    <a:solidFill>
                      <a:srgbClr val="000000"/>
                    </a:solidFill>
                    <a:latin typeface="Calibri" panose="020F0502020204030204" pitchFamily="34" charset="0"/>
                  </a:rPr>
                  <a:t>Travailler en étroite collaboration avec notre client </a:t>
                </a:r>
                <a:r>
                  <a:rPr lang="fr-FR" sz="1600" b="0" i="0" u="none" strike="noStrike" baseline="0" dirty="0">
                    <a:solidFill>
                      <a:srgbClr val="000000"/>
                    </a:solidFill>
                    <a:latin typeface="Calibri" panose="020F0502020204030204" pitchFamily="34" charset="0"/>
                  </a:rPr>
                  <a:t>pour élaborer un plan d'action, définir les responsabilités et les échéances, et suivre de près le processus de mise en place des mesures de sécurité. </a:t>
                </a:r>
                <a:endParaRPr lang="fr-FR" sz="1600" dirty="0"/>
              </a:p>
            </p:txBody>
          </p:sp>
        </p:grpSp>
        <p:grpSp>
          <p:nvGrpSpPr>
            <p:cNvPr id="57" name="Groupe 56">
              <a:extLst>
                <a:ext uri="{FF2B5EF4-FFF2-40B4-BE49-F238E27FC236}">
                  <a16:creationId xmlns:a16="http://schemas.microsoft.com/office/drawing/2014/main" id="{A39D6D91-2A77-470C-8835-464FA251E031}"/>
                </a:ext>
              </a:extLst>
            </p:cNvPr>
            <p:cNvGrpSpPr/>
            <p:nvPr/>
          </p:nvGrpSpPr>
          <p:grpSpPr>
            <a:xfrm>
              <a:off x="1496266" y="4206875"/>
              <a:ext cx="673200" cy="673200"/>
              <a:chOff x="1554823" y="3915022"/>
              <a:chExt cx="864000" cy="864000"/>
            </a:xfrm>
          </p:grpSpPr>
          <p:pic>
            <p:nvPicPr>
              <p:cNvPr id="29" name="Graphique 28" descr="Poignée de main contour">
                <a:extLst>
                  <a:ext uri="{FF2B5EF4-FFF2-40B4-BE49-F238E27FC236}">
                    <a16:creationId xmlns:a16="http://schemas.microsoft.com/office/drawing/2014/main" id="{8230F28E-1F2B-4297-9520-A3EA658660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661638" y="4034537"/>
                <a:ext cx="650371" cy="650371"/>
              </a:xfrm>
              <a:prstGeom prst="rect">
                <a:avLst/>
              </a:prstGeom>
            </p:spPr>
          </p:pic>
          <p:sp>
            <p:nvSpPr>
              <p:cNvPr id="36" name="Ellipse 35">
                <a:extLst>
                  <a:ext uri="{FF2B5EF4-FFF2-40B4-BE49-F238E27FC236}">
                    <a16:creationId xmlns:a16="http://schemas.microsoft.com/office/drawing/2014/main" id="{4D23D8E2-CCC5-4390-A334-295A3AFA1917}"/>
                  </a:ext>
                </a:extLst>
              </p:cNvPr>
              <p:cNvSpPr/>
              <p:nvPr/>
            </p:nvSpPr>
            <p:spPr bwMode="gray">
              <a:xfrm>
                <a:off x="1554823" y="3915022"/>
                <a:ext cx="864000" cy="864000"/>
              </a:xfrm>
              <a:prstGeom prst="ellipse">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sp>
        <p:nvSpPr>
          <p:cNvPr id="66" name="ZoneTexte 65">
            <a:extLst>
              <a:ext uri="{FF2B5EF4-FFF2-40B4-BE49-F238E27FC236}">
                <a16:creationId xmlns:a16="http://schemas.microsoft.com/office/drawing/2014/main" id="{55EB67BF-AAB3-436B-B211-B48E332ED503}"/>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8</a:t>
            </a:r>
          </a:p>
        </p:txBody>
      </p:sp>
      <p:sp>
        <p:nvSpPr>
          <p:cNvPr id="28" name="Rectangle 27">
            <a:extLst>
              <a:ext uri="{FF2B5EF4-FFF2-40B4-BE49-F238E27FC236}">
                <a16:creationId xmlns:a16="http://schemas.microsoft.com/office/drawing/2014/main" id="{B3E6092B-0423-4E20-A26F-4205CAE0103C}"/>
              </a:ext>
            </a:extLst>
          </p:cNvPr>
          <p:cNvSpPr/>
          <p:nvPr/>
        </p:nvSpPr>
        <p:spPr bwMode="gray">
          <a:xfrm>
            <a:off x="3004592"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        III. Implémentation</a:t>
            </a:r>
          </a:p>
        </p:txBody>
      </p:sp>
      <p:sp>
        <p:nvSpPr>
          <p:cNvPr id="30" name="Rectangle 29">
            <a:extLst>
              <a:ext uri="{FF2B5EF4-FFF2-40B4-BE49-F238E27FC236}">
                <a16:creationId xmlns:a16="http://schemas.microsoft.com/office/drawing/2014/main" id="{FA8E31BE-6C1A-4791-83B5-37677927C851}"/>
              </a:ext>
            </a:extLst>
          </p:cNvPr>
          <p:cNvSpPr/>
          <p:nvPr/>
        </p:nvSpPr>
        <p:spPr bwMode="gray">
          <a:xfrm>
            <a:off x="1502296"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31" name="Rectangle 30">
            <a:extLst>
              <a:ext uri="{FF2B5EF4-FFF2-40B4-BE49-F238E27FC236}">
                <a16:creationId xmlns:a16="http://schemas.microsoft.com/office/drawing/2014/main" id="{445E0FF4-C35D-4C67-BAC7-8920F8E4DC0A}"/>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32" name="Rectangle 31">
            <a:extLst>
              <a:ext uri="{FF2B5EF4-FFF2-40B4-BE49-F238E27FC236}">
                <a16:creationId xmlns:a16="http://schemas.microsoft.com/office/drawing/2014/main" id="{62557511-C9C4-4D88-B88C-2DEA513EEAF0}"/>
              </a:ext>
            </a:extLst>
          </p:cNvPr>
          <p:cNvSpPr/>
          <p:nvPr/>
        </p:nvSpPr>
        <p:spPr bwMode="gray">
          <a:xfrm>
            <a:off x="12077689"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Tree>
    <p:extLst>
      <p:ext uri="{BB962C8B-B14F-4D97-AF65-F5344CB8AC3E}">
        <p14:creationId xmlns:p14="http://schemas.microsoft.com/office/powerpoint/2010/main" val="4773739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14:presetBounceEnd="26000">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14:bounceEnd="26000">
                                          <p:cBhvr additive="base">
                                            <p:cTn id="7" dur="500" fill="hold"/>
                                            <p:tgtEl>
                                              <p:spTgt spid="70"/>
                                            </p:tgtEl>
                                            <p:attrNameLst>
                                              <p:attrName>ppt_x</p:attrName>
                                            </p:attrNameLst>
                                          </p:cBhvr>
                                          <p:tavLst>
                                            <p:tav tm="0">
                                              <p:val>
                                                <p:strVal val="0-#ppt_w/2"/>
                                              </p:val>
                                            </p:tav>
                                            <p:tav tm="100000">
                                              <p:val>
                                                <p:strVal val="#ppt_x"/>
                                              </p:val>
                                            </p:tav>
                                          </p:tavLst>
                                        </p:anim>
                                        <p:anim calcmode="lin" valueType="num" p14:bounceEnd="26000">
                                          <p:cBhvr additive="base">
                                            <p:cTn id="8" dur="500" fill="hold"/>
                                            <p:tgtEl>
                                              <p:spTgt spid="7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14:presetBounceEnd="26000">
                                      <p:stCondLst>
                                        <p:cond delay="0"/>
                                      </p:stCondLst>
                                      <p:childTnLst>
                                        <p:set>
                                          <p:cBhvr>
                                            <p:cTn id="11" dur="1" fill="hold">
                                              <p:stCondLst>
                                                <p:cond delay="0"/>
                                              </p:stCondLst>
                                            </p:cTn>
                                            <p:tgtEl>
                                              <p:spTgt spid="71"/>
                                            </p:tgtEl>
                                            <p:attrNameLst>
                                              <p:attrName>style.visibility</p:attrName>
                                            </p:attrNameLst>
                                          </p:cBhvr>
                                          <p:to>
                                            <p:strVal val="visible"/>
                                          </p:to>
                                        </p:set>
                                        <p:anim calcmode="lin" valueType="num" p14:bounceEnd="26000">
                                          <p:cBhvr additive="base">
                                            <p:cTn id="12" dur="500" fill="hold"/>
                                            <p:tgtEl>
                                              <p:spTgt spid="71"/>
                                            </p:tgtEl>
                                            <p:attrNameLst>
                                              <p:attrName>ppt_x</p:attrName>
                                            </p:attrNameLst>
                                          </p:cBhvr>
                                          <p:tavLst>
                                            <p:tav tm="0">
                                              <p:val>
                                                <p:strVal val="0-#ppt_w/2"/>
                                              </p:val>
                                            </p:tav>
                                            <p:tav tm="100000">
                                              <p:val>
                                                <p:strVal val="#ppt_x"/>
                                              </p:val>
                                            </p:tav>
                                          </p:tavLst>
                                        </p:anim>
                                        <p:anim calcmode="lin" valueType="num" p14:bounceEnd="26000">
                                          <p:cBhvr additive="base">
                                            <p:cTn id="13" dur="5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0-#ppt_w/2"/>
                                              </p:val>
                                            </p:tav>
                                            <p:tav tm="100000">
                                              <p:val>
                                                <p:strVal val="#ppt_x"/>
                                              </p:val>
                                            </p:tav>
                                          </p:tavLst>
                                        </p:anim>
                                        <p:anim calcmode="lin" valueType="num">
                                          <p:cBhvr additive="base">
                                            <p:cTn id="8" dur="500" fill="hold"/>
                                            <p:tgtEl>
                                              <p:spTgt spid="7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71"/>
                                            </p:tgtEl>
                                            <p:attrNameLst>
                                              <p:attrName>style.visibility</p:attrName>
                                            </p:attrNameLst>
                                          </p:cBhvr>
                                          <p:to>
                                            <p:strVal val="visible"/>
                                          </p:to>
                                        </p:set>
                                        <p:anim calcmode="lin" valueType="num">
                                          <p:cBhvr additive="base">
                                            <p:cTn id="12" dur="500" fill="hold"/>
                                            <p:tgtEl>
                                              <p:spTgt spid="71"/>
                                            </p:tgtEl>
                                            <p:attrNameLst>
                                              <p:attrName>ppt_x</p:attrName>
                                            </p:attrNameLst>
                                          </p:cBhvr>
                                          <p:tavLst>
                                            <p:tav tm="0">
                                              <p:val>
                                                <p:strVal val="0-#ppt_w/2"/>
                                              </p:val>
                                            </p:tav>
                                            <p:tav tm="100000">
                                              <p:val>
                                                <p:strVal val="#ppt_x"/>
                                              </p:val>
                                            </p:tav>
                                          </p:tavLst>
                                        </p:anim>
                                        <p:anim calcmode="lin" valueType="num">
                                          <p:cBhvr additive="base">
                                            <p:cTn id="13" dur="5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351B1DC4-5A26-4F39-8D27-7CB428EA231E}"/>
              </a:ext>
            </a:extLst>
          </p:cNvPr>
          <p:cNvGrpSpPr/>
          <p:nvPr/>
        </p:nvGrpSpPr>
        <p:grpSpPr>
          <a:xfrm>
            <a:off x="7805583" y="2986729"/>
            <a:ext cx="2222482" cy="2052034"/>
            <a:chOff x="4605076" y="3100830"/>
            <a:chExt cx="1867903" cy="1629936"/>
          </a:xfrm>
        </p:grpSpPr>
        <p:sp>
          <p:nvSpPr>
            <p:cNvPr id="16" name="Freeform 7">
              <a:extLst>
                <a:ext uri="{FF2B5EF4-FFF2-40B4-BE49-F238E27FC236}">
                  <a16:creationId xmlns:a16="http://schemas.microsoft.com/office/drawing/2014/main" id="{BF1CEAF1-4631-4E10-AE62-A35171F6E20F}"/>
                </a:ext>
              </a:extLst>
            </p:cNvPr>
            <p:cNvSpPr>
              <a:spLocks/>
            </p:cNvSpPr>
            <p:nvPr/>
          </p:nvSpPr>
          <p:spPr bwMode="auto">
            <a:xfrm>
              <a:off x="4605076" y="3100830"/>
              <a:ext cx="1867903" cy="1629936"/>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lumMod val="40000"/>
                <a:lumOff val="60000"/>
              </a:schemeClr>
            </a:solidFill>
            <a:ln w="19050">
              <a:solidFill>
                <a:schemeClr val="tx1"/>
              </a:solidFill>
              <a:round/>
              <a:headEnd/>
              <a:tailEnd/>
            </a:ln>
          </p:spPr>
          <p:txBody>
            <a:bodyPr/>
            <a:lstStyle/>
            <a:p>
              <a:endParaRPr lang="en-US"/>
            </a:p>
          </p:txBody>
        </p:sp>
        <p:sp>
          <p:nvSpPr>
            <p:cNvPr id="20" name="TextBox 19">
              <a:extLst>
                <a:ext uri="{FF2B5EF4-FFF2-40B4-BE49-F238E27FC236}">
                  <a16:creationId xmlns:a16="http://schemas.microsoft.com/office/drawing/2014/main" id="{6A3A870E-9374-459A-BF85-09DB73B89CEE}"/>
                </a:ext>
              </a:extLst>
            </p:cNvPr>
            <p:cNvSpPr txBox="1"/>
            <p:nvPr/>
          </p:nvSpPr>
          <p:spPr>
            <a:xfrm>
              <a:off x="4650064" y="3256993"/>
              <a:ext cx="1474470" cy="586723"/>
            </a:xfrm>
            <a:prstGeom prst="rect">
              <a:avLst/>
            </a:prstGeom>
            <a:noFill/>
          </p:spPr>
          <p:txBody>
            <a:bodyPr wrap="square">
              <a:spAutoFit/>
            </a:bodyPr>
            <a:lstStyle/>
            <a:p>
              <a:r>
                <a:rPr lang="fr-FR" sz="1400" b="0" i="0">
                  <a:effectLst/>
                  <a:latin typeface="Söhne"/>
                </a:rPr>
                <a:t>Pénurie de compétences en sécurité</a:t>
              </a:r>
              <a:endParaRPr lang="fr-FR" sz="1400"/>
            </a:p>
          </p:txBody>
        </p:sp>
      </p:grpSp>
      <p:grpSp>
        <p:nvGrpSpPr>
          <p:cNvPr id="33" name="Group 32">
            <a:extLst>
              <a:ext uri="{FF2B5EF4-FFF2-40B4-BE49-F238E27FC236}">
                <a16:creationId xmlns:a16="http://schemas.microsoft.com/office/drawing/2014/main" id="{D214E7C1-9339-4421-8669-00C7E34950D5}"/>
              </a:ext>
            </a:extLst>
          </p:cNvPr>
          <p:cNvGrpSpPr/>
          <p:nvPr/>
        </p:nvGrpSpPr>
        <p:grpSpPr>
          <a:xfrm>
            <a:off x="10028065" y="2986729"/>
            <a:ext cx="2335528" cy="2449453"/>
            <a:chOff x="6472979" y="3100830"/>
            <a:chExt cx="1962913" cy="1945607"/>
          </a:xfrm>
        </p:grpSpPr>
        <p:sp>
          <p:nvSpPr>
            <p:cNvPr id="13" name="Freeform 4">
              <a:extLst>
                <a:ext uri="{FF2B5EF4-FFF2-40B4-BE49-F238E27FC236}">
                  <a16:creationId xmlns:a16="http://schemas.microsoft.com/office/drawing/2014/main" id="{0B5ED453-C105-45F5-932C-FBE12B9B034D}"/>
                </a:ext>
              </a:extLst>
            </p:cNvPr>
            <p:cNvSpPr>
              <a:spLocks/>
            </p:cNvSpPr>
            <p:nvPr/>
          </p:nvSpPr>
          <p:spPr bwMode="auto">
            <a:xfrm>
              <a:off x="6472979" y="3100830"/>
              <a:ext cx="1859902" cy="1945607"/>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tx2"/>
            </a:solidFill>
            <a:ln w="19050">
              <a:solidFill>
                <a:schemeClr val="tx1"/>
              </a:solidFill>
              <a:round/>
              <a:headEnd/>
              <a:tailEnd/>
            </a:ln>
          </p:spPr>
          <p:txBody>
            <a:bodyPr/>
            <a:lstStyle/>
            <a:p>
              <a:endParaRPr lang="en-US"/>
            </a:p>
          </p:txBody>
        </p:sp>
        <p:sp>
          <p:nvSpPr>
            <p:cNvPr id="22" name="TextBox 21">
              <a:extLst>
                <a:ext uri="{FF2B5EF4-FFF2-40B4-BE49-F238E27FC236}">
                  <a16:creationId xmlns:a16="http://schemas.microsoft.com/office/drawing/2014/main" id="{F06D57E5-F6DC-4798-837A-96E40BA27D62}"/>
                </a:ext>
              </a:extLst>
            </p:cNvPr>
            <p:cNvSpPr txBox="1"/>
            <p:nvPr/>
          </p:nvSpPr>
          <p:spPr>
            <a:xfrm>
              <a:off x="7052862" y="3503214"/>
              <a:ext cx="1383030" cy="244468"/>
            </a:xfrm>
            <a:prstGeom prst="rect">
              <a:avLst/>
            </a:prstGeom>
            <a:noFill/>
          </p:spPr>
          <p:txBody>
            <a:bodyPr wrap="square">
              <a:spAutoFit/>
            </a:bodyPr>
            <a:lstStyle/>
            <a:p>
              <a:r>
                <a:rPr lang="fr-FR" sz="1400" b="0" i="0">
                  <a:effectLst/>
                  <a:latin typeface="Söhne"/>
                </a:rPr>
                <a:t>Coûts élevés </a:t>
              </a:r>
              <a:endParaRPr lang="fr-FR" sz="1400"/>
            </a:p>
          </p:txBody>
        </p:sp>
      </p:grpSp>
      <p:grpSp>
        <p:nvGrpSpPr>
          <p:cNvPr id="35" name="Group 34">
            <a:extLst>
              <a:ext uri="{FF2B5EF4-FFF2-40B4-BE49-F238E27FC236}">
                <a16:creationId xmlns:a16="http://schemas.microsoft.com/office/drawing/2014/main" id="{C9A4F3AC-6AA8-4A56-BC86-387AACC7E620}"/>
              </a:ext>
            </a:extLst>
          </p:cNvPr>
          <p:cNvGrpSpPr/>
          <p:nvPr/>
        </p:nvGrpSpPr>
        <p:grpSpPr>
          <a:xfrm>
            <a:off x="10018545" y="4939797"/>
            <a:ext cx="2345048" cy="2052034"/>
            <a:chOff x="6464978" y="4652157"/>
            <a:chExt cx="1970914" cy="1629936"/>
          </a:xfrm>
        </p:grpSpPr>
        <p:sp>
          <p:nvSpPr>
            <p:cNvPr id="14" name="Freeform 5">
              <a:extLst>
                <a:ext uri="{FF2B5EF4-FFF2-40B4-BE49-F238E27FC236}">
                  <a16:creationId xmlns:a16="http://schemas.microsoft.com/office/drawing/2014/main" id="{81AB309D-6160-4E6C-81C1-B9118DC70E5C}"/>
                </a:ext>
              </a:extLst>
            </p:cNvPr>
            <p:cNvSpPr>
              <a:spLocks/>
            </p:cNvSpPr>
            <p:nvPr/>
          </p:nvSpPr>
          <p:spPr bwMode="auto">
            <a:xfrm>
              <a:off x="6464978" y="4652157"/>
              <a:ext cx="1867903" cy="1629936"/>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lumMod val="20000"/>
                <a:lumOff val="80000"/>
              </a:schemeClr>
            </a:solidFill>
            <a:ln w="19050">
              <a:solidFill>
                <a:schemeClr val="tx1"/>
              </a:solidFill>
              <a:round/>
              <a:headEnd/>
              <a:tailEnd/>
            </a:ln>
          </p:spPr>
          <p:txBody>
            <a:bodyPr/>
            <a:lstStyle/>
            <a:p>
              <a:pPr>
                <a:defRPr/>
              </a:pPr>
              <a:endParaRPr lang="en-US"/>
            </a:p>
          </p:txBody>
        </p:sp>
        <p:sp>
          <p:nvSpPr>
            <p:cNvPr id="24" name="TextBox 23">
              <a:extLst>
                <a:ext uri="{FF2B5EF4-FFF2-40B4-BE49-F238E27FC236}">
                  <a16:creationId xmlns:a16="http://schemas.microsoft.com/office/drawing/2014/main" id="{53E65CEC-247A-4F32-A952-6E474A8E3D3F}"/>
                </a:ext>
              </a:extLst>
            </p:cNvPr>
            <p:cNvSpPr txBox="1"/>
            <p:nvPr/>
          </p:nvSpPr>
          <p:spPr>
            <a:xfrm>
              <a:off x="7154133" y="5205092"/>
              <a:ext cx="1281759" cy="415595"/>
            </a:xfrm>
            <a:prstGeom prst="rect">
              <a:avLst/>
            </a:prstGeom>
            <a:noFill/>
          </p:spPr>
          <p:txBody>
            <a:bodyPr wrap="square">
              <a:spAutoFit/>
            </a:bodyPr>
            <a:lstStyle/>
            <a:p>
              <a:r>
                <a:rPr lang="fr-FR" sz="1400" b="0" i="0">
                  <a:effectLst/>
                  <a:latin typeface="Söhne"/>
                </a:rPr>
                <a:t>Flexibilité et évolutivité</a:t>
              </a:r>
              <a:endParaRPr lang="fr-FR" sz="1400"/>
            </a:p>
          </p:txBody>
        </p:sp>
      </p:grpSp>
      <p:grpSp>
        <p:nvGrpSpPr>
          <p:cNvPr id="34" name="Group 33">
            <a:extLst>
              <a:ext uri="{FF2B5EF4-FFF2-40B4-BE49-F238E27FC236}">
                <a16:creationId xmlns:a16="http://schemas.microsoft.com/office/drawing/2014/main" id="{8812A161-C8CE-4931-B98F-813C8605BB0D}"/>
              </a:ext>
            </a:extLst>
          </p:cNvPr>
          <p:cNvGrpSpPr/>
          <p:nvPr/>
        </p:nvGrpSpPr>
        <p:grpSpPr>
          <a:xfrm>
            <a:off x="7805583" y="4542378"/>
            <a:ext cx="2212962" cy="2449453"/>
            <a:chOff x="4605076" y="4336486"/>
            <a:chExt cx="1859902" cy="1945607"/>
          </a:xfrm>
        </p:grpSpPr>
        <p:sp>
          <p:nvSpPr>
            <p:cNvPr id="15" name="Freeform 6">
              <a:extLst>
                <a:ext uri="{FF2B5EF4-FFF2-40B4-BE49-F238E27FC236}">
                  <a16:creationId xmlns:a16="http://schemas.microsoft.com/office/drawing/2014/main" id="{98CD6854-2338-44D9-84FC-F9957761374B}"/>
                </a:ext>
              </a:extLst>
            </p:cNvPr>
            <p:cNvSpPr>
              <a:spLocks/>
            </p:cNvSpPr>
            <p:nvPr/>
          </p:nvSpPr>
          <p:spPr bwMode="auto">
            <a:xfrm>
              <a:off x="4605076" y="4336486"/>
              <a:ext cx="1859902" cy="1945607"/>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2">
                <a:lumMod val="60000"/>
                <a:lumOff val="40000"/>
              </a:schemeClr>
            </a:solidFill>
            <a:ln w="19050">
              <a:solidFill>
                <a:schemeClr val="tx1"/>
              </a:solidFill>
              <a:round/>
              <a:headEnd/>
              <a:tailEnd/>
            </a:ln>
          </p:spPr>
          <p:txBody>
            <a:bodyPr/>
            <a:lstStyle/>
            <a:p>
              <a:pPr>
                <a:defRPr/>
              </a:pPr>
              <a:endParaRPr lang="en-US"/>
            </a:p>
          </p:txBody>
        </p:sp>
        <p:sp>
          <p:nvSpPr>
            <p:cNvPr id="26" name="TextBox 25">
              <a:extLst>
                <a:ext uri="{FF2B5EF4-FFF2-40B4-BE49-F238E27FC236}">
                  <a16:creationId xmlns:a16="http://schemas.microsoft.com/office/drawing/2014/main" id="{D7BF0C48-C5EA-49DD-BF03-9169E1CD681B}"/>
                </a:ext>
              </a:extLst>
            </p:cNvPr>
            <p:cNvSpPr txBox="1"/>
            <p:nvPr/>
          </p:nvSpPr>
          <p:spPr>
            <a:xfrm>
              <a:off x="4650064" y="5205092"/>
              <a:ext cx="1213128" cy="586723"/>
            </a:xfrm>
            <a:prstGeom prst="rect">
              <a:avLst/>
            </a:prstGeom>
            <a:noFill/>
          </p:spPr>
          <p:txBody>
            <a:bodyPr wrap="square">
              <a:spAutoFit/>
            </a:bodyPr>
            <a:lstStyle/>
            <a:p>
              <a:r>
                <a:rPr lang="fr-FR" sz="1400" b="0" i="0">
                  <a:effectLst/>
                  <a:latin typeface="Söhne"/>
                </a:rPr>
                <a:t>Accès à une expertise de pointe</a:t>
              </a:r>
              <a:endParaRPr lang="fr-FR" sz="1400"/>
            </a:p>
          </p:txBody>
        </p:sp>
      </p:grpSp>
      <p:sp>
        <p:nvSpPr>
          <p:cNvPr id="36" name="Rectangle: Rounded Corners 35">
            <a:extLst>
              <a:ext uri="{FF2B5EF4-FFF2-40B4-BE49-F238E27FC236}">
                <a16:creationId xmlns:a16="http://schemas.microsoft.com/office/drawing/2014/main" id="{7CAA98B2-BE3B-45CC-9537-E8820A07DD5F}"/>
              </a:ext>
            </a:extLst>
          </p:cNvPr>
          <p:cNvSpPr/>
          <p:nvPr/>
        </p:nvSpPr>
        <p:spPr bwMode="gray">
          <a:xfrm>
            <a:off x="1956296" y="1376738"/>
            <a:ext cx="11065354" cy="1017058"/>
          </a:xfrm>
          <a:prstGeom prst="roundRect">
            <a:avLst/>
          </a:prstGeom>
          <a:noFill/>
          <a:ln w="6350" algn="ctr">
            <a:solidFill>
              <a:schemeClr val="accent6">
                <a:lumMod val="20000"/>
                <a:lumOff val="80000"/>
              </a:schemeClr>
            </a:solidFill>
            <a:prstDash val="solid"/>
            <a:miter lim="800000"/>
            <a:headEnd/>
            <a:tailEnd/>
          </a:ln>
        </p:spPr>
        <p:txBody>
          <a:bodyPr wrap="square" lIns="88900" tIns="88900" rIns="88900" bIns="88900" rtlCol="0" anchor="ctr"/>
          <a:lstStyle/>
          <a:p>
            <a:pPr algn="just">
              <a:lnSpc>
                <a:spcPct val="106000"/>
              </a:lnSpc>
              <a:buFont typeface="Wingdings 2" pitchFamily="18" charset="2"/>
              <a:buNone/>
            </a:pPr>
            <a:r>
              <a:rPr lang="fr-FR" sz="1300" dirty="0"/>
              <a:t>La sécurité de l'information est devenue un enjeu crucial pour les entreprises face aux menaces de cybersécurité de plus en plus sophistiquées. Pour répondre à ce défi, le rôle </a:t>
            </a:r>
            <a:r>
              <a:rPr lang="fr-FR" sz="1300" b="1" dirty="0"/>
              <a:t>du Chief Information Security Officer (CISO) </a:t>
            </a:r>
            <a:r>
              <a:rPr lang="fr-FR" sz="1300" dirty="0"/>
              <a:t>est essentiel. En tant que responsable de la sécurité de l'information, le CISO joue un rôle clé dans la gestion des risques, la protection des actifs informatiques et la conformité aux normes de sécurité. Grâce à ses compétences spécialisées, le CISO aide les entreprises à faire face aux défis actuels et à maintenir un environnement numérique sûr et fiable.</a:t>
            </a:r>
          </a:p>
        </p:txBody>
      </p:sp>
      <p:sp>
        <p:nvSpPr>
          <p:cNvPr id="43" name="Rectangle: Rounded Corners 42">
            <a:extLst>
              <a:ext uri="{FF2B5EF4-FFF2-40B4-BE49-F238E27FC236}">
                <a16:creationId xmlns:a16="http://schemas.microsoft.com/office/drawing/2014/main" id="{8737B479-CBB4-469D-88A9-AC5D630D7E8D}"/>
              </a:ext>
            </a:extLst>
          </p:cNvPr>
          <p:cNvSpPr/>
          <p:nvPr/>
        </p:nvSpPr>
        <p:spPr bwMode="gray">
          <a:xfrm>
            <a:off x="418125" y="1376559"/>
            <a:ext cx="1439053" cy="1031775"/>
          </a:xfrm>
          <a:prstGeom prst="roundRect">
            <a:avLst/>
          </a:prstGeom>
          <a:solidFill>
            <a:srgbClr val="E5F7FF"/>
          </a:solidFill>
          <a:ln w="19050" algn="ctr">
            <a:solidFill>
              <a:srgbClr val="E5F7FF"/>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75000"/>
                    <a:lumOff val="25000"/>
                  </a:schemeClr>
                </a:solidFill>
              </a:rPr>
              <a:t>Contexte</a:t>
            </a:r>
          </a:p>
        </p:txBody>
      </p:sp>
      <p:sp>
        <p:nvSpPr>
          <p:cNvPr id="94" name="Rectangle 93">
            <a:extLst>
              <a:ext uri="{FF2B5EF4-FFF2-40B4-BE49-F238E27FC236}">
                <a16:creationId xmlns:a16="http://schemas.microsoft.com/office/drawing/2014/main" id="{408EEF9B-A6A1-4179-8906-5AD943E0384E}"/>
              </a:ext>
            </a:extLst>
          </p:cNvPr>
          <p:cNvSpPr/>
          <p:nvPr/>
        </p:nvSpPr>
        <p:spPr>
          <a:xfrm>
            <a:off x="9261563" y="4635337"/>
            <a:ext cx="1576958"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a:ln>
                  <a:noFill/>
                </a:ln>
                <a:solidFill>
                  <a:prstClr val="black"/>
                </a:solidFill>
                <a:effectLst/>
                <a:uLnTx/>
                <a:uFillTx/>
                <a:latin typeface="Calibri"/>
                <a:ea typeface="+mn-ea"/>
                <a:cs typeface="+mn-cs"/>
              </a:rPr>
              <a:t>Challen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a:ea typeface="+mn-ea"/>
                <a:cs typeface="+mn-cs"/>
              </a:rPr>
              <a:t>CISO</a:t>
            </a:r>
          </a:p>
        </p:txBody>
      </p:sp>
      <p:grpSp>
        <p:nvGrpSpPr>
          <p:cNvPr id="6" name="Groupe 5">
            <a:extLst>
              <a:ext uri="{FF2B5EF4-FFF2-40B4-BE49-F238E27FC236}">
                <a16:creationId xmlns:a16="http://schemas.microsoft.com/office/drawing/2014/main" id="{458D38F6-BE6E-4D56-A521-9E91581C746E}"/>
              </a:ext>
            </a:extLst>
          </p:cNvPr>
          <p:cNvGrpSpPr/>
          <p:nvPr/>
        </p:nvGrpSpPr>
        <p:grpSpPr>
          <a:xfrm>
            <a:off x="2119823" y="2653317"/>
            <a:ext cx="902019" cy="952711"/>
            <a:chOff x="2119823" y="2653317"/>
            <a:chExt cx="902019" cy="952711"/>
          </a:xfrm>
        </p:grpSpPr>
        <p:sp>
          <p:nvSpPr>
            <p:cNvPr id="127" name="Freeform 28">
              <a:extLst>
                <a:ext uri="{FF2B5EF4-FFF2-40B4-BE49-F238E27FC236}">
                  <a16:creationId xmlns:a16="http://schemas.microsoft.com/office/drawing/2014/main" id="{770717CF-D233-4474-8632-9420F9639673}"/>
                </a:ext>
              </a:extLst>
            </p:cNvPr>
            <p:cNvSpPr>
              <a:spLocks/>
            </p:cNvSpPr>
            <p:nvPr/>
          </p:nvSpPr>
          <p:spPr bwMode="auto">
            <a:xfrm rot="1272724">
              <a:off x="2119823" y="2653317"/>
              <a:ext cx="902019" cy="952711"/>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7">
              <a:extLst>
                <a:ext uri="{FF2B5EF4-FFF2-40B4-BE49-F238E27FC236}">
                  <a16:creationId xmlns:a16="http://schemas.microsoft.com/office/drawing/2014/main" id="{E7FBE6AA-F62E-4E70-BD35-8A8D54932A4F}"/>
                </a:ext>
              </a:extLst>
            </p:cNvPr>
            <p:cNvSpPr>
              <a:spLocks noChangeArrowheads="1"/>
            </p:cNvSpPr>
            <p:nvPr/>
          </p:nvSpPr>
          <p:spPr bwMode="auto">
            <a:xfrm rot="1272724">
              <a:off x="2306028" y="2836019"/>
              <a:ext cx="542702" cy="541211"/>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8">
              <a:extLst>
                <a:ext uri="{FF2B5EF4-FFF2-40B4-BE49-F238E27FC236}">
                  <a16:creationId xmlns:a16="http://schemas.microsoft.com/office/drawing/2014/main" id="{16CCE0A8-AFB8-4B48-AF4D-812F7E3FA4AB}"/>
                </a:ext>
              </a:extLst>
            </p:cNvPr>
            <p:cNvSpPr>
              <a:spLocks noChangeArrowheads="1"/>
            </p:cNvSpPr>
            <p:nvPr/>
          </p:nvSpPr>
          <p:spPr bwMode="auto">
            <a:xfrm rot="6466351">
              <a:off x="2314703" y="2844913"/>
              <a:ext cx="524811" cy="5248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1">
              <a:extLst>
                <a:ext uri="{FF2B5EF4-FFF2-40B4-BE49-F238E27FC236}">
                  <a16:creationId xmlns:a16="http://schemas.microsoft.com/office/drawing/2014/main" id="{33A46E08-17D9-4964-A556-3DF094D12F56}"/>
                </a:ext>
              </a:extLst>
            </p:cNvPr>
            <p:cNvSpPr>
              <a:spLocks noEditPoints="1"/>
            </p:cNvSpPr>
            <p:nvPr/>
          </p:nvSpPr>
          <p:spPr bwMode="auto">
            <a:xfrm rot="4900851">
              <a:off x="2469235" y="2977883"/>
              <a:ext cx="216186" cy="220659"/>
            </a:xfrm>
            <a:custGeom>
              <a:avLst/>
              <a:gdLst>
                <a:gd name="T0" fmla="*/ 51 w 51"/>
                <a:gd name="T1" fmla="*/ 48 h 52"/>
                <a:gd name="T2" fmla="*/ 33 w 51"/>
                <a:gd name="T3" fmla="*/ 31 h 52"/>
                <a:gd name="T4" fmla="*/ 38 w 51"/>
                <a:gd name="T5" fmla="*/ 19 h 52"/>
                <a:gd name="T6" fmla="*/ 19 w 51"/>
                <a:gd name="T7" fmla="*/ 0 h 52"/>
                <a:gd name="T8" fmla="*/ 0 w 51"/>
                <a:gd name="T9" fmla="*/ 19 h 52"/>
                <a:gd name="T10" fmla="*/ 19 w 51"/>
                <a:gd name="T11" fmla="*/ 38 h 52"/>
                <a:gd name="T12" fmla="*/ 31 w 51"/>
                <a:gd name="T13" fmla="*/ 34 h 52"/>
                <a:gd name="T14" fmla="*/ 48 w 51"/>
                <a:gd name="T15" fmla="*/ 51 h 52"/>
                <a:gd name="T16" fmla="*/ 49 w 51"/>
                <a:gd name="T17" fmla="*/ 52 h 52"/>
                <a:gd name="T18" fmla="*/ 51 w 51"/>
                <a:gd name="T19" fmla="*/ 51 h 52"/>
                <a:gd name="T20" fmla="*/ 51 w 51"/>
                <a:gd name="T21" fmla="*/ 48 h 52"/>
                <a:gd name="T22" fmla="*/ 19 w 51"/>
                <a:gd name="T23" fmla="*/ 34 h 52"/>
                <a:gd name="T24" fmla="*/ 3 w 51"/>
                <a:gd name="T25" fmla="*/ 19 h 52"/>
                <a:gd name="T26" fmla="*/ 19 w 51"/>
                <a:gd name="T27" fmla="*/ 4 h 52"/>
                <a:gd name="T28" fmla="*/ 34 w 51"/>
                <a:gd name="T29" fmla="*/ 19 h 52"/>
                <a:gd name="T30" fmla="*/ 19 w 51"/>
                <a:gd name="T31"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52">
                  <a:moveTo>
                    <a:pt x="51" y="48"/>
                  </a:moveTo>
                  <a:cubicBezTo>
                    <a:pt x="33" y="31"/>
                    <a:pt x="33" y="31"/>
                    <a:pt x="33" y="31"/>
                  </a:cubicBezTo>
                  <a:cubicBezTo>
                    <a:pt x="36" y="28"/>
                    <a:pt x="38" y="24"/>
                    <a:pt x="38" y="19"/>
                  </a:cubicBezTo>
                  <a:cubicBezTo>
                    <a:pt x="38" y="9"/>
                    <a:pt x="29" y="0"/>
                    <a:pt x="19" y="0"/>
                  </a:cubicBezTo>
                  <a:cubicBezTo>
                    <a:pt x="8" y="0"/>
                    <a:pt x="0" y="9"/>
                    <a:pt x="0" y="19"/>
                  </a:cubicBezTo>
                  <a:cubicBezTo>
                    <a:pt x="0" y="30"/>
                    <a:pt x="8" y="38"/>
                    <a:pt x="19" y="38"/>
                  </a:cubicBezTo>
                  <a:cubicBezTo>
                    <a:pt x="23" y="38"/>
                    <a:pt x="27" y="37"/>
                    <a:pt x="31" y="34"/>
                  </a:cubicBezTo>
                  <a:cubicBezTo>
                    <a:pt x="48" y="51"/>
                    <a:pt x="48" y="51"/>
                    <a:pt x="48" y="51"/>
                  </a:cubicBezTo>
                  <a:cubicBezTo>
                    <a:pt x="48" y="51"/>
                    <a:pt x="49" y="52"/>
                    <a:pt x="49" y="52"/>
                  </a:cubicBezTo>
                  <a:cubicBezTo>
                    <a:pt x="50" y="52"/>
                    <a:pt x="50" y="51"/>
                    <a:pt x="51" y="51"/>
                  </a:cubicBezTo>
                  <a:cubicBezTo>
                    <a:pt x="51" y="50"/>
                    <a:pt x="51" y="49"/>
                    <a:pt x="51" y="48"/>
                  </a:cubicBezTo>
                  <a:close/>
                  <a:moveTo>
                    <a:pt x="19" y="34"/>
                  </a:moveTo>
                  <a:cubicBezTo>
                    <a:pt x="10" y="34"/>
                    <a:pt x="3" y="28"/>
                    <a:pt x="3" y="19"/>
                  </a:cubicBezTo>
                  <a:cubicBezTo>
                    <a:pt x="3" y="11"/>
                    <a:pt x="10" y="4"/>
                    <a:pt x="19" y="4"/>
                  </a:cubicBezTo>
                  <a:cubicBezTo>
                    <a:pt x="27" y="4"/>
                    <a:pt x="34" y="11"/>
                    <a:pt x="34" y="19"/>
                  </a:cubicBezTo>
                  <a:cubicBezTo>
                    <a:pt x="34" y="28"/>
                    <a:pt x="27" y="34"/>
                    <a:pt x="19" y="34"/>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e 6">
            <a:extLst>
              <a:ext uri="{FF2B5EF4-FFF2-40B4-BE49-F238E27FC236}">
                <a16:creationId xmlns:a16="http://schemas.microsoft.com/office/drawing/2014/main" id="{FEEF3E81-AFA9-4E2B-B0CD-1775B5F377BE}"/>
              </a:ext>
            </a:extLst>
          </p:cNvPr>
          <p:cNvGrpSpPr/>
          <p:nvPr/>
        </p:nvGrpSpPr>
        <p:grpSpPr>
          <a:xfrm>
            <a:off x="2869938" y="3526712"/>
            <a:ext cx="910965" cy="906491"/>
            <a:chOff x="2869938" y="3526712"/>
            <a:chExt cx="910965" cy="906491"/>
          </a:xfrm>
        </p:grpSpPr>
        <p:sp>
          <p:nvSpPr>
            <p:cNvPr id="126" name="Freeform 27">
              <a:extLst>
                <a:ext uri="{FF2B5EF4-FFF2-40B4-BE49-F238E27FC236}">
                  <a16:creationId xmlns:a16="http://schemas.microsoft.com/office/drawing/2014/main" id="{9B58E1F1-4B4D-4B29-A39E-65D8935C2EAE}"/>
                </a:ext>
              </a:extLst>
            </p:cNvPr>
            <p:cNvSpPr>
              <a:spLocks/>
            </p:cNvSpPr>
            <p:nvPr/>
          </p:nvSpPr>
          <p:spPr bwMode="auto">
            <a:xfrm rot="268857">
              <a:off x="2869938" y="3526712"/>
              <a:ext cx="910965" cy="906491"/>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35">
              <a:extLst>
                <a:ext uri="{FF2B5EF4-FFF2-40B4-BE49-F238E27FC236}">
                  <a16:creationId xmlns:a16="http://schemas.microsoft.com/office/drawing/2014/main" id="{94D759F8-D9A4-456F-B72C-E2532018770F}"/>
                </a:ext>
              </a:extLst>
            </p:cNvPr>
            <p:cNvSpPr>
              <a:spLocks noChangeArrowheads="1"/>
            </p:cNvSpPr>
            <p:nvPr/>
          </p:nvSpPr>
          <p:spPr bwMode="auto">
            <a:xfrm rot="268857">
              <a:off x="3046915" y="3717010"/>
              <a:ext cx="542702" cy="536738"/>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6">
              <a:extLst>
                <a:ext uri="{FF2B5EF4-FFF2-40B4-BE49-F238E27FC236}">
                  <a16:creationId xmlns:a16="http://schemas.microsoft.com/office/drawing/2014/main" id="{1A60FE1F-64DB-439B-91CA-BD3C887E9463}"/>
                </a:ext>
              </a:extLst>
            </p:cNvPr>
            <p:cNvSpPr>
              <a:spLocks noChangeArrowheads="1"/>
            </p:cNvSpPr>
            <p:nvPr/>
          </p:nvSpPr>
          <p:spPr bwMode="auto">
            <a:xfrm rot="13811703">
              <a:off x="3055861" y="3724465"/>
              <a:ext cx="524811" cy="5218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2">
              <a:extLst>
                <a:ext uri="{FF2B5EF4-FFF2-40B4-BE49-F238E27FC236}">
                  <a16:creationId xmlns:a16="http://schemas.microsoft.com/office/drawing/2014/main" id="{7AEA8705-6D56-4C09-AEBD-F47AD9216469}"/>
                </a:ext>
              </a:extLst>
            </p:cNvPr>
            <p:cNvSpPr>
              <a:spLocks noEditPoints="1"/>
            </p:cNvSpPr>
            <p:nvPr/>
          </p:nvSpPr>
          <p:spPr bwMode="auto">
            <a:xfrm>
              <a:off x="3228144" y="3835234"/>
              <a:ext cx="193822" cy="241532"/>
            </a:xfrm>
            <a:custGeom>
              <a:avLst/>
              <a:gdLst>
                <a:gd name="T0" fmla="*/ 42 w 46"/>
                <a:gd name="T1" fmla="*/ 46 h 57"/>
                <a:gd name="T2" fmla="*/ 40 w 46"/>
                <a:gd name="T3" fmla="*/ 38 h 57"/>
                <a:gd name="T4" fmla="*/ 44 w 46"/>
                <a:gd name="T5" fmla="*/ 21 h 57"/>
                <a:gd name="T6" fmla="*/ 2 w 46"/>
                <a:gd name="T7" fmla="*/ 21 h 57"/>
                <a:gd name="T8" fmla="*/ 2 w 46"/>
                <a:gd name="T9" fmla="*/ 38 h 57"/>
                <a:gd name="T10" fmla="*/ 0 w 46"/>
                <a:gd name="T11" fmla="*/ 48 h 57"/>
                <a:gd name="T12" fmla="*/ 4 w 46"/>
                <a:gd name="T13" fmla="*/ 50 h 57"/>
                <a:gd name="T14" fmla="*/ 6 w 46"/>
                <a:gd name="T15" fmla="*/ 57 h 57"/>
                <a:gd name="T16" fmla="*/ 46 w 46"/>
                <a:gd name="T17" fmla="*/ 55 h 57"/>
                <a:gd name="T18" fmla="*/ 44 w 46"/>
                <a:gd name="T19" fmla="*/ 46 h 57"/>
                <a:gd name="T20" fmla="*/ 34 w 46"/>
                <a:gd name="T21" fmla="*/ 46 h 57"/>
                <a:gd name="T22" fmla="*/ 38 w 46"/>
                <a:gd name="T23" fmla="*/ 42 h 57"/>
                <a:gd name="T24" fmla="*/ 38 w 46"/>
                <a:gd name="T25" fmla="*/ 46 h 57"/>
                <a:gd name="T26" fmla="*/ 12 w 46"/>
                <a:gd name="T27" fmla="*/ 42 h 57"/>
                <a:gd name="T28" fmla="*/ 15 w 46"/>
                <a:gd name="T29" fmla="*/ 46 h 57"/>
                <a:gd name="T30" fmla="*/ 12 w 46"/>
                <a:gd name="T31" fmla="*/ 46 h 57"/>
                <a:gd name="T32" fmla="*/ 19 w 46"/>
                <a:gd name="T33" fmla="*/ 42 h 57"/>
                <a:gd name="T34" fmla="*/ 23 w 46"/>
                <a:gd name="T35" fmla="*/ 46 h 57"/>
                <a:gd name="T36" fmla="*/ 19 w 46"/>
                <a:gd name="T37" fmla="*/ 46 h 57"/>
                <a:gd name="T38" fmla="*/ 31 w 46"/>
                <a:gd name="T39" fmla="*/ 42 h 57"/>
                <a:gd name="T40" fmla="*/ 27 w 46"/>
                <a:gd name="T41" fmla="*/ 46 h 57"/>
                <a:gd name="T42" fmla="*/ 27 w 46"/>
                <a:gd name="T43" fmla="*/ 42 h 57"/>
                <a:gd name="T44" fmla="*/ 34 w 46"/>
                <a:gd name="T45" fmla="*/ 53 h 57"/>
                <a:gd name="T46" fmla="*/ 31 w 46"/>
                <a:gd name="T47" fmla="*/ 50 h 57"/>
                <a:gd name="T48" fmla="*/ 34 w 46"/>
                <a:gd name="T49" fmla="*/ 50 h 57"/>
                <a:gd name="T50" fmla="*/ 23 w 46"/>
                <a:gd name="T51" fmla="*/ 4 h 57"/>
                <a:gd name="T52" fmla="*/ 23 w 46"/>
                <a:gd name="T53" fmla="*/ 38 h 57"/>
                <a:gd name="T54" fmla="*/ 4 w 46"/>
                <a:gd name="T55" fmla="*/ 42 h 57"/>
                <a:gd name="T56" fmla="*/ 8 w 46"/>
                <a:gd name="T57" fmla="*/ 46 h 57"/>
                <a:gd name="T58" fmla="*/ 4 w 46"/>
                <a:gd name="T59" fmla="*/ 46 h 57"/>
                <a:gd name="T60" fmla="*/ 4 w 46"/>
                <a:gd name="T61" fmla="*/ 42 h 57"/>
                <a:gd name="T62" fmla="*/ 12 w 46"/>
                <a:gd name="T63" fmla="*/ 50 h 57"/>
                <a:gd name="T64" fmla="*/ 8 w 46"/>
                <a:gd name="T65" fmla="*/ 53 h 57"/>
                <a:gd name="T66" fmla="*/ 8 w 46"/>
                <a:gd name="T67" fmla="*/ 50 h 57"/>
                <a:gd name="T68" fmla="*/ 15 w 46"/>
                <a:gd name="T69" fmla="*/ 50 h 57"/>
                <a:gd name="T70" fmla="*/ 19 w 46"/>
                <a:gd name="T71" fmla="*/ 53 h 57"/>
                <a:gd name="T72" fmla="*/ 15 w 46"/>
                <a:gd name="T73" fmla="*/ 53 h 57"/>
                <a:gd name="T74" fmla="*/ 27 w 46"/>
                <a:gd name="T75" fmla="*/ 50 h 57"/>
                <a:gd name="T76" fmla="*/ 23 w 46"/>
                <a:gd name="T77" fmla="*/ 53 h 57"/>
                <a:gd name="T78" fmla="*/ 23 w 46"/>
                <a:gd name="T79" fmla="*/ 50 h 57"/>
                <a:gd name="T80" fmla="*/ 38 w 46"/>
                <a:gd name="T81" fmla="*/ 53 h 57"/>
                <a:gd name="T82" fmla="*/ 40 w 46"/>
                <a:gd name="T83" fmla="*/ 50 h 57"/>
                <a:gd name="T84" fmla="*/ 42 w 46"/>
                <a:gd name="T85" fmla="*/ 53 h 57"/>
                <a:gd name="T86" fmla="*/ 23 w 46"/>
                <a:gd name="T87" fmla="*/ 30 h 57"/>
                <a:gd name="T88" fmla="*/ 17 w 46"/>
                <a:gd name="T89" fmla="*/ 29 h 57"/>
                <a:gd name="T90" fmla="*/ 20 w 46"/>
                <a:gd name="T91" fmla="*/ 27 h 57"/>
                <a:gd name="T92" fmla="*/ 24 w 46"/>
                <a:gd name="T93" fmla="*/ 27 h 57"/>
                <a:gd name="T94" fmla="*/ 25 w 46"/>
                <a:gd name="T95" fmla="*/ 24 h 57"/>
                <a:gd name="T96" fmla="*/ 22 w 46"/>
                <a:gd name="T97" fmla="*/ 22 h 57"/>
                <a:gd name="T98" fmla="*/ 18 w 46"/>
                <a:gd name="T99" fmla="*/ 19 h 57"/>
                <a:gd name="T100" fmla="*/ 19 w 46"/>
                <a:gd name="T101" fmla="*/ 13 h 57"/>
                <a:gd name="T102" fmla="*/ 23 w 46"/>
                <a:gd name="T103" fmla="*/ 10 h 57"/>
                <a:gd name="T104" fmla="*/ 25 w 46"/>
                <a:gd name="T105" fmla="*/ 12 h 57"/>
                <a:gd name="T106" fmla="*/ 29 w 46"/>
                <a:gd name="T107" fmla="*/ 13 h 57"/>
                <a:gd name="T108" fmla="*/ 25 w 46"/>
                <a:gd name="T109" fmla="*/ 15 h 57"/>
                <a:gd name="T110" fmla="*/ 22 w 46"/>
                <a:gd name="T111" fmla="*/ 16 h 57"/>
                <a:gd name="T112" fmla="*/ 21 w 46"/>
                <a:gd name="T113" fmla="*/ 18 h 57"/>
                <a:gd name="T114" fmla="*/ 24 w 46"/>
                <a:gd name="T115" fmla="*/ 20 h 57"/>
                <a:gd name="T116" fmla="*/ 29 w 46"/>
                <a:gd name="T117" fmla="*/ 25 h 57"/>
                <a:gd name="T118" fmla="*/ 25 w 46"/>
                <a:gd name="T119" fmla="*/ 30 h 57"/>
                <a:gd name="T120" fmla="*/ 23 w 46"/>
                <a:gd name="T121" fmla="*/ 32 h 57"/>
                <a:gd name="T122" fmla="*/ 23 w 46"/>
                <a:gd name="T123"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 h="57">
                  <a:moveTo>
                    <a:pt x="44" y="46"/>
                  </a:moveTo>
                  <a:cubicBezTo>
                    <a:pt x="42" y="46"/>
                    <a:pt x="42" y="46"/>
                    <a:pt x="42" y="46"/>
                  </a:cubicBezTo>
                  <a:cubicBezTo>
                    <a:pt x="42" y="40"/>
                    <a:pt x="42" y="40"/>
                    <a:pt x="42" y="40"/>
                  </a:cubicBezTo>
                  <a:cubicBezTo>
                    <a:pt x="42" y="39"/>
                    <a:pt x="41" y="38"/>
                    <a:pt x="40" y="38"/>
                  </a:cubicBezTo>
                  <a:cubicBezTo>
                    <a:pt x="35" y="38"/>
                    <a:pt x="35" y="38"/>
                    <a:pt x="35" y="38"/>
                  </a:cubicBezTo>
                  <a:cubicBezTo>
                    <a:pt x="40" y="34"/>
                    <a:pt x="44" y="28"/>
                    <a:pt x="44" y="21"/>
                  </a:cubicBezTo>
                  <a:cubicBezTo>
                    <a:pt x="44" y="9"/>
                    <a:pt x="35" y="0"/>
                    <a:pt x="23" y="0"/>
                  </a:cubicBezTo>
                  <a:cubicBezTo>
                    <a:pt x="11" y="0"/>
                    <a:pt x="2" y="9"/>
                    <a:pt x="2" y="21"/>
                  </a:cubicBezTo>
                  <a:cubicBezTo>
                    <a:pt x="2" y="28"/>
                    <a:pt x="6" y="34"/>
                    <a:pt x="11" y="38"/>
                  </a:cubicBezTo>
                  <a:cubicBezTo>
                    <a:pt x="2" y="38"/>
                    <a:pt x="2" y="38"/>
                    <a:pt x="2" y="38"/>
                  </a:cubicBezTo>
                  <a:cubicBezTo>
                    <a:pt x="1" y="38"/>
                    <a:pt x="0" y="39"/>
                    <a:pt x="0" y="40"/>
                  </a:cubicBezTo>
                  <a:cubicBezTo>
                    <a:pt x="0" y="48"/>
                    <a:pt x="0" y="48"/>
                    <a:pt x="0" y="48"/>
                  </a:cubicBezTo>
                  <a:cubicBezTo>
                    <a:pt x="0" y="49"/>
                    <a:pt x="1" y="50"/>
                    <a:pt x="2" y="50"/>
                  </a:cubicBezTo>
                  <a:cubicBezTo>
                    <a:pt x="4" y="50"/>
                    <a:pt x="4" y="50"/>
                    <a:pt x="4" y="50"/>
                  </a:cubicBezTo>
                  <a:cubicBezTo>
                    <a:pt x="4" y="55"/>
                    <a:pt x="4" y="55"/>
                    <a:pt x="4" y="55"/>
                  </a:cubicBezTo>
                  <a:cubicBezTo>
                    <a:pt x="4" y="56"/>
                    <a:pt x="5" y="57"/>
                    <a:pt x="6" y="57"/>
                  </a:cubicBezTo>
                  <a:cubicBezTo>
                    <a:pt x="44" y="57"/>
                    <a:pt x="44" y="57"/>
                    <a:pt x="44" y="57"/>
                  </a:cubicBezTo>
                  <a:cubicBezTo>
                    <a:pt x="45" y="57"/>
                    <a:pt x="46" y="56"/>
                    <a:pt x="46" y="55"/>
                  </a:cubicBezTo>
                  <a:cubicBezTo>
                    <a:pt x="46" y="48"/>
                    <a:pt x="46" y="48"/>
                    <a:pt x="46" y="48"/>
                  </a:cubicBezTo>
                  <a:cubicBezTo>
                    <a:pt x="46" y="47"/>
                    <a:pt x="45" y="46"/>
                    <a:pt x="44" y="46"/>
                  </a:cubicBezTo>
                  <a:close/>
                  <a:moveTo>
                    <a:pt x="38" y="46"/>
                  </a:moveTo>
                  <a:cubicBezTo>
                    <a:pt x="34" y="46"/>
                    <a:pt x="34" y="46"/>
                    <a:pt x="34" y="46"/>
                  </a:cubicBezTo>
                  <a:cubicBezTo>
                    <a:pt x="34" y="42"/>
                    <a:pt x="34" y="42"/>
                    <a:pt x="34" y="42"/>
                  </a:cubicBezTo>
                  <a:cubicBezTo>
                    <a:pt x="38" y="42"/>
                    <a:pt x="38" y="42"/>
                    <a:pt x="38" y="42"/>
                  </a:cubicBezTo>
                  <a:cubicBezTo>
                    <a:pt x="38" y="46"/>
                    <a:pt x="38" y="46"/>
                    <a:pt x="38" y="46"/>
                  </a:cubicBezTo>
                  <a:cubicBezTo>
                    <a:pt x="38" y="46"/>
                    <a:pt x="38" y="46"/>
                    <a:pt x="38" y="46"/>
                  </a:cubicBezTo>
                  <a:close/>
                  <a:moveTo>
                    <a:pt x="12" y="46"/>
                  </a:moveTo>
                  <a:cubicBezTo>
                    <a:pt x="12" y="42"/>
                    <a:pt x="12" y="42"/>
                    <a:pt x="12" y="42"/>
                  </a:cubicBezTo>
                  <a:cubicBezTo>
                    <a:pt x="15" y="42"/>
                    <a:pt x="15" y="42"/>
                    <a:pt x="15" y="42"/>
                  </a:cubicBezTo>
                  <a:cubicBezTo>
                    <a:pt x="15" y="46"/>
                    <a:pt x="15" y="46"/>
                    <a:pt x="15" y="46"/>
                  </a:cubicBezTo>
                  <a:cubicBezTo>
                    <a:pt x="12" y="46"/>
                    <a:pt x="12" y="46"/>
                    <a:pt x="12" y="46"/>
                  </a:cubicBezTo>
                  <a:cubicBezTo>
                    <a:pt x="12" y="46"/>
                    <a:pt x="12" y="46"/>
                    <a:pt x="12" y="46"/>
                  </a:cubicBezTo>
                  <a:close/>
                  <a:moveTo>
                    <a:pt x="19" y="46"/>
                  </a:moveTo>
                  <a:cubicBezTo>
                    <a:pt x="19" y="42"/>
                    <a:pt x="19" y="42"/>
                    <a:pt x="19" y="42"/>
                  </a:cubicBezTo>
                  <a:cubicBezTo>
                    <a:pt x="23" y="42"/>
                    <a:pt x="23" y="42"/>
                    <a:pt x="23" y="42"/>
                  </a:cubicBezTo>
                  <a:cubicBezTo>
                    <a:pt x="23" y="46"/>
                    <a:pt x="23" y="46"/>
                    <a:pt x="23" y="46"/>
                  </a:cubicBezTo>
                  <a:cubicBezTo>
                    <a:pt x="19" y="46"/>
                    <a:pt x="19" y="46"/>
                    <a:pt x="19" y="46"/>
                  </a:cubicBezTo>
                  <a:cubicBezTo>
                    <a:pt x="19" y="46"/>
                    <a:pt x="19" y="46"/>
                    <a:pt x="19" y="46"/>
                  </a:cubicBezTo>
                  <a:close/>
                  <a:moveTo>
                    <a:pt x="27" y="42"/>
                  </a:moveTo>
                  <a:cubicBezTo>
                    <a:pt x="31" y="42"/>
                    <a:pt x="31" y="42"/>
                    <a:pt x="31" y="42"/>
                  </a:cubicBezTo>
                  <a:cubicBezTo>
                    <a:pt x="31" y="46"/>
                    <a:pt x="31" y="46"/>
                    <a:pt x="31" y="46"/>
                  </a:cubicBezTo>
                  <a:cubicBezTo>
                    <a:pt x="27" y="46"/>
                    <a:pt x="27" y="46"/>
                    <a:pt x="27" y="46"/>
                  </a:cubicBezTo>
                  <a:cubicBezTo>
                    <a:pt x="27" y="42"/>
                    <a:pt x="27" y="42"/>
                    <a:pt x="27" y="42"/>
                  </a:cubicBezTo>
                  <a:cubicBezTo>
                    <a:pt x="27" y="42"/>
                    <a:pt x="27" y="42"/>
                    <a:pt x="27" y="42"/>
                  </a:cubicBezTo>
                  <a:close/>
                  <a:moveTo>
                    <a:pt x="34" y="50"/>
                  </a:moveTo>
                  <a:cubicBezTo>
                    <a:pt x="34" y="53"/>
                    <a:pt x="34" y="53"/>
                    <a:pt x="34" y="53"/>
                  </a:cubicBezTo>
                  <a:cubicBezTo>
                    <a:pt x="31" y="53"/>
                    <a:pt x="31" y="53"/>
                    <a:pt x="31" y="53"/>
                  </a:cubicBezTo>
                  <a:cubicBezTo>
                    <a:pt x="31" y="50"/>
                    <a:pt x="31" y="50"/>
                    <a:pt x="31" y="50"/>
                  </a:cubicBezTo>
                  <a:cubicBezTo>
                    <a:pt x="34" y="50"/>
                    <a:pt x="34" y="50"/>
                    <a:pt x="34" y="50"/>
                  </a:cubicBezTo>
                  <a:cubicBezTo>
                    <a:pt x="34" y="50"/>
                    <a:pt x="34" y="50"/>
                    <a:pt x="34" y="50"/>
                  </a:cubicBezTo>
                  <a:close/>
                  <a:moveTo>
                    <a:pt x="6" y="21"/>
                  </a:moveTo>
                  <a:cubicBezTo>
                    <a:pt x="6" y="12"/>
                    <a:pt x="14" y="4"/>
                    <a:pt x="23" y="4"/>
                  </a:cubicBezTo>
                  <a:cubicBezTo>
                    <a:pt x="32" y="4"/>
                    <a:pt x="40" y="12"/>
                    <a:pt x="40" y="21"/>
                  </a:cubicBezTo>
                  <a:cubicBezTo>
                    <a:pt x="40" y="30"/>
                    <a:pt x="32" y="38"/>
                    <a:pt x="23" y="38"/>
                  </a:cubicBezTo>
                  <a:cubicBezTo>
                    <a:pt x="14" y="38"/>
                    <a:pt x="6" y="30"/>
                    <a:pt x="6" y="21"/>
                  </a:cubicBezTo>
                  <a:close/>
                  <a:moveTo>
                    <a:pt x="4" y="42"/>
                  </a:moveTo>
                  <a:cubicBezTo>
                    <a:pt x="8" y="42"/>
                    <a:pt x="8" y="42"/>
                    <a:pt x="8" y="42"/>
                  </a:cubicBezTo>
                  <a:cubicBezTo>
                    <a:pt x="8" y="46"/>
                    <a:pt x="8" y="46"/>
                    <a:pt x="8" y="46"/>
                  </a:cubicBezTo>
                  <a:cubicBezTo>
                    <a:pt x="6" y="46"/>
                    <a:pt x="6" y="46"/>
                    <a:pt x="6" y="46"/>
                  </a:cubicBezTo>
                  <a:cubicBezTo>
                    <a:pt x="4" y="46"/>
                    <a:pt x="4" y="46"/>
                    <a:pt x="4" y="46"/>
                  </a:cubicBezTo>
                  <a:cubicBezTo>
                    <a:pt x="4" y="42"/>
                    <a:pt x="4" y="42"/>
                    <a:pt x="4" y="42"/>
                  </a:cubicBezTo>
                  <a:cubicBezTo>
                    <a:pt x="4" y="42"/>
                    <a:pt x="4" y="42"/>
                    <a:pt x="4" y="42"/>
                  </a:cubicBezTo>
                  <a:close/>
                  <a:moveTo>
                    <a:pt x="8" y="50"/>
                  </a:moveTo>
                  <a:cubicBezTo>
                    <a:pt x="12" y="50"/>
                    <a:pt x="12" y="50"/>
                    <a:pt x="12" y="50"/>
                  </a:cubicBezTo>
                  <a:cubicBezTo>
                    <a:pt x="12" y="53"/>
                    <a:pt x="12" y="53"/>
                    <a:pt x="12" y="53"/>
                  </a:cubicBezTo>
                  <a:cubicBezTo>
                    <a:pt x="8" y="53"/>
                    <a:pt x="8" y="53"/>
                    <a:pt x="8" y="53"/>
                  </a:cubicBezTo>
                  <a:cubicBezTo>
                    <a:pt x="8" y="50"/>
                    <a:pt x="8" y="50"/>
                    <a:pt x="8" y="50"/>
                  </a:cubicBezTo>
                  <a:cubicBezTo>
                    <a:pt x="8" y="50"/>
                    <a:pt x="8" y="50"/>
                    <a:pt x="8" y="50"/>
                  </a:cubicBezTo>
                  <a:close/>
                  <a:moveTo>
                    <a:pt x="15" y="53"/>
                  </a:moveTo>
                  <a:cubicBezTo>
                    <a:pt x="15" y="50"/>
                    <a:pt x="15" y="50"/>
                    <a:pt x="15" y="50"/>
                  </a:cubicBezTo>
                  <a:cubicBezTo>
                    <a:pt x="19" y="50"/>
                    <a:pt x="19" y="50"/>
                    <a:pt x="19" y="50"/>
                  </a:cubicBezTo>
                  <a:cubicBezTo>
                    <a:pt x="19" y="53"/>
                    <a:pt x="19" y="53"/>
                    <a:pt x="19" y="53"/>
                  </a:cubicBezTo>
                  <a:cubicBezTo>
                    <a:pt x="15" y="53"/>
                    <a:pt x="15" y="53"/>
                    <a:pt x="15" y="53"/>
                  </a:cubicBezTo>
                  <a:cubicBezTo>
                    <a:pt x="15" y="53"/>
                    <a:pt x="15" y="53"/>
                    <a:pt x="15" y="53"/>
                  </a:cubicBezTo>
                  <a:close/>
                  <a:moveTo>
                    <a:pt x="23" y="50"/>
                  </a:moveTo>
                  <a:cubicBezTo>
                    <a:pt x="27" y="50"/>
                    <a:pt x="27" y="50"/>
                    <a:pt x="27" y="50"/>
                  </a:cubicBezTo>
                  <a:cubicBezTo>
                    <a:pt x="27" y="53"/>
                    <a:pt x="27" y="53"/>
                    <a:pt x="27" y="53"/>
                  </a:cubicBezTo>
                  <a:cubicBezTo>
                    <a:pt x="23" y="53"/>
                    <a:pt x="23" y="53"/>
                    <a:pt x="23" y="53"/>
                  </a:cubicBezTo>
                  <a:cubicBezTo>
                    <a:pt x="23" y="50"/>
                    <a:pt x="23" y="50"/>
                    <a:pt x="23" y="50"/>
                  </a:cubicBezTo>
                  <a:cubicBezTo>
                    <a:pt x="23" y="50"/>
                    <a:pt x="23" y="50"/>
                    <a:pt x="23" y="50"/>
                  </a:cubicBezTo>
                  <a:close/>
                  <a:moveTo>
                    <a:pt x="42" y="53"/>
                  </a:moveTo>
                  <a:cubicBezTo>
                    <a:pt x="38" y="53"/>
                    <a:pt x="38" y="53"/>
                    <a:pt x="38" y="53"/>
                  </a:cubicBezTo>
                  <a:cubicBezTo>
                    <a:pt x="38" y="50"/>
                    <a:pt x="38" y="50"/>
                    <a:pt x="38" y="50"/>
                  </a:cubicBezTo>
                  <a:cubicBezTo>
                    <a:pt x="40" y="50"/>
                    <a:pt x="40" y="50"/>
                    <a:pt x="40" y="50"/>
                  </a:cubicBezTo>
                  <a:cubicBezTo>
                    <a:pt x="42" y="50"/>
                    <a:pt x="42" y="50"/>
                    <a:pt x="42" y="50"/>
                  </a:cubicBezTo>
                  <a:cubicBezTo>
                    <a:pt x="42" y="53"/>
                    <a:pt x="42" y="53"/>
                    <a:pt x="42" y="53"/>
                  </a:cubicBezTo>
                  <a:cubicBezTo>
                    <a:pt x="42" y="53"/>
                    <a:pt x="42" y="53"/>
                    <a:pt x="42" y="53"/>
                  </a:cubicBezTo>
                  <a:close/>
                  <a:moveTo>
                    <a:pt x="23" y="30"/>
                  </a:moveTo>
                  <a:cubicBezTo>
                    <a:pt x="23" y="30"/>
                    <a:pt x="23" y="30"/>
                    <a:pt x="23" y="30"/>
                  </a:cubicBezTo>
                  <a:cubicBezTo>
                    <a:pt x="21" y="30"/>
                    <a:pt x="19" y="30"/>
                    <a:pt x="17" y="29"/>
                  </a:cubicBezTo>
                  <a:cubicBezTo>
                    <a:pt x="17" y="26"/>
                    <a:pt x="17" y="26"/>
                    <a:pt x="17" y="26"/>
                  </a:cubicBezTo>
                  <a:cubicBezTo>
                    <a:pt x="19" y="26"/>
                    <a:pt x="19" y="27"/>
                    <a:pt x="20" y="27"/>
                  </a:cubicBezTo>
                  <a:cubicBezTo>
                    <a:pt x="21" y="27"/>
                    <a:pt x="22" y="27"/>
                    <a:pt x="22" y="27"/>
                  </a:cubicBezTo>
                  <a:cubicBezTo>
                    <a:pt x="23" y="27"/>
                    <a:pt x="24" y="27"/>
                    <a:pt x="24" y="27"/>
                  </a:cubicBezTo>
                  <a:cubicBezTo>
                    <a:pt x="25" y="26"/>
                    <a:pt x="25" y="26"/>
                    <a:pt x="25" y="25"/>
                  </a:cubicBezTo>
                  <a:cubicBezTo>
                    <a:pt x="25" y="25"/>
                    <a:pt x="25" y="25"/>
                    <a:pt x="25" y="24"/>
                  </a:cubicBezTo>
                  <a:cubicBezTo>
                    <a:pt x="25" y="24"/>
                    <a:pt x="24" y="24"/>
                    <a:pt x="24" y="24"/>
                  </a:cubicBezTo>
                  <a:cubicBezTo>
                    <a:pt x="24" y="23"/>
                    <a:pt x="23" y="23"/>
                    <a:pt x="22" y="22"/>
                  </a:cubicBezTo>
                  <a:cubicBezTo>
                    <a:pt x="21" y="22"/>
                    <a:pt x="20" y="21"/>
                    <a:pt x="19" y="21"/>
                  </a:cubicBezTo>
                  <a:cubicBezTo>
                    <a:pt x="19" y="20"/>
                    <a:pt x="18" y="20"/>
                    <a:pt x="18" y="19"/>
                  </a:cubicBezTo>
                  <a:cubicBezTo>
                    <a:pt x="18" y="19"/>
                    <a:pt x="18" y="18"/>
                    <a:pt x="18" y="17"/>
                  </a:cubicBezTo>
                  <a:cubicBezTo>
                    <a:pt x="18" y="15"/>
                    <a:pt x="18" y="14"/>
                    <a:pt x="19" y="13"/>
                  </a:cubicBezTo>
                  <a:cubicBezTo>
                    <a:pt x="20" y="13"/>
                    <a:pt x="21" y="12"/>
                    <a:pt x="23" y="12"/>
                  </a:cubicBezTo>
                  <a:cubicBezTo>
                    <a:pt x="23" y="10"/>
                    <a:pt x="23" y="10"/>
                    <a:pt x="23" y="10"/>
                  </a:cubicBezTo>
                  <a:cubicBezTo>
                    <a:pt x="25" y="10"/>
                    <a:pt x="25" y="10"/>
                    <a:pt x="25" y="10"/>
                  </a:cubicBezTo>
                  <a:cubicBezTo>
                    <a:pt x="25" y="12"/>
                    <a:pt x="25" y="12"/>
                    <a:pt x="25" y="12"/>
                  </a:cubicBezTo>
                  <a:cubicBezTo>
                    <a:pt x="25" y="12"/>
                    <a:pt x="26" y="12"/>
                    <a:pt x="26" y="12"/>
                  </a:cubicBezTo>
                  <a:cubicBezTo>
                    <a:pt x="27" y="13"/>
                    <a:pt x="28" y="13"/>
                    <a:pt x="29" y="13"/>
                  </a:cubicBezTo>
                  <a:cubicBezTo>
                    <a:pt x="27" y="16"/>
                    <a:pt x="27" y="16"/>
                    <a:pt x="27" y="16"/>
                  </a:cubicBezTo>
                  <a:cubicBezTo>
                    <a:pt x="27" y="16"/>
                    <a:pt x="26" y="16"/>
                    <a:pt x="25" y="15"/>
                  </a:cubicBezTo>
                  <a:cubicBezTo>
                    <a:pt x="24" y="15"/>
                    <a:pt x="24" y="15"/>
                    <a:pt x="23" y="15"/>
                  </a:cubicBezTo>
                  <a:cubicBezTo>
                    <a:pt x="23" y="15"/>
                    <a:pt x="22" y="15"/>
                    <a:pt x="22" y="16"/>
                  </a:cubicBezTo>
                  <a:cubicBezTo>
                    <a:pt x="21" y="16"/>
                    <a:pt x="21" y="16"/>
                    <a:pt x="21" y="17"/>
                  </a:cubicBezTo>
                  <a:cubicBezTo>
                    <a:pt x="21" y="17"/>
                    <a:pt x="21" y="18"/>
                    <a:pt x="21" y="18"/>
                  </a:cubicBezTo>
                  <a:cubicBezTo>
                    <a:pt x="22" y="18"/>
                    <a:pt x="22" y="18"/>
                    <a:pt x="22" y="19"/>
                  </a:cubicBezTo>
                  <a:cubicBezTo>
                    <a:pt x="22" y="19"/>
                    <a:pt x="23" y="19"/>
                    <a:pt x="24" y="20"/>
                  </a:cubicBezTo>
                  <a:cubicBezTo>
                    <a:pt x="26" y="20"/>
                    <a:pt x="27" y="21"/>
                    <a:pt x="28" y="22"/>
                  </a:cubicBezTo>
                  <a:cubicBezTo>
                    <a:pt x="28" y="23"/>
                    <a:pt x="29" y="24"/>
                    <a:pt x="29" y="25"/>
                  </a:cubicBezTo>
                  <a:cubicBezTo>
                    <a:pt x="29" y="27"/>
                    <a:pt x="29" y="28"/>
                    <a:pt x="27" y="29"/>
                  </a:cubicBezTo>
                  <a:cubicBezTo>
                    <a:pt x="27" y="29"/>
                    <a:pt x="25" y="30"/>
                    <a:pt x="25" y="30"/>
                  </a:cubicBezTo>
                  <a:cubicBezTo>
                    <a:pt x="25" y="32"/>
                    <a:pt x="25" y="32"/>
                    <a:pt x="25" y="32"/>
                  </a:cubicBezTo>
                  <a:cubicBezTo>
                    <a:pt x="23" y="32"/>
                    <a:pt x="23" y="32"/>
                    <a:pt x="23" y="32"/>
                  </a:cubicBezTo>
                  <a:cubicBezTo>
                    <a:pt x="23" y="30"/>
                    <a:pt x="23" y="30"/>
                    <a:pt x="23" y="30"/>
                  </a:cubicBezTo>
                  <a:cubicBezTo>
                    <a:pt x="23" y="30"/>
                    <a:pt x="23" y="30"/>
                    <a:pt x="23" y="30"/>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e 7">
            <a:extLst>
              <a:ext uri="{FF2B5EF4-FFF2-40B4-BE49-F238E27FC236}">
                <a16:creationId xmlns:a16="http://schemas.microsoft.com/office/drawing/2014/main" id="{1D747FAF-8827-40DA-A1AB-3C97063242D4}"/>
              </a:ext>
            </a:extLst>
          </p:cNvPr>
          <p:cNvGrpSpPr/>
          <p:nvPr/>
        </p:nvGrpSpPr>
        <p:grpSpPr>
          <a:xfrm>
            <a:off x="2875066" y="4646204"/>
            <a:ext cx="931838" cy="814053"/>
            <a:chOff x="2875066" y="4646204"/>
            <a:chExt cx="931838" cy="814053"/>
          </a:xfrm>
        </p:grpSpPr>
        <p:sp>
          <p:nvSpPr>
            <p:cNvPr id="125" name="Freeform 26">
              <a:extLst>
                <a:ext uri="{FF2B5EF4-FFF2-40B4-BE49-F238E27FC236}">
                  <a16:creationId xmlns:a16="http://schemas.microsoft.com/office/drawing/2014/main" id="{1C8E9419-9C05-4E42-91EC-C8CA2B053CD8}"/>
                </a:ext>
              </a:extLst>
            </p:cNvPr>
            <p:cNvSpPr>
              <a:spLocks/>
            </p:cNvSpPr>
            <p:nvPr/>
          </p:nvSpPr>
          <p:spPr bwMode="auto">
            <a:xfrm rot="21319396">
              <a:off x="2875066" y="4646204"/>
              <a:ext cx="931838" cy="814053"/>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3">
              <a:extLst>
                <a:ext uri="{FF2B5EF4-FFF2-40B4-BE49-F238E27FC236}">
                  <a16:creationId xmlns:a16="http://schemas.microsoft.com/office/drawing/2014/main" id="{5356E86F-423D-4B61-AAB3-F53BC64B45A1}"/>
                </a:ext>
              </a:extLst>
            </p:cNvPr>
            <p:cNvSpPr>
              <a:spLocks noChangeArrowheads="1"/>
            </p:cNvSpPr>
            <p:nvPr/>
          </p:nvSpPr>
          <p:spPr bwMode="auto">
            <a:xfrm rot="21319396">
              <a:off x="3128330" y="4777078"/>
              <a:ext cx="542702" cy="542702"/>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4">
              <a:extLst>
                <a:ext uri="{FF2B5EF4-FFF2-40B4-BE49-F238E27FC236}">
                  <a16:creationId xmlns:a16="http://schemas.microsoft.com/office/drawing/2014/main" id="{AB998591-870C-4835-96B7-742AEFF0384D}"/>
                </a:ext>
              </a:extLst>
            </p:cNvPr>
            <p:cNvSpPr>
              <a:spLocks noChangeArrowheads="1"/>
            </p:cNvSpPr>
            <p:nvPr/>
          </p:nvSpPr>
          <p:spPr bwMode="auto">
            <a:xfrm rot="21319396">
              <a:off x="3137276" y="4786024"/>
              <a:ext cx="524811" cy="5248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43">
              <a:extLst>
                <a:ext uri="{FF2B5EF4-FFF2-40B4-BE49-F238E27FC236}">
                  <a16:creationId xmlns:a16="http://schemas.microsoft.com/office/drawing/2014/main" id="{BBCF0632-E276-451B-819E-21A71FD5F42B}"/>
                </a:ext>
              </a:extLst>
            </p:cNvPr>
            <p:cNvSpPr>
              <a:spLocks noEditPoints="1"/>
            </p:cNvSpPr>
            <p:nvPr/>
          </p:nvSpPr>
          <p:spPr bwMode="auto">
            <a:xfrm>
              <a:off x="3318412" y="4909379"/>
              <a:ext cx="186368" cy="241532"/>
            </a:xfrm>
            <a:custGeom>
              <a:avLst/>
              <a:gdLst>
                <a:gd name="T0" fmla="*/ 40 w 44"/>
                <a:gd name="T1" fmla="*/ 46 h 57"/>
                <a:gd name="T2" fmla="*/ 40 w 44"/>
                <a:gd name="T3" fmla="*/ 32 h 57"/>
                <a:gd name="T4" fmla="*/ 34 w 44"/>
                <a:gd name="T5" fmla="*/ 27 h 57"/>
                <a:gd name="T6" fmla="*/ 24 w 44"/>
                <a:gd name="T7" fmla="*/ 27 h 57"/>
                <a:gd name="T8" fmla="*/ 24 w 44"/>
                <a:gd name="T9" fmla="*/ 11 h 57"/>
                <a:gd name="T10" fmla="*/ 28 w 44"/>
                <a:gd name="T11" fmla="*/ 6 h 57"/>
                <a:gd name="T12" fmla="*/ 22 w 44"/>
                <a:gd name="T13" fmla="*/ 0 h 57"/>
                <a:gd name="T14" fmla="*/ 16 w 44"/>
                <a:gd name="T15" fmla="*/ 6 h 57"/>
                <a:gd name="T16" fmla="*/ 20 w 44"/>
                <a:gd name="T17" fmla="*/ 11 h 57"/>
                <a:gd name="T18" fmla="*/ 20 w 44"/>
                <a:gd name="T19" fmla="*/ 27 h 57"/>
                <a:gd name="T20" fmla="*/ 10 w 44"/>
                <a:gd name="T21" fmla="*/ 27 h 57"/>
                <a:gd name="T22" fmla="*/ 4 w 44"/>
                <a:gd name="T23" fmla="*/ 32 h 57"/>
                <a:gd name="T24" fmla="*/ 4 w 44"/>
                <a:gd name="T25" fmla="*/ 46 h 57"/>
                <a:gd name="T26" fmla="*/ 0 w 44"/>
                <a:gd name="T27" fmla="*/ 51 h 57"/>
                <a:gd name="T28" fmla="*/ 6 w 44"/>
                <a:gd name="T29" fmla="*/ 57 h 57"/>
                <a:gd name="T30" fmla="*/ 12 w 44"/>
                <a:gd name="T31" fmla="*/ 51 h 57"/>
                <a:gd name="T32" fmla="*/ 8 w 44"/>
                <a:gd name="T33" fmla="*/ 46 h 57"/>
                <a:gd name="T34" fmla="*/ 8 w 44"/>
                <a:gd name="T35" fmla="*/ 32 h 57"/>
                <a:gd name="T36" fmla="*/ 10 w 44"/>
                <a:gd name="T37" fmla="*/ 30 h 57"/>
                <a:gd name="T38" fmla="*/ 20 w 44"/>
                <a:gd name="T39" fmla="*/ 30 h 57"/>
                <a:gd name="T40" fmla="*/ 20 w 44"/>
                <a:gd name="T41" fmla="*/ 46 h 57"/>
                <a:gd name="T42" fmla="*/ 16 w 44"/>
                <a:gd name="T43" fmla="*/ 51 h 57"/>
                <a:gd name="T44" fmla="*/ 22 w 44"/>
                <a:gd name="T45" fmla="*/ 57 h 57"/>
                <a:gd name="T46" fmla="*/ 28 w 44"/>
                <a:gd name="T47" fmla="*/ 51 h 57"/>
                <a:gd name="T48" fmla="*/ 24 w 44"/>
                <a:gd name="T49" fmla="*/ 46 h 57"/>
                <a:gd name="T50" fmla="*/ 24 w 44"/>
                <a:gd name="T51" fmla="*/ 30 h 57"/>
                <a:gd name="T52" fmla="*/ 34 w 44"/>
                <a:gd name="T53" fmla="*/ 30 h 57"/>
                <a:gd name="T54" fmla="*/ 36 w 44"/>
                <a:gd name="T55" fmla="*/ 32 h 57"/>
                <a:gd name="T56" fmla="*/ 36 w 44"/>
                <a:gd name="T57" fmla="*/ 46 h 57"/>
                <a:gd name="T58" fmla="*/ 32 w 44"/>
                <a:gd name="T59" fmla="*/ 51 h 57"/>
                <a:gd name="T60" fmla="*/ 38 w 44"/>
                <a:gd name="T61" fmla="*/ 57 h 57"/>
                <a:gd name="T62" fmla="*/ 44 w 44"/>
                <a:gd name="T63" fmla="*/ 51 h 57"/>
                <a:gd name="T64" fmla="*/ 40 w 44"/>
                <a:gd name="T65" fmla="*/ 46 h 57"/>
                <a:gd name="T66" fmla="*/ 22 w 44"/>
                <a:gd name="T67" fmla="*/ 4 h 57"/>
                <a:gd name="T68" fmla="*/ 24 w 44"/>
                <a:gd name="T69" fmla="*/ 6 h 57"/>
                <a:gd name="T70" fmla="*/ 22 w 44"/>
                <a:gd name="T71" fmla="*/ 7 h 57"/>
                <a:gd name="T72" fmla="*/ 20 w 44"/>
                <a:gd name="T73" fmla="*/ 6 h 57"/>
                <a:gd name="T74" fmla="*/ 22 w 44"/>
                <a:gd name="T75" fmla="*/ 4 h 57"/>
                <a:gd name="T76" fmla="*/ 6 w 44"/>
                <a:gd name="T77" fmla="*/ 53 h 57"/>
                <a:gd name="T78" fmla="*/ 4 w 44"/>
                <a:gd name="T79" fmla="*/ 51 h 57"/>
                <a:gd name="T80" fmla="*/ 6 w 44"/>
                <a:gd name="T81" fmla="*/ 49 h 57"/>
                <a:gd name="T82" fmla="*/ 8 w 44"/>
                <a:gd name="T83" fmla="*/ 51 h 57"/>
                <a:gd name="T84" fmla="*/ 6 w 44"/>
                <a:gd name="T85" fmla="*/ 53 h 57"/>
                <a:gd name="T86" fmla="*/ 22 w 44"/>
                <a:gd name="T87" fmla="*/ 53 h 57"/>
                <a:gd name="T88" fmla="*/ 20 w 44"/>
                <a:gd name="T89" fmla="*/ 51 h 57"/>
                <a:gd name="T90" fmla="*/ 22 w 44"/>
                <a:gd name="T91" fmla="*/ 49 h 57"/>
                <a:gd name="T92" fmla="*/ 24 w 44"/>
                <a:gd name="T93" fmla="*/ 51 h 57"/>
                <a:gd name="T94" fmla="*/ 22 w 44"/>
                <a:gd name="T95" fmla="*/ 53 h 57"/>
                <a:gd name="T96" fmla="*/ 38 w 44"/>
                <a:gd name="T97" fmla="*/ 53 h 57"/>
                <a:gd name="T98" fmla="*/ 36 w 44"/>
                <a:gd name="T99" fmla="*/ 51 h 57"/>
                <a:gd name="T100" fmla="*/ 38 w 44"/>
                <a:gd name="T101" fmla="*/ 49 h 57"/>
                <a:gd name="T102" fmla="*/ 40 w 44"/>
                <a:gd name="T103" fmla="*/ 51 h 57"/>
                <a:gd name="T104" fmla="*/ 38 w 44"/>
                <a:gd name="T105"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7">
                  <a:moveTo>
                    <a:pt x="40" y="46"/>
                  </a:moveTo>
                  <a:cubicBezTo>
                    <a:pt x="40" y="32"/>
                    <a:pt x="40" y="32"/>
                    <a:pt x="40" y="32"/>
                  </a:cubicBezTo>
                  <a:cubicBezTo>
                    <a:pt x="40" y="28"/>
                    <a:pt x="36" y="27"/>
                    <a:pt x="34" y="27"/>
                  </a:cubicBezTo>
                  <a:cubicBezTo>
                    <a:pt x="24" y="27"/>
                    <a:pt x="24" y="27"/>
                    <a:pt x="24" y="27"/>
                  </a:cubicBezTo>
                  <a:cubicBezTo>
                    <a:pt x="24" y="11"/>
                    <a:pt x="24" y="11"/>
                    <a:pt x="24" y="11"/>
                  </a:cubicBezTo>
                  <a:cubicBezTo>
                    <a:pt x="26" y="10"/>
                    <a:pt x="28" y="8"/>
                    <a:pt x="28" y="6"/>
                  </a:cubicBezTo>
                  <a:cubicBezTo>
                    <a:pt x="28" y="2"/>
                    <a:pt x="25" y="0"/>
                    <a:pt x="22" y="0"/>
                  </a:cubicBezTo>
                  <a:cubicBezTo>
                    <a:pt x="19" y="0"/>
                    <a:pt x="16" y="2"/>
                    <a:pt x="16" y="6"/>
                  </a:cubicBezTo>
                  <a:cubicBezTo>
                    <a:pt x="16" y="8"/>
                    <a:pt x="18" y="10"/>
                    <a:pt x="20" y="11"/>
                  </a:cubicBezTo>
                  <a:cubicBezTo>
                    <a:pt x="20" y="27"/>
                    <a:pt x="20" y="27"/>
                    <a:pt x="20" y="27"/>
                  </a:cubicBezTo>
                  <a:cubicBezTo>
                    <a:pt x="10" y="27"/>
                    <a:pt x="10" y="27"/>
                    <a:pt x="10" y="27"/>
                  </a:cubicBezTo>
                  <a:cubicBezTo>
                    <a:pt x="6" y="27"/>
                    <a:pt x="4" y="30"/>
                    <a:pt x="4" y="32"/>
                  </a:cubicBezTo>
                  <a:cubicBezTo>
                    <a:pt x="4" y="46"/>
                    <a:pt x="4" y="46"/>
                    <a:pt x="4" y="46"/>
                  </a:cubicBezTo>
                  <a:cubicBezTo>
                    <a:pt x="2" y="47"/>
                    <a:pt x="0" y="49"/>
                    <a:pt x="0" y="51"/>
                  </a:cubicBezTo>
                  <a:cubicBezTo>
                    <a:pt x="0" y="54"/>
                    <a:pt x="3" y="57"/>
                    <a:pt x="6" y="57"/>
                  </a:cubicBezTo>
                  <a:cubicBezTo>
                    <a:pt x="10" y="57"/>
                    <a:pt x="12" y="54"/>
                    <a:pt x="12" y="51"/>
                  </a:cubicBezTo>
                  <a:cubicBezTo>
                    <a:pt x="12" y="49"/>
                    <a:pt x="10" y="47"/>
                    <a:pt x="8" y="46"/>
                  </a:cubicBezTo>
                  <a:cubicBezTo>
                    <a:pt x="8" y="32"/>
                    <a:pt x="8" y="32"/>
                    <a:pt x="8" y="32"/>
                  </a:cubicBezTo>
                  <a:cubicBezTo>
                    <a:pt x="8" y="32"/>
                    <a:pt x="8" y="30"/>
                    <a:pt x="10" y="30"/>
                  </a:cubicBezTo>
                  <a:cubicBezTo>
                    <a:pt x="20" y="30"/>
                    <a:pt x="20" y="30"/>
                    <a:pt x="20" y="30"/>
                  </a:cubicBezTo>
                  <a:cubicBezTo>
                    <a:pt x="20" y="46"/>
                    <a:pt x="20" y="46"/>
                    <a:pt x="20" y="46"/>
                  </a:cubicBezTo>
                  <a:cubicBezTo>
                    <a:pt x="18" y="47"/>
                    <a:pt x="16" y="49"/>
                    <a:pt x="16" y="51"/>
                  </a:cubicBezTo>
                  <a:cubicBezTo>
                    <a:pt x="16" y="54"/>
                    <a:pt x="19" y="57"/>
                    <a:pt x="22" y="57"/>
                  </a:cubicBezTo>
                  <a:cubicBezTo>
                    <a:pt x="25" y="57"/>
                    <a:pt x="28" y="54"/>
                    <a:pt x="28" y="51"/>
                  </a:cubicBezTo>
                  <a:cubicBezTo>
                    <a:pt x="28" y="49"/>
                    <a:pt x="26" y="47"/>
                    <a:pt x="24" y="46"/>
                  </a:cubicBezTo>
                  <a:cubicBezTo>
                    <a:pt x="24" y="30"/>
                    <a:pt x="24" y="30"/>
                    <a:pt x="24" y="30"/>
                  </a:cubicBezTo>
                  <a:cubicBezTo>
                    <a:pt x="34" y="30"/>
                    <a:pt x="34" y="30"/>
                    <a:pt x="34" y="30"/>
                  </a:cubicBezTo>
                  <a:cubicBezTo>
                    <a:pt x="35" y="30"/>
                    <a:pt x="36" y="31"/>
                    <a:pt x="36" y="32"/>
                  </a:cubicBezTo>
                  <a:cubicBezTo>
                    <a:pt x="36" y="46"/>
                    <a:pt x="36" y="46"/>
                    <a:pt x="36" y="46"/>
                  </a:cubicBezTo>
                  <a:cubicBezTo>
                    <a:pt x="34" y="47"/>
                    <a:pt x="32" y="49"/>
                    <a:pt x="32" y="51"/>
                  </a:cubicBezTo>
                  <a:cubicBezTo>
                    <a:pt x="32" y="54"/>
                    <a:pt x="35" y="57"/>
                    <a:pt x="38" y="57"/>
                  </a:cubicBezTo>
                  <a:cubicBezTo>
                    <a:pt x="41" y="57"/>
                    <a:pt x="44" y="54"/>
                    <a:pt x="44" y="51"/>
                  </a:cubicBezTo>
                  <a:cubicBezTo>
                    <a:pt x="44" y="49"/>
                    <a:pt x="42" y="47"/>
                    <a:pt x="40" y="46"/>
                  </a:cubicBezTo>
                  <a:close/>
                  <a:moveTo>
                    <a:pt x="22" y="4"/>
                  </a:moveTo>
                  <a:cubicBezTo>
                    <a:pt x="23" y="4"/>
                    <a:pt x="24" y="5"/>
                    <a:pt x="24" y="6"/>
                  </a:cubicBezTo>
                  <a:cubicBezTo>
                    <a:pt x="24" y="7"/>
                    <a:pt x="23" y="7"/>
                    <a:pt x="22" y="7"/>
                  </a:cubicBezTo>
                  <a:cubicBezTo>
                    <a:pt x="21" y="7"/>
                    <a:pt x="20" y="7"/>
                    <a:pt x="20" y="6"/>
                  </a:cubicBezTo>
                  <a:cubicBezTo>
                    <a:pt x="20" y="5"/>
                    <a:pt x="21" y="4"/>
                    <a:pt x="22" y="4"/>
                  </a:cubicBezTo>
                  <a:close/>
                  <a:moveTo>
                    <a:pt x="6" y="53"/>
                  </a:moveTo>
                  <a:cubicBezTo>
                    <a:pt x="5" y="53"/>
                    <a:pt x="4" y="53"/>
                    <a:pt x="4" y="51"/>
                  </a:cubicBezTo>
                  <a:cubicBezTo>
                    <a:pt x="4" y="50"/>
                    <a:pt x="5" y="49"/>
                    <a:pt x="6" y="49"/>
                  </a:cubicBezTo>
                  <a:cubicBezTo>
                    <a:pt x="7" y="49"/>
                    <a:pt x="8" y="50"/>
                    <a:pt x="8" y="51"/>
                  </a:cubicBezTo>
                  <a:cubicBezTo>
                    <a:pt x="8" y="53"/>
                    <a:pt x="7" y="53"/>
                    <a:pt x="6" y="53"/>
                  </a:cubicBezTo>
                  <a:close/>
                  <a:moveTo>
                    <a:pt x="22" y="53"/>
                  </a:moveTo>
                  <a:cubicBezTo>
                    <a:pt x="21" y="53"/>
                    <a:pt x="20" y="53"/>
                    <a:pt x="20" y="51"/>
                  </a:cubicBezTo>
                  <a:cubicBezTo>
                    <a:pt x="20" y="50"/>
                    <a:pt x="21" y="49"/>
                    <a:pt x="22" y="49"/>
                  </a:cubicBezTo>
                  <a:cubicBezTo>
                    <a:pt x="23" y="49"/>
                    <a:pt x="24" y="50"/>
                    <a:pt x="24" y="51"/>
                  </a:cubicBezTo>
                  <a:cubicBezTo>
                    <a:pt x="24" y="53"/>
                    <a:pt x="23" y="53"/>
                    <a:pt x="22" y="53"/>
                  </a:cubicBezTo>
                  <a:close/>
                  <a:moveTo>
                    <a:pt x="38" y="53"/>
                  </a:moveTo>
                  <a:cubicBezTo>
                    <a:pt x="37" y="53"/>
                    <a:pt x="36" y="53"/>
                    <a:pt x="36" y="51"/>
                  </a:cubicBezTo>
                  <a:cubicBezTo>
                    <a:pt x="36" y="50"/>
                    <a:pt x="37" y="49"/>
                    <a:pt x="38" y="49"/>
                  </a:cubicBezTo>
                  <a:cubicBezTo>
                    <a:pt x="39" y="49"/>
                    <a:pt x="40" y="50"/>
                    <a:pt x="40" y="51"/>
                  </a:cubicBezTo>
                  <a:cubicBezTo>
                    <a:pt x="40" y="53"/>
                    <a:pt x="39" y="53"/>
                    <a:pt x="38" y="53"/>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e 8">
            <a:extLst>
              <a:ext uri="{FF2B5EF4-FFF2-40B4-BE49-F238E27FC236}">
                <a16:creationId xmlns:a16="http://schemas.microsoft.com/office/drawing/2014/main" id="{3BFA350F-2C56-4790-A8DE-5F4C37875E8D}"/>
              </a:ext>
            </a:extLst>
          </p:cNvPr>
          <p:cNvGrpSpPr/>
          <p:nvPr/>
        </p:nvGrpSpPr>
        <p:grpSpPr>
          <a:xfrm>
            <a:off x="2645591" y="5557199"/>
            <a:ext cx="910965" cy="902019"/>
            <a:chOff x="2645591" y="5557199"/>
            <a:chExt cx="910965" cy="902019"/>
          </a:xfrm>
        </p:grpSpPr>
        <p:sp>
          <p:nvSpPr>
            <p:cNvPr id="124" name="Freeform 25">
              <a:extLst>
                <a:ext uri="{FF2B5EF4-FFF2-40B4-BE49-F238E27FC236}">
                  <a16:creationId xmlns:a16="http://schemas.microsoft.com/office/drawing/2014/main" id="{C6EFDAC2-1D54-4ED7-B86C-095FE89D633F}"/>
                </a:ext>
              </a:extLst>
            </p:cNvPr>
            <p:cNvSpPr>
              <a:spLocks/>
            </p:cNvSpPr>
            <p:nvPr/>
          </p:nvSpPr>
          <p:spPr bwMode="auto">
            <a:xfrm rot="19645030">
              <a:off x="2645591" y="5557199"/>
              <a:ext cx="910965" cy="902019"/>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31">
              <a:extLst>
                <a:ext uri="{FF2B5EF4-FFF2-40B4-BE49-F238E27FC236}">
                  <a16:creationId xmlns:a16="http://schemas.microsoft.com/office/drawing/2014/main" id="{0B7CB9E5-59A7-46BD-BD18-3711860F33BE}"/>
                </a:ext>
              </a:extLst>
            </p:cNvPr>
            <p:cNvSpPr>
              <a:spLocks noChangeArrowheads="1"/>
            </p:cNvSpPr>
            <p:nvPr/>
          </p:nvSpPr>
          <p:spPr bwMode="auto">
            <a:xfrm rot="19645030">
              <a:off x="2821239" y="5734666"/>
              <a:ext cx="542702" cy="541211"/>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32">
              <a:extLst>
                <a:ext uri="{FF2B5EF4-FFF2-40B4-BE49-F238E27FC236}">
                  <a16:creationId xmlns:a16="http://schemas.microsoft.com/office/drawing/2014/main" id="{F341EE4D-B8E0-483B-8ADA-5BE56F5F808B}"/>
                </a:ext>
              </a:extLst>
            </p:cNvPr>
            <p:cNvSpPr>
              <a:spLocks noChangeArrowheads="1"/>
            </p:cNvSpPr>
            <p:nvPr/>
          </p:nvSpPr>
          <p:spPr bwMode="auto">
            <a:xfrm rot="5181599">
              <a:off x="2829899" y="5742177"/>
              <a:ext cx="524811" cy="5248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44">
              <a:extLst>
                <a:ext uri="{FF2B5EF4-FFF2-40B4-BE49-F238E27FC236}">
                  <a16:creationId xmlns:a16="http://schemas.microsoft.com/office/drawing/2014/main" id="{CF1C28E0-82D1-4020-AFE6-DF70F9D3CB76}"/>
                </a:ext>
              </a:extLst>
            </p:cNvPr>
            <p:cNvSpPr>
              <a:spLocks noEditPoints="1"/>
            </p:cNvSpPr>
            <p:nvPr/>
          </p:nvSpPr>
          <p:spPr bwMode="auto">
            <a:xfrm rot="21364460">
              <a:off x="2981293" y="5911702"/>
              <a:ext cx="246005" cy="177422"/>
            </a:xfrm>
            <a:custGeom>
              <a:avLst/>
              <a:gdLst>
                <a:gd name="T0" fmla="*/ 2 w 58"/>
                <a:gd name="T1" fmla="*/ 42 h 42"/>
                <a:gd name="T2" fmla="*/ 2 w 58"/>
                <a:gd name="T3" fmla="*/ 42 h 42"/>
                <a:gd name="T4" fmla="*/ 1 w 58"/>
                <a:gd name="T5" fmla="*/ 42 h 42"/>
                <a:gd name="T6" fmla="*/ 0 w 58"/>
                <a:gd name="T7" fmla="*/ 41 h 42"/>
                <a:gd name="T8" fmla="*/ 0 w 58"/>
                <a:gd name="T9" fmla="*/ 41 h 42"/>
                <a:gd name="T10" fmla="*/ 0 w 58"/>
                <a:gd name="T11" fmla="*/ 41 h 42"/>
                <a:gd name="T12" fmla="*/ 0 w 58"/>
                <a:gd name="T13" fmla="*/ 40 h 42"/>
                <a:gd name="T14" fmla="*/ 0 w 58"/>
                <a:gd name="T15" fmla="*/ 40 h 42"/>
                <a:gd name="T16" fmla="*/ 0 w 58"/>
                <a:gd name="T17" fmla="*/ 40 h 42"/>
                <a:gd name="T18" fmla="*/ 0 w 58"/>
                <a:gd name="T19" fmla="*/ 40 h 42"/>
                <a:gd name="T20" fmla="*/ 0 w 58"/>
                <a:gd name="T21" fmla="*/ 40 h 42"/>
                <a:gd name="T22" fmla="*/ 0 w 58"/>
                <a:gd name="T23" fmla="*/ 2 h 42"/>
                <a:gd name="T24" fmla="*/ 2 w 58"/>
                <a:gd name="T25" fmla="*/ 0 h 42"/>
                <a:gd name="T26" fmla="*/ 13 w 58"/>
                <a:gd name="T27" fmla="*/ 0 h 42"/>
                <a:gd name="T28" fmla="*/ 15 w 58"/>
                <a:gd name="T29" fmla="*/ 1 h 42"/>
                <a:gd name="T30" fmla="*/ 18 w 58"/>
                <a:gd name="T31" fmla="*/ 4 h 42"/>
                <a:gd name="T32" fmla="*/ 48 w 58"/>
                <a:gd name="T33" fmla="*/ 4 h 42"/>
                <a:gd name="T34" fmla="*/ 50 w 58"/>
                <a:gd name="T35" fmla="*/ 6 h 42"/>
                <a:gd name="T36" fmla="*/ 50 w 58"/>
                <a:gd name="T37" fmla="*/ 12 h 42"/>
                <a:gd name="T38" fmla="*/ 56 w 58"/>
                <a:gd name="T39" fmla="*/ 12 h 42"/>
                <a:gd name="T40" fmla="*/ 57 w 58"/>
                <a:gd name="T41" fmla="*/ 13 h 42"/>
                <a:gd name="T42" fmla="*/ 57 w 58"/>
                <a:gd name="T43" fmla="*/ 14 h 42"/>
                <a:gd name="T44" fmla="*/ 50 w 58"/>
                <a:gd name="T45" fmla="*/ 41 h 42"/>
                <a:gd name="T46" fmla="*/ 48 w 58"/>
                <a:gd name="T47" fmla="*/ 42 h 42"/>
                <a:gd name="T48" fmla="*/ 2 w 58"/>
                <a:gd name="T49" fmla="*/ 42 h 42"/>
                <a:gd name="T50" fmla="*/ 2 w 58"/>
                <a:gd name="T51" fmla="*/ 42 h 42"/>
                <a:gd name="T52" fmla="*/ 5 w 58"/>
                <a:gd name="T53" fmla="*/ 38 h 42"/>
                <a:gd name="T54" fmla="*/ 46 w 58"/>
                <a:gd name="T55" fmla="*/ 38 h 42"/>
                <a:gd name="T56" fmla="*/ 53 w 58"/>
                <a:gd name="T57" fmla="*/ 16 h 42"/>
                <a:gd name="T58" fmla="*/ 13 w 58"/>
                <a:gd name="T59" fmla="*/ 16 h 42"/>
                <a:gd name="T60" fmla="*/ 5 w 58"/>
                <a:gd name="T61" fmla="*/ 38 h 42"/>
                <a:gd name="T62" fmla="*/ 5 w 58"/>
                <a:gd name="T63" fmla="*/ 38 h 42"/>
                <a:gd name="T64" fmla="*/ 4 w 58"/>
                <a:gd name="T65" fmla="*/ 4 h 42"/>
                <a:gd name="T66" fmla="*/ 4 w 58"/>
                <a:gd name="T67" fmla="*/ 29 h 42"/>
                <a:gd name="T68" fmla="*/ 10 w 58"/>
                <a:gd name="T69" fmla="*/ 13 h 42"/>
                <a:gd name="T70" fmla="*/ 12 w 58"/>
                <a:gd name="T71" fmla="*/ 12 h 42"/>
                <a:gd name="T72" fmla="*/ 46 w 58"/>
                <a:gd name="T73" fmla="*/ 12 h 42"/>
                <a:gd name="T74" fmla="*/ 46 w 58"/>
                <a:gd name="T75" fmla="*/ 8 h 42"/>
                <a:gd name="T76" fmla="*/ 17 w 58"/>
                <a:gd name="T77" fmla="*/ 8 h 42"/>
                <a:gd name="T78" fmla="*/ 16 w 58"/>
                <a:gd name="T79" fmla="*/ 8 h 42"/>
                <a:gd name="T80" fmla="*/ 13 w 58"/>
                <a:gd name="T81" fmla="*/ 4 h 42"/>
                <a:gd name="T82" fmla="*/ 4 w 58"/>
                <a:gd name="T83" fmla="*/ 4 h 42"/>
                <a:gd name="T84" fmla="*/ 4 w 58"/>
                <a:gd name="T85"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42">
                  <a:moveTo>
                    <a:pt x="2" y="42"/>
                  </a:moveTo>
                  <a:cubicBezTo>
                    <a:pt x="2" y="42"/>
                    <a:pt x="2" y="42"/>
                    <a:pt x="2" y="42"/>
                  </a:cubicBezTo>
                  <a:cubicBezTo>
                    <a:pt x="2" y="42"/>
                    <a:pt x="1" y="42"/>
                    <a:pt x="1" y="42"/>
                  </a:cubicBezTo>
                  <a:cubicBezTo>
                    <a:pt x="1" y="41"/>
                    <a:pt x="1" y="41"/>
                    <a:pt x="0" y="41"/>
                  </a:cubicBezTo>
                  <a:cubicBezTo>
                    <a:pt x="0" y="41"/>
                    <a:pt x="0" y="41"/>
                    <a:pt x="0" y="41"/>
                  </a:cubicBezTo>
                  <a:cubicBezTo>
                    <a:pt x="0" y="41"/>
                    <a:pt x="0" y="41"/>
                    <a:pt x="0" y="41"/>
                  </a:cubicBezTo>
                  <a:cubicBezTo>
                    <a:pt x="0" y="41"/>
                    <a:pt x="0" y="41"/>
                    <a:pt x="0" y="40"/>
                  </a:cubicBezTo>
                  <a:cubicBezTo>
                    <a:pt x="0" y="40"/>
                    <a:pt x="0" y="40"/>
                    <a:pt x="0" y="40"/>
                  </a:cubicBezTo>
                  <a:cubicBezTo>
                    <a:pt x="0" y="40"/>
                    <a:pt x="0" y="40"/>
                    <a:pt x="0" y="40"/>
                  </a:cubicBezTo>
                  <a:cubicBezTo>
                    <a:pt x="0" y="40"/>
                    <a:pt x="0" y="40"/>
                    <a:pt x="0" y="40"/>
                  </a:cubicBezTo>
                  <a:cubicBezTo>
                    <a:pt x="0" y="40"/>
                    <a:pt x="0" y="40"/>
                    <a:pt x="0" y="40"/>
                  </a:cubicBezTo>
                  <a:cubicBezTo>
                    <a:pt x="0" y="2"/>
                    <a:pt x="0" y="2"/>
                    <a:pt x="0" y="2"/>
                  </a:cubicBezTo>
                  <a:cubicBezTo>
                    <a:pt x="0" y="1"/>
                    <a:pt x="1" y="0"/>
                    <a:pt x="2" y="0"/>
                  </a:cubicBezTo>
                  <a:cubicBezTo>
                    <a:pt x="13" y="0"/>
                    <a:pt x="13" y="0"/>
                    <a:pt x="13" y="0"/>
                  </a:cubicBezTo>
                  <a:cubicBezTo>
                    <a:pt x="14" y="0"/>
                    <a:pt x="14" y="1"/>
                    <a:pt x="15" y="1"/>
                  </a:cubicBezTo>
                  <a:cubicBezTo>
                    <a:pt x="18" y="4"/>
                    <a:pt x="18" y="4"/>
                    <a:pt x="18" y="4"/>
                  </a:cubicBezTo>
                  <a:cubicBezTo>
                    <a:pt x="48" y="4"/>
                    <a:pt x="48" y="4"/>
                    <a:pt x="48" y="4"/>
                  </a:cubicBezTo>
                  <a:cubicBezTo>
                    <a:pt x="49" y="4"/>
                    <a:pt x="50" y="5"/>
                    <a:pt x="50" y="6"/>
                  </a:cubicBezTo>
                  <a:cubicBezTo>
                    <a:pt x="50" y="12"/>
                    <a:pt x="50" y="12"/>
                    <a:pt x="50" y="12"/>
                  </a:cubicBezTo>
                  <a:cubicBezTo>
                    <a:pt x="56" y="12"/>
                    <a:pt x="56" y="12"/>
                    <a:pt x="56" y="12"/>
                  </a:cubicBezTo>
                  <a:cubicBezTo>
                    <a:pt x="56" y="12"/>
                    <a:pt x="57" y="12"/>
                    <a:pt x="57" y="13"/>
                  </a:cubicBezTo>
                  <a:cubicBezTo>
                    <a:pt x="58" y="13"/>
                    <a:pt x="58" y="14"/>
                    <a:pt x="57" y="14"/>
                  </a:cubicBezTo>
                  <a:cubicBezTo>
                    <a:pt x="50" y="41"/>
                    <a:pt x="50" y="41"/>
                    <a:pt x="50" y="41"/>
                  </a:cubicBezTo>
                  <a:cubicBezTo>
                    <a:pt x="50" y="41"/>
                    <a:pt x="49" y="42"/>
                    <a:pt x="48" y="42"/>
                  </a:cubicBezTo>
                  <a:cubicBezTo>
                    <a:pt x="2" y="42"/>
                    <a:pt x="2" y="42"/>
                    <a:pt x="2" y="42"/>
                  </a:cubicBezTo>
                  <a:cubicBezTo>
                    <a:pt x="2" y="42"/>
                    <a:pt x="2" y="42"/>
                    <a:pt x="2" y="42"/>
                  </a:cubicBezTo>
                  <a:close/>
                  <a:moveTo>
                    <a:pt x="5" y="38"/>
                  </a:moveTo>
                  <a:cubicBezTo>
                    <a:pt x="46" y="38"/>
                    <a:pt x="46" y="38"/>
                    <a:pt x="46" y="38"/>
                  </a:cubicBezTo>
                  <a:cubicBezTo>
                    <a:pt x="53" y="16"/>
                    <a:pt x="53" y="16"/>
                    <a:pt x="53" y="16"/>
                  </a:cubicBezTo>
                  <a:cubicBezTo>
                    <a:pt x="13" y="16"/>
                    <a:pt x="13" y="16"/>
                    <a:pt x="13" y="16"/>
                  </a:cubicBezTo>
                  <a:cubicBezTo>
                    <a:pt x="5" y="38"/>
                    <a:pt x="5" y="38"/>
                    <a:pt x="5" y="38"/>
                  </a:cubicBezTo>
                  <a:cubicBezTo>
                    <a:pt x="5" y="38"/>
                    <a:pt x="5" y="38"/>
                    <a:pt x="5" y="38"/>
                  </a:cubicBezTo>
                  <a:close/>
                  <a:moveTo>
                    <a:pt x="4" y="4"/>
                  </a:moveTo>
                  <a:cubicBezTo>
                    <a:pt x="4" y="29"/>
                    <a:pt x="4" y="29"/>
                    <a:pt x="4" y="29"/>
                  </a:cubicBezTo>
                  <a:cubicBezTo>
                    <a:pt x="10" y="13"/>
                    <a:pt x="10" y="13"/>
                    <a:pt x="10" y="13"/>
                  </a:cubicBezTo>
                  <a:cubicBezTo>
                    <a:pt x="10" y="12"/>
                    <a:pt x="11" y="12"/>
                    <a:pt x="12" y="12"/>
                  </a:cubicBezTo>
                  <a:cubicBezTo>
                    <a:pt x="46" y="12"/>
                    <a:pt x="46" y="12"/>
                    <a:pt x="46" y="12"/>
                  </a:cubicBezTo>
                  <a:cubicBezTo>
                    <a:pt x="46" y="8"/>
                    <a:pt x="46" y="8"/>
                    <a:pt x="46" y="8"/>
                  </a:cubicBezTo>
                  <a:cubicBezTo>
                    <a:pt x="17" y="8"/>
                    <a:pt x="17" y="8"/>
                    <a:pt x="17" y="8"/>
                  </a:cubicBezTo>
                  <a:cubicBezTo>
                    <a:pt x="17" y="8"/>
                    <a:pt x="16" y="8"/>
                    <a:pt x="16" y="8"/>
                  </a:cubicBezTo>
                  <a:cubicBezTo>
                    <a:pt x="13" y="4"/>
                    <a:pt x="13" y="4"/>
                    <a:pt x="13" y="4"/>
                  </a:cubicBezTo>
                  <a:cubicBezTo>
                    <a:pt x="4" y="4"/>
                    <a:pt x="4" y="4"/>
                    <a:pt x="4" y="4"/>
                  </a:cubicBezTo>
                  <a:cubicBezTo>
                    <a:pt x="4" y="4"/>
                    <a:pt x="4" y="4"/>
                    <a:pt x="4"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 name="TextBox 47">
            <a:extLst>
              <a:ext uri="{FF2B5EF4-FFF2-40B4-BE49-F238E27FC236}">
                <a16:creationId xmlns:a16="http://schemas.microsoft.com/office/drawing/2014/main" id="{F136816D-9A84-4C2E-B542-53672B3A5155}"/>
              </a:ext>
            </a:extLst>
          </p:cNvPr>
          <p:cNvSpPr txBox="1"/>
          <p:nvPr/>
        </p:nvSpPr>
        <p:spPr>
          <a:xfrm>
            <a:off x="3145029" y="2700347"/>
            <a:ext cx="3103863" cy="430887"/>
          </a:xfrm>
          <a:prstGeom prst="rect">
            <a:avLst/>
          </a:prstGeom>
          <a:noFill/>
        </p:spPr>
        <p:txBody>
          <a:bodyPr wrap="square" lIns="0" tIns="0" rIns="0" bIns="0" rtlCol="0" anchor="ctr">
            <a:spAutoFit/>
          </a:bodyPr>
          <a:lstStyle/>
          <a:p>
            <a:pPr>
              <a:spcBef>
                <a:spcPts val="600"/>
              </a:spcBef>
              <a:buSzPct val="100000"/>
            </a:pPr>
            <a:r>
              <a:rPr lang="fr-FR" sz="1400" dirty="0">
                <a:solidFill>
                  <a:srgbClr val="313131"/>
                </a:solidFill>
              </a:rPr>
              <a:t>Élaborer et mettre en œuvre la stratégie de sécurité de l'information.</a:t>
            </a:r>
          </a:p>
        </p:txBody>
      </p:sp>
      <p:sp>
        <p:nvSpPr>
          <p:cNvPr id="147" name="TextBox 49">
            <a:extLst>
              <a:ext uri="{FF2B5EF4-FFF2-40B4-BE49-F238E27FC236}">
                <a16:creationId xmlns:a16="http://schemas.microsoft.com/office/drawing/2014/main" id="{1B4E88D6-37DC-4B59-AD77-8504DE77AEB9}"/>
              </a:ext>
            </a:extLst>
          </p:cNvPr>
          <p:cNvSpPr txBox="1"/>
          <p:nvPr/>
        </p:nvSpPr>
        <p:spPr>
          <a:xfrm>
            <a:off x="3616474" y="5827592"/>
            <a:ext cx="3011911" cy="430887"/>
          </a:xfrm>
          <a:prstGeom prst="rect">
            <a:avLst/>
          </a:prstGeom>
          <a:noFill/>
        </p:spPr>
        <p:txBody>
          <a:bodyPr wrap="square" lIns="0" tIns="0" rIns="0" bIns="0" rtlCol="0" anchor="ctr">
            <a:spAutoFit/>
          </a:bodyPr>
          <a:lstStyle/>
          <a:p>
            <a:pPr>
              <a:spcBef>
                <a:spcPts val="600"/>
              </a:spcBef>
              <a:buSzPct val="100000"/>
            </a:pPr>
            <a:r>
              <a:rPr lang="fr-FR" sz="1400" dirty="0">
                <a:solidFill>
                  <a:srgbClr val="313131"/>
                </a:solidFill>
              </a:rPr>
              <a:t>Répondre aux incidents de sécurité et coordonner la récupération.</a:t>
            </a:r>
          </a:p>
        </p:txBody>
      </p:sp>
      <p:sp>
        <p:nvSpPr>
          <p:cNvPr id="148" name="TextBox 50">
            <a:extLst>
              <a:ext uri="{FF2B5EF4-FFF2-40B4-BE49-F238E27FC236}">
                <a16:creationId xmlns:a16="http://schemas.microsoft.com/office/drawing/2014/main" id="{CEFD235B-8764-4EAE-8572-1527317AC2B4}"/>
              </a:ext>
            </a:extLst>
          </p:cNvPr>
          <p:cNvSpPr txBox="1"/>
          <p:nvPr/>
        </p:nvSpPr>
        <p:spPr>
          <a:xfrm>
            <a:off x="3912576" y="3725576"/>
            <a:ext cx="2339789" cy="430887"/>
          </a:xfrm>
          <a:prstGeom prst="rect">
            <a:avLst/>
          </a:prstGeom>
          <a:noFill/>
        </p:spPr>
        <p:txBody>
          <a:bodyPr wrap="square" lIns="0" tIns="0" rIns="0" bIns="0" rtlCol="0" anchor="ctr">
            <a:spAutoFit/>
          </a:bodyPr>
          <a:lstStyle/>
          <a:p>
            <a:pPr>
              <a:spcBef>
                <a:spcPts val="600"/>
              </a:spcBef>
              <a:buSzPct val="100000"/>
            </a:pPr>
            <a:r>
              <a:rPr lang="fr-FR" sz="1400" dirty="0">
                <a:solidFill>
                  <a:srgbClr val="313131"/>
                </a:solidFill>
              </a:rPr>
              <a:t>Gérer les risques de sécurité de l'information.</a:t>
            </a:r>
          </a:p>
        </p:txBody>
      </p:sp>
      <p:sp>
        <p:nvSpPr>
          <p:cNvPr id="149" name="TextBox 51">
            <a:extLst>
              <a:ext uri="{FF2B5EF4-FFF2-40B4-BE49-F238E27FC236}">
                <a16:creationId xmlns:a16="http://schemas.microsoft.com/office/drawing/2014/main" id="{A7C51CED-F264-4F4A-87BE-21BCE075051D}"/>
              </a:ext>
            </a:extLst>
          </p:cNvPr>
          <p:cNvSpPr txBox="1"/>
          <p:nvPr/>
        </p:nvSpPr>
        <p:spPr>
          <a:xfrm>
            <a:off x="4004535" y="4741756"/>
            <a:ext cx="2403144" cy="430887"/>
          </a:xfrm>
          <a:prstGeom prst="rect">
            <a:avLst/>
          </a:prstGeom>
          <a:noFill/>
        </p:spPr>
        <p:txBody>
          <a:bodyPr wrap="square" lIns="0" tIns="0" rIns="0" bIns="0" rtlCol="0" anchor="ctr">
            <a:spAutoFit/>
          </a:bodyPr>
          <a:lstStyle/>
          <a:p>
            <a:pPr>
              <a:spcBef>
                <a:spcPts val="600"/>
              </a:spcBef>
              <a:buSzPct val="100000"/>
            </a:pPr>
            <a:r>
              <a:rPr lang="fr-FR" sz="1400" dirty="0">
                <a:solidFill>
                  <a:srgbClr val="313131"/>
                </a:solidFill>
              </a:rPr>
              <a:t>Assurer la conformité aux normes et réglementation.</a:t>
            </a:r>
          </a:p>
        </p:txBody>
      </p:sp>
      <p:grpSp>
        <p:nvGrpSpPr>
          <p:cNvPr id="10" name="Groupe 9">
            <a:extLst>
              <a:ext uri="{FF2B5EF4-FFF2-40B4-BE49-F238E27FC236}">
                <a16:creationId xmlns:a16="http://schemas.microsoft.com/office/drawing/2014/main" id="{6C24A08B-F16F-4C21-BC00-D1F8E7AEC50A}"/>
              </a:ext>
            </a:extLst>
          </p:cNvPr>
          <p:cNvGrpSpPr/>
          <p:nvPr/>
        </p:nvGrpSpPr>
        <p:grpSpPr>
          <a:xfrm>
            <a:off x="418126" y="3739211"/>
            <a:ext cx="2380309" cy="2214045"/>
            <a:chOff x="418126" y="3739211"/>
            <a:chExt cx="2380309" cy="2214045"/>
          </a:xfrm>
        </p:grpSpPr>
        <p:sp>
          <p:nvSpPr>
            <p:cNvPr id="113" name="Freeform 14">
              <a:extLst>
                <a:ext uri="{FF2B5EF4-FFF2-40B4-BE49-F238E27FC236}">
                  <a16:creationId xmlns:a16="http://schemas.microsoft.com/office/drawing/2014/main" id="{48574A36-7230-464F-98C1-792378381EA1}"/>
                </a:ext>
              </a:extLst>
            </p:cNvPr>
            <p:cNvSpPr>
              <a:spLocks/>
            </p:cNvSpPr>
            <p:nvPr/>
          </p:nvSpPr>
          <p:spPr bwMode="auto">
            <a:xfrm>
              <a:off x="896718" y="5713747"/>
              <a:ext cx="605322" cy="225132"/>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5">
              <a:extLst>
                <a:ext uri="{FF2B5EF4-FFF2-40B4-BE49-F238E27FC236}">
                  <a16:creationId xmlns:a16="http://schemas.microsoft.com/office/drawing/2014/main" id="{1B35D695-CBE7-4364-82F3-B36E23CEA6F0}"/>
                </a:ext>
              </a:extLst>
            </p:cNvPr>
            <p:cNvSpPr>
              <a:spLocks/>
            </p:cNvSpPr>
            <p:nvPr/>
          </p:nvSpPr>
          <p:spPr bwMode="auto">
            <a:xfrm>
              <a:off x="494164" y="5197882"/>
              <a:ext cx="393608" cy="524811"/>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6">
              <a:extLst>
                <a:ext uri="{FF2B5EF4-FFF2-40B4-BE49-F238E27FC236}">
                  <a16:creationId xmlns:a16="http://schemas.microsoft.com/office/drawing/2014/main" id="{36E63446-5EA8-4296-8166-CE9FD2E682F0}"/>
                </a:ext>
              </a:extLst>
            </p:cNvPr>
            <p:cNvSpPr>
              <a:spLocks/>
            </p:cNvSpPr>
            <p:nvPr/>
          </p:nvSpPr>
          <p:spPr bwMode="auto">
            <a:xfrm>
              <a:off x="418126" y="4537396"/>
              <a:ext cx="96911" cy="639613"/>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7">
              <a:extLst>
                <a:ext uri="{FF2B5EF4-FFF2-40B4-BE49-F238E27FC236}">
                  <a16:creationId xmlns:a16="http://schemas.microsoft.com/office/drawing/2014/main" id="{84CBA130-83A2-4F0D-8BF2-5FD99DC650B6}"/>
                </a:ext>
              </a:extLst>
            </p:cNvPr>
            <p:cNvSpPr>
              <a:spLocks/>
            </p:cNvSpPr>
            <p:nvPr/>
          </p:nvSpPr>
          <p:spPr bwMode="auto">
            <a:xfrm>
              <a:off x="489691" y="3987239"/>
              <a:ext cx="393608" cy="529284"/>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8">
              <a:extLst>
                <a:ext uri="{FF2B5EF4-FFF2-40B4-BE49-F238E27FC236}">
                  <a16:creationId xmlns:a16="http://schemas.microsoft.com/office/drawing/2014/main" id="{C1910484-FC3E-4E7B-BCED-0AA7E999979E}"/>
                </a:ext>
              </a:extLst>
            </p:cNvPr>
            <p:cNvSpPr>
              <a:spLocks/>
            </p:cNvSpPr>
            <p:nvPr/>
          </p:nvSpPr>
          <p:spPr bwMode="auto">
            <a:xfrm>
              <a:off x="892245" y="3771053"/>
              <a:ext cx="605322" cy="225132"/>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 name="Groupe 4">
              <a:extLst>
                <a:ext uri="{FF2B5EF4-FFF2-40B4-BE49-F238E27FC236}">
                  <a16:creationId xmlns:a16="http://schemas.microsoft.com/office/drawing/2014/main" id="{87937DCF-D9EB-47FE-B86D-93F7E52AE6D1}"/>
                </a:ext>
              </a:extLst>
            </p:cNvPr>
            <p:cNvGrpSpPr/>
            <p:nvPr/>
          </p:nvGrpSpPr>
          <p:grpSpPr>
            <a:xfrm rot="806103">
              <a:off x="1654883" y="3739211"/>
              <a:ext cx="1143552" cy="2214045"/>
              <a:chOff x="1773391" y="3517593"/>
              <a:chExt cx="1143552" cy="2214045"/>
            </a:xfrm>
          </p:grpSpPr>
          <p:sp>
            <p:nvSpPr>
              <p:cNvPr id="105" name="Freeform 6">
                <a:extLst>
                  <a:ext uri="{FF2B5EF4-FFF2-40B4-BE49-F238E27FC236}">
                    <a16:creationId xmlns:a16="http://schemas.microsoft.com/office/drawing/2014/main" id="{F4133E08-BF12-4C38-AE71-3B35EB7C5A46}"/>
                  </a:ext>
                </a:extLst>
              </p:cNvPr>
              <p:cNvSpPr>
                <a:spLocks/>
              </p:cNvSpPr>
              <p:nvPr/>
            </p:nvSpPr>
            <p:spPr bwMode="auto">
              <a:xfrm>
                <a:off x="2475624" y="5531853"/>
                <a:ext cx="140148" cy="140148"/>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7">
                <a:extLst>
                  <a:ext uri="{FF2B5EF4-FFF2-40B4-BE49-F238E27FC236}">
                    <a16:creationId xmlns:a16="http://schemas.microsoft.com/office/drawing/2014/main" id="{B4C099F9-2BB6-4E50-8593-6E0583F49D7B}"/>
                  </a:ext>
                </a:extLst>
              </p:cNvPr>
              <p:cNvSpPr>
                <a:spLocks noChangeArrowheads="1"/>
              </p:cNvSpPr>
              <p:nvPr/>
            </p:nvSpPr>
            <p:spPr bwMode="auto">
              <a:xfrm>
                <a:off x="2726102" y="4795328"/>
                <a:ext cx="122257" cy="12374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8">
                <a:extLst>
                  <a:ext uri="{FF2B5EF4-FFF2-40B4-BE49-F238E27FC236}">
                    <a16:creationId xmlns:a16="http://schemas.microsoft.com/office/drawing/2014/main" id="{0057AA52-DB03-46D5-8819-85211A9E9F07}"/>
                  </a:ext>
                </a:extLst>
              </p:cNvPr>
              <p:cNvSpPr>
                <a:spLocks/>
              </p:cNvSpPr>
              <p:nvPr/>
            </p:nvSpPr>
            <p:spPr bwMode="auto">
              <a:xfrm>
                <a:off x="2475624" y="4042404"/>
                <a:ext cx="140148" cy="140148"/>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
                <a:extLst>
                  <a:ext uri="{FF2B5EF4-FFF2-40B4-BE49-F238E27FC236}">
                    <a16:creationId xmlns:a16="http://schemas.microsoft.com/office/drawing/2014/main" id="{774FF4F2-1048-4C78-8447-B274AEF3BB5A}"/>
                  </a:ext>
                </a:extLst>
              </p:cNvPr>
              <p:cNvSpPr>
                <a:spLocks/>
              </p:cNvSpPr>
              <p:nvPr/>
            </p:nvSpPr>
            <p:spPr bwMode="auto">
              <a:xfrm>
                <a:off x="1840483" y="3580212"/>
                <a:ext cx="140148" cy="140148"/>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1">
                <a:extLst>
                  <a:ext uri="{FF2B5EF4-FFF2-40B4-BE49-F238E27FC236}">
                    <a16:creationId xmlns:a16="http://schemas.microsoft.com/office/drawing/2014/main" id="{8616C81F-1544-4B2F-9BE4-F48D24220EB9}"/>
                  </a:ext>
                </a:extLst>
              </p:cNvPr>
              <p:cNvSpPr>
                <a:spLocks/>
              </p:cNvSpPr>
              <p:nvPr/>
            </p:nvSpPr>
            <p:spPr bwMode="auto">
              <a:xfrm>
                <a:off x="2590426" y="4969768"/>
                <a:ext cx="207241" cy="545684"/>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2">
                <a:extLst>
                  <a:ext uri="{FF2B5EF4-FFF2-40B4-BE49-F238E27FC236}">
                    <a16:creationId xmlns:a16="http://schemas.microsoft.com/office/drawing/2014/main" id="{C9DFB3B9-D037-4E50-84B9-BD508FBAB139}"/>
                  </a:ext>
                </a:extLst>
              </p:cNvPr>
              <p:cNvSpPr>
                <a:spLocks/>
              </p:cNvSpPr>
              <p:nvPr/>
            </p:nvSpPr>
            <p:spPr bwMode="auto">
              <a:xfrm>
                <a:off x="2594899" y="4194480"/>
                <a:ext cx="202768" cy="550157"/>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3">
                <a:extLst>
                  <a:ext uri="{FF2B5EF4-FFF2-40B4-BE49-F238E27FC236}">
                    <a16:creationId xmlns:a16="http://schemas.microsoft.com/office/drawing/2014/main" id="{D0CE61C9-C234-4EB8-B87F-7146585B6ADD}"/>
                  </a:ext>
                </a:extLst>
              </p:cNvPr>
              <p:cNvSpPr>
                <a:spLocks/>
              </p:cNvSpPr>
              <p:nvPr/>
            </p:nvSpPr>
            <p:spPr bwMode="auto">
              <a:xfrm>
                <a:off x="2010450" y="3674142"/>
                <a:ext cx="474119" cy="359317"/>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0">
                <a:extLst>
                  <a:ext uri="{FF2B5EF4-FFF2-40B4-BE49-F238E27FC236}">
                    <a16:creationId xmlns:a16="http://schemas.microsoft.com/office/drawing/2014/main" id="{1092CFA4-4377-4475-969D-6F99A8F3C72E}"/>
                  </a:ext>
                </a:extLst>
              </p:cNvPr>
              <p:cNvSpPr>
                <a:spLocks noEditPoints="1"/>
              </p:cNvSpPr>
              <p:nvPr/>
            </p:nvSpPr>
            <p:spPr bwMode="auto">
              <a:xfrm>
                <a:off x="2408532" y="5469233"/>
                <a:ext cx="271351" cy="262405"/>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1">
                <a:extLst>
                  <a:ext uri="{FF2B5EF4-FFF2-40B4-BE49-F238E27FC236}">
                    <a16:creationId xmlns:a16="http://schemas.microsoft.com/office/drawing/2014/main" id="{698717D8-B661-40B0-BFF9-9F945F2BD06F}"/>
                  </a:ext>
                </a:extLst>
              </p:cNvPr>
              <p:cNvSpPr>
                <a:spLocks noEditPoints="1"/>
              </p:cNvSpPr>
              <p:nvPr/>
            </p:nvSpPr>
            <p:spPr bwMode="auto">
              <a:xfrm>
                <a:off x="2654537" y="4723763"/>
                <a:ext cx="262406" cy="262405"/>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2">
                <a:extLst>
                  <a:ext uri="{FF2B5EF4-FFF2-40B4-BE49-F238E27FC236}">
                    <a16:creationId xmlns:a16="http://schemas.microsoft.com/office/drawing/2014/main" id="{672FC54A-4E07-42AF-897B-397F25E3D9DB}"/>
                  </a:ext>
                </a:extLst>
              </p:cNvPr>
              <p:cNvSpPr>
                <a:spLocks noEditPoints="1"/>
              </p:cNvSpPr>
              <p:nvPr/>
            </p:nvSpPr>
            <p:spPr bwMode="auto">
              <a:xfrm>
                <a:off x="2408532" y="3978293"/>
                <a:ext cx="271351" cy="262405"/>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23">
                <a:extLst>
                  <a:ext uri="{FF2B5EF4-FFF2-40B4-BE49-F238E27FC236}">
                    <a16:creationId xmlns:a16="http://schemas.microsoft.com/office/drawing/2014/main" id="{596F4EDC-14E1-460D-AADB-30696C9264F9}"/>
                  </a:ext>
                </a:extLst>
              </p:cNvPr>
              <p:cNvSpPr>
                <a:spLocks noEditPoints="1"/>
              </p:cNvSpPr>
              <p:nvPr/>
            </p:nvSpPr>
            <p:spPr bwMode="auto">
              <a:xfrm>
                <a:off x="1773391" y="3517593"/>
                <a:ext cx="271351" cy="262405"/>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8" name="Oval 39">
              <a:extLst>
                <a:ext uri="{FF2B5EF4-FFF2-40B4-BE49-F238E27FC236}">
                  <a16:creationId xmlns:a16="http://schemas.microsoft.com/office/drawing/2014/main" id="{49C521C4-7021-4507-9F28-212C63C2E683}"/>
                </a:ext>
              </a:extLst>
            </p:cNvPr>
            <p:cNvSpPr>
              <a:spLocks noChangeArrowheads="1"/>
            </p:cNvSpPr>
            <p:nvPr/>
          </p:nvSpPr>
          <p:spPr bwMode="auto">
            <a:xfrm>
              <a:off x="574675" y="3911201"/>
              <a:ext cx="1889022" cy="188753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40">
              <a:extLst>
                <a:ext uri="{FF2B5EF4-FFF2-40B4-BE49-F238E27FC236}">
                  <a16:creationId xmlns:a16="http://schemas.microsoft.com/office/drawing/2014/main" id="{BE7EDFD8-1BF5-4FC3-8FBB-2F5FE28B865B}"/>
                </a:ext>
              </a:extLst>
            </p:cNvPr>
            <p:cNvSpPr>
              <a:spLocks noChangeArrowheads="1"/>
            </p:cNvSpPr>
            <p:nvPr/>
          </p:nvSpPr>
          <p:spPr bwMode="auto">
            <a:xfrm>
              <a:off x="600021" y="3941020"/>
              <a:ext cx="1833857" cy="1827892"/>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TextBox 52">
              <a:extLst>
                <a:ext uri="{FF2B5EF4-FFF2-40B4-BE49-F238E27FC236}">
                  <a16:creationId xmlns:a16="http://schemas.microsoft.com/office/drawing/2014/main" id="{E761D407-3A09-4160-9AB4-98FE9871AFE7}"/>
                </a:ext>
              </a:extLst>
            </p:cNvPr>
            <p:cNvSpPr txBox="1"/>
            <p:nvPr/>
          </p:nvSpPr>
          <p:spPr>
            <a:xfrm>
              <a:off x="1008502" y="4515977"/>
              <a:ext cx="1001713" cy="615553"/>
            </a:xfrm>
            <a:prstGeom prst="rect">
              <a:avLst/>
            </a:prstGeom>
            <a:noFill/>
          </p:spPr>
          <p:txBody>
            <a:bodyPr wrap="square" lIns="0" tIns="0" rIns="0" bIns="0" rtlCol="0" anchor="ctr">
              <a:spAutoFit/>
            </a:bodyPr>
            <a:lstStyle/>
            <a:p>
              <a:pPr algn="ctr">
                <a:spcBef>
                  <a:spcPts val="600"/>
                </a:spcBef>
                <a:buSzPct val="100000"/>
              </a:pPr>
              <a:r>
                <a:rPr lang="en-US" sz="2000" dirty="0">
                  <a:solidFill>
                    <a:srgbClr val="313131"/>
                  </a:solidFill>
                </a:rPr>
                <a:t>Rôles du CISO</a:t>
              </a:r>
            </a:p>
          </p:txBody>
        </p:sp>
      </p:grpSp>
      <p:cxnSp>
        <p:nvCxnSpPr>
          <p:cNvPr id="80" name="Straight Connector 191">
            <a:extLst>
              <a:ext uri="{FF2B5EF4-FFF2-40B4-BE49-F238E27FC236}">
                <a16:creationId xmlns:a16="http://schemas.microsoft.com/office/drawing/2014/main" id="{55D43D7C-6258-45F0-8078-2541D105E3FD}"/>
              </a:ext>
            </a:extLst>
          </p:cNvPr>
          <p:cNvCxnSpPr>
            <a:cxnSpLocks/>
          </p:cNvCxnSpPr>
          <p:nvPr/>
        </p:nvCxnSpPr>
        <p:spPr>
          <a:xfrm>
            <a:off x="6549007" y="2548482"/>
            <a:ext cx="0" cy="4659714"/>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8CE219CA-904A-4C57-BACD-63944EF52E5B}"/>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a:t>
            </a:r>
          </a:p>
        </p:txBody>
      </p:sp>
      <p:sp>
        <p:nvSpPr>
          <p:cNvPr id="85" name="Freeform 926">
            <a:extLst>
              <a:ext uri="{FF2B5EF4-FFF2-40B4-BE49-F238E27FC236}">
                <a16:creationId xmlns:a16="http://schemas.microsoft.com/office/drawing/2014/main" id="{E537C2A7-CE28-4891-9EB3-AAE5C5D95FF3}"/>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926">
            <a:extLst>
              <a:ext uri="{FF2B5EF4-FFF2-40B4-BE49-F238E27FC236}">
                <a16:creationId xmlns:a16="http://schemas.microsoft.com/office/drawing/2014/main" id="{95E1A0ED-BCB7-484D-AAA3-70F8869576C5}"/>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TextBox 219">
            <a:extLst>
              <a:ext uri="{FF2B5EF4-FFF2-40B4-BE49-F238E27FC236}">
                <a16:creationId xmlns:a16="http://schemas.microsoft.com/office/drawing/2014/main" id="{340879CE-E927-4D1E-8AE4-A7B4DD2A8BCB}"/>
              </a:ext>
            </a:extLst>
          </p:cNvPr>
          <p:cNvSpPr txBox="1"/>
          <p:nvPr/>
        </p:nvSpPr>
        <p:spPr>
          <a:xfrm>
            <a:off x="2126177" y="469879"/>
            <a:ext cx="1885950" cy="307777"/>
          </a:xfrm>
          <a:prstGeom prst="rect">
            <a:avLst/>
          </a:prstGeom>
          <a:noFill/>
        </p:spPr>
        <p:txBody>
          <a:bodyPr wrap="square">
            <a:spAutoFit/>
          </a:bodyPr>
          <a:lstStyle/>
          <a:p>
            <a:pPr>
              <a:spcAft>
                <a:spcPts val="0"/>
              </a:spcAft>
            </a:pPr>
            <a:r>
              <a:rPr lang="fr-FR" altLang="zh-CN" sz="1400">
                <a:solidFill>
                  <a:schemeClr val="tx2"/>
                </a:solidFill>
              </a:rPr>
              <a:t>Organisme d’accueil</a:t>
            </a:r>
          </a:p>
        </p:txBody>
      </p:sp>
      <p:sp>
        <p:nvSpPr>
          <p:cNvPr id="89" name="TextBox 220">
            <a:extLst>
              <a:ext uri="{FF2B5EF4-FFF2-40B4-BE49-F238E27FC236}">
                <a16:creationId xmlns:a16="http://schemas.microsoft.com/office/drawing/2014/main" id="{4C385A1D-7B7B-42D2-851F-C89796DE135A}"/>
              </a:ext>
            </a:extLst>
          </p:cNvPr>
          <p:cNvSpPr txBox="1"/>
          <p:nvPr/>
        </p:nvSpPr>
        <p:spPr>
          <a:xfrm>
            <a:off x="5819704" y="469879"/>
            <a:ext cx="246704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90" name="TextBox 38">
            <a:extLst>
              <a:ext uri="{FF2B5EF4-FFF2-40B4-BE49-F238E27FC236}">
                <a16:creationId xmlns:a16="http://schemas.microsoft.com/office/drawing/2014/main" id="{7B349D85-575D-4FFC-9ED0-4A87A775E7D3}"/>
              </a:ext>
            </a:extLst>
          </p:cNvPr>
          <p:cNvSpPr txBox="1"/>
          <p:nvPr/>
        </p:nvSpPr>
        <p:spPr>
          <a:xfrm>
            <a:off x="9513234" y="500490"/>
            <a:ext cx="1800363"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91" name="Freeform 926">
            <a:extLst>
              <a:ext uri="{FF2B5EF4-FFF2-40B4-BE49-F238E27FC236}">
                <a16:creationId xmlns:a16="http://schemas.microsoft.com/office/drawing/2014/main" id="{0F498FA9-9964-4AA7-95A2-14B7B7ADC703}"/>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Rectangle 72">
            <a:extLst>
              <a:ext uri="{FF2B5EF4-FFF2-40B4-BE49-F238E27FC236}">
                <a16:creationId xmlns:a16="http://schemas.microsoft.com/office/drawing/2014/main" id="{6707E31D-9636-40E8-ABD9-0E85D9896DE4}"/>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74" name="Rectangle 73">
            <a:extLst>
              <a:ext uri="{FF2B5EF4-FFF2-40B4-BE49-F238E27FC236}">
                <a16:creationId xmlns:a16="http://schemas.microsoft.com/office/drawing/2014/main" id="{15581664-2866-4315-B853-19E21551EF0E}"/>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75" name="Rectangle 74">
            <a:extLst>
              <a:ext uri="{FF2B5EF4-FFF2-40B4-BE49-F238E27FC236}">
                <a16:creationId xmlns:a16="http://schemas.microsoft.com/office/drawing/2014/main" id="{953A7E7F-9656-4D23-9789-B6B4269C8B36}"/>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76" name="Rectangle 75">
            <a:extLst>
              <a:ext uri="{FF2B5EF4-FFF2-40B4-BE49-F238E27FC236}">
                <a16:creationId xmlns:a16="http://schemas.microsoft.com/office/drawing/2014/main" id="{A87BF8C2-72CF-43AC-B95E-D7BF11FD3C08}"/>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4904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14:presetBounceEnd="30000">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14:bounceEnd="30000">
                                          <p:cBhvr additive="base">
                                            <p:cTn id="11" dur="500" fill="hold"/>
                                            <p:tgtEl>
                                              <p:spTgt spid="6"/>
                                            </p:tgtEl>
                                            <p:attrNameLst>
                                              <p:attrName>ppt_x</p:attrName>
                                            </p:attrNameLst>
                                          </p:cBhvr>
                                          <p:tavLst>
                                            <p:tav tm="0">
                                              <p:val>
                                                <p:strVal val="1+#ppt_w/2"/>
                                              </p:val>
                                            </p:tav>
                                            <p:tav tm="100000">
                                              <p:val>
                                                <p:strVal val="#ppt_x"/>
                                              </p:val>
                                            </p:tav>
                                          </p:tavLst>
                                        </p:anim>
                                        <p:anim calcmode="lin" valueType="num" p14:bounceEnd="30000">
                                          <p:cBhvr additive="base">
                                            <p:cTn id="12" dur="500" fill="hold"/>
                                            <p:tgtEl>
                                              <p:spTgt spid="6"/>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14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2" fill="hold" nodeType="clickEffect" p14:presetBounceEnd="30000">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14:bounceEnd="30000">
                                          <p:cBhvr additive="base">
                                            <p:cTn id="20" dur="500" fill="hold"/>
                                            <p:tgtEl>
                                              <p:spTgt spid="7"/>
                                            </p:tgtEl>
                                            <p:attrNameLst>
                                              <p:attrName>ppt_x</p:attrName>
                                            </p:attrNameLst>
                                          </p:cBhvr>
                                          <p:tavLst>
                                            <p:tav tm="0">
                                              <p:val>
                                                <p:strVal val="1+#ppt_w/2"/>
                                              </p:val>
                                            </p:tav>
                                            <p:tav tm="100000">
                                              <p:val>
                                                <p:strVal val="#ppt_x"/>
                                              </p:val>
                                            </p:tav>
                                          </p:tavLst>
                                        </p:anim>
                                        <p:anim calcmode="lin" valueType="num" p14:bounceEnd="30000">
                                          <p:cBhvr additive="base">
                                            <p:cTn id="21" dur="500" fill="hold"/>
                                            <p:tgtEl>
                                              <p:spTgt spid="7"/>
                                            </p:tgtEl>
                                            <p:attrNameLst>
                                              <p:attrName>ppt_y</p:attrName>
                                            </p:attrNameLst>
                                          </p:cBhvr>
                                          <p:tavLst>
                                            <p:tav tm="0">
                                              <p:val>
                                                <p:strVal val="#ppt_y"/>
                                              </p:val>
                                            </p:tav>
                                            <p:tav tm="100000">
                                              <p:val>
                                                <p:strVal val="#ppt_y"/>
                                              </p:val>
                                            </p:tav>
                                          </p:tavLst>
                                        </p:anim>
                                      </p:childTnLst>
                                    </p:cTn>
                                  </p:par>
                                </p:childTnLst>
                              </p:cTn>
                            </p:par>
                            <p:par>
                              <p:cTn id="22" fill="hold">
                                <p:stCondLst>
                                  <p:cond delay="500"/>
                                </p:stCondLst>
                                <p:childTnLst>
                                  <p:par>
                                    <p:cTn id="23" presetID="1" presetClass="entr" presetSubtype="0" fill="hold" grpId="0" nodeType="afterEffect">
                                      <p:stCondLst>
                                        <p:cond delay="0"/>
                                      </p:stCondLst>
                                      <p:childTnLst>
                                        <p:set>
                                          <p:cBhvr>
                                            <p:cTn id="24" dur="1" fill="hold">
                                              <p:stCondLst>
                                                <p:cond delay="0"/>
                                              </p:stCondLst>
                                            </p:cTn>
                                            <p:tgtEl>
                                              <p:spTgt spid="14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nodeType="clickEffect" p14:presetBounceEnd="30000">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14:bounceEnd="30000">
                                          <p:cBhvr additive="base">
                                            <p:cTn id="29" dur="500" fill="hold"/>
                                            <p:tgtEl>
                                              <p:spTgt spid="8"/>
                                            </p:tgtEl>
                                            <p:attrNameLst>
                                              <p:attrName>ppt_x</p:attrName>
                                            </p:attrNameLst>
                                          </p:cBhvr>
                                          <p:tavLst>
                                            <p:tav tm="0">
                                              <p:val>
                                                <p:strVal val="1+#ppt_w/2"/>
                                              </p:val>
                                            </p:tav>
                                            <p:tav tm="100000">
                                              <p:val>
                                                <p:strVal val="#ppt_x"/>
                                              </p:val>
                                            </p:tav>
                                          </p:tavLst>
                                        </p:anim>
                                        <p:anim calcmode="lin" valueType="num" p14:bounceEnd="30000">
                                          <p:cBhvr additive="base">
                                            <p:cTn id="30" dur="500" fill="hold"/>
                                            <p:tgtEl>
                                              <p:spTgt spid="8"/>
                                            </p:tgtEl>
                                            <p:attrNameLst>
                                              <p:attrName>ppt_y</p:attrName>
                                            </p:attrNameLst>
                                          </p:cBhvr>
                                          <p:tavLst>
                                            <p:tav tm="0">
                                              <p:val>
                                                <p:strVal val="#ppt_y"/>
                                              </p:val>
                                            </p:tav>
                                            <p:tav tm="100000">
                                              <p:val>
                                                <p:strVal val="#ppt_y"/>
                                              </p:val>
                                            </p:tav>
                                          </p:tavLst>
                                        </p:anim>
                                      </p:childTnLst>
                                    </p:cTn>
                                  </p:par>
                                </p:childTnLst>
                              </p:cTn>
                            </p:par>
                            <p:par>
                              <p:cTn id="31" fill="hold">
                                <p:stCondLst>
                                  <p:cond delay="500"/>
                                </p:stCondLst>
                                <p:childTnLst>
                                  <p:par>
                                    <p:cTn id="32" presetID="1" presetClass="entr" presetSubtype="0" fill="hold" grpId="0" nodeType="afterEffect">
                                      <p:stCondLst>
                                        <p:cond delay="0"/>
                                      </p:stCondLst>
                                      <p:childTnLst>
                                        <p:set>
                                          <p:cBhvr>
                                            <p:cTn id="33" dur="1" fill="hold">
                                              <p:stCondLst>
                                                <p:cond delay="0"/>
                                              </p:stCondLst>
                                            </p:cTn>
                                            <p:tgtEl>
                                              <p:spTgt spid="14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2" presetClass="entr" presetSubtype="2" fill="hold" nodeType="clickEffect" p14:presetBounceEnd="30000">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14:bounceEnd="30000">
                                          <p:cBhvr additive="base">
                                            <p:cTn id="38" dur="500" fill="hold"/>
                                            <p:tgtEl>
                                              <p:spTgt spid="9"/>
                                            </p:tgtEl>
                                            <p:attrNameLst>
                                              <p:attrName>ppt_x</p:attrName>
                                            </p:attrNameLst>
                                          </p:cBhvr>
                                          <p:tavLst>
                                            <p:tav tm="0">
                                              <p:val>
                                                <p:strVal val="1+#ppt_w/2"/>
                                              </p:val>
                                            </p:tav>
                                            <p:tav tm="100000">
                                              <p:val>
                                                <p:strVal val="#ppt_x"/>
                                              </p:val>
                                            </p:tav>
                                          </p:tavLst>
                                        </p:anim>
                                        <p:anim calcmode="lin" valueType="num" p14:bounceEnd="30000">
                                          <p:cBhvr additive="base">
                                            <p:cTn id="39" dur="500" fill="hold"/>
                                            <p:tgtEl>
                                              <p:spTgt spid="9"/>
                                            </p:tgtEl>
                                            <p:attrNameLst>
                                              <p:attrName>ppt_y</p:attrName>
                                            </p:attrNameLst>
                                          </p:cBhvr>
                                          <p:tavLst>
                                            <p:tav tm="0">
                                              <p:val>
                                                <p:strVal val="#ppt_y"/>
                                              </p:val>
                                            </p:tav>
                                            <p:tav tm="100000">
                                              <p:val>
                                                <p:strVal val="#ppt_y"/>
                                              </p:val>
                                            </p:tav>
                                          </p:tavLst>
                                        </p:anim>
                                      </p:childTnLst>
                                    </p:cTn>
                                  </p:par>
                                </p:childTnLst>
                              </p:cTn>
                            </p:par>
                            <p:par>
                              <p:cTn id="40" fill="hold">
                                <p:stCondLst>
                                  <p:cond delay="500"/>
                                </p:stCondLst>
                                <p:childTnLst>
                                  <p:par>
                                    <p:cTn id="41" presetID="1" presetClass="entr" presetSubtype="0" fill="hold" grpId="0" nodeType="afterEffect">
                                      <p:stCondLst>
                                        <p:cond delay="0"/>
                                      </p:stCondLst>
                                      <p:childTnLst>
                                        <p:set>
                                          <p:cBhvr>
                                            <p:cTn id="42" dur="1" fill="hold">
                                              <p:stCondLst>
                                                <p:cond delay="0"/>
                                              </p:stCondLst>
                                            </p:cTn>
                                            <p:tgtEl>
                                              <p:spTgt spid="14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0"/>
                                            </p:tgtEl>
                                            <p:attrNameLst>
                                              <p:attrName>style.visibility</p:attrName>
                                            </p:attrNameLst>
                                          </p:cBhvr>
                                          <p:to>
                                            <p:strVal val="visible"/>
                                          </p:to>
                                        </p:set>
                                        <p:animEffect transition="in" filter="fade">
                                          <p:cBhvr>
                                            <p:cTn id="47" dur="500"/>
                                            <p:tgtEl>
                                              <p:spTgt spid="80"/>
                                            </p:tgtEl>
                                          </p:cBhvr>
                                        </p:animEffect>
                                      </p:childTnLst>
                                    </p:cTn>
                                  </p:par>
                                </p:childTnLst>
                              </p:cTn>
                            </p:par>
                            <p:par>
                              <p:cTn id="48" fill="hold">
                                <p:stCondLst>
                                  <p:cond delay="500"/>
                                </p:stCondLst>
                                <p:childTnLst>
                                  <p:par>
                                    <p:cTn id="49" presetID="47" presetClass="entr" presetSubtype="0" fill="hold"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0"/>
                                            <p:tgtEl>
                                              <p:spTgt spid="32"/>
                                            </p:tgtEl>
                                          </p:cBhvr>
                                        </p:animEffect>
                                        <p:anim calcmode="lin" valueType="num">
                                          <p:cBhvr>
                                            <p:cTn id="52" dur="1000" fill="hold"/>
                                            <p:tgtEl>
                                              <p:spTgt spid="32"/>
                                            </p:tgtEl>
                                            <p:attrNameLst>
                                              <p:attrName>ppt_x</p:attrName>
                                            </p:attrNameLst>
                                          </p:cBhvr>
                                          <p:tavLst>
                                            <p:tav tm="0">
                                              <p:val>
                                                <p:strVal val="#ppt_x"/>
                                              </p:val>
                                            </p:tav>
                                            <p:tav tm="100000">
                                              <p:val>
                                                <p:strVal val="#ppt_x"/>
                                              </p:val>
                                            </p:tav>
                                          </p:tavLst>
                                        </p:anim>
                                        <p:anim calcmode="lin" valueType="num">
                                          <p:cBhvr>
                                            <p:cTn id="53" dur="1000" fill="hold"/>
                                            <p:tgtEl>
                                              <p:spTgt spid="32"/>
                                            </p:tgtEl>
                                            <p:attrNameLst>
                                              <p:attrName>ppt_y</p:attrName>
                                            </p:attrNameLst>
                                          </p:cBhvr>
                                          <p:tavLst>
                                            <p:tav tm="0">
                                              <p:val>
                                                <p:strVal val="#ppt_y-.1"/>
                                              </p:val>
                                            </p:tav>
                                            <p:tav tm="100000">
                                              <p:val>
                                                <p:strVal val="#ppt_y"/>
                                              </p:val>
                                            </p:tav>
                                          </p:tavLst>
                                        </p:anim>
                                      </p:childTnLst>
                                    </p:cTn>
                                  </p:par>
                                </p:childTnLst>
                              </p:cTn>
                            </p:par>
                            <p:par>
                              <p:cTn id="54" fill="hold">
                                <p:stCondLst>
                                  <p:cond delay="1500"/>
                                </p:stCondLst>
                                <p:childTnLst>
                                  <p:par>
                                    <p:cTn id="55" presetID="47"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1000"/>
                                            <p:tgtEl>
                                              <p:spTgt spid="33"/>
                                            </p:tgtEl>
                                          </p:cBhvr>
                                        </p:animEffect>
                                        <p:anim calcmode="lin" valueType="num">
                                          <p:cBhvr>
                                            <p:cTn id="58" dur="1000" fill="hold"/>
                                            <p:tgtEl>
                                              <p:spTgt spid="33"/>
                                            </p:tgtEl>
                                            <p:attrNameLst>
                                              <p:attrName>ppt_x</p:attrName>
                                            </p:attrNameLst>
                                          </p:cBhvr>
                                          <p:tavLst>
                                            <p:tav tm="0">
                                              <p:val>
                                                <p:strVal val="#ppt_x"/>
                                              </p:val>
                                            </p:tav>
                                            <p:tav tm="100000">
                                              <p:val>
                                                <p:strVal val="#ppt_x"/>
                                              </p:val>
                                            </p:tav>
                                          </p:tavLst>
                                        </p:anim>
                                        <p:anim calcmode="lin" valueType="num">
                                          <p:cBhvr>
                                            <p:cTn id="59" dur="1000" fill="hold"/>
                                            <p:tgtEl>
                                              <p:spTgt spid="33"/>
                                            </p:tgtEl>
                                            <p:attrNameLst>
                                              <p:attrName>ppt_y</p:attrName>
                                            </p:attrNameLst>
                                          </p:cBhvr>
                                          <p:tavLst>
                                            <p:tav tm="0">
                                              <p:val>
                                                <p:strVal val="#ppt_y-.1"/>
                                              </p:val>
                                            </p:tav>
                                            <p:tav tm="100000">
                                              <p:val>
                                                <p:strVal val="#ppt_y"/>
                                              </p:val>
                                            </p:tav>
                                          </p:tavLst>
                                        </p:anim>
                                      </p:childTnLst>
                                    </p:cTn>
                                  </p:par>
                                </p:childTnLst>
                              </p:cTn>
                            </p:par>
                            <p:par>
                              <p:cTn id="60" fill="hold">
                                <p:stCondLst>
                                  <p:cond delay="2500"/>
                                </p:stCondLst>
                                <p:childTnLst>
                                  <p:par>
                                    <p:cTn id="61" presetID="42" presetClass="entr" presetSubtype="0" fill="hold" nodeType="after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1000"/>
                                            <p:tgtEl>
                                              <p:spTgt spid="34"/>
                                            </p:tgtEl>
                                          </p:cBhvr>
                                        </p:animEffect>
                                        <p:anim calcmode="lin" valueType="num">
                                          <p:cBhvr>
                                            <p:cTn id="64" dur="1000" fill="hold"/>
                                            <p:tgtEl>
                                              <p:spTgt spid="34"/>
                                            </p:tgtEl>
                                            <p:attrNameLst>
                                              <p:attrName>ppt_x</p:attrName>
                                            </p:attrNameLst>
                                          </p:cBhvr>
                                          <p:tavLst>
                                            <p:tav tm="0">
                                              <p:val>
                                                <p:strVal val="#ppt_x"/>
                                              </p:val>
                                            </p:tav>
                                            <p:tav tm="100000">
                                              <p:val>
                                                <p:strVal val="#ppt_x"/>
                                              </p:val>
                                            </p:tav>
                                          </p:tavLst>
                                        </p:anim>
                                        <p:anim calcmode="lin" valueType="num">
                                          <p:cBhvr>
                                            <p:cTn id="65" dur="1000" fill="hold"/>
                                            <p:tgtEl>
                                              <p:spTgt spid="34"/>
                                            </p:tgtEl>
                                            <p:attrNameLst>
                                              <p:attrName>ppt_y</p:attrName>
                                            </p:attrNameLst>
                                          </p:cBhvr>
                                          <p:tavLst>
                                            <p:tav tm="0">
                                              <p:val>
                                                <p:strVal val="#ppt_y+.1"/>
                                              </p:val>
                                            </p:tav>
                                            <p:tav tm="100000">
                                              <p:val>
                                                <p:strVal val="#ppt_y"/>
                                              </p:val>
                                            </p:tav>
                                          </p:tavLst>
                                        </p:anim>
                                      </p:childTnLst>
                                    </p:cTn>
                                  </p:par>
                                </p:childTnLst>
                              </p:cTn>
                            </p:par>
                            <p:par>
                              <p:cTn id="66" fill="hold">
                                <p:stCondLst>
                                  <p:cond delay="3500"/>
                                </p:stCondLst>
                                <p:childTnLst>
                                  <p:par>
                                    <p:cTn id="67" presetID="42" presetClass="entr" presetSubtype="0" fill="hold" nodeType="after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1000"/>
                                            <p:tgtEl>
                                              <p:spTgt spid="35"/>
                                            </p:tgtEl>
                                          </p:cBhvr>
                                        </p:animEffect>
                                        <p:anim calcmode="lin" valueType="num">
                                          <p:cBhvr>
                                            <p:cTn id="70" dur="1000" fill="hold"/>
                                            <p:tgtEl>
                                              <p:spTgt spid="35"/>
                                            </p:tgtEl>
                                            <p:attrNameLst>
                                              <p:attrName>ppt_x</p:attrName>
                                            </p:attrNameLst>
                                          </p:cBhvr>
                                          <p:tavLst>
                                            <p:tav tm="0">
                                              <p:val>
                                                <p:strVal val="#ppt_x"/>
                                              </p:val>
                                            </p:tav>
                                            <p:tav tm="100000">
                                              <p:val>
                                                <p:strVal val="#ppt_x"/>
                                              </p:val>
                                            </p:tav>
                                          </p:tavLst>
                                        </p:anim>
                                        <p:anim calcmode="lin" valueType="num">
                                          <p:cBhvr>
                                            <p:cTn id="71" dur="1000" fill="hold"/>
                                            <p:tgtEl>
                                              <p:spTgt spid="35"/>
                                            </p:tgtEl>
                                            <p:attrNameLst>
                                              <p:attrName>ppt_y</p:attrName>
                                            </p:attrNameLst>
                                          </p:cBhvr>
                                          <p:tavLst>
                                            <p:tav tm="0">
                                              <p:val>
                                                <p:strVal val="#ppt_y+.1"/>
                                              </p:val>
                                            </p:tav>
                                            <p:tav tm="100000">
                                              <p:val>
                                                <p:strVal val="#ppt_y"/>
                                              </p:val>
                                            </p:tav>
                                          </p:tavLst>
                                        </p:anim>
                                      </p:childTnLst>
                                    </p:cTn>
                                  </p:par>
                                  <p:par>
                                    <p:cTn id="72" presetID="1" presetClass="entr" presetSubtype="0" fill="hold" grpId="0" nodeType="withEffect">
                                      <p:stCondLst>
                                        <p:cond delay="0"/>
                                      </p:stCondLst>
                                      <p:childTnLst>
                                        <p:set>
                                          <p:cBhvr>
                                            <p:cTn id="73"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145" grpId="0"/>
          <p:bldP spid="147" grpId="0"/>
          <p:bldP spid="148" grpId="0"/>
          <p:bldP spid="149"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14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2"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additive="base">
                                            <p:cTn id="20" dur="500" fill="hold"/>
                                            <p:tgtEl>
                                              <p:spTgt spid="7"/>
                                            </p:tgtEl>
                                            <p:attrNameLst>
                                              <p:attrName>ppt_x</p:attrName>
                                            </p:attrNameLst>
                                          </p:cBhvr>
                                          <p:tavLst>
                                            <p:tav tm="0">
                                              <p:val>
                                                <p:strVal val="1+#ppt_w/2"/>
                                              </p:val>
                                            </p:tav>
                                            <p:tav tm="100000">
                                              <p:val>
                                                <p:strVal val="#ppt_x"/>
                                              </p:val>
                                            </p:tav>
                                          </p:tavLst>
                                        </p:anim>
                                        <p:anim calcmode="lin" valueType="num">
                                          <p:cBhvr additive="base">
                                            <p:cTn id="21" dur="500" fill="hold"/>
                                            <p:tgtEl>
                                              <p:spTgt spid="7"/>
                                            </p:tgtEl>
                                            <p:attrNameLst>
                                              <p:attrName>ppt_y</p:attrName>
                                            </p:attrNameLst>
                                          </p:cBhvr>
                                          <p:tavLst>
                                            <p:tav tm="0">
                                              <p:val>
                                                <p:strVal val="#ppt_y"/>
                                              </p:val>
                                            </p:tav>
                                            <p:tav tm="100000">
                                              <p:val>
                                                <p:strVal val="#ppt_y"/>
                                              </p:val>
                                            </p:tav>
                                          </p:tavLst>
                                        </p:anim>
                                      </p:childTnLst>
                                    </p:cTn>
                                  </p:par>
                                </p:childTnLst>
                              </p:cTn>
                            </p:par>
                            <p:par>
                              <p:cTn id="22" fill="hold">
                                <p:stCondLst>
                                  <p:cond delay="500"/>
                                </p:stCondLst>
                                <p:childTnLst>
                                  <p:par>
                                    <p:cTn id="23" presetID="1" presetClass="entr" presetSubtype="0" fill="hold" grpId="0" nodeType="afterEffect">
                                      <p:stCondLst>
                                        <p:cond delay="0"/>
                                      </p:stCondLst>
                                      <p:childTnLst>
                                        <p:set>
                                          <p:cBhvr>
                                            <p:cTn id="24" dur="1" fill="hold">
                                              <p:stCondLst>
                                                <p:cond delay="0"/>
                                              </p:stCondLst>
                                            </p:cTn>
                                            <p:tgtEl>
                                              <p:spTgt spid="14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additive="base">
                                            <p:cTn id="29" dur="500" fill="hold"/>
                                            <p:tgtEl>
                                              <p:spTgt spid="8"/>
                                            </p:tgtEl>
                                            <p:attrNameLst>
                                              <p:attrName>ppt_x</p:attrName>
                                            </p:attrNameLst>
                                          </p:cBhvr>
                                          <p:tavLst>
                                            <p:tav tm="0">
                                              <p:val>
                                                <p:strVal val="1+#ppt_w/2"/>
                                              </p:val>
                                            </p:tav>
                                            <p:tav tm="100000">
                                              <p:val>
                                                <p:strVal val="#ppt_x"/>
                                              </p:val>
                                            </p:tav>
                                          </p:tavLst>
                                        </p:anim>
                                        <p:anim calcmode="lin" valueType="num">
                                          <p:cBhvr additive="base">
                                            <p:cTn id="30" dur="500" fill="hold"/>
                                            <p:tgtEl>
                                              <p:spTgt spid="8"/>
                                            </p:tgtEl>
                                            <p:attrNameLst>
                                              <p:attrName>ppt_y</p:attrName>
                                            </p:attrNameLst>
                                          </p:cBhvr>
                                          <p:tavLst>
                                            <p:tav tm="0">
                                              <p:val>
                                                <p:strVal val="#ppt_y"/>
                                              </p:val>
                                            </p:tav>
                                            <p:tav tm="100000">
                                              <p:val>
                                                <p:strVal val="#ppt_y"/>
                                              </p:val>
                                            </p:tav>
                                          </p:tavLst>
                                        </p:anim>
                                      </p:childTnLst>
                                    </p:cTn>
                                  </p:par>
                                </p:childTnLst>
                              </p:cTn>
                            </p:par>
                            <p:par>
                              <p:cTn id="31" fill="hold">
                                <p:stCondLst>
                                  <p:cond delay="500"/>
                                </p:stCondLst>
                                <p:childTnLst>
                                  <p:par>
                                    <p:cTn id="32" presetID="1" presetClass="entr" presetSubtype="0" fill="hold" grpId="0" nodeType="afterEffect">
                                      <p:stCondLst>
                                        <p:cond delay="0"/>
                                      </p:stCondLst>
                                      <p:childTnLst>
                                        <p:set>
                                          <p:cBhvr>
                                            <p:cTn id="33" dur="1" fill="hold">
                                              <p:stCondLst>
                                                <p:cond delay="0"/>
                                              </p:stCondLst>
                                            </p:cTn>
                                            <p:tgtEl>
                                              <p:spTgt spid="14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2" presetClass="entr" presetSubtype="2"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1+#ppt_w/2"/>
                                              </p:val>
                                            </p:tav>
                                            <p:tav tm="100000">
                                              <p:val>
                                                <p:strVal val="#ppt_x"/>
                                              </p:val>
                                            </p:tav>
                                          </p:tavLst>
                                        </p:anim>
                                        <p:anim calcmode="lin" valueType="num">
                                          <p:cBhvr additive="base">
                                            <p:cTn id="39" dur="500" fill="hold"/>
                                            <p:tgtEl>
                                              <p:spTgt spid="9"/>
                                            </p:tgtEl>
                                            <p:attrNameLst>
                                              <p:attrName>ppt_y</p:attrName>
                                            </p:attrNameLst>
                                          </p:cBhvr>
                                          <p:tavLst>
                                            <p:tav tm="0">
                                              <p:val>
                                                <p:strVal val="#ppt_y"/>
                                              </p:val>
                                            </p:tav>
                                            <p:tav tm="100000">
                                              <p:val>
                                                <p:strVal val="#ppt_y"/>
                                              </p:val>
                                            </p:tav>
                                          </p:tavLst>
                                        </p:anim>
                                      </p:childTnLst>
                                    </p:cTn>
                                  </p:par>
                                </p:childTnLst>
                              </p:cTn>
                            </p:par>
                            <p:par>
                              <p:cTn id="40" fill="hold">
                                <p:stCondLst>
                                  <p:cond delay="500"/>
                                </p:stCondLst>
                                <p:childTnLst>
                                  <p:par>
                                    <p:cTn id="41" presetID="1" presetClass="entr" presetSubtype="0" fill="hold" grpId="0" nodeType="afterEffect">
                                      <p:stCondLst>
                                        <p:cond delay="0"/>
                                      </p:stCondLst>
                                      <p:childTnLst>
                                        <p:set>
                                          <p:cBhvr>
                                            <p:cTn id="42" dur="1" fill="hold">
                                              <p:stCondLst>
                                                <p:cond delay="0"/>
                                              </p:stCondLst>
                                            </p:cTn>
                                            <p:tgtEl>
                                              <p:spTgt spid="14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0"/>
                                            </p:tgtEl>
                                            <p:attrNameLst>
                                              <p:attrName>style.visibility</p:attrName>
                                            </p:attrNameLst>
                                          </p:cBhvr>
                                          <p:to>
                                            <p:strVal val="visible"/>
                                          </p:to>
                                        </p:set>
                                        <p:animEffect transition="in" filter="fade">
                                          <p:cBhvr>
                                            <p:cTn id="47" dur="500"/>
                                            <p:tgtEl>
                                              <p:spTgt spid="80"/>
                                            </p:tgtEl>
                                          </p:cBhvr>
                                        </p:animEffect>
                                      </p:childTnLst>
                                    </p:cTn>
                                  </p:par>
                                </p:childTnLst>
                              </p:cTn>
                            </p:par>
                            <p:par>
                              <p:cTn id="48" fill="hold">
                                <p:stCondLst>
                                  <p:cond delay="500"/>
                                </p:stCondLst>
                                <p:childTnLst>
                                  <p:par>
                                    <p:cTn id="49" presetID="47" presetClass="entr" presetSubtype="0" fill="hold"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0"/>
                                            <p:tgtEl>
                                              <p:spTgt spid="32"/>
                                            </p:tgtEl>
                                          </p:cBhvr>
                                        </p:animEffect>
                                        <p:anim calcmode="lin" valueType="num">
                                          <p:cBhvr>
                                            <p:cTn id="52" dur="1000" fill="hold"/>
                                            <p:tgtEl>
                                              <p:spTgt spid="32"/>
                                            </p:tgtEl>
                                            <p:attrNameLst>
                                              <p:attrName>ppt_x</p:attrName>
                                            </p:attrNameLst>
                                          </p:cBhvr>
                                          <p:tavLst>
                                            <p:tav tm="0">
                                              <p:val>
                                                <p:strVal val="#ppt_x"/>
                                              </p:val>
                                            </p:tav>
                                            <p:tav tm="100000">
                                              <p:val>
                                                <p:strVal val="#ppt_x"/>
                                              </p:val>
                                            </p:tav>
                                          </p:tavLst>
                                        </p:anim>
                                        <p:anim calcmode="lin" valueType="num">
                                          <p:cBhvr>
                                            <p:cTn id="53" dur="1000" fill="hold"/>
                                            <p:tgtEl>
                                              <p:spTgt spid="32"/>
                                            </p:tgtEl>
                                            <p:attrNameLst>
                                              <p:attrName>ppt_y</p:attrName>
                                            </p:attrNameLst>
                                          </p:cBhvr>
                                          <p:tavLst>
                                            <p:tav tm="0">
                                              <p:val>
                                                <p:strVal val="#ppt_y-.1"/>
                                              </p:val>
                                            </p:tav>
                                            <p:tav tm="100000">
                                              <p:val>
                                                <p:strVal val="#ppt_y"/>
                                              </p:val>
                                            </p:tav>
                                          </p:tavLst>
                                        </p:anim>
                                      </p:childTnLst>
                                    </p:cTn>
                                  </p:par>
                                </p:childTnLst>
                              </p:cTn>
                            </p:par>
                            <p:par>
                              <p:cTn id="54" fill="hold">
                                <p:stCondLst>
                                  <p:cond delay="1500"/>
                                </p:stCondLst>
                                <p:childTnLst>
                                  <p:par>
                                    <p:cTn id="55" presetID="47"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1000"/>
                                            <p:tgtEl>
                                              <p:spTgt spid="33"/>
                                            </p:tgtEl>
                                          </p:cBhvr>
                                        </p:animEffect>
                                        <p:anim calcmode="lin" valueType="num">
                                          <p:cBhvr>
                                            <p:cTn id="58" dur="1000" fill="hold"/>
                                            <p:tgtEl>
                                              <p:spTgt spid="33"/>
                                            </p:tgtEl>
                                            <p:attrNameLst>
                                              <p:attrName>ppt_x</p:attrName>
                                            </p:attrNameLst>
                                          </p:cBhvr>
                                          <p:tavLst>
                                            <p:tav tm="0">
                                              <p:val>
                                                <p:strVal val="#ppt_x"/>
                                              </p:val>
                                            </p:tav>
                                            <p:tav tm="100000">
                                              <p:val>
                                                <p:strVal val="#ppt_x"/>
                                              </p:val>
                                            </p:tav>
                                          </p:tavLst>
                                        </p:anim>
                                        <p:anim calcmode="lin" valueType="num">
                                          <p:cBhvr>
                                            <p:cTn id="59" dur="1000" fill="hold"/>
                                            <p:tgtEl>
                                              <p:spTgt spid="33"/>
                                            </p:tgtEl>
                                            <p:attrNameLst>
                                              <p:attrName>ppt_y</p:attrName>
                                            </p:attrNameLst>
                                          </p:cBhvr>
                                          <p:tavLst>
                                            <p:tav tm="0">
                                              <p:val>
                                                <p:strVal val="#ppt_y-.1"/>
                                              </p:val>
                                            </p:tav>
                                            <p:tav tm="100000">
                                              <p:val>
                                                <p:strVal val="#ppt_y"/>
                                              </p:val>
                                            </p:tav>
                                          </p:tavLst>
                                        </p:anim>
                                      </p:childTnLst>
                                    </p:cTn>
                                  </p:par>
                                </p:childTnLst>
                              </p:cTn>
                            </p:par>
                            <p:par>
                              <p:cTn id="60" fill="hold">
                                <p:stCondLst>
                                  <p:cond delay="2500"/>
                                </p:stCondLst>
                                <p:childTnLst>
                                  <p:par>
                                    <p:cTn id="61" presetID="42" presetClass="entr" presetSubtype="0" fill="hold" nodeType="after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1000"/>
                                            <p:tgtEl>
                                              <p:spTgt spid="34"/>
                                            </p:tgtEl>
                                          </p:cBhvr>
                                        </p:animEffect>
                                        <p:anim calcmode="lin" valueType="num">
                                          <p:cBhvr>
                                            <p:cTn id="64" dur="1000" fill="hold"/>
                                            <p:tgtEl>
                                              <p:spTgt spid="34"/>
                                            </p:tgtEl>
                                            <p:attrNameLst>
                                              <p:attrName>ppt_x</p:attrName>
                                            </p:attrNameLst>
                                          </p:cBhvr>
                                          <p:tavLst>
                                            <p:tav tm="0">
                                              <p:val>
                                                <p:strVal val="#ppt_x"/>
                                              </p:val>
                                            </p:tav>
                                            <p:tav tm="100000">
                                              <p:val>
                                                <p:strVal val="#ppt_x"/>
                                              </p:val>
                                            </p:tav>
                                          </p:tavLst>
                                        </p:anim>
                                        <p:anim calcmode="lin" valueType="num">
                                          <p:cBhvr>
                                            <p:cTn id="65" dur="1000" fill="hold"/>
                                            <p:tgtEl>
                                              <p:spTgt spid="34"/>
                                            </p:tgtEl>
                                            <p:attrNameLst>
                                              <p:attrName>ppt_y</p:attrName>
                                            </p:attrNameLst>
                                          </p:cBhvr>
                                          <p:tavLst>
                                            <p:tav tm="0">
                                              <p:val>
                                                <p:strVal val="#ppt_y+.1"/>
                                              </p:val>
                                            </p:tav>
                                            <p:tav tm="100000">
                                              <p:val>
                                                <p:strVal val="#ppt_y"/>
                                              </p:val>
                                            </p:tav>
                                          </p:tavLst>
                                        </p:anim>
                                      </p:childTnLst>
                                    </p:cTn>
                                  </p:par>
                                </p:childTnLst>
                              </p:cTn>
                            </p:par>
                            <p:par>
                              <p:cTn id="66" fill="hold">
                                <p:stCondLst>
                                  <p:cond delay="3500"/>
                                </p:stCondLst>
                                <p:childTnLst>
                                  <p:par>
                                    <p:cTn id="67" presetID="42" presetClass="entr" presetSubtype="0" fill="hold" nodeType="after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1000"/>
                                            <p:tgtEl>
                                              <p:spTgt spid="35"/>
                                            </p:tgtEl>
                                          </p:cBhvr>
                                        </p:animEffect>
                                        <p:anim calcmode="lin" valueType="num">
                                          <p:cBhvr>
                                            <p:cTn id="70" dur="1000" fill="hold"/>
                                            <p:tgtEl>
                                              <p:spTgt spid="35"/>
                                            </p:tgtEl>
                                            <p:attrNameLst>
                                              <p:attrName>ppt_x</p:attrName>
                                            </p:attrNameLst>
                                          </p:cBhvr>
                                          <p:tavLst>
                                            <p:tav tm="0">
                                              <p:val>
                                                <p:strVal val="#ppt_x"/>
                                              </p:val>
                                            </p:tav>
                                            <p:tav tm="100000">
                                              <p:val>
                                                <p:strVal val="#ppt_x"/>
                                              </p:val>
                                            </p:tav>
                                          </p:tavLst>
                                        </p:anim>
                                        <p:anim calcmode="lin" valueType="num">
                                          <p:cBhvr>
                                            <p:cTn id="71" dur="1000" fill="hold"/>
                                            <p:tgtEl>
                                              <p:spTgt spid="35"/>
                                            </p:tgtEl>
                                            <p:attrNameLst>
                                              <p:attrName>ppt_y</p:attrName>
                                            </p:attrNameLst>
                                          </p:cBhvr>
                                          <p:tavLst>
                                            <p:tav tm="0">
                                              <p:val>
                                                <p:strVal val="#ppt_y+.1"/>
                                              </p:val>
                                            </p:tav>
                                            <p:tav tm="100000">
                                              <p:val>
                                                <p:strVal val="#ppt_y"/>
                                              </p:val>
                                            </p:tav>
                                          </p:tavLst>
                                        </p:anim>
                                      </p:childTnLst>
                                    </p:cTn>
                                  </p:par>
                                  <p:par>
                                    <p:cTn id="72" presetID="1" presetClass="entr" presetSubtype="0" fill="hold" grpId="0" nodeType="withEffect">
                                      <p:stCondLst>
                                        <p:cond delay="0"/>
                                      </p:stCondLst>
                                      <p:childTnLst>
                                        <p:set>
                                          <p:cBhvr>
                                            <p:cTn id="73"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145" grpId="0"/>
          <p:bldP spid="147" grpId="0"/>
          <p:bldP spid="148" grpId="0"/>
          <p:bldP spid="149" grpId="0"/>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 descr="Abstract green and blue painting">
            <a:extLst>
              <a:ext uri="{FF2B5EF4-FFF2-40B4-BE49-F238E27FC236}">
                <a16:creationId xmlns:a16="http://schemas.microsoft.com/office/drawing/2014/main" id="{AD1B94BA-436E-42C0-BE8A-D753BCC26326}"/>
              </a:ext>
            </a:extLst>
          </p:cNvPr>
          <p:cNvPicPr>
            <a:picLocks noChangeAspect="1"/>
          </p:cNvPicPr>
          <p:nvPr/>
        </p:nvPicPr>
        <p:blipFill>
          <a:blip r:embed="rId3"/>
          <a:stretch>
            <a:fillRect/>
          </a:stretch>
        </p:blipFill>
        <p:spPr>
          <a:xfrm>
            <a:off x="0" y="-1"/>
            <a:ext cx="13439775" cy="7559675"/>
          </a:xfrm>
          <a:prstGeom prst="rect">
            <a:avLst/>
          </a:prstGeom>
        </p:spPr>
      </p:pic>
      <p:grpSp>
        <p:nvGrpSpPr>
          <p:cNvPr id="6" name="Group 63">
            <a:extLst>
              <a:ext uri="{FF2B5EF4-FFF2-40B4-BE49-F238E27FC236}">
                <a16:creationId xmlns:a16="http://schemas.microsoft.com/office/drawing/2014/main" id="{ADF9DF4E-4739-42D6-83CC-754348FE4619}"/>
              </a:ext>
            </a:extLst>
          </p:cNvPr>
          <p:cNvGrpSpPr/>
          <p:nvPr/>
        </p:nvGrpSpPr>
        <p:grpSpPr>
          <a:xfrm>
            <a:off x="1870364" y="1655806"/>
            <a:ext cx="6475752" cy="686674"/>
            <a:chOff x="338627" y="1952711"/>
            <a:chExt cx="6265372" cy="686674"/>
          </a:xfrm>
        </p:grpSpPr>
        <p:sp>
          <p:nvSpPr>
            <p:cNvPr id="7" name="Oval 7">
              <a:extLst>
                <a:ext uri="{FF2B5EF4-FFF2-40B4-BE49-F238E27FC236}">
                  <a16:creationId xmlns:a16="http://schemas.microsoft.com/office/drawing/2014/main" id="{67C70FF1-3D95-422D-8F9A-26DB9EB4CB3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8" name="Straight Connector 8">
              <a:extLst>
                <a:ext uri="{FF2B5EF4-FFF2-40B4-BE49-F238E27FC236}">
                  <a16:creationId xmlns:a16="http://schemas.microsoft.com/office/drawing/2014/main" id="{CFC1F93F-314F-452C-B9EF-324612BB3EBA}"/>
                </a:ext>
              </a:extLst>
            </p:cNvPr>
            <p:cNvCxnSpPr>
              <a:cxnSpLocks/>
              <a:endCxn id="7" idx="2"/>
            </p:cNvCxnSpPr>
            <p:nvPr/>
          </p:nvCxnSpPr>
          <p:spPr>
            <a:xfrm flipV="1">
              <a:off x="338627" y="2296048"/>
              <a:ext cx="2544220" cy="21564"/>
            </a:xfrm>
            <a:prstGeom prst="line">
              <a:avLst/>
            </a:prstGeom>
            <a:noFill/>
            <a:ln w="22225" algn="ctr">
              <a:solidFill>
                <a:schemeClr val="tx1">
                  <a:lumMod val="50000"/>
                  <a:lumOff val="50000"/>
                </a:schemeClr>
              </a:solidFill>
              <a:prstDash val="sysDot"/>
              <a:miter lim="800000"/>
              <a:headEnd/>
              <a:tailEnd/>
            </a:ln>
          </p:spPr>
        </p:cxnSp>
        <p:sp>
          <p:nvSpPr>
            <p:cNvPr id="9" name="Rectangle 8">
              <a:extLst>
                <a:ext uri="{FF2B5EF4-FFF2-40B4-BE49-F238E27FC236}">
                  <a16:creationId xmlns:a16="http://schemas.microsoft.com/office/drawing/2014/main" id="{3C74B3F7-BC66-4198-AD65-9F39A2579D4D}"/>
                </a:ext>
              </a:extLst>
            </p:cNvPr>
            <p:cNvSpPr/>
            <p:nvPr/>
          </p:nvSpPr>
          <p:spPr>
            <a:xfrm>
              <a:off x="3723292" y="2089510"/>
              <a:ext cx="2880707" cy="461665"/>
            </a:xfrm>
            <a:prstGeom prst="rect">
              <a:avLst/>
            </a:prstGeom>
          </p:spPr>
          <p:txBody>
            <a:bodyPr wrap="square">
              <a:spAutoFit/>
            </a:bodyPr>
            <a:lstStyle/>
            <a:p>
              <a:pPr defTabSz="801929">
                <a:defRPr/>
              </a:pPr>
              <a:r>
                <a:rPr lang="fr-FR" sz="2400" dirty="0">
                  <a:solidFill>
                    <a:schemeClr val="bg1"/>
                  </a:solidFill>
                </a:rPr>
                <a:t>Contexte général</a:t>
              </a:r>
            </a:p>
          </p:txBody>
        </p:sp>
        <p:sp>
          <p:nvSpPr>
            <p:cNvPr id="10" name="Freeform 429">
              <a:extLst>
                <a:ext uri="{FF2B5EF4-FFF2-40B4-BE49-F238E27FC236}">
                  <a16:creationId xmlns:a16="http://schemas.microsoft.com/office/drawing/2014/main" id="{7162DD11-C00C-47ED-84CA-471273AEF295}"/>
                </a:ext>
              </a:extLst>
            </p:cNvPr>
            <p:cNvSpPr>
              <a:spLocks noChangeAspect="1" noEditPoints="1"/>
            </p:cNvSpPr>
            <p:nvPr/>
          </p:nvSpPr>
          <p:spPr bwMode="auto">
            <a:xfrm>
              <a:off x="2907467" y="1987692"/>
              <a:ext cx="637200" cy="637200"/>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 name="Group 63">
            <a:extLst>
              <a:ext uri="{FF2B5EF4-FFF2-40B4-BE49-F238E27FC236}">
                <a16:creationId xmlns:a16="http://schemas.microsoft.com/office/drawing/2014/main" id="{0B8F20E0-6D87-49C6-AA3E-4AAEB21D373C}"/>
              </a:ext>
            </a:extLst>
          </p:cNvPr>
          <p:cNvGrpSpPr/>
          <p:nvPr/>
        </p:nvGrpSpPr>
        <p:grpSpPr>
          <a:xfrm>
            <a:off x="2544432" y="2842935"/>
            <a:ext cx="6973641" cy="686674"/>
            <a:chOff x="802315" y="1952711"/>
            <a:chExt cx="6973641" cy="686674"/>
          </a:xfrm>
        </p:grpSpPr>
        <p:sp>
          <p:nvSpPr>
            <p:cNvPr id="12" name="Oval 7">
              <a:extLst>
                <a:ext uri="{FF2B5EF4-FFF2-40B4-BE49-F238E27FC236}">
                  <a16:creationId xmlns:a16="http://schemas.microsoft.com/office/drawing/2014/main" id="{7C5B3F82-1B67-4F8D-B4E9-C17E7D0B2869}"/>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3" name="Straight Connector 8">
              <a:extLst>
                <a:ext uri="{FF2B5EF4-FFF2-40B4-BE49-F238E27FC236}">
                  <a16:creationId xmlns:a16="http://schemas.microsoft.com/office/drawing/2014/main" id="{A66C032C-1CA4-4111-90B9-334BC8E1F193}"/>
                </a:ext>
              </a:extLst>
            </p:cNvPr>
            <p:cNvCxnSpPr>
              <a:cxnSpLocks/>
              <a:endCxn id="12"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4" name="Rectangle 13">
              <a:extLst>
                <a:ext uri="{FF2B5EF4-FFF2-40B4-BE49-F238E27FC236}">
                  <a16:creationId xmlns:a16="http://schemas.microsoft.com/office/drawing/2014/main" id="{885258D9-7A47-4570-B1BF-85959FAC5DD3}"/>
                </a:ext>
              </a:extLst>
            </p:cNvPr>
            <p:cNvSpPr/>
            <p:nvPr/>
          </p:nvSpPr>
          <p:spPr>
            <a:xfrm>
              <a:off x="3723292" y="2089510"/>
              <a:ext cx="4052664" cy="461665"/>
            </a:xfrm>
            <a:prstGeom prst="rect">
              <a:avLst/>
            </a:prstGeom>
          </p:spPr>
          <p:txBody>
            <a:bodyPr wrap="square">
              <a:spAutoFit/>
            </a:bodyPr>
            <a:lstStyle/>
            <a:p>
              <a:pPr lvl="0" defTabSz="801929">
                <a:defRPr/>
              </a:pPr>
              <a:r>
                <a:rPr kumimoji="0" lang="fr-FR" sz="2400" i="0" u="none" strike="noStrike" kern="1200" cap="none" spc="0" normalizeH="0" baseline="0" dirty="0">
                  <a:ln>
                    <a:noFill/>
                  </a:ln>
                  <a:solidFill>
                    <a:schemeClr val="bg1"/>
                  </a:solidFill>
                  <a:effectLst/>
                  <a:uLnTx/>
                  <a:uFillTx/>
                </a:rPr>
                <a:t>Réalisation du Framework</a:t>
              </a:r>
            </a:p>
          </p:txBody>
        </p:sp>
      </p:grpSp>
      <p:grpSp>
        <p:nvGrpSpPr>
          <p:cNvPr id="16" name="Group 63">
            <a:extLst>
              <a:ext uri="{FF2B5EF4-FFF2-40B4-BE49-F238E27FC236}">
                <a16:creationId xmlns:a16="http://schemas.microsoft.com/office/drawing/2014/main" id="{C05A3CCE-25AE-4C98-8DDB-61A81871DD0B}"/>
              </a:ext>
            </a:extLst>
          </p:cNvPr>
          <p:cNvGrpSpPr/>
          <p:nvPr/>
        </p:nvGrpSpPr>
        <p:grpSpPr>
          <a:xfrm>
            <a:off x="2544432" y="4030064"/>
            <a:ext cx="5801684" cy="686674"/>
            <a:chOff x="802315" y="1952711"/>
            <a:chExt cx="5801684" cy="686674"/>
          </a:xfrm>
        </p:grpSpPr>
        <p:sp>
          <p:nvSpPr>
            <p:cNvPr id="17" name="Oval 7">
              <a:extLst>
                <a:ext uri="{FF2B5EF4-FFF2-40B4-BE49-F238E27FC236}">
                  <a16:creationId xmlns:a16="http://schemas.microsoft.com/office/drawing/2014/main" id="{9A40A8C0-ADBE-49A8-AF20-ED6B70D8A2BB}"/>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18" name="Straight Connector 8">
              <a:extLst>
                <a:ext uri="{FF2B5EF4-FFF2-40B4-BE49-F238E27FC236}">
                  <a16:creationId xmlns:a16="http://schemas.microsoft.com/office/drawing/2014/main" id="{1537A99F-9A5E-4663-AAEB-392C9ABA7984}"/>
                </a:ext>
              </a:extLst>
            </p:cNvPr>
            <p:cNvCxnSpPr>
              <a:cxnSpLocks/>
              <a:endCxn id="17" idx="2"/>
            </p:cNvCxnSpPr>
            <p:nvPr/>
          </p:nvCxnSpPr>
          <p:spPr>
            <a:xfrm flipV="1">
              <a:off x="802315" y="2296048"/>
              <a:ext cx="2080532" cy="21564"/>
            </a:xfrm>
            <a:prstGeom prst="line">
              <a:avLst/>
            </a:prstGeom>
            <a:noFill/>
            <a:ln w="22225" algn="ctr">
              <a:solidFill>
                <a:schemeClr val="tx1">
                  <a:lumMod val="50000"/>
                  <a:lumOff val="50000"/>
                </a:schemeClr>
              </a:solidFill>
              <a:prstDash val="sysDot"/>
              <a:miter lim="800000"/>
              <a:headEnd/>
              <a:tailEnd/>
            </a:ln>
          </p:spPr>
        </p:cxnSp>
        <p:sp>
          <p:nvSpPr>
            <p:cNvPr id="19" name="Rectangle 18">
              <a:extLst>
                <a:ext uri="{FF2B5EF4-FFF2-40B4-BE49-F238E27FC236}">
                  <a16:creationId xmlns:a16="http://schemas.microsoft.com/office/drawing/2014/main" id="{E10F6F53-AFE2-4355-BD2A-2E6EE2C4C6A2}"/>
                </a:ext>
              </a:extLst>
            </p:cNvPr>
            <p:cNvSpPr/>
            <p:nvPr/>
          </p:nvSpPr>
          <p:spPr>
            <a:xfrm>
              <a:off x="3723292" y="2089510"/>
              <a:ext cx="2880707" cy="461665"/>
            </a:xfrm>
            <a:prstGeom prst="rect">
              <a:avLst/>
            </a:prstGeom>
          </p:spPr>
          <p:txBody>
            <a:bodyPr wrap="square">
              <a:spAutoFit/>
            </a:bodyPr>
            <a:lstStyle/>
            <a:p>
              <a:pPr lvl="0" defTabSz="801929">
                <a:defRPr/>
              </a:pPr>
              <a:r>
                <a:rPr lang="fr-FR" sz="2400" dirty="0">
                  <a:solidFill>
                    <a:schemeClr val="bg1"/>
                  </a:solidFill>
                  <a:cs typeface="Segoe UI Semilight"/>
                </a:rPr>
                <a:t>Etude de cas</a:t>
              </a:r>
            </a:p>
          </p:txBody>
        </p:sp>
      </p:grpSp>
      <p:sp>
        <p:nvSpPr>
          <p:cNvPr id="30" name="Text Placeholder 4">
            <a:extLst>
              <a:ext uri="{FF2B5EF4-FFF2-40B4-BE49-F238E27FC236}">
                <a16:creationId xmlns:a16="http://schemas.microsoft.com/office/drawing/2014/main" id="{C671DE1E-8CF5-4017-BA5C-20065085BECE}"/>
              </a:ext>
            </a:extLst>
          </p:cNvPr>
          <p:cNvSpPr txBox="1">
            <a:spLocks/>
          </p:cNvSpPr>
          <p:nvPr>
            <p:custDataLst>
              <p:tags r:id="rId1"/>
            </p:custDataLst>
          </p:nvPr>
        </p:nvSpPr>
        <p:spPr>
          <a:xfrm rot="16200000">
            <a:off x="-2130301" y="3368453"/>
            <a:ext cx="6014144" cy="822766"/>
          </a:xfrm>
          <a:prstGeom prst="rect">
            <a:avLst/>
          </a:prstGeom>
        </p:spPr>
        <p:txBody>
          <a:bodyPr anchor="ctr"/>
          <a:lstStyle>
            <a:lvl1pPr marL="0" indent="0" algn="l" defTabSz="478851" rtl="0" eaLnBrk="1" latinLnBrk="0" hangingPunct="1">
              <a:lnSpc>
                <a:spcPct val="100000"/>
              </a:lnSpc>
              <a:spcBef>
                <a:spcPts val="0"/>
              </a:spcBef>
              <a:spcAft>
                <a:spcPts val="390"/>
              </a:spcAft>
              <a:buFont typeface="Arial"/>
              <a:buNone/>
              <a:defRPr sz="1200" b="0" i="0" kern="1200">
                <a:solidFill>
                  <a:schemeClr val="tx1">
                    <a:lumMod val="65000"/>
                    <a:lumOff val="35000"/>
                  </a:schemeClr>
                </a:solidFill>
                <a:latin typeface="Segoe UI Semilight" panose="020B0402040204020203" pitchFamily="34" charset="0"/>
                <a:ea typeface="+mn-ea"/>
                <a:cs typeface="Segoe UI Semilight" panose="020B0402040204020203" pitchFamily="34" charset="0"/>
              </a:defRPr>
            </a:lvl1pPr>
            <a:lvl2pPr marL="664417" indent="-185566" algn="l" defTabSz="478851" rtl="0" eaLnBrk="1" latinLnBrk="0" hangingPunct="1">
              <a:spcBef>
                <a:spcPct val="20000"/>
              </a:spcBef>
              <a:buFont typeface="Arial"/>
              <a:buChar char="•"/>
              <a:defRPr sz="800" kern="1200">
                <a:solidFill>
                  <a:srgbClr val="7F7F7F"/>
                </a:solidFill>
                <a:latin typeface="Open Sans"/>
                <a:ea typeface="+mn-ea"/>
                <a:cs typeface="+mn-cs"/>
              </a:defRPr>
            </a:lvl2pPr>
            <a:lvl3pPr marL="957703" indent="0" algn="l" defTabSz="478851" rtl="0" eaLnBrk="1" latinLnBrk="0" hangingPunct="1">
              <a:spcBef>
                <a:spcPct val="20000"/>
              </a:spcBef>
              <a:buFontTx/>
              <a:buNone/>
              <a:defRPr sz="800" kern="1200">
                <a:solidFill>
                  <a:srgbClr val="7F7F7F"/>
                </a:solidFill>
                <a:latin typeface="Open Sans"/>
                <a:ea typeface="+mn-ea"/>
                <a:cs typeface="+mn-cs"/>
              </a:defRPr>
            </a:lvl3pPr>
            <a:lvl4pPr marL="1436554" indent="0" algn="l" defTabSz="478851" rtl="0" eaLnBrk="1" latinLnBrk="0" hangingPunct="1">
              <a:spcBef>
                <a:spcPct val="20000"/>
              </a:spcBef>
              <a:buFontTx/>
              <a:buNone/>
              <a:defRPr sz="800" kern="1200">
                <a:solidFill>
                  <a:srgbClr val="7F7F7F"/>
                </a:solidFill>
                <a:latin typeface="Open Sans"/>
                <a:ea typeface="+mn-ea"/>
                <a:cs typeface="+mn-cs"/>
              </a:defRPr>
            </a:lvl4pPr>
            <a:lvl5pPr marL="1915405" indent="0" algn="l" defTabSz="478851" rtl="0" eaLnBrk="1" latinLnBrk="0" hangingPunct="1">
              <a:spcBef>
                <a:spcPct val="20000"/>
              </a:spcBef>
              <a:buFontTx/>
              <a:buNone/>
              <a:defRPr sz="800" kern="1200">
                <a:solidFill>
                  <a:srgbClr val="7F7F7F"/>
                </a:solidFill>
                <a:latin typeface="Open Sans"/>
                <a:ea typeface="+mn-ea"/>
                <a:cs typeface="+mn-cs"/>
              </a:defRPr>
            </a:lvl5pPr>
            <a:lvl6pPr marL="2633683" indent="-239426" algn="l" defTabSz="478851" rtl="0" eaLnBrk="1" latinLnBrk="0" hangingPunct="1">
              <a:spcBef>
                <a:spcPct val="20000"/>
              </a:spcBef>
              <a:buFont typeface="Arial"/>
              <a:buChar char="•"/>
              <a:defRPr sz="2100" kern="1200">
                <a:solidFill>
                  <a:schemeClr val="tx1"/>
                </a:solidFill>
                <a:latin typeface="+mn-lt"/>
                <a:ea typeface="+mn-ea"/>
                <a:cs typeface="+mn-cs"/>
              </a:defRPr>
            </a:lvl6pPr>
            <a:lvl7pPr marL="3112534" indent="-239426" algn="l" defTabSz="478851" rtl="0" eaLnBrk="1" latinLnBrk="0" hangingPunct="1">
              <a:spcBef>
                <a:spcPct val="20000"/>
              </a:spcBef>
              <a:buFont typeface="Arial"/>
              <a:buChar char="•"/>
              <a:defRPr sz="2100" kern="1200">
                <a:solidFill>
                  <a:schemeClr val="tx1"/>
                </a:solidFill>
                <a:latin typeface="+mn-lt"/>
                <a:ea typeface="+mn-ea"/>
                <a:cs typeface="+mn-cs"/>
              </a:defRPr>
            </a:lvl7pPr>
            <a:lvl8pPr marL="3591386" indent="-239426" algn="l" defTabSz="478851" rtl="0" eaLnBrk="1" latinLnBrk="0" hangingPunct="1">
              <a:spcBef>
                <a:spcPct val="20000"/>
              </a:spcBef>
              <a:buFont typeface="Arial"/>
              <a:buChar char="•"/>
              <a:defRPr sz="2100" kern="1200">
                <a:solidFill>
                  <a:schemeClr val="tx1"/>
                </a:solidFill>
                <a:latin typeface="+mn-lt"/>
                <a:ea typeface="+mn-ea"/>
                <a:cs typeface="+mn-cs"/>
              </a:defRPr>
            </a:lvl8pPr>
            <a:lvl9pPr marL="4070237" indent="-239426" algn="l" defTabSz="478851" rtl="0" eaLnBrk="1" latinLnBrk="0" hangingPunct="1">
              <a:spcBef>
                <a:spcPct val="20000"/>
              </a:spcBef>
              <a:buFont typeface="Arial"/>
              <a:buChar char="•"/>
              <a:defRPr sz="2100" kern="1200">
                <a:solidFill>
                  <a:schemeClr val="tx1"/>
                </a:solidFill>
                <a:latin typeface="+mn-lt"/>
                <a:ea typeface="+mn-ea"/>
                <a:cs typeface="+mn-cs"/>
              </a:defRPr>
            </a:lvl9pPr>
          </a:lstStyle>
          <a:p>
            <a:pPr marL="0" marR="0" lvl="0" indent="0" algn="ctr" defTabSz="419952" rtl="0" eaLnBrk="1" fontAlgn="auto" latinLnBrk="0" hangingPunct="1">
              <a:lnSpc>
                <a:spcPct val="100000"/>
              </a:lnSpc>
              <a:spcBef>
                <a:spcPts val="0"/>
              </a:spcBef>
              <a:spcAft>
                <a:spcPts val="342"/>
              </a:spcAft>
              <a:buClrTx/>
              <a:buSzTx/>
              <a:buFont typeface="Arial"/>
              <a:buNone/>
              <a:tabLst/>
              <a:defRPr/>
            </a:pPr>
            <a:r>
              <a:rPr kumimoji="0" lang="fr-FR" sz="4800" b="0" i="0" u="none" strike="noStrike" kern="1200" cap="none" spc="0" normalizeH="0" baseline="0" dirty="0">
                <a:ln>
                  <a:noFill/>
                </a:ln>
                <a:solidFill>
                  <a:schemeClr val="bg1"/>
                </a:solidFill>
                <a:effectLst/>
                <a:uLnTx/>
                <a:uFillTx/>
                <a:latin typeface="+mn-lt"/>
                <a:ea typeface="+mn-ea"/>
                <a:cs typeface="Segoe UI Semilight" panose="020B0402040204020203" pitchFamily="34" charset="0"/>
              </a:rPr>
              <a:t>Sommaire</a:t>
            </a:r>
          </a:p>
        </p:txBody>
      </p:sp>
      <p:sp>
        <p:nvSpPr>
          <p:cNvPr id="31" name="Freeform 580">
            <a:extLst>
              <a:ext uri="{FF2B5EF4-FFF2-40B4-BE49-F238E27FC236}">
                <a16:creationId xmlns:a16="http://schemas.microsoft.com/office/drawing/2014/main" id="{4185104E-85D0-44D5-A73F-6898F62737D0}"/>
              </a:ext>
            </a:extLst>
          </p:cNvPr>
          <p:cNvSpPr>
            <a:spLocks noChangeAspect="1" noEditPoints="1"/>
          </p:cNvSpPr>
          <p:nvPr/>
        </p:nvSpPr>
        <p:spPr bwMode="auto">
          <a:xfrm>
            <a:off x="4649584" y="2862460"/>
            <a:ext cx="637200" cy="635332"/>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Oval 16">
            <a:extLst>
              <a:ext uri="{FF2B5EF4-FFF2-40B4-BE49-F238E27FC236}">
                <a16:creationId xmlns:a16="http://schemas.microsoft.com/office/drawing/2014/main" id="{0E8A7F0C-06C2-46E5-BD73-94C959289B05}"/>
              </a:ext>
            </a:extLst>
          </p:cNvPr>
          <p:cNvSpPr/>
          <p:nvPr/>
        </p:nvSpPr>
        <p:spPr bwMode="gray">
          <a:xfrm>
            <a:off x="4621334" y="4026049"/>
            <a:ext cx="690304" cy="69030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sp>
        <p:nvSpPr>
          <p:cNvPr id="50" name="Freeform 438">
            <a:extLst>
              <a:ext uri="{FF2B5EF4-FFF2-40B4-BE49-F238E27FC236}">
                <a16:creationId xmlns:a16="http://schemas.microsoft.com/office/drawing/2014/main" id="{DCD66C00-2DA5-4F63-B405-2A7218B7BF82}"/>
              </a:ext>
            </a:extLst>
          </p:cNvPr>
          <p:cNvSpPr>
            <a:spLocks/>
          </p:cNvSpPr>
          <p:nvPr/>
        </p:nvSpPr>
        <p:spPr bwMode="auto">
          <a:xfrm>
            <a:off x="4979531" y="4303615"/>
            <a:ext cx="52570" cy="52570"/>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39">
            <a:extLst>
              <a:ext uri="{FF2B5EF4-FFF2-40B4-BE49-F238E27FC236}">
                <a16:creationId xmlns:a16="http://schemas.microsoft.com/office/drawing/2014/main" id="{1989DCC3-334B-4FCB-AC17-A6D8434A36A6}"/>
              </a:ext>
            </a:extLst>
          </p:cNvPr>
          <p:cNvSpPr>
            <a:spLocks/>
          </p:cNvSpPr>
          <p:nvPr/>
        </p:nvSpPr>
        <p:spPr bwMode="auto">
          <a:xfrm>
            <a:off x="4900676" y="4303615"/>
            <a:ext cx="52570" cy="52570"/>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41">
            <a:extLst>
              <a:ext uri="{FF2B5EF4-FFF2-40B4-BE49-F238E27FC236}">
                <a16:creationId xmlns:a16="http://schemas.microsoft.com/office/drawing/2014/main" id="{30CCB8BF-4B1B-4A30-89C5-D048FE623DCA}"/>
              </a:ext>
            </a:extLst>
          </p:cNvPr>
          <p:cNvSpPr>
            <a:spLocks/>
          </p:cNvSpPr>
          <p:nvPr/>
        </p:nvSpPr>
        <p:spPr bwMode="auto">
          <a:xfrm>
            <a:off x="4900676" y="4382470"/>
            <a:ext cx="52570" cy="52570"/>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2">
            <a:extLst>
              <a:ext uri="{FF2B5EF4-FFF2-40B4-BE49-F238E27FC236}">
                <a16:creationId xmlns:a16="http://schemas.microsoft.com/office/drawing/2014/main" id="{974E3478-9095-422D-984B-BE9523CE46EF}"/>
              </a:ext>
            </a:extLst>
          </p:cNvPr>
          <p:cNvSpPr>
            <a:spLocks/>
          </p:cNvSpPr>
          <p:nvPr/>
        </p:nvSpPr>
        <p:spPr bwMode="auto">
          <a:xfrm>
            <a:off x="4834963" y="4382470"/>
            <a:ext cx="118283" cy="11828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43">
            <a:extLst>
              <a:ext uri="{FF2B5EF4-FFF2-40B4-BE49-F238E27FC236}">
                <a16:creationId xmlns:a16="http://schemas.microsoft.com/office/drawing/2014/main" id="{E827EED2-D78C-4DA1-BAC9-30B1EBBAFADA}"/>
              </a:ext>
            </a:extLst>
          </p:cNvPr>
          <p:cNvSpPr>
            <a:spLocks/>
          </p:cNvSpPr>
          <p:nvPr/>
        </p:nvSpPr>
        <p:spPr bwMode="auto">
          <a:xfrm>
            <a:off x="4979531" y="4382470"/>
            <a:ext cx="52570" cy="52570"/>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40">
            <a:extLst>
              <a:ext uri="{FF2B5EF4-FFF2-40B4-BE49-F238E27FC236}">
                <a16:creationId xmlns:a16="http://schemas.microsoft.com/office/drawing/2014/main" id="{A6D51597-47E9-47DE-8741-9102DAB48B7A}"/>
              </a:ext>
            </a:extLst>
          </p:cNvPr>
          <p:cNvSpPr>
            <a:spLocks/>
          </p:cNvSpPr>
          <p:nvPr/>
        </p:nvSpPr>
        <p:spPr bwMode="auto">
          <a:xfrm>
            <a:off x="4834963" y="4237902"/>
            <a:ext cx="118283" cy="11828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444">
            <a:extLst>
              <a:ext uri="{FF2B5EF4-FFF2-40B4-BE49-F238E27FC236}">
                <a16:creationId xmlns:a16="http://schemas.microsoft.com/office/drawing/2014/main" id="{679F4214-5319-44FF-9861-976CDFCB4293}"/>
              </a:ext>
            </a:extLst>
          </p:cNvPr>
          <p:cNvSpPr>
            <a:spLocks noEditPoints="1"/>
          </p:cNvSpPr>
          <p:nvPr/>
        </p:nvSpPr>
        <p:spPr bwMode="auto">
          <a:xfrm>
            <a:off x="4647213" y="4050152"/>
            <a:ext cx="638350" cy="6383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45">
            <a:extLst>
              <a:ext uri="{FF2B5EF4-FFF2-40B4-BE49-F238E27FC236}">
                <a16:creationId xmlns:a16="http://schemas.microsoft.com/office/drawing/2014/main" id="{81701C87-DB66-4B62-99F1-B07A03833739}"/>
              </a:ext>
            </a:extLst>
          </p:cNvPr>
          <p:cNvSpPr>
            <a:spLocks/>
          </p:cNvSpPr>
          <p:nvPr/>
        </p:nvSpPr>
        <p:spPr bwMode="auto">
          <a:xfrm>
            <a:off x="4979531" y="4237902"/>
            <a:ext cx="118283" cy="11828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446">
            <a:extLst>
              <a:ext uri="{FF2B5EF4-FFF2-40B4-BE49-F238E27FC236}">
                <a16:creationId xmlns:a16="http://schemas.microsoft.com/office/drawing/2014/main" id="{B8D52DA5-BACB-4234-85C2-32EEB13ADF20}"/>
              </a:ext>
            </a:extLst>
          </p:cNvPr>
          <p:cNvSpPr>
            <a:spLocks/>
          </p:cNvSpPr>
          <p:nvPr/>
        </p:nvSpPr>
        <p:spPr bwMode="auto">
          <a:xfrm>
            <a:off x="4979531" y="4382470"/>
            <a:ext cx="118283" cy="11828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Rectangle 59">
            <a:extLst>
              <a:ext uri="{FF2B5EF4-FFF2-40B4-BE49-F238E27FC236}">
                <a16:creationId xmlns:a16="http://schemas.microsoft.com/office/drawing/2014/main" id="{FD3FA630-6445-4409-827A-899ABB7264D0}"/>
              </a:ext>
            </a:extLst>
          </p:cNvPr>
          <p:cNvSpPr/>
          <p:nvPr/>
        </p:nvSpPr>
        <p:spPr bwMode="gray">
          <a:xfrm>
            <a:off x="5665" y="-1"/>
            <a:ext cx="13461813" cy="7559676"/>
          </a:xfrm>
          <a:prstGeom prst="rect">
            <a:avLst/>
          </a:prstGeom>
          <a:solidFill>
            <a:schemeClr val="accent4">
              <a:lumMod val="50000"/>
              <a:alpha val="58824"/>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nvGrpSpPr>
          <p:cNvPr id="2" name="Groupe 1">
            <a:extLst>
              <a:ext uri="{FF2B5EF4-FFF2-40B4-BE49-F238E27FC236}">
                <a16:creationId xmlns:a16="http://schemas.microsoft.com/office/drawing/2014/main" id="{C3CF8EFC-6084-45BA-AEB7-F192699D5F66}"/>
              </a:ext>
            </a:extLst>
          </p:cNvPr>
          <p:cNvGrpSpPr/>
          <p:nvPr/>
        </p:nvGrpSpPr>
        <p:grpSpPr>
          <a:xfrm>
            <a:off x="1870364" y="5217194"/>
            <a:ext cx="7190509" cy="686674"/>
            <a:chOff x="1870364" y="5217194"/>
            <a:chExt cx="7190509" cy="686674"/>
          </a:xfrm>
        </p:grpSpPr>
        <p:grpSp>
          <p:nvGrpSpPr>
            <p:cNvPr id="21" name="Group 63">
              <a:extLst>
                <a:ext uri="{FF2B5EF4-FFF2-40B4-BE49-F238E27FC236}">
                  <a16:creationId xmlns:a16="http://schemas.microsoft.com/office/drawing/2014/main" id="{754166C1-C37B-40D0-BFA2-84451516CF50}"/>
                </a:ext>
              </a:extLst>
            </p:cNvPr>
            <p:cNvGrpSpPr/>
            <p:nvPr/>
          </p:nvGrpSpPr>
          <p:grpSpPr>
            <a:xfrm>
              <a:off x="1870364" y="5217194"/>
              <a:ext cx="7190509" cy="686674"/>
              <a:chOff x="128247" y="1952711"/>
              <a:chExt cx="7190509" cy="686674"/>
            </a:xfrm>
          </p:grpSpPr>
          <p:sp>
            <p:nvSpPr>
              <p:cNvPr id="22" name="Oval 7">
                <a:extLst>
                  <a:ext uri="{FF2B5EF4-FFF2-40B4-BE49-F238E27FC236}">
                    <a16:creationId xmlns:a16="http://schemas.microsoft.com/office/drawing/2014/main" id="{956D872D-E387-46D6-83EA-9AF1F1621612}"/>
                  </a:ext>
                </a:extLst>
              </p:cNvPr>
              <p:cNvSpPr/>
              <p:nvPr/>
            </p:nvSpPr>
            <p:spPr bwMode="gray">
              <a:xfrm>
                <a:off x="2882847" y="1952711"/>
                <a:ext cx="686674" cy="686674"/>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l"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2400" b="1" i="0" u="none" strike="noStrike" kern="1200" cap="none" spc="0" normalizeH="0" baseline="0">
                  <a:ln>
                    <a:noFill/>
                  </a:ln>
                  <a:solidFill>
                    <a:prstClr val="white"/>
                  </a:solidFill>
                  <a:effectLst/>
                  <a:uLnTx/>
                  <a:uFillTx/>
                  <a:ea typeface="+mn-ea"/>
                  <a:cs typeface="+mn-cs"/>
                </a:endParaRPr>
              </a:p>
            </p:txBody>
          </p:sp>
          <p:cxnSp>
            <p:nvCxnSpPr>
              <p:cNvPr id="23" name="Straight Connector 8">
                <a:extLst>
                  <a:ext uri="{FF2B5EF4-FFF2-40B4-BE49-F238E27FC236}">
                    <a16:creationId xmlns:a16="http://schemas.microsoft.com/office/drawing/2014/main" id="{61F7FBBA-33DF-41AF-A4C7-C4ABC9BBAABF}"/>
                  </a:ext>
                </a:extLst>
              </p:cNvPr>
              <p:cNvCxnSpPr>
                <a:cxnSpLocks/>
                <a:endCxn id="22" idx="2"/>
              </p:cNvCxnSpPr>
              <p:nvPr/>
            </p:nvCxnSpPr>
            <p:spPr>
              <a:xfrm>
                <a:off x="128247" y="2296048"/>
                <a:ext cx="2754600" cy="0"/>
              </a:xfrm>
              <a:prstGeom prst="line">
                <a:avLst/>
              </a:prstGeom>
              <a:noFill/>
              <a:ln w="22225" algn="ctr">
                <a:solidFill>
                  <a:schemeClr val="tx1">
                    <a:lumMod val="50000"/>
                    <a:lumOff val="50000"/>
                  </a:schemeClr>
                </a:solidFill>
                <a:prstDash val="sysDot"/>
                <a:miter lim="800000"/>
                <a:headEnd/>
                <a:tailEnd/>
              </a:ln>
            </p:spPr>
          </p:cxnSp>
          <p:sp>
            <p:nvSpPr>
              <p:cNvPr id="24" name="Rectangle 23">
                <a:extLst>
                  <a:ext uri="{FF2B5EF4-FFF2-40B4-BE49-F238E27FC236}">
                    <a16:creationId xmlns:a16="http://schemas.microsoft.com/office/drawing/2014/main" id="{E1067234-0B57-4D51-AA9E-C3F5D84BD506}"/>
                  </a:ext>
                </a:extLst>
              </p:cNvPr>
              <p:cNvSpPr/>
              <p:nvPr/>
            </p:nvSpPr>
            <p:spPr>
              <a:xfrm>
                <a:off x="3723292" y="2089510"/>
                <a:ext cx="3595464" cy="461665"/>
              </a:xfrm>
              <a:prstGeom prst="rect">
                <a:avLst/>
              </a:prstGeom>
            </p:spPr>
            <p:txBody>
              <a:bodyPr wrap="square">
                <a:spAutoFit/>
              </a:bodyPr>
              <a:lstStyle/>
              <a:p>
                <a:pPr defTabSz="801929">
                  <a:defRPr/>
                </a:pPr>
                <a:r>
                  <a:rPr lang="fr-FR" sz="2400" dirty="0">
                    <a:solidFill>
                      <a:schemeClr val="bg1"/>
                    </a:solidFill>
                  </a:rPr>
                  <a:t>Conclusion et perspectives</a:t>
                </a:r>
              </a:p>
            </p:txBody>
          </p:sp>
        </p:grpSp>
        <p:sp>
          <p:nvSpPr>
            <p:cNvPr id="59" name="Freeform 528">
              <a:extLst>
                <a:ext uri="{FF2B5EF4-FFF2-40B4-BE49-F238E27FC236}">
                  <a16:creationId xmlns:a16="http://schemas.microsoft.com/office/drawing/2014/main" id="{2655AD68-470A-4F7E-BF38-1D1C6D555289}"/>
                </a:ext>
              </a:extLst>
            </p:cNvPr>
            <p:cNvSpPr>
              <a:spLocks noChangeAspect="1" noEditPoints="1"/>
            </p:cNvSpPr>
            <p:nvPr/>
          </p:nvSpPr>
          <p:spPr bwMode="auto">
            <a:xfrm>
              <a:off x="4648363" y="5241931"/>
              <a:ext cx="637200" cy="63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bg1"/>
            </a:solidFill>
            <a:ln>
              <a:noFill/>
            </a:ln>
          </p:spPr>
          <p:txBody>
            <a:bodyPr vert="horz" wrap="square" lIns="182880" tIns="91440" rIns="182880" bIns="91440" numCol="1" anchor="t" anchorCtr="0" compatLnSpc="1">
              <a:prstTxWarp prst="textNoShape">
                <a:avLst/>
              </a:prstTxWarp>
            </a:bodyPr>
            <a:lstStyle/>
            <a:p>
              <a:pPr defTabSz="1828800"/>
              <a:endParaRPr lang="en-GB">
                <a:solidFill>
                  <a:prstClr val="black"/>
                </a:solidFill>
                <a:latin typeface="Verdana"/>
              </a:endParaRPr>
            </a:p>
          </p:txBody>
        </p:sp>
      </p:grpSp>
      <p:sp>
        <p:nvSpPr>
          <p:cNvPr id="5" name="Oval 18">
            <a:extLst>
              <a:ext uri="{FF2B5EF4-FFF2-40B4-BE49-F238E27FC236}">
                <a16:creationId xmlns:a16="http://schemas.microsoft.com/office/drawing/2014/main" id="{562886F5-F9D2-41B4-B6B7-9ADBAB09AF80}"/>
              </a:ext>
            </a:extLst>
          </p:cNvPr>
          <p:cNvSpPr/>
          <p:nvPr/>
        </p:nvSpPr>
        <p:spPr bwMode="gray">
          <a:xfrm>
            <a:off x="-2648726" y="1153149"/>
            <a:ext cx="5253376" cy="5253376"/>
          </a:xfrm>
          <a:prstGeom prst="ellipse">
            <a:avLst/>
          </a:prstGeom>
          <a:noFill/>
          <a:ln w="22225" algn="ctr">
            <a:solidFill>
              <a:schemeClr val="tx1">
                <a:lumMod val="50000"/>
                <a:lumOff val="50000"/>
              </a:schemeClr>
            </a:solidFill>
            <a:prstDash val="sysDot"/>
            <a:miter lim="800000"/>
            <a:headEnd/>
            <a:tailEnd/>
          </a:ln>
        </p:spPr>
        <p:txBody>
          <a:bodyPr wrap="square" lIns="77961" tIns="77961" rIns="77961" bIns="77961" rtlCol="0" anchor="ctr"/>
          <a:lstStyle/>
          <a:p>
            <a:pPr marL="0" marR="0" lvl="0" indent="0" algn="ctr" defTabSz="801929" rtl="0" eaLnBrk="1" fontAlgn="auto" latinLnBrk="0" hangingPunct="1">
              <a:lnSpc>
                <a:spcPct val="106000"/>
              </a:lnSpc>
              <a:spcBef>
                <a:spcPts val="0"/>
              </a:spcBef>
              <a:spcAft>
                <a:spcPts val="0"/>
              </a:spcAft>
              <a:buClrTx/>
              <a:buSzTx/>
              <a:buFont typeface="Wingdings 2" pitchFamily="18" charset="2"/>
              <a:buNone/>
              <a:tabLst/>
              <a:defRPr/>
            </a:pPr>
            <a:endParaRPr kumimoji="0" lang="fr-FR" sz="1403" b="1" i="0" u="none" strike="noStrike" kern="1200" cap="none" spc="0" normalizeH="0" baseline="0">
              <a:ln>
                <a:noFill/>
              </a:ln>
              <a:solidFill>
                <a:prstClr val="white"/>
              </a:solidFill>
              <a:effectLst/>
              <a:uLnTx/>
              <a:uFillTx/>
              <a:ea typeface="+mn-ea"/>
              <a:cs typeface="+mn-cs"/>
            </a:endParaRPr>
          </a:p>
        </p:txBody>
      </p:sp>
    </p:spTree>
    <p:extLst>
      <p:ext uri="{BB962C8B-B14F-4D97-AF65-F5344CB8AC3E}">
        <p14:creationId xmlns:p14="http://schemas.microsoft.com/office/powerpoint/2010/main" val="195497488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20">
            <a:extLst>
              <a:ext uri="{FF2B5EF4-FFF2-40B4-BE49-F238E27FC236}">
                <a16:creationId xmlns:a16="http://schemas.microsoft.com/office/drawing/2014/main" id="{88FEB537-EC55-4150-A542-18D9FF0ABEF4}"/>
              </a:ext>
            </a:extLst>
          </p:cNvPr>
          <p:cNvPicPr>
            <a:picLocks noChangeAspect="1"/>
          </p:cNvPicPr>
          <p:nvPr/>
        </p:nvPicPr>
        <p:blipFill rotWithShape="1">
          <a:blip r:embed="rId3"/>
          <a:srcRect l="18381"/>
          <a:stretch/>
        </p:blipFill>
        <p:spPr>
          <a:xfrm>
            <a:off x="0" y="2742187"/>
            <a:ext cx="13439775" cy="4238254"/>
          </a:xfrm>
          <a:prstGeom prst="rect">
            <a:avLst/>
          </a:prstGeom>
        </p:spPr>
      </p:pic>
      <p:grpSp>
        <p:nvGrpSpPr>
          <p:cNvPr id="42" name="Groupe 41">
            <a:extLst>
              <a:ext uri="{FF2B5EF4-FFF2-40B4-BE49-F238E27FC236}">
                <a16:creationId xmlns:a16="http://schemas.microsoft.com/office/drawing/2014/main" id="{5B865F31-7D89-4D58-BA48-2A35B33F67D2}"/>
              </a:ext>
            </a:extLst>
          </p:cNvPr>
          <p:cNvGrpSpPr/>
          <p:nvPr/>
        </p:nvGrpSpPr>
        <p:grpSpPr>
          <a:xfrm>
            <a:off x="2333667" y="1900831"/>
            <a:ext cx="8772441" cy="1170003"/>
            <a:chOff x="3500986" y="2026561"/>
            <a:chExt cx="8772441" cy="1170003"/>
          </a:xfrm>
        </p:grpSpPr>
        <p:sp>
          <p:nvSpPr>
            <p:cNvPr id="6" name="矩形 32">
              <a:extLst>
                <a:ext uri="{FF2B5EF4-FFF2-40B4-BE49-F238E27FC236}">
                  <a16:creationId xmlns:a16="http://schemas.microsoft.com/office/drawing/2014/main" id="{847A92B0-1BA6-406F-89CC-6FCC258A38C9}"/>
                </a:ext>
              </a:extLst>
            </p:cNvPr>
            <p:cNvSpPr/>
            <p:nvPr/>
          </p:nvSpPr>
          <p:spPr bwMode="gray">
            <a:xfrm>
              <a:off x="4668305" y="2026561"/>
              <a:ext cx="7499707" cy="1170000"/>
            </a:xfrm>
            <a:prstGeom prst="rect">
              <a:avLst/>
            </a:prstGeom>
            <a:solidFill>
              <a:srgbClr val="FFFFFF"/>
            </a:solidFill>
            <a:ln w="19050" algn="ctr">
              <a:solidFill>
                <a:schemeClr val="accent2"/>
              </a:solidFill>
              <a:miter lim="800000"/>
              <a:headEnd/>
              <a:tailEnd/>
            </a:ln>
          </p:spPr>
          <p:txBody>
            <a:bodyPr wrap="square" lIns="1080000" tIns="88900" rIns="108000" bIns="88900" rtlCol="0" anchor="ctr" anchorCtr="1"/>
            <a:lstStyle/>
            <a:p>
              <a:r>
                <a:rPr lang="fr-FR" dirty="0">
                  <a:solidFill>
                    <a:srgbClr val="000000"/>
                  </a:solidFill>
                  <a:ea typeface="Lato" pitchFamily="34" charset="0"/>
                  <a:cs typeface="Lato" pitchFamily="34" charset="0"/>
                </a:rPr>
                <a:t>Impliquer les utilisateurs finaux et les parties prenantes.</a:t>
              </a:r>
              <a:endParaRPr lang="en-US" dirty="0">
                <a:solidFill>
                  <a:srgbClr val="000000"/>
                </a:solidFill>
                <a:ea typeface="Lato" pitchFamily="34" charset="0"/>
                <a:cs typeface="Lato" pitchFamily="34" charset="0"/>
              </a:endParaRPr>
            </a:p>
          </p:txBody>
        </p:sp>
        <p:sp>
          <p:nvSpPr>
            <p:cNvPr id="7" name="任意多边形 37">
              <a:extLst>
                <a:ext uri="{FF2B5EF4-FFF2-40B4-BE49-F238E27FC236}">
                  <a16:creationId xmlns:a16="http://schemas.microsoft.com/office/drawing/2014/main" id="{A95EEB93-170D-4C9E-BA26-9D099421B3CE}"/>
                </a:ext>
              </a:extLst>
            </p:cNvPr>
            <p:cNvSpPr/>
            <p:nvPr/>
          </p:nvSpPr>
          <p:spPr bwMode="gray">
            <a:xfrm>
              <a:off x="3500986" y="2026564"/>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2">
                <a:lumMod val="40000"/>
                <a:lumOff val="60000"/>
              </a:schemeClr>
            </a:solidFill>
            <a:ln w="19050" algn="ctr">
              <a:solidFill>
                <a:schemeClr val="accent2"/>
              </a:solidFill>
              <a:miter lim="800000"/>
              <a:headEnd/>
              <a:tailEnd/>
            </a:ln>
          </p:spPr>
          <p:txBody>
            <a:bodyPr wrap="square" lIns="88900" tIns="88900" rIns="88900" bIns="88900" rtlCol="0" anchor="ctr"/>
            <a:lstStyle/>
            <a:p>
              <a:pPr algn="ctr">
                <a:buFont typeface="Wingdings 2" pitchFamily="18" charset="2"/>
                <a:buNone/>
              </a:pPr>
              <a:endParaRPr lang="en-US" b="1" dirty="0">
                <a:solidFill>
                  <a:schemeClr val="bg1"/>
                </a:solidFill>
              </a:endParaRPr>
            </a:p>
          </p:txBody>
        </p:sp>
        <p:sp>
          <p:nvSpPr>
            <p:cNvPr id="8" name="任意多边形 38">
              <a:extLst>
                <a:ext uri="{FF2B5EF4-FFF2-40B4-BE49-F238E27FC236}">
                  <a16:creationId xmlns:a16="http://schemas.microsoft.com/office/drawing/2014/main" id="{734BC65F-8BFB-4EB2-9364-5D654AE6BDE0}"/>
                </a:ext>
              </a:extLst>
            </p:cNvPr>
            <p:cNvSpPr/>
            <p:nvPr/>
          </p:nvSpPr>
          <p:spPr bwMode="gray">
            <a:xfrm flipH="1" flipV="1">
              <a:off x="4668305" y="2026563"/>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2"/>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b="1" dirty="0">
                <a:solidFill>
                  <a:schemeClr val="bg1"/>
                </a:solidFill>
              </a:endParaRPr>
            </a:p>
          </p:txBody>
        </p:sp>
        <p:sp>
          <p:nvSpPr>
            <p:cNvPr id="9" name="文本框 35">
              <a:extLst>
                <a:ext uri="{FF2B5EF4-FFF2-40B4-BE49-F238E27FC236}">
                  <a16:creationId xmlns:a16="http://schemas.microsoft.com/office/drawing/2014/main" id="{702F4C0F-8852-4836-AE77-E6E9D5E6992A}"/>
                </a:ext>
              </a:extLst>
            </p:cNvPr>
            <p:cNvSpPr txBox="1"/>
            <p:nvPr/>
          </p:nvSpPr>
          <p:spPr>
            <a:xfrm>
              <a:off x="4825655" y="2321247"/>
              <a:ext cx="694967" cy="553998"/>
            </a:xfrm>
            <a:prstGeom prst="rect">
              <a:avLst/>
            </a:prstGeom>
            <a:noFill/>
          </p:spPr>
          <p:txBody>
            <a:bodyPr wrap="square" lIns="0" tIns="0" rIns="0" bIns="0" rtlCol="0">
              <a:spAutoFit/>
            </a:bodyPr>
            <a:lstStyle/>
            <a:p>
              <a:pPr>
                <a:buSzPct val="100000"/>
              </a:pPr>
              <a:r>
                <a:rPr lang="en-US" sz="3600" b="1" dirty="0">
                  <a:solidFill>
                    <a:srgbClr val="FFFFFF"/>
                  </a:solidFill>
                </a:rPr>
                <a:t>01</a:t>
              </a:r>
            </a:p>
          </p:txBody>
        </p:sp>
        <p:sp>
          <p:nvSpPr>
            <p:cNvPr id="10" name="矩形 36">
              <a:extLst>
                <a:ext uri="{FF2B5EF4-FFF2-40B4-BE49-F238E27FC236}">
                  <a16:creationId xmlns:a16="http://schemas.microsoft.com/office/drawing/2014/main" id="{38934224-B71F-434C-A864-E99EC74725AD}"/>
                </a:ext>
              </a:extLst>
            </p:cNvPr>
            <p:cNvSpPr/>
            <p:nvPr/>
          </p:nvSpPr>
          <p:spPr bwMode="gray">
            <a:xfrm>
              <a:off x="12168012" y="2026561"/>
              <a:ext cx="105415" cy="1170000"/>
            </a:xfrm>
            <a:prstGeom prst="rect">
              <a:avLst/>
            </a:prstGeom>
            <a:solidFill>
              <a:schemeClr val="accent2"/>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b="1" dirty="0">
                <a:solidFill>
                  <a:schemeClr val="bg1"/>
                </a:solidFill>
              </a:endParaRPr>
            </a:p>
          </p:txBody>
        </p:sp>
        <p:grpSp>
          <p:nvGrpSpPr>
            <p:cNvPr id="29" name="Groupe 28">
              <a:extLst>
                <a:ext uri="{FF2B5EF4-FFF2-40B4-BE49-F238E27FC236}">
                  <a16:creationId xmlns:a16="http://schemas.microsoft.com/office/drawing/2014/main" id="{AED4052F-929C-4370-A9FE-486E0BF80107}"/>
                </a:ext>
              </a:extLst>
            </p:cNvPr>
            <p:cNvGrpSpPr/>
            <p:nvPr/>
          </p:nvGrpSpPr>
          <p:grpSpPr>
            <a:xfrm>
              <a:off x="3997887" y="2445371"/>
              <a:ext cx="468000" cy="468000"/>
              <a:chOff x="858644" y="1449659"/>
              <a:chExt cx="1369608" cy="1368000"/>
            </a:xfrm>
          </p:grpSpPr>
          <p:pic>
            <p:nvPicPr>
              <p:cNvPr id="26" name="Graphique 25" descr="Questions contour">
                <a:extLst>
                  <a:ext uri="{FF2B5EF4-FFF2-40B4-BE49-F238E27FC236}">
                    <a16:creationId xmlns:a16="http://schemas.microsoft.com/office/drawing/2014/main" id="{1EF00B20-2FC8-456B-94DC-6AC48D4E5B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2111" y="1572322"/>
                <a:ext cx="1122674" cy="1122674"/>
              </a:xfrm>
              <a:prstGeom prst="rect">
                <a:avLst/>
              </a:prstGeom>
            </p:spPr>
          </p:pic>
          <p:sp>
            <p:nvSpPr>
              <p:cNvPr id="28" name="Ellipse 27">
                <a:extLst>
                  <a:ext uri="{FF2B5EF4-FFF2-40B4-BE49-F238E27FC236}">
                    <a16:creationId xmlns:a16="http://schemas.microsoft.com/office/drawing/2014/main" id="{CBF25018-0997-4B99-A20A-06F8D8F7E299}"/>
                  </a:ext>
                </a:extLst>
              </p:cNvPr>
              <p:cNvSpPr/>
              <p:nvPr/>
            </p:nvSpPr>
            <p:spPr bwMode="gray">
              <a:xfrm>
                <a:off x="858644" y="1449659"/>
                <a:ext cx="1369608" cy="1368000"/>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b="1" dirty="0">
                  <a:solidFill>
                    <a:schemeClr val="bg1"/>
                  </a:solidFill>
                </a:endParaRPr>
              </a:p>
            </p:txBody>
          </p:sp>
        </p:grpSp>
      </p:grpSp>
      <p:grpSp>
        <p:nvGrpSpPr>
          <p:cNvPr id="41" name="Groupe 40">
            <a:extLst>
              <a:ext uri="{FF2B5EF4-FFF2-40B4-BE49-F238E27FC236}">
                <a16:creationId xmlns:a16="http://schemas.microsoft.com/office/drawing/2014/main" id="{4BC33681-33EF-4BF4-AF20-4B5E4BA642B8}"/>
              </a:ext>
            </a:extLst>
          </p:cNvPr>
          <p:cNvGrpSpPr/>
          <p:nvPr/>
        </p:nvGrpSpPr>
        <p:grpSpPr>
          <a:xfrm>
            <a:off x="2186426" y="3340000"/>
            <a:ext cx="9066923" cy="1170000"/>
            <a:chOff x="2333667" y="3194282"/>
            <a:chExt cx="9066923" cy="1170000"/>
          </a:xfrm>
        </p:grpSpPr>
        <p:sp>
          <p:nvSpPr>
            <p:cNvPr id="11" name="矩形 24">
              <a:extLst>
                <a:ext uri="{FF2B5EF4-FFF2-40B4-BE49-F238E27FC236}">
                  <a16:creationId xmlns:a16="http://schemas.microsoft.com/office/drawing/2014/main" id="{05559567-EADE-4F96-AFB6-612F49969B5A}"/>
                </a:ext>
              </a:extLst>
            </p:cNvPr>
            <p:cNvSpPr/>
            <p:nvPr/>
          </p:nvSpPr>
          <p:spPr bwMode="gray">
            <a:xfrm>
              <a:off x="3500986" y="3194282"/>
              <a:ext cx="7794189" cy="1170000"/>
            </a:xfrm>
            <a:prstGeom prst="rect">
              <a:avLst/>
            </a:prstGeom>
            <a:solidFill>
              <a:srgbClr val="FFFFFF"/>
            </a:solidFill>
            <a:ln w="19050" algn="ctr">
              <a:solidFill>
                <a:schemeClr val="accent2">
                  <a:lumMod val="60000"/>
                  <a:lumOff val="40000"/>
                </a:schemeClr>
              </a:solidFill>
              <a:miter lim="800000"/>
              <a:headEnd/>
              <a:tailEnd/>
            </a:ln>
          </p:spPr>
          <p:txBody>
            <a:bodyPr wrap="square" lIns="1404000" tIns="88900" rIns="324000" bIns="88900" rtlCol="0" anchor="ctr" anchorCtr="1"/>
            <a:lstStyle/>
            <a:p>
              <a:r>
                <a:rPr lang="fr-FR" dirty="0">
                  <a:solidFill>
                    <a:srgbClr val="000000"/>
                  </a:solidFill>
                  <a:ea typeface="Lato" pitchFamily="34" charset="0"/>
                  <a:cs typeface="Lato" pitchFamily="34" charset="0"/>
                </a:rPr>
                <a:t>Suivre les évolutions technologiques et les nouvelles tendances.</a:t>
              </a:r>
              <a:endParaRPr lang="en-US" dirty="0">
                <a:solidFill>
                  <a:srgbClr val="000000"/>
                </a:solidFill>
                <a:ea typeface="Lato" pitchFamily="34" charset="0"/>
                <a:cs typeface="Lato" pitchFamily="34" charset="0"/>
              </a:endParaRPr>
            </a:p>
          </p:txBody>
        </p:sp>
        <p:sp>
          <p:nvSpPr>
            <p:cNvPr id="12" name="任意多边形 29">
              <a:extLst>
                <a:ext uri="{FF2B5EF4-FFF2-40B4-BE49-F238E27FC236}">
                  <a16:creationId xmlns:a16="http://schemas.microsoft.com/office/drawing/2014/main" id="{8D4CCD11-0DF2-4583-9427-DF84CDEACDF1}"/>
                </a:ext>
              </a:extLst>
            </p:cNvPr>
            <p:cNvSpPr/>
            <p:nvPr/>
          </p:nvSpPr>
          <p:spPr bwMode="gray">
            <a:xfrm>
              <a:off x="2333667" y="319428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2">
                <a:lumMod val="40000"/>
                <a:lumOff val="60000"/>
              </a:schemeClr>
            </a:solidFill>
            <a:ln w="19050" algn="ctr">
              <a:solidFill>
                <a:schemeClr val="accent2">
                  <a:lumMod val="60000"/>
                  <a:lumOff val="40000"/>
                </a:schemeClr>
              </a:solidFill>
              <a:miter lim="800000"/>
              <a:headEnd/>
              <a:tailEnd/>
            </a:ln>
          </p:spPr>
          <p:txBody>
            <a:bodyPr wrap="square" lIns="88900" tIns="88900" rIns="88900" bIns="88900" rtlCol="0" anchor="ctr"/>
            <a:lstStyle/>
            <a:p>
              <a:pPr algn="ctr">
                <a:buFont typeface="Wingdings 2" pitchFamily="18" charset="2"/>
                <a:buNone/>
              </a:pPr>
              <a:endParaRPr lang="en-US" b="1" dirty="0">
                <a:solidFill>
                  <a:schemeClr val="bg1"/>
                </a:solidFill>
              </a:endParaRPr>
            </a:p>
          </p:txBody>
        </p:sp>
        <p:sp>
          <p:nvSpPr>
            <p:cNvPr id="13" name="任意多边形 30">
              <a:extLst>
                <a:ext uri="{FF2B5EF4-FFF2-40B4-BE49-F238E27FC236}">
                  <a16:creationId xmlns:a16="http://schemas.microsoft.com/office/drawing/2014/main" id="{91C48917-6D4B-4ED9-A591-EC9CA61939AF}"/>
                </a:ext>
              </a:extLst>
            </p:cNvPr>
            <p:cNvSpPr/>
            <p:nvPr/>
          </p:nvSpPr>
          <p:spPr bwMode="gray">
            <a:xfrm flipH="1" flipV="1">
              <a:off x="3500986" y="319428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2">
                <a:lumMod val="60000"/>
                <a:lumOff val="40000"/>
              </a:schemeClr>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b="1" dirty="0">
                <a:solidFill>
                  <a:schemeClr val="bg1"/>
                </a:solidFill>
              </a:endParaRPr>
            </a:p>
          </p:txBody>
        </p:sp>
        <p:sp>
          <p:nvSpPr>
            <p:cNvPr id="14" name="文本框 27">
              <a:extLst>
                <a:ext uri="{FF2B5EF4-FFF2-40B4-BE49-F238E27FC236}">
                  <a16:creationId xmlns:a16="http://schemas.microsoft.com/office/drawing/2014/main" id="{1935FB17-4D7C-4977-9CEA-50E4075324C7}"/>
                </a:ext>
              </a:extLst>
            </p:cNvPr>
            <p:cNvSpPr txBox="1"/>
            <p:nvPr/>
          </p:nvSpPr>
          <p:spPr>
            <a:xfrm>
              <a:off x="3658336" y="3497395"/>
              <a:ext cx="694967" cy="553998"/>
            </a:xfrm>
            <a:prstGeom prst="rect">
              <a:avLst/>
            </a:prstGeom>
            <a:noFill/>
          </p:spPr>
          <p:txBody>
            <a:bodyPr wrap="square" lIns="0" tIns="0" rIns="0" bIns="0" rtlCol="0">
              <a:spAutoFit/>
            </a:bodyPr>
            <a:lstStyle/>
            <a:p>
              <a:pPr>
                <a:buSzPct val="100000"/>
              </a:pPr>
              <a:r>
                <a:rPr lang="en-US" sz="3600" b="1" dirty="0">
                  <a:solidFill>
                    <a:srgbClr val="FFFFFF"/>
                  </a:solidFill>
                </a:rPr>
                <a:t>02</a:t>
              </a:r>
            </a:p>
          </p:txBody>
        </p:sp>
        <p:sp>
          <p:nvSpPr>
            <p:cNvPr id="15" name="矩形 39">
              <a:extLst>
                <a:ext uri="{FF2B5EF4-FFF2-40B4-BE49-F238E27FC236}">
                  <a16:creationId xmlns:a16="http://schemas.microsoft.com/office/drawing/2014/main" id="{253599BA-DA44-4F68-A3E2-0424016142D9}"/>
                </a:ext>
              </a:extLst>
            </p:cNvPr>
            <p:cNvSpPr/>
            <p:nvPr/>
          </p:nvSpPr>
          <p:spPr bwMode="gray">
            <a:xfrm>
              <a:off x="11295175" y="3194282"/>
              <a:ext cx="105415" cy="1170000"/>
            </a:xfrm>
            <a:prstGeom prst="rect">
              <a:avLst/>
            </a:prstGeom>
            <a:solidFill>
              <a:schemeClr val="accent2">
                <a:lumMod val="40000"/>
                <a:lumOff val="60000"/>
              </a:schemeClr>
            </a:solidFill>
            <a:ln w="19050" algn="ctr">
              <a:solidFill>
                <a:schemeClr val="accent2">
                  <a:lumMod val="60000"/>
                  <a:lumOff val="40000"/>
                </a:schemeClr>
              </a:solidFill>
              <a:miter lim="800000"/>
              <a:headEnd/>
              <a:tailEnd/>
            </a:ln>
          </p:spPr>
          <p:txBody>
            <a:bodyPr wrap="square" lIns="88900" tIns="88900" rIns="88900" bIns="88900" rtlCol="0" anchor="ctr"/>
            <a:lstStyle/>
            <a:p>
              <a:pPr algn="ctr">
                <a:buFont typeface="Wingdings 2" pitchFamily="18" charset="2"/>
                <a:buNone/>
              </a:pPr>
              <a:endParaRPr lang="en-US" b="1" dirty="0">
                <a:solidFill>
                  <a:schemeClr val="bg1"/>
                </a:solidFill>
              </a:endParaRPr>
            </a:p>
          </p:txBody>
        </p:sp>
        <p:grpSp>
          <p:nvGrpSpPr>
            <p:cNvPr id="33" name="Groupe 32">
              <a:extLst>
                <a:ext uri="{FF2B5EF4-FFF2-40B4-BE49-F238E27FC236}">
                  <a16:creationId xmlns:a16="http://schemas.microsoft.com/office/drawing/2014/main" id="{2C647C21-2494-49A4-A02C-B1E3415ACB37}"/>
                </a:ext>
              </a:extLst>
            </p:cNvPr>
            <p:cNvGrpSpPr/>
            <p:nvPr/>
          </p:nvGrpSpPr>
          <p:grpSpPr>
            <a:xfrm>
              <a:off x="2766751" y="3660393"/>
              <a:ext cx="468000" cy="468000"/>
              <a:chOff x="758283" y="1215483"/>
              <a:chExt cx="1368000" cy="1368000"/>
            </a:xfrm>
          </p:grpSpPr>
          <p:pic>
            <p:nvPicPr>
              <p:cNvPr id="31" name="Graphique 30" descr="Internet des objets avec un remplissage uni">
                <a:extLst>
                  <a:ext uri="{FF2B5EF4-FFF2-40B4-BE49-F238E27FC236}">
                    <a16:creationId xmlns:a16="http://schemas.microsoft.com/office/drawing/2014/main" id="{14C41D92-A78C-447B-8C43-7BDCE007C7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3249" y="1360449"/>
                <a:ext cx="1078068" cy="1078068"/>
              </a:xfrm>
              <a:prstGeom prst="rect">
                <a:avLst/>
              </a:prstGeom>
            </p:spPr>
          </p:pic>
          <p:sp>
            <p:nvSpPr>
              <p:cNvPr id="32" name="Ellipse 31">
                <a:extLst>
                  <a:ext uri="{FF2B5EF4-FFF2-40B4-BE49-F238E27FC236}">
                    <a16:creationId xmlns:a16="http://schemas.microsoft.com/office/drawing/2014/main" id="{D6E0D87B-6449-4D24-967B-D2AE87C5F393}"/>
                  </a:ext>
                </a:extLst>
              </p:cNvPr>
              <p:cNvSpPr/>
              <p:nvPr/>
            </p:nvSpPr>
            <p:spPr bwMode="gray">
              <a:xfrm>
                <a:off x="758283" y="1215483"/>
                <a:ext cx="1368000" cy="1368000"/>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b="1" dirty="0">
                  <a:solidFill>
                    <a:schemeClr val="bg1"/>
                  </a:solidFill>
                </a:endParaRPr>
              </a:p>
            </p:txBody>
          </p:sp>
        </p:grpSp>
      </p:grpSp>
      <p:grpSp>
        <p:nvGrpSpPr>
          <p:cNvPr id="40" name="Groupe 39">
            <a:extLst>
              <a:ext uri="{FF2B5EF4-FFF2-40B4-BE49-F238E27FC236}">
                <a16:creationId xmlns:a16="http://schemas.microsoft.com/office/drawing/2014/main" id="{54ABA50C-86B2-4275-953A-C2598CDDF7CC}"/>
              </a:ext>
            </a:extLst>
          </p:cNvPr>
          <p:cNvGrpSpPr/>
          <p:nvPr/>
        </p:nvGrpSpPr>
        <p:grpSpPr>
          <a:xfrm>
            <a:off x="2079059" y="4779167"/>
            <a:ext cx="9281657" cy="1170656"/>
            <a:chOff x="1166348" y="4904897"/>
            <a:chExt cx="9281657" cy="1170656"/>
          </a:xfrm>
        </p:grpSpPr>
        <p:sp>
          <p:nvSpPr>
            <p:cNvPr id="16" name="矩形 19">
              <a:extLst>
                <a:ext uri="{FF2B5EF4-FFF2-40B4-BE49-F238E27FC236}">
                  <a16:creationId xmlns:a16="http://schemas.microsoft.com/office/drawing/2014/main" id="{6660C3ED-F0B9-49FF-8B7C-93467C01634F}"/>
                </a:ext>
              </a:extLst>
            </p:cNvPr>
            <p:cNvSpPr/>
            <p:nvPr/>
          </p:nvSpPr>
          <p:spPr bwMode="gray">
            <a:xfrm>
              <a:off x="2333667" y="4905681"/>
              <a:ext cx="8010166" cy="1169089"/>
            </a:xfrm>
            <a:prstGeom prst="rect">
              <a:avLst/>
            </a:prstGeom>
            <a:solidFill>
              <a:srgbClr val="FFFFFF"/>
            </a:solidFill>
            <a:ln w="19050" algn="ctr">
              <a:solidFill>
                <a:schemeClr val="accent3">
                  <a:lumMod val="75000"/>
                </a:schemeClr>
              </a:solidFill>
              <a:miter lim="800000"/>
              <a:headEnd/>
              <a:tailEnd/>
            </a:ln>
          </p:spPr>
          <p:txBody>
            <a:bodyPr wrap="square" lIns="1440000" tIns="88900" rIns="144000" bIns="88900" rtlCol="0" anchor="ctr"/>
            <a:lstStyle/>
            <a:p>
              <a:r>
                <a:rPr lang="fr-FR" dirty="0">
                  <a:solidFill>
                    <a:srgbClr val="000000"/>
                  </a:solidFill>
                  <a:ea typeface="Lato" pitchFamily="34" charset="0"/>
                  <a:cs typeface="Lato" pitchFamily="34" charset="0"/>
                </a:rPr>
                <a:t>Apprentissage continu et partage d'expériences dans la communauté.</a:t>
              </a:r>
              <a:endParaRPr lang="en-US" dirty="0">
                <a:solidFill>
                  <a:srgbClr val="000000"/>
                </a:solidFill>
                <a:ea typeface="Lato" pitchFamily="34" charset="0"/>
                <a:cs typeface="Lato" pitchFamily="34" charset="0"/>
              </a:endParaRPr>
            </a:p>
          </p:txBody>
        </p:sp>
        <p:sp>
          <p:nvSpPr>
            <p:cNvPr id="17" name="任意多边形 13">
              <a:extLst>
                <a:ext uri="{FF2B5EF4-FFF2-40B4-BE49-F238E27FC236}">
                  <a16:creationId xmlns:a16="http://schemas.microsoft.com/office/drawing/2014/main" id="{EFC7C330-8152-454C-8D77-A36517F5F2DA}"/>
                </a:ext>
              </a:extLst>
            </p:cNvPr>
            <p:cNvSpPr/>
            <p:nvPr/>
          </p:nvSpPr>
          <p:spPr bwMode="gray">
            <a:xfrm>
              <a:off x="1166348" y="4905225"/>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2">
                <a:lumMod val="75000"/>
              </a:schemeClr>
            </a:solidFill>
            <a:ln w="19050" algn="ctr">
              <a:solidFill>
                <a:schemeClr val="accent3">
                  <a:lumMod val="75000"/>
                </a:schemeClr>
              </a:solidFill>
              <a:miter lim="800000"/>
              <a:headEnd/>
              <a:tailEnd/>
            </a:ln>
          </p:spPr>
          <p:txBody>
            <a:bodyPr wrap="square" lIns="88900" tIns="88900" rIns="88900" bIns="88900" rtlCol="0" anchor="ctr"/>
            <a:lstStyle/>
            <a:p>
              <a:pPr algn="ctr">
                <a:buFont typeface="Wingdings 2" pitchFamily="18" charset="2"/>
                <a:buNone/>
              </a:pPr>
              <a:endParaRPr lang="en-US" b="1" dirty="0">
                <a:solidFill>
                  <a:schemeClr val="bg1"/>
                </a:solidFill>
              </a:endParaRPr>
            </a:p>
          </p:txBody>
        </p:sp>
        <p:sp>
          <p:nvSpPr>
            <p:cNvPr id="18" name="任意多边形 17">
              <a:extLst>
                <a:ext uri="{FF2B5EF4-FFF2-40B4-BE49-F238E27FC236}">
                  <a16:creationId xmlns:a16="http://schemas.microsoft.com/office/drawing/2014/main" id="{49BD0CDE-2F8E-4BE1-ACE4-EBCF5DF159AA}"/>
                </a:ext>
              </a:extLst>
            </p:cNvPr>
            <p:cNvSpPr/>
            <p:nvPr/>
          </p:nvSpPr>
          <p:spPr bwMode="gray">
            <a:xfrm flipH="1" flipV="1">
              <a:off x="2333667" y="4905225"/>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3">
                <a:lumMod val="75000"/>
              </a:schemeClr>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b="1" dirty="0">
                <a:solidFill>
                  <a:schemeClr val="bg1"/>
                </a:solidFill>
              </a:endParaRPr>
            </a:p>
          </p:txBody>
        </p:sp>
        <p:sp>
          <p:nvSpPr>
            <p:cNvPr id="20" name="文本框 10">
              <a:extLst>
                <a:ext uri="{FF2B5EF4-FFF2-40B4-BE49-F238E27FC236}">
                  <a16:creationId xmlns:a16="http://schemas.microsoft.com/office/drawing/2014/main" id="{CE36917F-EEAD-4AB3-895E-E637BDF9757F}"/>
                </a:ext>
              </a:extLst>
            </p:cNvPr>
            <p:cNvSpPr txBox="1"/>
            <p:nvPr/>
          </p:nvSpPr>
          <p:spPr>
            <a:xfrm>
              <a:off x="2491017" y="5209122"/>
              <a:ext cx="694967" cy="553998"/>
            </a:xfrm>
            <a:prstGeom prst="rect">
              <a:avLst/>
            </a:prstGeom>
            <a:noFill/>
          </p:spPr>
          <p:txBody>
            <a:bodyPr wrap="square" lIns="0" tIns="0" rIns="0" bIns="0" rtlCol="0">
              <a:spAutoFit/>
            </a:bodyPr>
            <a:lstStyle/>
            <a:p>
              <a:pPr>
                <a:buSzPct val="100000"/>
              </a:pPr>
              <a:r>
                <a:rPr lang="en-US" sz="3600" b="1" dirty="0">
                  <a:solidFill>
                    <a:srgbClr val="FFFFFF"/>
                  </a:solidFill>
                </a:rPr>
                <a:t>03</a:t>
              </a:r>
            </a:p>
          </p:txBody>
        </p:sp>
        <p:sp>
          <p:nvSpPr>
            <p:cNvPr id="21" name="矩形 40">
              <a:extLst>
                <a:ext uri="{FF2B5EF4-FFF2-40B4-BE49-F238E27FC236}">
                  <a16:creationId xmlns:a16="http://schemas.microsoft.com/office/drawing/2014/main" id="{C59DF20A-C5A2-4FD3-986D-13F3DAAF0435}"/>
                </a:ext>
              </a:extLst>
            </p:cNvPr>
            <p:cNvSpPr/>
            <p:nvPr/>
          </p:nvSpPr>
          <p:spPr bwMode="gray">
            <a:xfrm>
              <a:off x="10343833" y="4904897"/>
              <a:ext cx="104172" cy="1170656"/>
            </a:xfrm>
            <a:prstGeom prst="rect">
              <a:avLst/>
            </a:prstGeom>
            <a:solidFill>
              <a:schemeClr val="accent2">
                <a:lumMod val="75000"/>
              </a:schemeClr>
            </a:solidFill>
            <a:ln w="19050" algn="ctr">
              <a:solidFill>
                <a:schemeClr val="accent3">
                  <a:lumMod val="75000"/>
                </a:schemeClr>
              </a:solidFill>
              <a:miter lim="800000"/>
              <a:headEnd/>
              <a:tailEnd/>
            </a:ln>
          </p:spPr>
          <p:txBody>
            <a:bodyPr wrap="square" lIns="88900" tIns="88900" rIns="88900" bIns="88900" rtlCol="0" anchor="ctr"/>
            <a:lstStyle/>
            <a:p>
              <a:pPr algn="ctr">
                <a:buFont typeface="Wingdings 2" pitchFamily="18" charset="2"/>
                <a:buNone/>
              </a:pPr>
              <a:endParaRPr lang="en-US" b="1" dirty="0">
                <a:solidFill>
                  <a:schemeClr val="bg1"/>
                </a:solidFill>
              </a:endParaRPr>
            </a:p>
          </p:txBody>
        </p:sp>
        <p:grpSp>
          <p:nvGrpSpPr>
            <p:cNvPr id="37" name="Groupe 36">
              <a:extLst>
                <a:ext uri="{FF2B5EF4-FFF2-40B4-BE49-F238E27FC236}">
                  <a16:creationId xmlns:a16="http://schemas.microsoft.com/office/drawing/2014/main" id="{C9755054-1EE6-4375-BF88-AF490537E022}"/>
                </a:ext>
              </a:extLst>
            </p:cNvPr>
            <p:cNvGrpSpPr/>
            <p:nvPr/>
          </p:nvGrpSpPr>
          <p:grpSpPr>
            <a:xfrm>
              <a:off x="1615231" y="5256225"/>
              <a:ext cx="468000" cy="468000"/>
              <a:chOff x="1124158" y="1051441"/>
              <a:chExt cx="1393200" cy="1394515"/>
            </a:xfrm>
          </p:grpSpPr>
          <p:pic>
            <p:nvPicPr>
              <p:cNvPr id="35" name="Graphique 34" descr="Groupe contour">
                <a:extLst>
                  <a:ext uri="{FF2B5EF4-FFF2-40B4-BE49-F238E27FC236}">
                    <a16:creationId xmlns:a16="http://schemas.microsoft.com/office/drawing/2014/main" id="{482F73D0-6F71-43FA-B131-41EE176997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8717" y="1213151"/>
                <a:ext cx="1079703" cy="1079703"/>
              </a:xfrm>
              <a:prstGeom prst="rect">
                <a:avLst/>
              </a:prstGeom>
            </p:spPr>
          </p:pic>
          <p:sp>
            <p:nvSpPr>
              <p:cNvPr id="36" name="Ellipse 35">
                <a:extLst>
                  <a:ext uri="{FF2B5EF4-FFF2-40B4-BE49-F238E27FC236}">
                    <a16:creationId xmlns:a16="http://schemas.microsoft.com/office/drawing/2014/main" id="{DABCFAD3-C632-4694-BFB8-08A62AE859E8}"/>
                  </a:ext>
                </a:extLst>
              </p:cNvPr>
              <p:cNvSpPr/>
              <p:nvPr/>
            </p:nvSpPr>
            <p:spPr bwMode="gray">
              <a:xfrm>
                <a:off x="1124158" y="1051441"/>
                <a:ext cx="1393200" cy="1394515"/>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b="1" dirty="0">
                  <a:solidFill>
                    <a:schemeClr val="bg1"/>
                  </a:solidFill>
                </a:endParaRPr>
              </a:p>
            </p:txBody>
          </p:sp>
        </p:grpSp>
      </p:grpSp>
      <p:sp>
        <p:nvSpPr>
          <p:cNvPr id="39" name="ZoneTexte 38">
            <a:extLst>
              <a:ext uri="{FF2B5EF4-FFF2-40B4-BE49-F238E27FC236}">
                <a16:creationId xmlns:a16="http://schemas.microsoft.com/office/drawing/2014/main" id="{7C4DA9F1-C32D-4A97-97FC-1856D28FDB1E}"/>
              </a:ext>
            </a:extLst>
          </p:cNvPr>
          <p:cNvSpPr txBox="1"/>
          <p:nvPr/>
        </p:nvSpPr>
        <p:spPr>
          <a:xfrm>
            <a:off x="12780239" y="6949607"/>
            <a:ext cx="234038"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29</a:t>
            </a:r>
          </a:p>
        </p:txBody>
      </p:sp>
      <p:sp>
        <p:nvSpPr>
          <p:cNvPr id="46" name="Rectangle 45">
            <a:extLst>
              <a:ext uri="{FF2B5EF4-FFF2-40B4-BE49-F238E27FC236}">
                <a16:creationId xmlns:a16="http://schemas.microsoft.com/office/drawing/2014/main" id="{F12C50F1-386E-4B89-8F56-E6F374FE83D7}"/>
              </a:ext>
            </a:extLst>
          </p:cNvPr>
          <p:cNvSpPr/>
          <p:nvPr/>
        </p:nvSpPr>
        <p:spPr bwMode="gray">
          <a:xfrm>
            <a:off x="4522575" y="190024"/>
            <a:ext cx="89172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 </a:t>
            </a:r>
            <a:r>
              <a:rPr lang="fr-FR" sz="1600" b="1" dirty="0">
                <a:solidFill>
                  <a:schemeClr val="tx1">
                    <a:lumMod val="75000"/>
                    <a:lumOff val="25000"/>
                  </a:schemeClr>
                </a:solidFill>
              </a:rPr>
              <a:t>Conclusion et perspectives</a:t>
            </a:r>
            <a:endParaRPr lang="fr-FR" sz="1600" b="1" dirty="0">
              <a:solidFill>
                <a:schemeClr val="tx1">
                  <a:lumMod val="85000"/>
                  <a:lumOff val="15000"/>
                </a:schemeClr>
              </a:solidFill>
            </a:endParaRPr>
          </a:p>
        </p:txBody>
      </p:sp>
      <p:sp>
        <p:nvSpPr>
          <p:cNvPr id="47" name="Rectangle 46">
            <a:extLst>
              <a:ext uri="{FF2B5EF4-FFF2-40B4-BE49-F238E27FC236}">
                <a16:creationId xmlns:a16="http://schemas.microsoft.com/office/drawing/2014/main" id="{A561F1DD-79E4-43C4-B8D8-1BF2C088A287}"/>
              </a:ext>
            </a:extLst>
          </p:cNvPr>
          <p:cNvSpPr/>
          <p:nvPr/>
        </p:nvSpPr>
        <p:spPr bwMode="gray">
          <a:xfrm>
            <a:off x="1507525"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
        <p:nvSpPr>
          <p:cNvPr id="48" name="Rectangle 47">
            <a:extLst>
              <a:ext uri="{FF2B5EF4-FFF2-40B4-BE49-F238E27FC236}">
                <a16:creationId xmlns:a16="http://schemas.microsoft.com/office/drawing/2014/main" id="{10246E12-730F-4D35-9592-C9B8E1562F37}"/>
              </a:ext>
            </a:extLst>
          </p:cNvPr>
          <p:cNvSpPr/>
          <p:nvPr/>
        </p:nvSpPr>
        <p:spPr bwMode="gray">
          <a:xfrm>
            <a:off x="0" y="190024"/>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a:t>
            </a:r>
          </a:p>
        </p:txBody>
      </p:sp>
      <p:sp>
        <p:nvSpPr>
          <p:cNvPr id="49" name="Rectangle 48">
            <a:extLst>
              <a:ext uri="{FF2B5EF4-FFF2-40B4-BE49-F238E27FC236}">
                <a16:creationId xmlns:a16="http://schemas.microsoft.com/office/drawing/2014/main" id="{9A86F34B-4D97-4CA5-9737-69AC737FD985}"/>
              </a:ext>
            </a:extLst>
          </p:cNvPr>
          <p:cNvSpPr/>
          <p:nvPr/>
        </p:nvSpPr>
        <p:spPr bwMode="gray">
          <a:xfrm>
            <a:off x="3015050" y="190023"/>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Tree>
    <p:extLst>
      <p:ext uri="{BB962C8B-B14F-4D97-AF65-F5344CB8AC3E}">
        <p14:creationId xmlns:p14="http://schemas.microsoft.com/office/powerpoint/2010/main" val="276459046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14:presetBounceEnd="26000">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14:bounceEnd="26000">
                                          <p:cBhvr additive="base">
                                            <p:cTn id="7" dur="500" fill="hold"/>
                                            <p:tgtEl>
                                              <p:spTgt spid="42"/>
                                            </p:tgtEl>
                                            <p:attrNameLst>
                                              <p:attrName>ppt_x</p:attrName>
                                            </p:attrNameLst>
                                          </p:cBhvr>
                                          <p:tavLst>
                                            <p:tav tm="0">
                                              <p:val>
                                                <p:strVal val="0-#ppt_w/2"/>
                                              </p:val>
                                            </p:tav>
                                            <p:tav tm="100000">
                                              <p:val>
                                                <p:strVal val="#ppt_x"/>
                                              </p:val>
                                            </p:tav>
                                          </p:tavLst>
                                        </p:anim>
                                        <p:anim calcmode="lin" valueType="num" p14:bounceEnd="26000">
                                          <p:cBhvr additive="base">
                                            <p:cTn id="8" dur="500" fill="hold"/>
                                            <p:tgtEl>
                                              <p:spTgt spid="4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14:presetBounceEnd="26000">
                                      <p:stCondLst>
                                        <p:cond delay="0"/>
                                      </p:stCondLst>
                                      <p:childTnLst>
                                        <p:set>
                                          <p:cBhvr>
                                            <p:cTn id="11" dur="1" fill="hold">
                                              <p:stCondLst>
                                                <p:cond delay="0"/>
                                              </p:stCondLst>
                                            </p:cTn>
                                            <p:tgtEl>
                                              <p:spTgt spid="41"/>
                                            </p:tgtEl>
                                            <p:attrNameLst>
                                              <p:attrName>style.visibility</p:attrName>
                                            </p:attrNameLst>
                                          </p:cBhvr>
                                          <p:to>
                                            <p:strVal val="visible"/>
                                          </p:to>
                                        </p:set>
                                        <p:anim calcmode="lin" valueType="num" p14:bounceEnd="26000">
                                          <p:cBhvr additive="base">
                                            <p:cTn id="12" dur="500" fill="hold"/>
                                            <p:tgtEl>
                                              <p:spTgt spid="41"/>
                                            </p:tgtEl>
                                            <p:attrNameLst>
                                              <p:attrName>ppt_x</p:attrName>
                                            </p:attrNameLst>
                                          </p:cBhvr>
                                          <p:tavLst>
                                            <p:tav tm="0">
                                              <p:val>
                                                <p:strVal val="0-#ppt_w/2"/>
                                              </p:val>
                                            </p:tav>
                                            <p:tav tm="100000">
                                              <p:val>
                                                <p:strVal val="#ppt_x"/>
                                              </p:val>
                                            </p:tav>
                                          </p:tavLst>
                                        </p:anim>
                                        <p:anim calcmode="lin" valueType="num" p14:bounceEnd="26000">
                                          <p:cBhvr additive="base">
                                            <p:cTn id="13" dur="500" fill="hold"/>
                                            <p:tgtEl>
                                              <p:spTgt spid="4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14:presetBounceEnd="26000">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14:bounceEnd="26000">
                                          <p:cBhvr additive="base">
                                            <p:cTn id="17" dur="500" fill="hold"/>
                                            <p:tgtEl>
                                              <p:spTgt spid="40"/>
                                            </p:tgtEl>
                                            <p:attrNameLst>
                                              <p:attrName>ppt_x</p:attrName>
                                            </p:attrNameLst>
                                          </p:cBhvr>
                                          <p:tavLst>
                                            <p:tav tm="0">
                                              <p:val>
                                                <p:strVal val="0-#ppt_w/2"/>
                                              </p:val>
                                            </p:tav>
                                            <p:tav tm="100000">
                                              <p:val>
                                                <p:strVal val="#ppt_x"/>
                                              </p:val>
                                            </p:tav>
                                          </p:tavLst>
                                        </p:anim>
                                        <p:anim calcmode="lin" valueType="num" p14:bounceEnd="26000">
                                          <p:cBhvr additive="base">
                                            <p:cTn id="18" dur="5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0-#ppt_w/2"/>
                                              </p:val>
                                            </p:tav>
                                            <p:tav tm="100000">
                                              <p:val>
                                                <p:strVal val="#ppt_x"/>
                                              </p:val>
                                            </p:tav>
                                          </p:tavLst>
                                        </p:anim>
                                        <p:anim calcmode="lin" valueType="num">
                                          <p:cBhvr additive="base">
                                            <p:cTn id="8" dur="500" fill="hold"/>
                                            <p:tgtEl>
                                              <p:spTgt spid="4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41"/>
                                            </p:tgtEl>
                                            <p:attrNameLst>
                                              <p:attrName>style.visibility</p:attrName>
                                            </p:attrNameLst>
                                          </p:cBhvr>
                                          <p:to>
                                            <p:strVal val="visible"/>
                                          </p:to>
                                        </p:set>
                                        <p:anim calcmode="lin" valueType="num">
                                          <p:cBhvr additive="base">
                                            <p:cTn id="12" dur="500" fill="hold"/>
                                            <p:tgtEl>
                                              <p:spTgt spid="41"/>
                                            </p:tgtEl>
                                            <p:attrNameLst>
                                              <p:attrName>ppt_x</p:attrName>
                                            </p:attrNameLst>
                                          </p:cBhvr>
                                          <p:tavLst>
                                            <p:tav tm="0">
                                              <p:val>
                                                <p:strVal val="0-#ppt_w/2"/>
                                              </p:val>
                                            </p:tav>
                                            <p:tav tm="100000">
                                              <p:val>
                                                <p:strVal val="#ppt_x"/>
                                              </p:val>
                                            </p:tav>
                                          </p:tavLst>
                                        </p:anim>
                                        <p:anim calcmode="lin" valueType="num">
                                          <p:cBhvr additive="base">
                                            <p:cTn id="13" dur="500" fill="hold"/>
                                            <p:tgtEl>
                                              <p:spTgt spid="4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0-#ppt_w/2"/>
                                              </p:val>
                                            </p:tav>
                                            <p:tav tm="100000">
                                              <p:val>
                                                <p:strVal val="#ppt_x"/>
                                              </p:val>
                                            </p:tav>
                                          </p:tavLst>
                                        </p:anim>
                                        <p:anim calcmode="lin" valueType="num">
                                          <p:cBhvr additive="base">
                                            <p:cTn id="18" dur="5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B7B66E-1184-4615-BEAD-9AFB40C4BDBB}"/>
              </a:ext>
            </a:extLst>
          </p:cNvPr>
          <p:cNvSpPr/>
          <p:nvPr/>
        </p:nvSpPr>
        <p:spPr bwMode="gray">
          <a:xfrm>
            <a:off x="0" y="0"/>
            <a:ext cx="13439775" cy="7559675"/>
          </a:xfrm>
          <a:prstGeom prst="rect">
            <a:avLst/>
          </a:prstGeom>
          <a:solidFill>
            <a:schemeClr val="accent2">
              <a:alpha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nvGrpSpPr>
          <p:cNvPr id="59" name="Groupe 58">
            <a:extLst>
              <a:ext uri="{FF2B5EF4-FFF2-40B4-BE49-F238E27FC236}">
                <a16:creationId xmlns:a16="http://schemas.microsoft.com/office/drawing/2014/main" id="{1D925E33-F387-489E-84AA-AA3AE21DC9D8}"/>
              </a:ext>
            </a:extLst>
          </p:cNvPr>
          <p:cNvGrpSpPr/>
          <p:nvPr/>
        </p:nvGrpSpPr>
        <p:grpSpPr>
          <a:xfrm>
            <a:off x="0" y="3080176"/>
            <a:ext cx="13439775" cy="1399323"/>
            <a:chOff x="0" y="2975429"/>
            <a:chExt cx="13439775" cy="1399323"/>
          </a:xfrm>
          <a:solidFill>
            <a:srgbClr val="FDF8F5"/>
          </a:solidFill>
        </p:grpSpPr>
        <p:sp>
          <p:nvSpPr>
            <p:cNvPr id="43" name="Rectangle : coins arrondis 42">
              <a:extLst>
                <a:ext uri="{FF2B5EF4-FFF2-40B4-BE49-F238E27FC236}">
                  <a16:creationId xmlns:a16="http://schemas.microsoft.com/office/drawing/2014/main" id="{71056D2B-828B-41EF-A767-7A1931DC3A13}"/>
                </a:ext>
              </a:extLst>
            </p:cNvPr>
            <p:cNvSpPr/>
            <p:nvPr/>
          </p:nvSpPr>
          <p:spPr bwMode="gray">
            <a:xfrm>
              <a:off x="2002971" y="2975429"/>
              <a:ext cx="9463315" cy="1399323"/>
            </a:xfrm>
            <a:prstGeom prst="roundRect">
              <a:avLst/>
            </a:prstGeom>
            <a:grpFill/>
            <a:ln w="38100" algn="ctr">
              <a:solidFill>
                <a:schemeClr val="accent2"/>
              </a:solidFill>
              <a:miter lim="800000"/>
              <a:headEnd/>
              <a:tailEnd/>
            </a:ln>
          </p:spPr>
          <p:txBody>
            <a:bodyPr wrap="square" lIns="88900" tIns="88900" rIns="88900" bIns="88900" rtlCol="0" anchor="ctr"/>
            <a:lstStyle/>
            <a:p>
              <a:pPr algn="ctr">
                <a:lnSpc>
                  <a:spcPct val="106000"/>
                </a:lnSpc>
              </a:pPr>
              <a:r>
                <a:rPr lang="fr-FR" sz="4400" dirty="0">
                  <a:ln w="0"/>
                  <a:effectLst>
                    <a:outerShdw blurRad="38100" dist="19050" dir="2700000" algn="tl" rotWithShape="0">
                      <a:schemeClr val="dk1">
                        <a:alpha val="40000"/>
                      </a:schemeClr>
                    </a:outerShdw>
                  </a:effectLst>
                  <a:latin typeface="Cambria" panose="02040503050406030204" pitchFamily="18" charset="0"/>
                  <a:ea typeface="Cambria" panose="02040503050406030204" pitchFamily="18" charset="0"/>
                  <a:cs typeface="Tahoma" panose="020B0604030504040204" pitchFamily="34" charset="0"/>
                </a:rPr>
                <a:t>Merci pour votre aimable attention</a:t>
              </a:r>
              <a:endParaRPr lang="fr-FR" sz="4400" dirty="0">
                <a:ln>
                  <a:solidFill>
                    <a:schemeClr val="accent1">
                      <a:lumMod val="60000"/>
                      <a:lumOff val="40000"/>
                    </a:schemeClr>
                  </a:solidFill>
                </a:ln>
                <a:solidFill>
                  <a:sysClr val="windowText" lastClr="000000"/>
                </a:solidFill>
                <a:latin typeface="Cambria" panose="02040503050406030204" pitchFamily="18" charset="0"/>
                <a:ea typeface="Cambria" panose="02040503050406030204" pitchFamily="18" charset="0"/>
                <a:cs typeface="Tahoma" panose="020B0604030504040204" pitchFamily="34" charset="0"/>
              </a:endParaRPr>
            </a:p>
          </p:txBody>
        </p:sp>
        <p:cxnSp>
          <p:nvCxnSpPr>
            <p:cNvPr id="49" name="Connecteur droit 48">
              <a:extLst>
                <a:ext uri="{FF2B5EF4-FFF2-40B4-BE49-F238E27FC236}">
                  <a16:creationId xmlns:a16="http://schemas.microsoft.com/office/drawing/2014/main" id="{612D022E-4E97-4E5F-9FF1-2A64217C09AB}"/>
                </a:ext>
              </a:extLst>
            </p:cNvPr>
            <p:cNvCxnSpPr>
              <a:cxnSpLocks/>
              <a:stCxn id="43" idx="3"/>
            </p:cNvCxnSpPr>
            <p:nvPr/>
          </p:nvCxnSpPr>
          <p:spPr>
            <a:xfrm>
              <a:off x="11466286" y="3675091"/>
              <a:ext cx="1973489" cy="0"/>
            </a:xfrm>
            <a:prstGeom prst="line">
              <a:avLst/>
            </a:prstGeom>
            <a:grpFill/>
            <a:ln w="38100"/>
          </p:spPr>
          <p:style>
            <a:lnRef idx="1">
              <a:schemeClr val="accent2"/>
            </a:lnRef>
            <a:fillRef idx="0">
              <a:schemeClr val="accent2"/>
            </a:fillRef>
            <a:effectRef idx="0">
              <a:schemeClr val="accent2"/>
            </a:effectRef>
            <a:fontRef idx="minor">
              <a:schemeClr val="tx1"/>
            </a:fontRef>
          </p:style>
        </p:cxnSp>
        <p:cxnSp>
          <p:nvCxnSpPr>
            <p:cNvPr id="51" name="Connecteur droit 50">
              <a:extLst>
                <a:ext uri="{FF2B5EF4-FFF2-40B4-BE49-F238E27FC236}">
                  <a16:creationId xmlns:a16="http://schemas.microsoft.com/office/drawing/2014/main" id="{0ABD1039-6654-45BD-9EE4-3C42E5B522BC}"/>
                </a:ext>
              </a:extLst>
            </p:cNvPr>
            <p:cNvCxnSpPr>
              <a:cxnSpLocks/>
              <a:stCxn id="43" idx="1"/>
            </p:cNvCxnSpPr>
            <p:nvPr/>
          </p:nvCxnSpPr>
          <p:spPr>
            <a:xfrm flipH="1" flipV="1">
              <a:off x="0" y="3675090"/>
              <a:ext cx="2002971" cy="1"/>
            </a:xfrm>
            <a:prstGeom prst="line">
              <a:avLst/>
            </a:prstGeom>
            <a:grpFill/>
            <a:ln w="38100"/>
          </p:spPr>
          <p:style>
            <a:lnRef idx="1">
              <a:schemeClr val="accent2"/>
            </a:lnRef>
            <a:fillRef idx="0">
              <a:schemeClr val="accent2"/>
            </a:fillRef>
            <a:effectRef idx="0">
              <a:schemeClr val="accent2"/>
            </a:effectRef>
            <a:fontRef idx="minor">
              <a:schemeClr val="tx1"/>
            </a:fontRef>
          </p:style>
        </p:cxnSp>
      </p:grpSp>
      <p:pic>
        <p:nvPicPr>
          <p:cNvPr id="6" name="Graphique 5" descr="Toque d'étudiant contour">
            <a:extLst>
              <a:ext uri="{FF2B5EF4-FFF2-40B4-BE49-F238E27FC236}">
                <a16:creationId xmlns:a16="http://schemas.microsoft.com/office/drawing/2014/main" id="{73BB4AEF-7B30-4242-9C68-325F857022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0344010">
            <a:off x="1080757" y="1639992"/>
            <a:ext cx="2141198" cy="2141198"/>
          </a:xfrm>
          <a:prstGeom prst="rect">
            <a:avLst/>
          </a:prstGeom>
        </p:spPr>
      </p:pic>
    </p:spTree>
    <p:extLst>
      <p:ext uri="{BB962C8B-B14F-4D97-AF65-F5344CB8AC3E}">
        <p14:creationId xmlns:p14="http://schemas.microsoft.com/office/powerpoint/2010/main" val="285747420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a:extLst>
              <a:ext uri="{FF2B5EF4-FFF2-40B4-BE49-F238E27FC236}">
                <a16:creationId xmlns:a16="http://schemas.microsoft.com/office/drawing/2014/main" id="{CD5395D2-CF36-4C6D-8CAD-57609E8B6B7F}"/>
              </a:ext>
            </a:extLst>
          </p:cNvPr>
          <p:cNvGrpSpPr/>
          <p:nvPr/>
        </p:nvGrpSpPr>
        <p:grpSpPr>
          <a:xfrm>
            <a:off x="2089415" y="1293050"/>
            <a:ext cx="10204816" cy="4973571"/>
            <a:chOff x="2089415" y="1293050"/>
            <a:chExt cx="10204816" cy="4973571"/>
          </a:xfrm>
        </p:grpSpPr>
        <p:sp>
          <p:nvSpPr>
            <p:cNvPr id="70" name="Thought Bubble: Cloud 69">
              <a:extLst>
                <a:ext uri="{FF2B5EF4-FFF2-40B4-BE49-F238E27FC236}">
                  <a16:creationId xmlns:a16="http://schemas.microsoft.com/office/drawing/2014/main" id="{12DED6B2-D20C-42EE-A3F3-D85C39109C25}"/>
                </a:ext>
              </a:extLst>
            </p:cNvPr>
            <p:cNvSpPr/>
            <p:nvPr/>
          </p:nvSpPr>
          <p:spPr bwMode="gray">
            <a:xfrm>
              <a:off x="2089415" y="1293050"/>
              <a:ext cx="10204816" cy="4973571"/>
            </a:xfrm>
            <a:prstGeom prst="cloudCallout">
              <a:avLst>
                <a:gd name="adj1" fmla="val -49247"/>
                <a:gd name="adj2" fmla="val 46776"/>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pic>
          <p:nvPicPr>
            <p:cNvPr id="55" name="Graphic 54" descr="Question Mark with solid fill">
              <a:extLst>
                <a:ext uri="{FF2B5EF4-FFF2-40B4-BE49-F238E27FC236}">
                  <a16:creationId xmlns:a16="http://schemas.microsoft.com/office/drawing/2014/main" id="{91EB74D2-A698-4CCA-94EF-81646BC942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54487" y="2063734"/>
              <a:ext cx="2809056" cy="2809056"/>
            </a:xfrm>
            <a:prstGeom prst="rect">
              <a:avLst/>
            </a:prstGeom>
          </p:spPr>
        </p:pic>
        <p:sp>
          <p:nvSpPr>
            <p:cNvPr id="13" name="TextBox 12">
              <a:extLst>
                <a:ext uri="{FF2B5EF4-FFF2-40B4-BE49-F238E27FC236}">
                  <a16:creationId xmlns:a16="http://schemas.microsoft.com/office/drawing/2014/main" id="{83398356-7396-4559-9440-E3C5F2EBAED3}"/>
                </a:ext>
              </a:extLst>
            </p:cNvPr>
            <p:cNvSpPr txBox="1"/>
            <p:nvPr/>
          </p:nvSpPr>
          <p:spPr>
            <a:xfrm>
              <a:off x="3227581" y="2445433"/>
              <a:ext cx="6532658" cy="2352952"/>
            </a:xfrm>
            <a:prstGeom prst="rect">
              <a:avLst/>
            </a:prstGeom>
            <a:noFill/>
          </p:spPr>
          <p:txBody>
            <a:bodyPr wrap="square">
              <a:spAutoFit/>
            </a:bodyPr>
            <a:lstStyle/>
            <a:p>
              <a:pPr algn="just">
                <a:lnSpc>
                  <a:spcPct val="150000"/>
                </a:lnSpc>
              </a:pPr>
              <a:r>
                <a:rPr lang="fr-FR" sz="2000" dirty="0"/>
                <a:t>Comment les organisations peuvent-elles bénéficier des avantages d'un CISO expérimenté et hautement qualifié pour garantir la sécurité de leurs systèmes et actifs, tout en minimisant les coûts et les complexités liées à cette fonction importante et nécessaire au sein de chaque organisation ?</a:t>
              </a:r>
            </a:p>
          </p:txBody>
        </p:sp>
      </p:grpSp>
      <p:grpSp>
        <p:nvGrpSpPr>
          <p:cNvPr id="79" name="Group 78">
            <a:extLst>
              <a:ext uri="{FF2B5EF4-FFF2-40B4-BE49-F238E27FC236}">
                <a16:creationId xmlns:a16="http://schemas.microsoft.com/office/drawing/2014/main" id="{76387FC5-8544-495A-9427-0B04886943A0}"/>
              </a:ext>
            </a:extLst>
          </p:cNvPr>
          <p:cNvGrpSpPr/>
          <p:nvPr/>
        </p:nvGrpSpPr>
        <p:grpSpPr>
          <a:xfrm>
            <a:off x="536707" y="5650071"/>
            <a:ext cx="1608996" cy="1897857"/>
            <a:chOff x="536707" y="5650071"/>
            <a:chExt cx="1608996" cy="1897857"/>
          </a:xfrm>
        </p:grpSpPr>
        <p:sp>
          <p:nvSpPr>
            <p:cNvPr id="77" name="Freeform: Shape 76">
              <a:extLst>
                <a:ext uri="{FF2B5EF4-FFF2-40B4-BE49-F238E27FC236}">
                  <a16:creationId xmlns:a16="http://schemas.microsoft.com/office/drawing/2014/main" id="{4C5B210E-4CC4-4592-A5E5-8CFAE6271796}"/>
                </a:ext>
              </a:extLst>
            </p:cNvPr>
            <p:cNvSpPr/>
            <p:nvPr/>
          </p:nvSpPr>
          <p:spPr>
            <a:xfrm>
              <a:off x="795507" y="5650071"/>
              <a:ext cx="1090672" cy="1129662"/>
            </a:xfrm>
            <a:custGeom>
              <a:avLst/>
              <a:gdLst>
                <a:gd name="connsiteX0" fmla="*/ 25112 w 1090672"/>
                <a:gd name="connsiteY0" fmla="*/ 1129663 h 1129662"/>
                <a:gd name="connsiteX1" fmla="*/ 25489 w 1090672"/>
                <a:gd name="connsiteY1" fmla="*/ 1129663 h 1129662"/>
                <a:gd name="connsiteX2" fmla="*/ 301432 w 1090672"/>
                <a:gd name="connsiteY2" fmla="*/ 1079608 h 1129662"/>
                <a:gd name="connsiteX3" fmla="*/ 303695 w 1090672"/>
                <a:gd name="connsiteY3" fmla="*/ 1078250 h 1129662"/>
                <a:gd name="connsiteX4" fmla="*/ 406997 w 1090672"/>
                <a:gd name="connsiteY4" fmla="*/ 989278 h 1129662"/>
                <a:gd name="connsiteX5" fmla="*/ 423816 w 1090672"/>
                <a:gd name="connsiteY5" fmla="*/ 973339 h 1129662"/>
                <a:gd name="connsiteX6" fmla="*/ 526666 w 1090672"/>
                <a:gd name="connsiteY6" fmla="*/ 992345 h 1129662"/>
                <a:gd name="connsiteX7" fmla="*/ 545999 w 1090672"/>
                <a:gd name="connsiteY7" fmla="*/ 992798 h 1129662"/>
                <a:gd name="connsiteX8" fmla="*/ 649076 w 1090672"/>
                <a:gd name="connsiteY8" fmla="*/ 979171 h 1129662"/>
                <a:gd name="connsiteX9" fmla="*/ 663330 w 1090672"/>
                <a:gd name="connsiteY9" fmla="*/ 992571 h 1129662"/>
                <a:gd name="connsiteX10" fmla="*/ 760197 w 1090672"/>
                <a:gd name="connsiteY10" fmla="*/ 1076868 h 1129662"/>
                <a:gd name="connsiteX11" fmla="*/ 1071387 w 1090672"/>
                <a:gd name="connsiteY11" fmla="*/ 1086270 h 1129662"/>
                <a:gd name="connsiteX12" fmla="*/ 1090318 w 1090672"/>
                <a:gd name="connsiteY12" fmla="*/ 1066158 h 1129662"/>
                <a:gd name="connsiteX13" fmla="*/ 1079080 w 1090672"/>
                <a:gd name="connsiteY13" fmla="*/ 1040539 h 1129662"/>
                <a:gd name="connsiteX14" fmla="*/ 994834 w 1090672"/>
                <a:gd name="connsiteY14" fmla="*/ 876346 h 1129662"/>
                <a:gd name="connsiteX15" fmla="*/ 1022488 w 1090672"/>
                <a:gd name="connsiteY15" fmla="*/ 660842 h 1129662"/>
                <a:gd name="connsiteX16" fmla="*/ 1061808 w 1090672"/>
                <a:gd name="connsiteY16" fmla="*/ 406293 h 1129662"/>
                <a:gd name="connsiteX17" fmla="*/ 943270 w 1090672"/>
                <a:gd name="connsiteY17" fmla="*/ 160444 h 1129662"/>
                <a:gd name="connsiteX18" fmla="*/ 812715 w 1090672"/>
                <a:gd name="connsiteY18" fmla="*/ 152575 h 1129662"/>
                <a:gd name="connsiteX19" fmla="*/ 603797 w 1090672"/>
                <a:gd name="connsiteY19" fmla="*/ 18877 h 1129662"/>
                <a:gd name="connsiteX20" fmla="*/ 199789 w 1090672"/>
                <a:gd name="connsiteY20" fmla="*/ 70969 h 1129662"/>
                <a:gd name="connsiteX21" fmla="*/ 41730 w 1090672"/>
                <a:gd name="connsiteY21" fmla="*/ 461779 h 1129662"/>
                <a:gd name="connsiteX22" fmla="*/ 52339 w 1090672"/>
                <a:gd name="connsiteY22" fmla="*/ 748557 h 1129662"/>
                <a:gd name="connsiteX23" fmla="*/ 55985 w 1090672"/>
                <a:gd name="connsiteY23" fmla="*/ 961799 h 1129662"/>
                <a:gd name="connsiteX24" fmla="*/ 4899 w 1090672"/>
                <a:gd name="connsiteY24" fmla="*/ 1089614 h 1129662"/>
                <a:gd name="connsiteX25" fmla="*/ 10234 w 1090672"/>
                <a:gd name="connsiteY25" fmla="*/ 1124765 h 1129662"/>
                <a:gd name="connsiteX26" fmla="*/ 25011 w 1090672"/>
                <a:gd name="connsiteY26" fmla="*/ 1129663 h 1129662"/>
                <a:gd name="connsiteX27" fmla="*/ 528979 w 1090672"/>
                <a:gd name="connsiteY27" fmla="*/ 942114 h 1129662"/>
                <a:gd name="connsiteX28" fmla="*/ 194408 w 1090672"/>
                <a:gd name="connsiteY28" fmla="*/ 609655 h 1129662"/>
                <a:gd name="connsiteX29" fmla="*/ 194408 w 1090672"/>
                <a:gd name="connsiteY29" fmla="*/ 573151 h 1129662"/>
                <a:gd name="connsiteX30" fmla="*/ 241748 w 1090672"/>
                <a:gd name="connsiteY30" fmla="*/ 526314 h 1129662"/>
                <a:gd name="connsiteX31" fmla="*/ 295750 w 1090672"/>
                <a:gd name="connsiteY31" fmla="*/ 521286 h 1129662"/>
                <a:gd name="connsiteX32" fmla="*/ 532574 w 1090672"/>
                <a:gd name="connsiteY32" fmla="*/ 454438 h 1129662"/>
                <a:gd name="connsiteX33" fmla="*/ 761177 w 1090672"/>
                <a:gd name="connsiteY33" fmla="*/ 298239 h 1129662"/>
                <a:gd name="connsiteX34" fmla="*/ 802156 w 1090672"/>
                <a:gd name="connsiteY34" fmla="*/ 408732 h 1129662"/>
                <a:gd name="connsiteX35" fmla="*/ 803765 w 1090672"/>
                <a:gd name="connsiteY35" fmla="*/ 411045 h 1129662"/>
                <a:gd name="connsiteX36" fmla="*/ 837982 w 1090672"/>
                <a:gd name="connsiteY36" fmla="*/ 442119 h 1129662"/>
                <a:gd name="connsiteX37" fmla="*/ 842080 w 1090672"/>
                <a:gd name="connsiteY37" fmla="*/ 445211 h 1129662"/>
                <a:gd name="connsiteX38" fmla="*/ 855128 w 1090672"/>
                <a:gd name="connsiteY38" fmla="*/ 457530 h 1129662"/>
                <a:gd name="connsiteX39" fmla="*/ 895830 w 1090672"/>
                <a:gd name="connsiteY39" fmla="*/ 553718 h 1129662"/>
                <a:gd name="connsiteX40" fmla="*/ 897665 w 1090672"/>
                <a:gd name="connsiteY40" fmla="*/ 590549 h 1129662"/>
                <a:gd name="connsiteX41" fmla="*/ 545693 w 1090672"/>
                <a:gd name="connsiteY41" fmla="*/ 942511 h 1129662"/>
                <a:gd name="connsiteX42" fmla="*/ 528979 w 1090672"/>
                <a:gd name="connsiteY42" fmla="*/ 942114 h 1129662"/>
                <a:gd name="connsiteX43" fmla="*/ 102545 w 1090672"/>
                <a:gd name="connsiteY43" fmla="*/ 745364 h 1129662"/>
                <a:gd name="connsiteX44" fmla="*/ 92011 w 1090672"/>
                <a:gd name="connsiteY44" fmla="*/ 462231 h 1129662"/>
                <a:gd name="connsiteX45" fmla="*/ 225935 w 1090672"/>
                <a:gd name="connsiteY45" fmla="*/ 113909 h 1129662"/>
                <a:gd name="connsiteX46" fmla="*/ 589618 w 1090672"/>
                <a:gd name="connsiteY46" fmla="*/ 67047 h 1129662"/>
                <a:gd name="connsiteX47" fmla="*/ 779279 w 1090672"/>
                <a:gd name="connsiteY47" fmla="*/ 192749 h 1129662"/>
                <a:gd name="connsiteX48" fmla="*/ 808794 w 1090672"/>
                <a:gd name="connsiteY48" fmla="*/ 205068 h 1129662"/>
                <a:gd name="connsiteX49" fmla="*/ 920820 w 1090672"/>
                <a:gd name="connsiteY49" fmla="*/ 205295 h 1129662"/>
                <a:gd name="connsiteX50" fmla="*/ 1011326 w 1090672"/>
                <a:gd name="connsiteY50" fmla="*/ 405967 h 1129662"/>
                <a:gd name="connsiteX51" fmla="*/ 973188 w 1090672"/>
                <a:gd name="connsiteY51" fmla="*/ 649830 h 1129662"/>
                <a:gd name="connsiteX52" fmla="*/ 945986 w 1090672"/>
                <a:gd name="connsiteY52" fmla="*/ 888665 h 1129662"/>
                <a:gd name="connsiteX53" fmla="*/ 1014896 w 1090672"/>
                <a:gd name="connsiteY53" fmla="*/ 1045995 h 1129662"/>
                <a:gd name="connsiteX54" fmla="*/ 789561 w 1090672"/>
                <a:gd name="connsiteY54" fmla="*/ 1036190 h 1129662"/>
                <a:gd name="connsiteX55" fmla="*/ 702801 w 1090672"/>
                <a:gd name="connsiteY55" fmla="*/ 960769 h 1129662"/>
                <a:gd name="connsiteX56" fmla="*/ 947947 w 1090672"/>
                <a:gd name="connsiteY56" fmla="*/ 590549 h 1129662"/>
                <a:gd name="connsiteX57" fmla="*/ 945785 w 1090672"/>
                <a:gd name="connsiteY57" fmla="*/ 548463 h 1129662"/>
                <a:gd name="connsiteX58" fmla="*/ 892461 w 1090672"/>
                <a:gd name="connsiteY58" fmla="*/ 423867 h 1129662"/>
                <a:gd name="connsiteX59" fmla="*/ 872349 w 1090672"/>
                <a:gd name="connsiteY59" fmla="*/ 405036 h 1129662"/>
                <a:gd name="connsiteX60" fmla="*/ 868050 w 1090672"/>
                <a:gd name="connsiteY60" fmla="*/ 401818 h 1129662"/>
                <a:gd name="connsiteX61" fmla="*/ 844166 w 1090672"/>
                <a:gd name="connsiteY61" fmla="*/ 381077 h 1129662"/>
                <a:gd name="connsiteX62" fmla="*/ 810151 w 1090672"/>
                <a:gd name="connsiteY62" fmla="*/ 286147 h 1129662"/>
                <a:gd name="connsiteX63" fmla="*/ 755915 w 1090672"/>
                <a:gd name="connsiteY63" fmla="*/ 245874 h 1129662"/>
                <a:gd name="connsiteX64" fmla="*/ 730003 w 1090672"/>
                <a:gd name="connsiteY64" fmla="*/ 258492 h 1129662"/>
                <a:gd name="connsiteX65" fmla="*/ 511029 w 1090672"/>
                <a:gd name="connsiteY65" fmla="*/ 408858 h 1129662"/>
                <a:gd name="connsiteX66" fmla="*/ 288057 w 1090672"/>
                <a:gd name="connsiteY66" fmla="*/ 471483 h 1129662"/>
                <a:gd name="connsiteX67" fmla="*/ 240466 w 1090672"/>
                <a:gd name="connsiteY67" fmla="*/ 475983 h 1129662"/>
                <a:gd name="connsiteX68" fmla="*/ 144127 w 1090672"/>
                <a:gd name="connsiteY68" fmla="*/ 570612 h 1129662"/>
                <a:gd name="connsiteX69" fmla="*/ 144127 w 1090672"/>
                <a:gd name="connsiteY69" fmla="*/ 570612 h 1129662"/>
                <a:gd name="connsiteX70" fmla="*/ 144127 w 1090672"/>
                <a:gd name="connsiteY70" fmla="*/ 612220 h 1129662"/>
                <a:gd name="connsiteX71" fmla="*/ 372605 w 1090672"/>
                <a:gd name="connsiteY71" fmla="*/ 952573 h 1129662"/>
                <a:gd name="connsiteX72" fmla="*/ 372328 w 1090672"/>
                <a:gd name="connsiteY72" fmla="*/ 952849 h 1129662"/>
                <a:gd name="connsiteX73" fmla="*/ 276794 w 1090672"/>
                <a:gd name="connsiteY73" fmla="*/ 1035813 h 1129662"/>
                <a:gd name="connsiteX74" fmla="*/ 71748 w 1090672"/>
                <a:gd name="connsiteY74" fmla="*/ 1077270 h 1129662"/>
                <a:gd name="connsiteX75" fmla="*/ 105738 w 1090672"/>
                <a:gd name="connsiteY75" fmla="*/ 968713 h 1129662"/>
                <a:gd name="connsiteX76" fmla="*/ 102545 w 1090672"/>
                <a:gd name="connsiteY76" fmla="*/ 745364 h 112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90672" h="1129662">
                  <a:moveTo>
                    <a:pt x="25112" y="1129663"/>
                  </a:moveTo>
                  <a:lnTo>
                    <a:pt x="25489" y="1129663"/>
                  </a:lnTo>
                  <a:cubicBezTo>
                    <a:pt x="33031" y="1129663"/>
                    <a:pt x="212887" y="1126395"/>
                    <a:pt x="301432" y="1079608"/>
                  </a:cubicBezTo>
                  <a:cubicBezTo>
                    <a:pt x="302186" y="1079181"/>
                    <a:pt x="302965" y="1078728"/>
                    <a:pt x="303695" y="1078250"/>
                  </a:cubicBezTo>
                  <a:cubicBezTo>
                    <a:pt x="340392" y="1051327"/>
                    <a:pt x="374930" y="1021578"/>
                    <a:pt x="406997" y="989278"/>
                  </a:cubicBezTo>
                  <a:cubicBezTo>
                    <a:pt x="412779" y="983772"/>
                    <a:pt x="418361" y="978467"/>
                    <a:pt x="423816" y="973339"/>
                  </a:cubicBezTo>
                  <a:cubicBezTo>
                    <a:pt x="457095" y="984252"/>
                    <a:pt x="491686" y="990643"/>
                    <a:pt x="526666" y="992345"/>
                  </a:cubicBezTo>
                  <a:cubicBezTo>
                    <a:pt x="533127" y="992647"/>
                    <a:pt x="539588" y="992798"/>
                    <a:pt x="545999" y="992798"/>
                  </a:cubicBezTo>
                  <a:cubicBezTo>
                    <a:pt x="580801" y="992720"/>
                    <a:pt x="615448" y="988142"/>
                    <a:pt x="649076" y="979171"/>
                  </a:cubicBezTo>
                  <a:cubicBezTo>
                    <a:pt x="653676" y="983470"/>
                    <a:pt x="658327" y="987845"/>
                    <a:pt x="663330" y="992571"/>
                  </a:cubicBezTo>
                  <a:cubicBezTo>
                    <a:pt x="693876" y="1022612"/>
                    <a:pt x="726227" y="1050762"/>
                    <a:pt x="760197" y="1076868"/>
                  </a:cubicBezTo>
                  <a:cubicBezTo>
                    <a:pt x="842457" y="1136426"/>
                    <a:pt x="1048182" y="1091575"/>
                    <a:pt x="1071387" y="1086270"/>
                  </a:cubicBezTo>
                  <a:cubicBezTo>
                    <a:pt x="1081144" y="1083942"/>
                    <a:pt x="1088585" y="1076038"/>
                    <a:pt x="1090318" y="1066158"/>
                  </a:cubicBezTo>
                  <a:cubicBezTo>
                    <a:pt x="1092002" y="1056142"/>
                    <a:pt x="1087590" y="1046083"/>
                    <a:pt x="1079080" y="1040539"/>
                  </a:cubicBezTo>
                  <a:cubicBezTo>
                    <a:pt x="1078552" y="1040213"/>
                    <a:pt x="1027592" y="1005820"/>
                    <a:pt x="994834" y="876346"/>
                  </a:cubicBezTo>
                  <a:cubicBezTo>
                    <a:pt x="984099" y="834337"/>
                    <a:pt x="1002703" y="750065"/>
                    <a:pt x="1022488" y="660842"/>
                  </a:cubicBezTo>
                  <a:cubicBezTo>
                    <a:pt x="1044094" y="577526"/>
                    <a:pt x="1057268" y="492246"/>
                    <a:pt x="1061808" y="406293"/>
                  </a:cubicBezTo>
                  <a:cubicBezTo>
                    <a:pt x="1061808" y="278705"/>
                    <a:pt x="1024097" y="200568"/>
                    <a:pt x="943270" y="160444"/>
                  </a:cubicBezTo>
                  <a:cubicBezTo>
                    <a:pt x="901638" y="144273"/>
                    <a:pt x="855990" y="141523"/>
                    <a:pt x="812715" y="152575"/>
                  </a:cubicBezTo>
                  <a:cubicBezTo>
                    <a:pt x="790089" y="122180"/>
                    <a:pt x="729902" y="58172"/>
                    <a:pt x="603797" y="18877"/>
                  </a:cubicBezTo>
                  <a:cubicBezTo>
                    <a:pt x="467588" y="-18584"/>
                    <a:pt x="322042" y="182"/>
                    <a:pt x="199789" y="70969"/>
                  </a:cubicBezTo>
                  <a:cubicBezTo>
                    <a:pt x="94550" y="138848"/>
                    <a:pt x="44068" y="214773"/>
                    <a:pt x="41730" y="461779"/>
                  </a:cubicBezTo>
                  <a:cubicBezTo>
                    <a:pt x="40775" y="565911"/>
                    <a:pt x="46909" y="662903"/>
                    <a:pt x="52339" y="748557"/>
                  </a:cubicBezTo>
                  <a:cubicBezTo>
                    <a:pt x="59658" y="819403"/>
                    <a:pt x="60877" y="890744"/>
                    <a:pt x="55985" y="961799"/>
                  </a:cubicBezTo>
                  <a:cubicBezTo>
                    <a:pt x="50129" y="1008063"/>
                    <a:pt x="32543" y="1052059"/>
                    <a:pt x="4899" y="1089614"/>
                  </a:cubicBezTo>
                  <a:cubicBezTo>
                    <a:pt x="-3335" y="1100794"/>
                    <a:pt x="-946" y="1116532"/>
                    <a:pt x="10234" y="1124765"/>
                  </a:cubicBezTo>
                  <a:cubicBezTo>
                    <a:pt x="14518" y="1127921"/>
                    <a:pt x="19692" y="1129635"/>
                    <a:pt x="25011" y="1129663"/>
                  </a:cubicBezTo>
                  <a:close/>
                  <a:moveTo>
                    <a:pt x="528979" y="942114"/>
                  </a:moveTo>
                  <a:cubicBezTo>
                    <a:pt x="349214" y="932332"/>
                    <a:pt x="205327" y="789355"/>
                    <a:pt x="194408" y="609655"/>
                  </a:cubicBezTo>
                  <a:cubicBezTo>
                    <a:pt x="193793" y="597495"/>
                    <a:pt x="193793" y="585312"/>
                    <a:pt x="194408" y="573151"/>
                  </a:cubicBezTo>
                  <a:cubicBezTo>
                    <a:pt x="195585" y="547593"/>
                    <a:pt x="216180" y="527217"/>
                    <a:pt x="241748" y="526314"/>
                  </a:cubicBezTo>
                  <a:cubicBezTo>
                    <a:pt x="259852" y="526020"/>
                    <a:pt x="277905" y="524338"/>
                    <a:pt x="295750" y="521286"/>
                  </a:cubicBezTo>
                  <a:cubicBezTo>
                    <a:pt x="377492" y="510488"/>
                    <a:pt x="457251" y="487975"/>
                    <a:pt x="532574" y="454438"/>
                  </a:cubicBezTo>
                  <a:cubicBezTo>
                    <a:pt x="615385" y="412772"/>
                    <a:pt x="692265" y="360243"/>
                    <a:pt x="761177" y="298239"/>
                  </a:cubicBezTo>
                  <a:cubicBezTo>
                    <a:pt x="767425" y="337411"/>
                    <a:pt x="781353" y="374961"/>
                    <a:pt x="802156" y="408732"/>
                  </a:cubicBezTo>
                  <a:cubicBezTo>
                    <a:pt x="802642" y="409539"/>
                    <a:pt x="803177" y="410311"/>
                    <a:pt x="803765" y="411045"/>
                  </a:cubicBezTo>
                  <a:cubicBezTo>
                    <a:pt x="813714" y="422904"/>
                    <a:pt x="825223" y="433357"/>
                    <a:pt x="837982" y="442119"/>
                  </a:cubicBezTo>
                  <a:lnTo>
                    <a:pt x="842080" y="445211"/>
                  </a:lnTo>
                  <a:cubicBezTo>
                    <a:pt x="846816" y="448886"/>
                    <a:pt x="851186" y="453012"/>
                    <a:pt x="855128" y="457530"/>
                  </a:cubicBezTo>
                  <a:cubicBezTo>
                    <a:pt x="878559" y="484460"/>
                    <a:pt x="892813" y="518149"/>
                    <a:pt x="895830" y="553718"/>
                  </a:cubicBezTo>
                  <a:cubicBezTo>
                    <a:pt x="897085" y="565954"/>
                    <a:pt x="897698" y="578247"/>
                    <a:pt x="897665" y="590549"/>
                  </a:cubicBezTo>
                  <a:cubicBezTo>
                    <a:pt x="897663" y="784935"/>
                    <a:pt x="740079" y="942514"/>
                    <a:pt x="545693" y="942511"/>
                  </a:cubicBezTo>
                  <a:cubicBezTo>
                    <a:pt x="540119" y="942511"/>
                    <a:pt x="534545" y="942378"/>
                    <a:pt x="528979" y="942114"/>
                  </a:cubicBezTo>
                  <a:close/>
                  <a:moveTo>
                    <a:pt x="102545" y="745364"/>
                  </a:moveTo>
                  <a:cubicBezTo>
                    <a:pt x="97165" y="660615"/>
                    <a:pt x="91056" y="564528"/>
                    <a:pt x="92011" y="462231"/>
                  </a:cubicBezTo>
                  <a:cubicBezTo>
                    <a:pt x="94148" y="236896"/>
                    <a:pt x="135404" y="172436"/>
                    <a:pt x="225935" y="113909"/>
                  </a:cubicBezTo>
                  <a:cubicBezTo>
                    <a:pt x="336045" y="50362"/>
                    <a:pt x="466995" y="33488"/>
                    <a:pt x="589618" y="67047"/>
                  </a:cubicBezTo>
                  <a:cubicBezTo>
                    <a:pt x="733648" y="111922"/>
                    <a:pt x="778901" y="192196"/>
                    <a:pt x="779279" y="192749"/>
                  </a:cubicBezTo>
                  <a:cubicBezTo>
                    <a:pt x="784900" y="203391"/>
                    <a:pt x="797274" y="208555"/>
                    <a:pt x="808794" y="205068"/>
                  </a:cubicBezTo>
                  <a:cubicBezTo>
                    <a:pt x="828102" y="199261"/>
                    <a:pt x="885900" y="187948"/>
                    <a:pt x="920820" y="205295"/>
                  </a:cubicBezTo>
                  <a:cubicBezTo>
                    <a:pt x="963006" y="226211"/>
                    <a:pt x="1011326" y="267970"/>
                    <a:pt x="1011326" y="405967"/>
                  </a:cubicBezTo>
                  <a:cubicBezTo>
                    <a:pt x="1006680" y="488312"/>
                    <a:pt x="993906" y="569999"/>
                    <a:pt x="973188" y="649830"/>
                  </a:cubicBezTo>
                  <a:cubicBezTo>
                    <a:pt x="951240" y="749186"/>
                    <a:pt x="932284" y="835015"/>
                    <a:pt x="945986" y="888665"/>
                  </a:cubicBezTo>
                  <a:cubicBezTo>
                    <a:pt x="958274" y="945166"/>
                    <a:pt x="981700" y="998650"/>
                    <a:pt x="1014896" y="1045995"/>
                  </a:cubicBezTo>
                  <a:cubicBezTo>
                    <a:pt x="943245" y="1057786"/>
                    <a:pt x="832853" y="1067515"/>
                    <a:pt x="789561" y="1036190"/>
                  </a:cubicBezTo>
                  <a:cubicBezTo>
                    <a:pt x="759161" y="1012804"/>
                    <a:pt x="730189" y="987619"/>
                    <a:pt x="702801" y="960769"/>
                  </a:cubicBezTo>
                  <a:cubicBezTo>
                    <a:pt x="851440" y="897779"/>
                    <a:pt x="947982" y="751984"/>
                    <a:pt x="947947" y="590549"/>
                  </a:cubicBezTo>
                  <a:cubicBezTo>
                    <a:pt x="947947" y="576492"/>
                    <a:pt x="947225" y="562446"/>
                    <a:pt x="945785" y="548463"/>
                  </a:cubicBezTo>
                  <a:cubicBezTo>
                    <a:pt x="941672" y="502328"/>
                    <a:pt x="922997" y="458694"/>
                    <a:pt x="892461" y="423867"/>
                  </a:cubicBezTo>
                  <a:cubicBezTo>
                    <a:pt x="886370" y="416966"/>
                    <a:pt x="879635" y="410660"/>
                    <a:pt x="872349" y="405036"/>
                  </a:cubicBezTo>
                  <a:lnTo>
                    <a:pt x="868050" y="401818"/>
                  </a:lnTo>
                  <a:cubicBezTo>
                    <a:pt x="859316" y="395847"/>
                    <a:pt x="851301" y="388889"/>
                    <a:pt x="844166" y="381077"/>
                  </a:cubicBezTo>
                  <a:cubicBezTo>
                    <a:pt x="826533" y="352055"/>
                    <a:pt x="814961" y="319762"/>
                    <a:pt x="810151" y="286147"/>
                  </a:cubicBezTo>
                  <a:cubicBezTo>
                    <a:pt x="806295" y="260048"/>
                    <a:pt x="782014" y="242017"/>
                    <a:pt x="755915" y="245874"/>
                  </a:cubicBezTo>
                  <a:cubicBezTo>
                    <a:pt x="746184" y="247312"/>
                    <a:pt x="737135" y="251719"/>
                    <a:pt x="730003" y="258492"/>
                  </a:cubicBezTo>
                  <a:cubicBezTo>
                    <a:pt x="664100" y="318226"/>
                    <a:pt x="590445" y="368804"/>
                    <a:pt x="511029" y="408858"/>
                  </a:cubicBezTo>
                  <a:cubicBezTo>
                    <a:pt x="440087" y="440303"/>
                    <a:pt x="364997" y="461394"/>
                    <a:pt x="288057" y="471483"/>
                  </a:cubicBezTo>
                  <a:cubicBezTo>
                    <a:pt x="272332" y="474201"/>
                    <a:pt x="256423" y="475704"/>
                    <a:pt x="240466" y="475983"/>
                  </a:cubicBezTo>
                  <a:cubicBezTo>
                    <a:pt x="188609" y="477622"/>
                    <a:pt x="146694" y="518792"/>
                    <a:pt x="144127" y="570612"/>
                  </a:cubicBezTo>
                  <a:lnTo>
                    <a:pt x="144127" y="570612"/>
                  </a:lnTo>
                  <a:cubicBezTo>
                    <a:pt x="143474" y="584490"/>
                    <a:pt x="143499" y="598468"/>
                    <a:pt x="144127" y="612220"/>
                  </a:cubicBezTo>
                  <a:cubicBezTo>
                    <a:pt x="153057" y="758666"/>
                    <a:pt x="240448" y="888846"/>
                    <a:pt x="372605" y="952573"/>
                  </a:cubicBezTo>
                  <a:lnTo>
                    <a:pt x="372328" y="952849"/>
                  </a:lnTo>
                  <a:cubicBezTo>
                    <a:pt x="342567" y="982814"/>
                    <a:pt x="310636" y="1010544"/>
                    <a:pt x="276794" y="1035813"/>
                  </a:cubicBezTo>
                  <a:cubicBezTo>
                    <a:pt x="223999" y="1063141"/>
                    <a:pt x="128817" y="1073524"/>
                    <a:pt x="71748" y="1077270"/>
                  </a:cubicBezTo>
                  <a:cubicBezTo>
                    <a:pt x="89434" y="1043390"/>
                    <a:pt x="100943" y="1006630"/>
                    <a:pt x="105738" y="968713"/>
                  </a:cubicBezTo>
                  <a:cubicBezTo>
                    <a:pt x="111402" y="894319"/>
                    <a:pt x="110333" y="819567"/>
                    <a:pt x="102545" y="745364"/>
                  </a:cubicBezTo>
                  <a:close/>
                </a:path>
              </a:pathLst>
            </a:custGeom>
            <a:solidFill>
              <a:srgbClr val="000000"/>
            </a:solidFill>
            <a:ln w="25102" cap="flat">
              <a:noFill/>
              <a:prstDash val="solid"/>
              <a:miter/>
            </a:ln>
          </p:spPr>
          <p:txBody>
            <a:bodyPr rtlCol="0" anchor="ctr"/>
            <a:lstStyle/>
            <a:p>
              <a:endParaRPr lang="fr-FR"/>
            </a:p>
          </p:txBody>
        </p:sp>
        <p:sp>
          <p:nvSpPr>
            <p:cNvPr id="78" name="Freeform: Shape 77">
              <a:extLst>
                <a:ext uri="{FF2B5EF4-FFF2-40B4-BE49-F238E27FC236}">
                  <a16:creationId xmlns:a16="http://schemas.microsoft.com/office/drawing/2014/main" id="{A3C64D32-14DD-4C15-910D-8D29E9980949}"/>
                </a:ext>
              </a:extLst>
            </p:cNvPr>
            <p:cNvSpPr/>
            <p:nvPr/>
          </p:nvSpPr>
          <p:spPr>
            <a:xfrm>
              <a:off x="536707" y="6765479"/>
              <a:ext cx="1608996" cy="782449"/>
            </a:xfrm>
            <a:custGeom>
              <a:avLst/>
              <a:gdLst>
                <a:gd name="connsiteX0" fmla="*/ 1521834 w 1608996"/>
                <a:gd name="connsiteY0" fmla="*/ 217416 h 782449"/>
                <a:gd name="connsiteX1" fmla="*/ 1133211 w 1608996"/>
                <a:gd name="connsiteY1" fmla="*/ 27705 h 782449"/>
                <a:gd name="connsiteX2" fmla="*/ 1036017 w 1608996"/>
                <a:gd name="connsiteY2" fmla="*/ 2740 h 782449"/>
                <a:gd name="connsiteX3" fmla="*/ 1023271 w 1608996"/>
                <a:gd name="connsiteY3" fmla="*/ 0 h 782449"/>
                <a:gd name="connsiteX4" fmla="*/ 1013693 w 1608996"/>
                <a:gd name="connsiteY4" fmla="*/ 8875 h 782449"/>
                <a:gd name="connsiteX5" fmla="*/ 804498 w 1608996"/>
                <a:gd name="connsiteY5" fmla="*/ 103655 h 782449"/>
                <a:gd name="connsiteX6" fmla="*/ 595228 w 1608996"/>
                <a:gd name="connsiteY6" fmla="*/ 10132 h 782449"/>
                <a:gd name="connsiteX7" fmla="*/ 585700 w 1608996"/>
                <a:gd name="connsiteY7" fmla="*/ 1383 h 782449"/>
                <a:gd name="connsiteX8" fmla="*/ 573129 w 1608996"/>
                <a:gd name="connsiteY8" fmla="*/ 4048 h 782449"/>
                <a:gd name="connsiteX9" fmla="*/ 476162 w 1608996"/>
                <a:gd name="connsiteY9" fmla="*/ 27630 h 782449"/>
                <a:gd name="connsiteX10" fmla="*/ 87464 w 1608996"/>
                <a:gd name="connsiteY10" fmla="*/ 217240 h 782449"/>
                <a:gd name="connsiteX11" fmla="*/ 0 w 1608996"/>
                <a:gd name="connsiteY11" fmla="*/ 392771 h 782449"/>
                <a:gd name="connsiteX12" fmla="*/ 0 w 1608996"/>
                <a:gd name="connsiteY12" fmla="*/ 782450 h 782449"/>
                <a:gd name="connsiteX13" fmla="*/ 50281 w 1608996"/>
                <a:gd name="connsiteY13" fmla="*/ 782450 h 782449"/>
                <a:gd name="connsiteX14" fmla="*/ 50281 w 1608996"/>
                <a:gd name="connsiteY14" fmla="*/ 392771 h 782449"/>
                <a:gd name="connsiteX15" fmla="*/ 117859 w 1608996"/>
                <a:gd name="connsiteY15" fmla="*/ 257213 h 782449"/>
                <a:gd name="connsiteX16" fmla="*/ 489638 w 1608996"/>
                <a:gd name="connsiteY16" fmla="*/ 76201 h 782449"/>
                <a:gd name="connsiteX17" fmla="*/ 570967 w 1608996"/>
                <a:gd name="connsiteY17" fmla="*/ 56089 h 782449"/>
                <a:gd name="connsiteX18" fmla="*/ 804498 w 1608996"/>
                <a:gd name="connsiteY18" fmla="*/ 153936 h 782449"/>
                <a:gd name="connsiteX19" fmla="*/ 1038054 w 1608996"/>
                <a:gd name="connsiteY19" fmla="*/ 54656 h 782449"/>
                <a:gd name="connsiteX20" fmla="*/ 1119082 w 1608996"/>
                <a:gd name="connsiteY20" fmla="*/ 75975 h 782449"/>
                <a:gd name="connsiteX21" fmla="*/ 1490207 w 1608996"/>
                <a:gd name="connsiteY21" fmla="*/ 256509 h 782449"/>
                <a:gd name="connsiteX22" fmla="*/ 1558715 w 1608996"/>
                <a:gd name="connsiteY22" fmla="*/ 392771 h 782449"/>
                <a:gd name="connsiteX23" fmla="*/ 1558715 w 1608996"/>
                <a:gd name="connsiteY23" fmla="*/ 782450 h 782449"/>
                <a:gd name="connsiteX24" fmla="*/ 1608996 w 1608996"/>
                <a:gd name="connsiteY24" fmla="*/ 782450 h 782449"/>
                <a:gd name="connsiteX25" fmla="*/ 1608996 w 1608996"/>
                <a:gd name="connsiteY25" fmla="*/ 392771 h 782449"/>
                <a:gd name="connsiteX26" fmla="*/ 1521834 w 1608996"/>
                <a:gd name="connsiteY26" fmla="*/ 217416 h 78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8996" h="782449">
                  <a:moveTo>
                    <a:pt x="1521834" y="217416"/>
                  </a:moveTo>
                  <a:cubicBezTo>
                    <a:pt x="1406436" y="128576"/>
                    <a:pt x="1274237" y="64043"/>
                    <a:pt x="1133211" y="27705"/>
                  </a:cubicBezTo>
                  <a:cubicBezTo>
                    <a:pt x="1100729" y="17976"/>
                    <a:pt x="1068021" y="9579"/>
                    <a:pt x="1036017" y="2740"/>
                  </a:cubicBezTo>
                  <a:lnTo>
                    <a:pt x="1023271" y="0"/>
                  </a:lnTo>
                  <a:lnTo>
                    <a:pt x="1013693" y="8875"/>
                  </a:lnTo>
                  <a:cubicBezTo>
                    <a:pt x="911245" y="103655"/>
                    <a:pt x="841807" y="103655"/>
                    <a:pt x="804498" y="103655"/>
                  </a:cubicBezTo>
                  <a:cubicBezTo>
                    <a:pt x="767189" y="103655"/>
                    <a:pt x="697173" y="103655"/>
                    <a:pt x="595228" y="10132"/>
                  </a:cubicBezTo>
                  <a:lnTo>
                    <a:pt x="585700" y="1383"/>
                  </a:lnTo>
                  <a:lnTo>
                    <a:pt x="573129" y="4048"/>
                  </a:lnTo>
                  <a:cubicBezTo>
                    <a:pt x="542332" y="10534"/>
                    <a:pt x="509800" y="18453"/>
                    <a:pt x="476162" y="27630"/>
                  </a:cubicBezTo>
                  <a:cubicBezTo>
                    <a:pt x="336831" y="68463"/>
                    <a:pt x="205411" y="132571"/>
                    <a:pt x="87464" y="217240"/>
                  </a:cubicBezTo>
                  <a:cubicBezTo>
                    <a:pt x="33384" y="259609"/>
                    <a:pt x="1260" y="324082"/>
                    <a:pt x="0" y="392771"/>
                  </a:cubicBezTo>
                  <a:lnTo>
                    <a:pt x="0" y="782450"/>
                  </a:lnTo>
                  <a:lnTo>
                    <a:pt x="50281" y="782450"/>
                  </a:lnTo>
                  <a:lnTo>
                    <a:pt x="50281" y="392771"/>
                  </a:lnTo>
                  <a:cubicBezTo>
                    <a:pt x="51390" y="339750"/>
                    <a:pt x="76183" y="290012"/>
                    <a:pt x="117859" y="257213"/>
                  </a:cubicBezTo>
                  <a:cubicBezTo>
                    <a:pt x="230735" y="176414"/>
                    <a:pt x="356420" y="115219"/>
                    <a:pt x="489638" y="76201"/>
                  </a:cubicBezTo>
                  <a:cubicBezTo>
                    <a:pt x="517544" y="68659"/>
                    <a:pt x="544947" y="61821"/>
                    <a:pt x="570967" y="56089"/>
                  </a:cubicBezTo>
                  <a:cubicBezTo>
                    <a:pt x="668739" y="142044"/>
                    <a:pt x="743758" y="153936"/>
                    <a:pt x="804498" y="153936"/>
                  </a:cubicBezTo>
                  <a:cubicBezTo>
                    <a:pt x="865238" y="153936"/>
                    <a:pt x="939855" y="141893"/>
                    <a:pt x="1038054" y="54656"/>
                  </a:cubicBezTo>
                  <a:cubicBezTo>
                    <a:pt x="1064728" y="60689"/>
                    <a:pt x="1091855" y="67804"/>
                    <a:pt x="1119082" y="75975"/>
                  </a:cubicBezTo>
                  <a:cubicBezTo>
                    <a:pt x="1253705" y="110495"/>
                    <a:pt x="1379948" y="171906"/>
                    <a:pt x="1490207" y="256509"/>
                  </a:cubicBezTo>
                  <a:cubicBezTo>
                    <a:pt x="1532368" y="289320"/>
                    <a:pt x="1557526" y="339360"/>
                    <a:pt x="1558715" y="392771"/>
                  </a:cubicBezTo>
                  <a:lnTo>
                    <a:pt x="1558715" y="782450"/>
                  </a:lnTo>
                  <a:lnTo>
                    <a:pt x="1608996" y="782450"/>
                  </a:lnTo>
                  <a:lnTo>
                    <a:pt x="1608996" y="392771"/>
                  </a:lnTo>
                  <a:cubicBezTo>
                    <a:pt x="1607779" y="324188"/>
                    <a:pt x="1575770" y="259793"/>
                    <a:pt x="1521834" y="217416"/>
                  </a:cubicBezTo>
                  <a:close/>
                </a:path>
              </a:pathLst>
            </a:custGeom>
            <a:solidFill>
              <a:srgbClr val="000000"/>
            </a:solidFill>
            <a:ln w="25102" cap="flat">
              <a:noFill/>
              <a:prstDash val="solid"/>
              <a:miter/>
            </a:ln>
          </p:spPr>
          <p:txBody>
            <a:bodyPr rtlCol="0" anchor="ctr"/>
            <a:lstStyle/>
            <a:p>
              <a:endParaRPr lang="fr-FR"/>
            </a:p>
          </p:txBody>
        </p:sp>
      </p:grpSp>
      <p:pic>
        <p:nvPicPr>
          <p:cNvPr id="81" name="Graphic 80" descr="A confused face">
            <a:extLst>
              <a:ext uri="{FF2B5EF4-FFF2-40B4-BE49-F238E27FC236}">
                <a16:creationId xmlns:a16="http://schemas.microsoft.com/office/drawing/2014/main" id="{28DF0334-837A-4330-A885-F3E6A87CD4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9437" y="5960084"/>
            <a:ext cx="490458" cy="613073"/>
          </a:xfrm>
          <a:prstGeom prst="rect">
            <a:avLst/>
          </a:prstGeom>
        </p:spPr>
      </p:pic>
      <p:sp>
        <p:nvSpPr>
          <p:cNvPr id="17" name="ZoneTexte 16">
            <a:extLst>
              <a:ext uri="{FF2B5EF4-FFF2-40B4-BE49-F238E27FC236}">
                <a16:creationId xmlns:a16="http://schemas.microsoft.com/office/drawing/2014/main" id="{C951BED0-9848-470C-A82F-40DA99597AE4}"/>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3</a:t>
            </a:r>
          </a:p>
        </p:txBody>
      </p:sp>
      <p:sp>
        <p:nvSpPr>
          <p:cNvPr id="20" name="Freeform 926">
            <a:extLst>
              <a:ext uri="{FF2B5EF4-FFF2-40B4-BE49-F238E27FC236}">
                <a16:creationId xmlns:a16="http://schemas.microsoft.com/office/drawing/2014/main" id="{6FF58794-93A4-4250-8CAC-98C4B2C638F6}"/>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926">
            <a:extLst>
              <a:ext uri="{FF2B5EF4-FFF2-40B4-BE49-F238E27FC236}">
                <a16:creationId xmlns:a16="http://schemas.microsoft.com/office/drawing/2014/main" id="{C2AFAF79-CDAA-4F3D-98CA-03E65E7CA3BD}"/>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TextBox 219">
            <a:extLst>
              <a:ext uri="{FF2B5EF4-FFF2-40B4-BE49-F238E27FC236}">
                <a16:creationId xmlns:a16="http://schemas.microsoft.com/office/drawing/2014/main" id="{5C4ADF1D-988B-4B33-9E84-B795E0604443}"/>
              </a:ext>
            </a:extLst>
          </p:cNvPr>
          <p:cNvSpPr txBox="1"/>
          <p:nvPr/>
        </p:nvSpPr>
        <p:spPr>
          <a:xfrm>
            <a:off x="2126176" y="469879"/>
            <a:ext cx="2535625" cy="307777"/>
          </a:xfrm>
          <a:prstGeom prst="rect">
            <a:avLst/>
          </a:prstGeom>
          <a:noFill/>
        </p:spPr>
        <p:txBody>
          <a:bodyPr wrap="square">
            <a:spAutoFit/>
          </a:bodyPr>
          <a:lstStyle/>
          <a:p>
            <a:pPr>
              <a:spcAft>
                <a:spcPts val="0"/>
              </a:spcAft>
            </a:pPr>
            <a:r>
              <a:rPr lang="fr-FR" altLang="zh-CN" sz="1400" dirty="0">
                <a:solidFill>
                  <a:schemeClr val="tx2"/>
                </a:solidFill>
              </a:rPr>
              <a:t>Organisme d’accueil</a:t>
            </a:r>
          </a:p>
        </p:txBody>
      </p:sp>
      <p:sp>
        <p:nvSpPr>
          <p:cNvPr id="24" name="TextBox 220">
            <a:extLst>
              <a:ext uri="{FF2B5EF4-FFF2-40B4-BE49-F238E27FC236}">
                <a16:creationId xmlns:a16="http://schemas.microsoft.com/office/drawing/2014/main" id="{3C6579A0-8C47-41B6-B342-C84B383F8D70}"/>
              </a:ext>
            </a:extLst>
          </p:cNvPr>
          <p:cNvSpPr txBox="1"/>
          <p:nvPr/>
        </p:nvSpPr>
        <p:spPr>
          <a:xfrm>
            <a:off x="5819704" y="469879"/>
            <a:ext cx="253562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25" name="TextBox 38">
            <a:extLst>
              <a:ext uri="{FF2B5EF4-FFF2-40B4-BE49-F238E27FC236}">
                <a16:creationId xmlns:a16="http://schemas.microsoft.com/office/drawing/2014/main" id="{752EA5E0-FD69-4D57-B58B-AD5741EAB711}"/>
              </a:ext>
            </a:extLst>
          </p:cNvPr>
          <p:cNvSpPr txBox="1"/>
          <p:nvPr/>
        </p:nvSpPr>
        <p:spPr>
          <a:xfrm>
            <a:off x="9513234" y="500490"/>
            <a:ext cx="2420555"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26" name="Freeform 926">
            <a:extLst>
              <a:ext uri="{FF2B5EF4-FFF2-40B4-BE49-F238E27FC236}">
                <a16:creationId xmlns:a16="http://schemas.microsoft.com/office/drawing/2014/main" id="{4E0B0CDC-119C-46E8-B50E-2ED2184FDF5C}"/>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Rectangle 26">
            <a:extLst>
              <a:ext uri="{FF2B5EF4-FFF2-40B4-BE49-F238E27FC236}">
                <a16:creationId xmlns:a16="http://schemas.microsoft.com/office/drawing/2014/main" id="{3D6C0129-87D4-409D-80A8-23059C93FFB5}"/>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28" name="Rectangle 27">
            <a:extLst>
              <a:ext uri="{FF2B5EF4-FFF2-40B4-BE49-F238E27FC236}">
                <a16:creationId xmlns:a16="http://schemas.microsoft.com/office/drawing/2014/main" id="{0DD9691D-A21B-4BF5-BB44-FBD57F16B0E1}"/>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29" name="Rectangle 28">
            <a:extLst>
              <a:ext uri="{FF2B5EF4-FFF2-40B4-BE49-F238E27FC236}">
                <a16:creationId xmlns:a16="http://schemas.microsoft.com/office/drawing/2014/main" id="{01E40990-57A4-4B17-B1E1-80C36A30D78E}"/>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30" name="Rectangle 29">
            <a:extLst>
              <a:ext uri="{FF2B5EF4-FFF2-40B4-BE49-F238E27FC236}">
                <a16:creationId xmlns:a16="http://schemas.microsoft.com/office/drawing/2014/main" id="{3458C3F1-CB4E-4791-8359-8A9650902F44}"/>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8194220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20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25416DE6-97DA-4AAB-80D6-E35DD0663BC5}"/>
              </a:ext>
            </a:extLst>
          </p:cNvPr>
          <p:cNvGrpSpPr/>
          <p:nvPr/>
        </p:nvGrpSpPr>
        <p:grpSpPr>
          <a:xfrm>
            <a:off x="2525221" y="1561264"/>
            <a:ext cx="9026509" cy="4991488"/>
            <a:chOff x="2525221" y="1561264"/>
            <a:chExt cx="9026509" cy="4991488"/>
          </a:xfrm>
        </p:grpSpPr>
        <p:sp>
          <p:nvSpPr>
            <p:cNvPr id="27" name="Rectangle 26">
              <a:extLst>
                <a:ext uri="{FF2B5EF4-FFF2-40B4-BE49-F238E27FC236}">
                  <a16:creationId xmlns:a16="http://schemas.microsoft.com/office/drawing/2014/main" id="{64DFCE42-165F-41B8-8FA3-9749DC703B7D}"/>
                </a:ext>
              </a:extLst>
            </p:cNvPr>
            <p:cNvSpPr/>
            <p:nvPr/>
          </p:nvSpPr>
          <p:spPr bwMode="gray">
            <a:xfrm>
              <a:off x="2801261" y="1736733"/>
              <a:ext cx="8568017" cy="4816019"/>
            </a:xfrm>
            <a:custGeom>
              <a:avLst/>
              <a:gdLst>
                <a:gd name="connsiteX0" fmla="*/ 0 w 8698831"/>
                <a:gd name="connsiteY0" fmla="*/ 0 h 4739924"/>
                <a:gd name="connsiteX1" fmla="*/ 8698831 w 8698831"/>
                <a:gd name="connsiteY1" fmla="*/ 0 h 4739924"/>
                <a:gd name="connsiteX2" fmla="*/ 8698831 w 8698831"/>
                <a:gd name="connsiteY2" fmla="*/ 4739924 h 4739924"/>
                <a:gd name="connsiteX3" fmla="*/ 0 w 8698831"/>
                <a:gd name="connsiteY3" fmla="*/ 4739924 h 4739924"/>
                <a:gd name="connsiteX4" fmla="*/ 0 w 8698831"/>
                <a:gd name="connsiteY4" fmla="*/ 0 h 4739924"/>
                <a:gd name="connsiteX0" fmla="*/ 0 w 8698831"/>
                <a:gd name="connsiteY0" fmla="*/ 0 h 4739924"/>
                <a:gd name="connsiteX1" fmla="*/ 8698831 w 8698831"/>
                <a:gd name="connsiteY1" fmla="*/ 0 h 4739924"/>
                <a:gd name="connsiteX2" fmla="*/ 8698831 w 8698831"/>
                <a:gd name="connsiteY2" fmla="*/ 4739924 h 4739924"/>
                <a:gd name="connsiteX3" fmla="*/ 673768 w 8698831"/>
                <a:gd name="connsiteY3" fmla="*/ 4366945 h 4739924"/>
                <a:gd name="connsiteX4" fmla="*/ 0 w 8698831"/>
                <a:gd name="connsiteY4" fmla="*/ 0 h 4739924"/>
                <a:gd name="connsiteX0" fmla="*/ 0 w 8698831"/>
                <a:gd name="connsiteY0" fmla="*/ 0 h 4739924"/>
                <a:gd name="connsiteX1" fmla="*/ 8698831 w 8698831"/>
                <a:gd name="connsiteY1" fmla="*/ 0 h 4739924"/>
                <a:gd name="connsiteX2" fmla="*/ 8698831 w 8698831"/>
                <a:gd name="connsiteY2" fmla="*/ 4739924 h 4739924"/>
                <a:gd name="connsiteX3" fmla="*/ 673768 w 8698831"/>
                <a:gd name="connsiteY3" fmla="*/ 4366945 h 4739924"/>
                <a:gd name="connsiteX4" fmla="*/ 0 w 8698831"/>
                <a:gd name="connsiteY4" fmla="*/ 0 h 4739924"/>
                <a:gd name="connsiteX0" fmla="*/ 0 w 8698831"/>
                <a:gd name="connsiteY0" fmla="*/ 0 h 4739924"/>
                <a:gd name="connsiteX1" fmla="*/ 8698831 w 8698831"/>
                <a:gd name="connsiteY1" fmla="*/ 0 h 4739924"/>
                <a:gd name="connsiteX2" fmla="*/ 8698831 w 8698831"/>
                <a:gd name="connsiteY2" fmla="*/ 4739924 h 4739924"/>
                <a:gd name="connsiteX3" fmla="*/ 673768 w 8698831"/>
                <a:gd name="connsiteY3" fmla="*/ 4366945 h 4739924"/>
                <a:gd name="connsiteX4" fmla="*/ 0 w 8698831"/>
                <a:gd name="connsiteY4" fmla="*/ 0 h 4739924"/>
                <a:gd name="connsiteX0" fmla="*/ 0 w 8698831"/>
                <a:gd name="connsiteY0" fmla="*/ 0 h 4865721"/>
                <a:gd name="connsiteX1" fmla="*/ 8698831 w 8698831"/>
                <a:gd name="connsiteY1" fmla="*/ 0 h 4865721"/>
                <a:gd name="connsiteX2" fmla="*/ 8698831 w 8698831"/>
                <a:gd name="connsiteY2" fmla="*/ 4739924 h 4865721"/>
                <a:gd name="connsiteX3" fmla="*/ 2803358 w 8698831"/>
                <a:gd name="connsiteY3" fmla="*/ 3464576 h 4865721"/>
                <a:gd name="connsiteX4" fmla="*/ 673768 w 8698831"/>
                <a:gd name="connsiteY4" fmla="*/ 4366945 h 4865721"/>
                <a:gd name="connsiteX5" fmla="*/ 0 w 8698831"/>
                <a:gd name="connsiteY5" fmla="*/ 0 h 4865721"/>
                <a:gd name="connsiteX0" fmla="*/ 0 w 8698831"/>
                <a:gd name="connsiteY0" fmla="*/ 0 h 4866396"/>
                <a:gd name="connsiteX1" fmla="*/ 8698831 w 8698831"/>
                <a:gd name="connsiteY1" fmla="*/ 0 h 4866396"/>
                <a:gd name="connsiteX2" fmla="*/ 8698831 w 8698831"/>
                <a:gd name="connsiteY2" fmla="*/ 4739924 h 4866396"/>
                <a:gd name="connsiteX3" fmla="*/ 2815389 w 8698831"/>
                <a:gd name="connsiteY3" fmla="*/ 3476608 h 4866396"/>
                <a:gd name="connsiteX4" fmla="*/ 673768 w 8698831"/>
                <a:gd name="connsiteY4" fmla="*/ 4366945 h 4866396"/>
                <a:gd name="connsiteX5" fmla="*/ 0 w 8698831"/>
                <a:gd name="connsiteY5" fmla="*/ 0 h 4866396"/>
                <a:gd name="connsiteX0" fmla="*/ 0 w 8698831"/>
                <a:gd name="connsiteY0" fmla="*/ 0 h 4860567"/>
                <a:gd name="connsiteX1" fmla="*/ 8698831 w 8698831"/>
                <a:gd name="connsiteY1" fmla="*/ 0 h 4860567"/>
                <a:gd name="connsiteX2" fmla="*/ 8698831 w 8698831"/>
                <a:gd name="connsiteY2" fmla="*/ 4739924 h 4860567"/>
                <a:gd name="connsiteX3" fmla="*/ 2707105 w 8698831"/>
                <a:gd name="connsiteY3" fmla="*/ 3368324 h 4860567"/>
                <a:gd name="connsiteX4" fmla="*/ 673768 w 8698831"/>
                <a:gd name="connsiteY4" fmla="*/ 4366945 h 4860567"/>
                <a:gd name="connsiteX5" fmla="*/ 0 w 8698831"/>
                <a:gd name="connsiteY5" fmla="*/ 0 h 4860567"/>
                <a:gd name="connsiteX0" fmla="*/ 0 w 8698831"/>
                <a:gd name="connsiteY0" fmla="*/ 0 h 4887429"/>
                <a:gd name="connsiteX1" fmla="*/ 8698831 w 8698831"/>
                <a:gd name="connsiteY1" fmla="*/ 0 h 4887429"/>
                <a:gd name="connsiteX2" fmla="*/ 8698831 w 8698831"/>
                <a:gd name="connsiteY2" fmla="*/ 4739924 h 4887429"/>
                <a:gd name="connsiteX3" fmla="*/ 2707105 w 8698831"/>
                <a:gd name="connsiteY3" fmla="*/ 3368324 h 4887429"/>
                <a:gd name="connsiteX4" fmla="*/ 673768 w 8698831"/>
                <a:gd name="connsiteY4" fmla="*/ 4366945 h 4887429"/>
                <a:gd name="connsiteX5" fmla="*/ 0 w 8698831"/>
                <a:gd name="connsiteY5" fmla="*/ 0 h 4887429"/>
                <a:gd name="connsiteX0" fmla="*/ 0 w 8698831"/>
                <a:gd name="connsiteY0" fmla="*/ 0 h 4887429"/>
                <a:gd name="connsiteX1" fmla="*/ 8698831 w 8698831"/>
                <a:gd name="connsiteY1" fmla="*/ 0 h 4887429"/>
                <a:gd name="connsiteX2" fmla="*/ 8698831 w 8698831"/>
                <a:gd name="connsiteY2" fmla="*/ 4739924 h 4887429"/>
                <a:gd name="connsiteX3" fmla="*/ 2707105 w 8698831"/>
                <a:gd name="connsiteY3" fmla="*/ 3368324 h 4887429"/>
                <a:gd name="connsiteX4" fmla="*/ 673768 w 8698831"/>
                <a:gd name="connsiteY4" fmla="*/ 4366945 h 4887429"/>
                <a:gd name="connsiteX5" fmla="*/ 0 w 8698831"/>
                <a:gd name="connsiteY5" fmla="*/ 0 h 4887429"/>
                <a:gd name="connsiteX0" fmla="*/ 0 w 8698831"/>
                <a:gd name="connsiteY0" fmla="*/ 0 h 4894044"/>
                <a:gd name="connsiteX1" fmla="*/ 8698831 w 8698831"/>
                <a:gd name="connsiteY1" fmla="*/ 0 h 4894044"/>
                <a:gd name="connsiteX2" fmla="*/ 8698831 w 8698831"/>
                <a:gd name="connsiteY2" fmla="*/ 4739924 h 4894044"/>
                <a:gd name="connsiteX3" fmla="*/ 2695073 w 8698831"/>
                <a:gd name="connsiteY3" fmla="*/ 3452545 h 4894044"/>
                <a:gd name="connsiteX4" fmla="*/ 673768 w 8698831"/>
                <a:gd name="connsiteY4" fmla="*/ 4366945 h 4894044"/>
                <a:gd name="connsiteX5" fmla="*/ 0 w 8698831"/>
                <a:gd name="connsiteY5" fmla="*/ 0 h 4894044"/>
                <a:gd name="connsiteX0" fmla="*/ 0 w 8698831"/>
                <a:gd name="connsiteY0" fmla="*/ 0 h 4894044"/>
                <a:gd name="connsiteX1" fmla="*/ 8698831 w 8698831"/>
                <a:gd name="connsiteY1" fmla="*/ 0 h 4894044"/>
                <a:gd name="connsiteX2" fmla="*/ 8698831 w 8698831"/>
                <a:gd name="connsiteY2" fmla="*/ 4739924 h 4894044"/>
                <a:gd name="connsiteX3" fmla="*/ 2695073 w 8698831"/>
                <a:gd name="connsiteY3" fmla="*/ 3452545 h 4894044"/>
                <a:gd name="connsiteX4" fmla="*/ 673768 w 8698831"/>
                <a:gd name="connsiteY4" fmla="*/ 4366945 h 4894044"/>
                <a:gd name="connsiteX5" fmla="*/ 0 w 8698831"/>
                <a:gd name="connsiteY5" fmla="*/ 0 h 4894044"/>
                <a:gd name="connsiteX0" fmla="*/ 0 w 8698831"/>
                <a:gd name="connsiteY0" fmla="*/ 0 h 4888219"/>
                <a:gd name="connsiteX1" fmla="*/ 8698831 w 8698831"/>
                <a:gd name="connsiteY1" fmla="*/ 0 h 4888219"/>
                <a:gd name="connsiteX2" fmla="*/ 8698831 w 8698831"/>
                <a:gd name="connsiteY2" fmla="*/ 4739924 h 4888219"/>
                <a:gd name="connsiteX3" fmla="*/ 3331333 w 8698831"/>
                <a:gd name="connsiteY3" fmla="*/ 3634974 h 4888219"/>
                <a:gd name="connsiteX4" fmla="*/ 2695073 w 8698831"/>
                <a:gd name="connsiteY4" fmla="*/ 3452545 h 4888219"/>
                <a:gd name="connsiteX5" fmla="*/ 673768 w 8698831"/>
                <a:gd name="connsiteY5" fmla="*/ 4366945 h 4888219"/>
                <a:gd name="connsiteX6" fmla="*/ 0 w 8698831"/>
                <a:gd name="connsiteY6" fmla="*/ 0 h 4888219"/>
                <a:gd name="connsiteX0" fmla="*/ 0 w 8698831"/>
                <a:gd name="connsiteY0" fmla="*/ 0 h 4941849"/>
                <a:gd name="connsiteX1" fmla="*/ 8698831 w 8698831"/>
                <a:gd name="connsiteY1" fmla="*/ 0 h 4941849"/>
                <a:gd name="connsiteX2" fmla="*/ 8698831 w 8698831"/>
                <a:gd name="connsiteY2" fmla="*/ 4739924 h 4941849"/>
                <a:gd name="connsiteX3" fmla="*/ 3331333 w 8698831"/>
                <a:gd name="connsiteY3" fmla="*/ 3634974 h 4941849"/>
                <a:gd name="connsiteX4" fmla="*/ 2695073 w 8698831"/>
                <a:gd name="connsiteY4" fmla="*/ 3452545 h 4941849"/>
                <a:gd name="connsiteX5" fmla="*/ 673768 w 8698831"/>
                <a:gd name="connsiteY5" fmla="*/ 4366945 h 4941849"/>
                <a:gd name="connsiteX6" fmla="*/ 0 w 8698831"/>
                <a:gd name="connsiteY6" fmla="*/ 0 h 4941849"/>
                <a:gd name="connsiteX0" fmla="*/ 0 w 8698831"/>
                <a:gd name="connsiteY0" fmla="*/ 0 h 4947778"/>
                <a:gd name="connsiteX1" fmla="*/ 8698831 w 8698831"/>
                <a:gd name="connsiteY1" fmla="*/ 0 h 4947778"/>
                <a:gd name="connsiteX2" fmla="*/ 8698831 w 8698831"/>
                <a:gd name="connsiteY2" fmla="*/ 4739924 h 4947778"/>
                <a:gd name="connsiteX3" fmla="*/ 3331333 w 8698831"/>
                <a:gd name="connsiteY3" fmla="*/ 3634974 h 4947778"/>
                <a:gd name="connsiteX4" fmla="*/ 2695073 w 8698831"/>
                <a:gd name="connsiteY4" fmla="*/ 3452545 h 4947778"/>
                <a:gd name="connsiteX5" fmla="*/ 673768 w 8698831"/>
                <a:gd name="connsiteY5" fmla="*/ 4366945 h 4947778"/>
                <a:gd name="connsiteX6" fmla="*/ 0 w 8698831"/>
                <a:gd name="connsiteY6" fmla="*/ 0 h 4947778"/>
                <a:gd name="connsiteX0" fmla="*/ 0 w 8698831"/>
                <a:gd name="connsiteY0" fmla="*/ 0 h 4981893"/>
                <a:gd name="connsiteX1" fmla="*/ 8698831 w 8698831"/>
                <a:gd name="connsiteY1" fmla="*/ 0 h 4981893"/>
                <a:gd name="connsiteX2" fmla="*/ 8698831 w 8698831"/>
                <a:gd name="connsiteY2" fmla="*/ 4739924 h 4981893"/>
                <a:gd name="connsiteX3" fmla="*/ 3331333 w 8698831"/>
                <a:gd name="connsiteY3" fmla="*/ 3634974 h 4981893"/>
                <a:gd name="connsiteX4" fmla="*/ 2695073 w 8698831"/>
                <a:gd name="connsiteY4" fmla="*/ 3452545 h 4981893"/>
                <a:gd name="connsiteX5" fmla="*/ 673768 w 8698831"/>
                <a:gd name="connsiteY5" fmla="*/ 4366945 h 4981893"/>
                <a:gd name="connsiteX6" fmla="*/ 0 w 8698831"/>
                <a:gd name="connsiteY6" fmla="*/ 0 h 4981893"/>
                <a:gd name="connsiteX0" fmla="*/ 0 w 8698831"/>
                <a:gd name="connsiteY0" fmla="*/ 0 h 5352446"/>
                <a:gd name="connsiteX1" fmla="*/ 8698831 w 8698831"/>
                <a:gd name="connsiteY1" fmla="*/ 0 h 5352446"/>
                <a:gd name="connsiteX2" fmla="*/ 8698831 w 8698831"/>
                <a:gd name="connsiteY2" fmla="*/ 4739924 h 5352446"/>
                <a:gd name="connsiteX3" fmla="*/ 3331333 w 8698831"/>
                <a:gd name="connsiteY3" fmla="*/ 3634974 h 5352446"/>
                <a:gd name="connsiteX4" fmla="*/ 2695073 w 8698831"/>
                <a:gd name="connsiteY4" fmla="*/ 3452545 h 5352446"/>
                <a:gd name="connsiteX5" fmla="*/ 673768 w 8698831"/>
                <a:gd name="connsiteY5" fmla="*/ 4366945 h 5352446"/>
                <a:gd name="connsiteX6" fmla="*/ 0 w 8698831"/>
                <a:gd name="connsiteY6" fmla="*/ 0 h 5352446"/>
                <a:gd name="connsiteX0" fmla="*/ 0 w 8698831"/>
                <a:gd name="connsiteY0" fmla="*/ 0 h 5419702"/>
                <a:gd name="connsiteX1" fmla="*/ 8698831 w 8698831"/>
                <a:gd name="connsiteY1" fmla="*/ 0 h 5419702"/>
                <a:gd name="connsiteX2" fmla="*/ 8698831 w 8698831"/>
                <a:gd name="connsiteY2" fmla="*/ 4739924 h 5419702"/>
                <a:gd name="connsiteX3" fmla="*/ 3186954 w 8698831"/>
                <a:gd name="connsiteY3" fmla="*/ 3776914 h 5419702"/>
                <a:gd name="connsiteX4" fmla="*/ 2695073 w 8698831"/>
                <a:gd name="connsiteY4" fmla="*/ 3452545 h 5419702"/>
                <a:gd name="connsiteX5" fmla="*/ 673768 w 8698831"/>
                <a:gd name="connsiteY5" fmla="*/ 4366945 h 5419702"/>
                <a:gd name="connsiteX6" fmla="*/ 0 w 8698831"/>
                <a:gd name="connsiteY6" fmla="*/ 0 h 5419702"/>
                <a:gd name="connsiteX0" fmla="*/ 0 w 8698831"/>
                <a:gd name="connsiteY0" fmla="*/ 0 h 5419702"/>
                <a:gd name="connsiteX1" fmla="*/ 8698831 w 8698831"/>
                <a:gd name="connsiteY1" fmla="*/ 0 h 5419702"/>
                <a:gd name="connsiteX2" fmla="*/ 8698831 w 8698831"/>
                <a:gd name="connsiteY2" fmla="*/ 4739924 h 5419702"/>
                <a:gd name="connsiteX3" fmla="*/ 3126796 w 8698831"/>
                <a:gd name="connsiteY3" fmla="*/ 3776914 h 5419702"/>
                <a:gd name="connsiteX4" fmla="*/ 2695073 w 8698831"/>
                <a:gd name="connsiteY4" fmla="*/ 3452545 h 5419702"/>
                <a:gd name="connsiteX5" fmla="*/ 673768 w 8698831"/>
                <a:gd name="connsiteY5" fmla="*/ 4366945 h 5419702"/>
                <a:gd name="connsiteX6" fmla="*/ 0 w 8698831"/>
                <a:gd name="connsiteY6" fmla="*/ 0 h 5419702"/>
                <a:gd name="connsiteX0" fmla="*/ 0 w 8698831"/>
                <a:gd name="connsiteY0" fmla="*/ 0 h 5419702"/>
                <a:gd name="connsiteX1" fmla="*/ 8698831 w 8698831"/>
                <a:gd name="connsiteY1" fmla="*/ 0 h 5419702"/>
                <a:gd name="connsiteX2" fmla="*/ 8698831 w 8698831"/>
                <a:gd name="connsiteY2" fmla="*/ 4739924 h 5419702"/>
                <a:gd name="connsiteX3" fmla="*/ 3126796 w 8698831"/>
                <a:gd name="connsiteY3" fmla="*/ 3776914 h 5419702"/>
                <a:gd name="connsiteX4" fmla="*/ 2695073 w 8698831"/>
                <a:gd name="connsiteY4" fmla="*/ 3452545 h 5419702"/>
                <a:gd name="connsiteX5" fmla="*/ 96252 w 8698831"/>
                <a:gd name="connsiteY5" fmla="*/ 2904281 h 5419702"/>
                <a:gd name="connsiteX6" fmla="*/ 0 w 8698831"/>
                <a:gd name="connsiteY6" fmla="*/ 0 h 5419702"/>
                <a:gd name="connsiteX0" fmla="*/ 0 w 8698831"/>
                <a:gd name="connsiteY0" fmla="*/ 0 h 5419702"/>
                <a:gd name="connsiteX1" fmla="*/ 8698831 w 8698831"/>
                <a:gd name="connsiteY1" fmla="*/ 0 h 5419702"/>
                <a:gd name="connsiteX2" fmla="*/ 8698831 w 8698831"/>
                <a:gd name="connsiteY2" fmla="*/ 4739924 h 5419702"/>
                <a:gd name="connsiteX3" fmla="*/ 3126796 w 8698831"/>
                <a:gd name="connsiteY3" fmla="*/ 3776914 h 5419702"/>
                <a:gd name="connsiteX4" fmla="*/ 2695073 w 8698831"/>
                <a:gd name="connsiteY4" fmla="*/ 3452545 h 5419702"/>
                <a:gd name="connsiteX5" fmla="*/ 96252 w 8698831"/>
                <a:gd name="connsiteY5" fmla="*/ 2904281 h 5419702"/>
                <a:gd name="connsiteX6" fmla="*/ 0 w 8698831"/>
                <a:gd name="connsiteY6" fmla="*/ 0 h 5419702"/>
                <a:gd name="connsiteX0" fmla="*/ 0 w 8698831"/>
                <a:gd name="connsiteY0" fmla="*/ 0 h 5419702"/>
                <a:gd name="connsiteX1" fmla="*/ 8698831 w 8698831"/>
                <a:gd name="connsiteY1" fmla="*/ 0 h 5419702"/>
                <a:gd name="connsiteX2" fmla="*/ 8698831 w 8698831"/>
                <a:gd name="connsiteY2" fmla="*/ 4739924 h 5419702"/>
                <a:gd name="connsiteX3" fmla="*/ 3126796 w 8698831"/>
                <a:gd name="connsiteY3" fmla="*/ 3776914 h 5419702"/>
                <a:gd name="connsiteX4" fmla="*/ 2695073 w 8698831"/>
                <a:gd name="connsiteY4" fmla="*/ 3452545 h 5419702"/>
                <a:gd name="connsiteX5" fmla="*/ 96252 w 8698831"/>
                <a:gd name="connsiteY5" fmla="*/ 2904281 h 5419702"/>
                <a:gd name="connsiteX6" fmla="*/ 0 w 8698831"/>
                <a:gd name="connsiteY6" fmla="*/ 0 h 5419702"/>
                <a:gd name="connsiteX0" fmla="*/ 0 w 8698831"/>
                <a:gd name="connsiteY0" fmla="*/ 0 h 5419702"/>
                <a:gd name="connsiteX1" fmla="*/ 8698831 w 8698831"/>
                <a:gd name="connsiteY1" fmla="*/ 0 h 5419702"/>
                <a:gd name="connsiteX2" fmla="*/ 8698831 w 8698831"/>
                <a:gd name="connsiteY2" fmla="*/ 4739924 h 5419702"/>
                <a:gd name="connsiteX3" fmla="*/ 3126796 w 8698831"/>
                <a:gd name="connsiteY3" fmla="*/ 3776914 h 5419702"/>
                <a:gd name="connsiteX4" fmla="*/ 2695073 w 8698831"/>
                <a:gd name="connsiteY4" fmla="*/ 3452545 h 5419702"/>
                <a:gd name="connsiteX5" fmla="*/ 96252 w 8698831"/>
                <a:gd name="connsiteY5" fmla="*/ 2904281 h 5419702"/>
                <a:gd name="connsiteX6" fmla="*/ 0 w 8698831"/>
                <a:gd name="connsiteY6" fmla="*/ 0 h 5419702"/>
                <a:gd name="connsiteX0" fmla="*/ 0 w 8698831"/>
                <a:gd name="connsiteY0" fmla="*/ 0 h 5419702"/>
                <a:gd name="connsiteX1" fmla="*/ 8698831 w 8698831"/>
                <a:gd name="connsiteY1" fmla="*/ 0 h 5419702"/>
                <a:gd name="connsiteX2" fmla="*/ 8698831 w 8698831"/>
                <a:gd name="connsiteY2" fmla="*/ 4739924 h 5419702"/>
                <a:gd name="connsiteX3" fmla="*/ 3126796 w 8698831"/>
                <a:gd name="connsiteY3" fmla="*/ 3776914 h 5419702"/>
                <a:gd name="connsiteX4" fmla="*/ 2695073 w 8698831"/>
                <a:gd name="connsiteY4" fmla="*/ 3452545 h 5419702"/>
                <a:gd name="connsiteX5" fmla="*/ 409073 w 8698831"/>
                <a:gd name="connsiteY5" fmla="*/ 2879279 h 5419702"/>
                <a:gd name="connsiteX6" fmla="*/ 0 w 8698831"/>
                <a:gd name="connsiteY6" fmla="*/ 0 h 5419702"/>
                <a:gd name="connsiteX0" fmla="*/ 0 w 8698831"/>
                <a:gd name="connsiteY0" fmla="*/ 0 h 5419702"/>
                <a:gd name="connsiteX1" fmla="*/ 8698831 w 8698831"/>
                <a:gd name="connsiteY1" fmla="*/ 0 h 5419702"/>
                <a:gd name="connsiteX2" fmla="*/ 8698831 w 8698831"/>
                <a:gd name="connsiteY2" fmla="*/ 4739924 h 5419702"/>
                <a:gd name="connsiteX3" fmla="*/ 3126796 w 8698831"/>
                <a:gd name="connsiteY3" fmla="*/ 3776914 h 5419702"/>
                <a:gd name="connsiteX4" fmla="*/ 2695073 w 8698831"/>
                <a:gd name="connsiteY4" fmla="*/ 3452545 h 5419702"/>
                <a:gd name="connsiteX5" fmla="*/ 192505 w 8698831"/>
                <a:gd name="connsiteY5" fmla="*/ 2879279 h 5419702"/>
                <a:gd name="connsiteX6" fmla="*/ 0 w 8698831"/>
                <a:gd name="connsiteY6" fmla="*/ 0 h 5419702"/>
                <a:gd name="connsiteX0" fmla="*/ 26793 w 8725624"/>
                <a:gd name="connsiteY0" fmla="*/ 0 h 5419702"/>
                <a:gd name="connsiteX1" fmla="*/ 8725624 w 8725624"/>
                <a:gd name="connsiteY1" fmla="*/ 0 h 5419702"/>
                <a:gd name="connsiteX2" fmla="*/ 8725624 w 8725624"/>
                <a:gd name="connsiteY2" fmla="*/ 4739924 h 5419702"/>
                <a:gd name="connsiteX3" fmla="*/ 3153589 w 8725624"/>
                <a:gd name="connsiteY3" fmla="*/ 3776914 h 5419702"/>
                <a:gd name="connsiteX4" fmla="*/ 2721866 w 8725624"/>
                <a:gd name="connsiteY4" fmla="*/ 3452545 h 5419702"/>
                <a:gd name="connsiteX5" fmla="*/ 219298 w 8725624"/>
                <a:gd name="connsiteY5" fmla="*/ 2879279 h 5419702"/>
                <a:gd name="connsiteX6" fmla="*/ 26793 w 8725624"/>
                <a:gd name="connsiteY6" fmla="*/ 0 h 5419702"/>
                <a:gd name="connsiteX0" fmla="*/ 82187 w 8781018"/>
                <a:gd name="connsiteY0" fmla="*/ 0 h 5419702"/>
                <a:gd name="connsiteX1" fmla="*/ 8781018 w 8781018"/>
                <a:gd name="connsiteY1" fmla="*/ 0 h 5419702"/>
                <a:gd name="connsiteX2" fmla="*/ 8781018 w 8781018"/>
                <a:gd name="connsiteY2" fmla="*/ 4739924 h 5419702"/>
                <a:gd name="connsiteX3" fmla="*/ 3208983 w 8781018"/>
                <a:gd name="connsiteY3" fmla="*/ 3776914 h 5419702"/>
                <a:gd name="connsiteX4" fmla="*/ 2777260 w 8781018"/>
                <a:gd name="connsiteY4" fmla="*/ 3452545 h 5419702"/>
                <a:gd name="connsiteX5" fmla="*/ 274692 w 8781018"/>
                <a:gd name="connsiteY5" fmla="*/ 2879279 h 5419702"/>
                <a:gd name="connsiteX6" fmla="*/ 82187 w 8781018"/>
                <a:gd name="connsiteY6" fmla="*/ 0 h 5419702"/>
                <a:gd name="connsiteX0" fmla="*/ 51640 w 8750471"/>
                <a:gd name="connsiteY0" fmla="*/ 0 h 5419702"/>
                <a:gd name="connsiteX1" fmla="*/ 8750471 w 8750471"/>
                <a:gd name="connsiteY1" fmla="*/ 0 h 5419702"/>
                <a:gd name="connsiteX2" fmla="*/ 8750471 w 8750471"/>
                <a:gd name="connsiteY2" fmla="*/ 4739924 h 5419702"/>
                <a:gd name="connsiteX3" fmla="*/ 3178436 w 8750471"/>
                <a:gd name="connsiteY3" fmla="*/ 3776914 h 5419702"/>
                <a:gd name="connsiteX4" fmla="*/ 2746713 w 8750471"/>
                <a:gd name="connsiteY4" fmla="*/ 3452545 h 5419702"/>
                <a:gd name="connsiteX5" fmla="*/ 244145 w 8750471"/>
                <a:gd name="connsiteY5" fmla="*/ 2879279 h 5419702"/>
                <a:gd name="connsiteX6" fmla="*/ 51640 w 8750471"/>
                <a:gd name="connsiteY6" fmla="*/ 0 h 5419702"/>
                <a:gd name="connsiteX0" fmla="*/ 51640 w 8750471"/>
                <a:gd name="connsiteY0" fmla="*/ 0 h 5419702"/>
                <a:gd name="connsiteX1" fmla="*/ 8750471 w 8750471"/>
                <a:gd name="connsiteY1" fmla="*/ 0 h 5419702"/>
                <a:gd name="connsiteX2" fmla="*/ 8750471 w 8750471"/>
                <a:gd name="connsiteY2" fmla="*/ 4739924 h 5419702"/>
                <a:gd name="connsiteX3" fmla="*/ 3178436 w 8750471"/>
                <a:gd name="connsiteY3" fmla="*/ 3776914 h 5419702"/>
                <a:gd name="connsiteX4" fmla="*/ 2746713 w 8750471"/>
                <a:gd name="connsiteY4" fmla="*/ 3452545 h 5419702"/>
                <a:gd name="connsiteX5" fmla="*/ 244145 w 8750471"/>
                <a:gd name="connsiteY5" fmla="*/ 2879279 h 5419702"/>
                <a:gd name="connsiteX6" fmla="*/ 51640 w 8750471"/>
                <a:gd name="connsiteY6" fmla="*/ 0 h 5419702"/>
                <a:gd name="connsiteX0" fmla="*/ 51640 w 8750471"/>
                <a:gd name="connsiteY0" fmla="*/ 0 h 5214285"/>
                <a:gd name="connsiteX1" fmla="*/ 8750471 w 8750471"/>
                <a:gd name="connsiteY1" fmla="*/ 0 h 5214285"/>
                <a:gd name="connsiteX2" fmla="*/ 8750471 w 8750471"/>
                <a:gd name="connsiteY2" fmla="*/ 4739924 h 5214285"/>
                <a:gd name="connsiteX3" fmla="*/ 3876267 w 8750471"/>
                <a:gd name="connsiteY3" fmla="*/ 4853494 h 5214285"/>
                <a:gd name="connsiteX4" fmla="*/ 3178436 w 8750471"/>
                <a:gd name="connsiteY4" fmla="*/ 3776914 h 5214285"/>
                <a:gd name="connsiteX5" fmla="*/ 2746713 w 8750471"/>
                <a:gd name="connsiteY5" fmla="*/ 3452545 h 5214285"/>
                <a:gd name="connsiteX6" fmla="*/ 244145 w 8750471"/>
                <a:gd name="connsiteY6" fmla="*/ 2879279 h 5214285"/>
                <a:gd name="connsiteX7" fmla="*/ 51640 w 8750471"/>
                <a:gd name="connsiteY7" fmla="*/ 0 h 5214285"/>
                <a:gd name="connsiteX0" fmla="*/ 51640 w 8750471"/>
                <a:gd name="connsiteY0" fmla="*/ 0 h 5214285"/>
                <a:gd name="connsiteX1" fmla="*/ 8750471 w 8750471"/>
                <a:gd name="connsiteY1" fmla="*/ 0 h 5214285"/>
                <a:gd name="connsiteX2" fmla="*/ 8750471 w 8750471"/>
                <a:gd name="connsiteY2" fmla="*/ 4739924 h 5214285"/>
                <a:gd name="connsiteX3" fmla="*/ 3876267 w 8750471"/>
                <a:gd name="connsiteY3" fmla="*/ 4853494 h 5214285"/>
                <a:gd name="connsiteX4" fmla="*/ 3178436 w 8750471"/>
                <a:gd name="connsiteY4" fmla="*/ 3776914 h 5214285"/>
                <a:gd name="connsiteX5" fmla="*/ 2746713 w 8750471"/>
                <a:gd name="connsiteY5" fmla="*/ 3452545 h 5214285"/>
                <a:gd name="connsiteX6" fmla="*/ 244145 w 8750471"/>
                <a:gd name="connsiteY6" fmla="*/ 2879279 h 5214285"/>
                <a:gd name="connsiteX7" fmla="*/ 51640 w 8750471"/>
                <a:gd name="connsiteY7" fmla="*/ 0 h 5214285"/>
                <a:gd name="connsiteX0" fmla="*/ 51640 w 8750471"/>
                <a:gd name="connsiteY0" fmla="*/ 0 h 5227753"/>
                <a:gd name="connsiteX1" fmla="*/ 8750471 w 8750471"/>
                <a:gd name="connsiteY1" fmla="*/ 0 h 5227753"/>
                <a:gd name="connsiteX2" fmla="*/ 8750471 w 8750471"/>
                <a:gd name="connsiteY2" fmla="*/ 4739924 h 5227753"/>
                <a:gd name="connsiteX3" fmla="*/ 3876267 w 8750471"/>
                <a:gd name="connsiteY3" fmla="*/ 4890999 h 5227753"/>
                <a:gd name="connsiteX4" fmla="*/ 3178436 w 8750471"/>
                <a:gd name="connsiteY4" fmla="*/ 3776914 h 5227753"/>
                <a:gd name="connsiteX5" fmla="*/ 2746713 w 8750471"/>
                <a:gd name="connsiteY5" fmla="*/ 3452545 h 5227753"/>
                <a:gd name="connsiteX6" fmla="*/ 244145 w 8750471"/>
                <a:gd name="connsiteY6" fmla="*/ 2879279 h 5227753"/>
                <a:gd name="connsiteX7" fmla="*/ 51640 w 8750471"/>
                <a:gd name="connsiteY7" fmla="*/ 0 h 5227753"/>
                <a:gd name="connsiteX0" fmla="*/ 51640 w 8750471"/>
                <a:gd name="connsiteY0" fmla="*/ 0 h 5216699"/>
                <a:gd name="connsiteX1" fmla="*/ 8750471 w 8750471"/>
                <a:gd name="connsiteY1" fmla="*/ 0 h 5216699"/>
                <a:gd name="connsiteX2" fmla="*/ 8750471 w 8750471"/>
                <a:gd name="connsiteY2" fmla="*/ 4739924 h 5216699"/>
                <a:gd name="connsiteX3" fmla="*/ 3876267 w 8750471"/>
                <a:gd name="connsiteY3" fmla="*/ 4890999 h 5216699"/>
                <a:gd name="connsiteX4" fmla="*/ 3178436 w 8750471"/>
                <a:gd name="connsiteY4" fmla="*/ 3776914 h 5216699"/>
                <a:gd name="connsiteX5" fmla="*/ 2746713 w 8750471"/>
                <a:gd name="connsiteY5" fmla="*/ 3452545 h 5216699"/>
                <a:gd name="connsiteX6" fmla="*/ 244145 w 8750471"/>
                <a:gd name="connsiteY6" fmla="*/ 2879279 h 5216699"/>
                <a:gd name="connsiteX7" fmla="*/ 51640 w 8750471"/>
                <a:gd name="connsiteY7" fmla="*/ 0 h 5216699"/>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3178436 w 8750471"/>
                <a:gd name="connsiteY4" fmla="*/ 3776914 h 5281730"/>
                <a:gd name="connsiteX5" fmla="*/ 2746713 w 8750471"/>
                <a:gd name="connsiteY5" fmla="*/ 3452545 h 5281730"/>
                <a:gd name="connsiteX6" fmla="*/ 244145 w 8750471"/>
                <a:gd name="connsiteY6" fmla="*/ 2879279 h 5281730"/>
                <a:gd name="connsiteX7" fmla="*/ 51640 w 8750471"/>
                <a:gd name="connsiteY7" fmla="*/ 0 h 5281730"/>
                <a:gd name="connsiteX0" fmla="*/ 51640 w 8750471"/>
                <a:gd name="connsiteY0" fmla="*/ 0 h 5345338"/>
                <a:gd name="connsiteX1" fmla="*/ 8750471 w 8750471"/>
                <a:gd name="connsiteY1" fmla="*/ 0 h 5345338"/>
                <a:gd name="connsiteX2" fmla="*/ 8750471 w 8750471"/>
                <a:gd name="connsiteY2" fmla="*/ 4739924 h 5345338"/>
                <a:gd name="connsiteX3" fmla="*/ 3611572 w 8750471"/>
                <a:gd name="connsiteY3" fmla="*/ 5053517 h 5345338"/>
                <a:gd name="connsiteX4" fmla="*/ 2119657 w 8750471"/>
                <a:gd name="connsiteY4" fmla="*/ 5278542 h 5345338"/>
                <a:gd name="connsiteX5" fmla="*/ 3178436 w 8750471"/>
                <a:gd name="connsiteY5" fmla="*/ 3776914 h 5345338"/>
                <a:gd name="connsiteX6" fmla="*/ 2746713 w 8750471"/>
                <a:gd name="connsiteY6" fmla="*/ 3452545 h 5345338"/>
                <a:gd name="connsiteX7" fmla="*/ 244145 w 8750471"/>
                <a:gd name="connsiteY7" fmla="*/ 2879279 h 5345338"/>
                <a:gd name="connsiteX8" fmla="*/ 51640 w 8750471"/>
                <a:gd name="connsiteY8" fmla="*/ 0 h 5345338"/>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119657 w 8750471"/>
                <a:gd name="connsiteY4" fmla="*/ 5053517 h 5281730"/>
                <a:gd name="connsiteX5" fmla="*/ 3178436 w 8750471"/>
                <a:gd name="connsiteY5" fmla="*/ 3776914 h 5281730"/>
                <a:gd name="connsiteX6" fmla="*/ 2746713 w 8750471"/>
                <a:gd name="connsiteY6" fmla="*/ 3452545 h 5281730"/>
                <a:gd name="connsiteX7" fmla="*/ 244145 w 8750471"/>
                <a:gd name="connsiteY7" fmla="*/ 2879279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288099 w 8750471"/>
                <a:gd name="connsiteY4" fmla="*/ 4765986 h 5281730"/>
                <a:gd name="connsiteX5" fmla="*/ 3178436 w 8750471"/>
                <a:gd name="connsiteY5" fmla="*/ 3776914 h 5281730"/>
                <a:gd name="connsiteX6" fmla="*/ 2746713 w 8750471"/>
                <a:gd name="connsiteY6" fmla="*/ 3452545 h 5281730"/>
                <a:gd name="connsiteX7" fmla="*/ 244145 w 8750471"/>
                <a:gd name="connsiteY7" fmla="*/ 2879279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288099 w 8750471"/>
                <a:gd name="connsiteY4" fmla="*/ 4765986 h 5281730"/>
                <a:gd name="connsiteX5" fmla="*/ 3094215 w 8750471"/>
                <a:gd name="connsiteY5" fmla="*/ 3864424 h 5281730"/>
                <a:gd name="connsiteX6" fmla="*/ 2746713 w 8750471"/>
                <a:gd name="connsiteY6" fmla="*/ 3452545 h 5281730"/>
                <a:gd name="connsiteX7" fmla="*/ 244145 w 8750471"/>
                <a:gd name="connsiteY7" fmla="*/ 2879279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288099 w 8750471"/>
                <a:gd name="connsiteY4" fmla="*/ 4765986 h 5281730"/>
                <a:gd name="connsiteX5" fmla="*/ 3094215 w 8750471"/>
                <a:gd name="connsiteY5" fmla="*/ 3864424 h 5281730"/>
                <a:gd name="connsiteX6" fmla="*/ 2650460 w 8750471"/>
                <a:gd name="connsiteY6" fmla="*/ 3677571 h 5281730"/>
                <a:gd name="connsiteX7" fmla="*/ 244145 w 8750471"/>
                <a:gd name="connsiteY7" fmla="*/ 2879279 h 5281730"/>
                <a:gd name="connsiteX8" fmla="*/ 51640 w 8750471"/>
                <a:gd name="connsiteY8" fmla="*/ 0 h 5281730"/>
                <a:gd name="connsiteX0" fmla="*/ 132106 w 8830937"/>
                <a:gd name="connsiteY0" fmla="*/ 0 h 5281730"/>
                <a:gd name="connsiteX1" fmla="*/ 8830937 w 8830937"/>
                <a:gd name="connsiteY1" fmla="*/ 0 h 5281730"/>
                <a:gd name="connsiteX2" fmla="*/ 8830937 w 8830937"/>
                <a:gd name="connsiteY2" fmla="*/ 4739924 h 5281730"/>
                <a:gd name="connsiteX3" fmla="*/ 3692038 w 8830937"/>
                <a:gd name="connsiteY3" fmla="*/ 5053517 h 5281730"/>
                <a:gd name="connsiteX4" fmla="*/ 2368565 w 8830937"/>
                <a:gd name="connsiteY4" fmla="*/ 4765986 h 5281730"/>
                <a:gd name="connsiteX5" fmla="*/ 3174681 w 8830937"/>
                <a:gd name="connsiteY5" fmla="*/ 3864424 h 5281730"/>
                <a:gd name="connsiteX6" fmla="*/ 2730926 w 8830937"/>
                <a:gd name="connsiteY6" fmla="*/ 3677571 h 5281730"/>
                <a:gd name="connsiteX7" fmla="*/ 204295 w 8830937"/>
                <a:gd name="connsiteY7" fmla="*/ 2866777 h 5281730"/>
                <a:gd name="connsiteX8" fmla="*/ 132106 w 8830937"/>
                <a:gd name="connsiteY8" fmla="*/ 0 h 5281730"/>
                <a:gd name="connsiteX0" fmla="*/ 114925 w 8813756"/>
                <a:gd name="connsiteY0" fmla="*/ 0 h 5281730"/>
                <a:gd name="connsiteX1" fmla="*/ 8813756 w 8813756"/>
                <a:gd name="connsiteY1" fmla="*/ 0 h 5281730"/>
                <a:gd name="connsiteX2" fmla="*/ 8813756 w 8813756"/>
                <a:gd name="connsiteY2" fmla="*/ 4739924 h 5281730"/>
                <a:gd name="connsiteX3" fmla="*/ 3674857 w 8813756"/>
                <a:gd name="connsiteY3" fmla="*/ 5053517 h 5281730"/>
                <a:gd name="connsiteX4" fmla="*/ 2351384 w 8813756"/>
                <a:gd name="connsiteY4" fmla="*/ 4765986 h 5281730"/>
                <a:gd name="connsiteX5" fmla="*/ 3157500 w 8813756"/>
                <a:gd name="connsiteY5" fmla="*/ 3864424 h 5281730"/>
                <a:gd name="connsiteX6" fmla="*/ 2713745 w 8813756"/>
                <a:gd name="connsiteY6" fmla="*/ 3677571 h 5281730"/>
                <a:gd name="connsiteX7" fmla="*/ 211177 w 8813756"/>
                <a:gd name="connsiteY7" fmla="*/ 2629251 h 5281730"/>
                <a:gd name="connsiteX8" fmla="*/ 114925 w 8813756"/>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288099 w 8750471"/>
                <a:gd name="connsiteY4" fmla="*/ 4765986 h 5281730"/>
                <a:gd name="connsiteX5" fmla="*/ 3094215 w 8750471"/>
                <a:gd name="connsiteY5" fmla="*/ 3864424 h 5281730"/>
                <a:gd name="connsiteX6" fmla="*/ 2650460 w 8750471"/>
                <a:gd name="connsiteY6" fmla="*/ 3677571 h 5281730"/>
                <a:gd name="connsiteX7" fmla="*/ 244145 w 8750471"/>
                <a:gd name="connsiteY7" fmla="*/ 2629252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769362 w 8750471"/>
                <a:gd name="connsiteY4" fmla="*/ 4628471 h 5281730"/>
                <a:gd name="connsiteX5" fmla="*/ 3094215 w 8750471"/>
                <a:gd name="connsiteY5" fmla="*/ 3864424 h 5281730"/>
                <a:gd name="connsiteX6" fmla="*/ 2650460 w 8750471"/>
                <a:gd name="connsiteY6" fmla="*/ 3677571 h 5281730"/>
                <a:gd name="connsiteX7" fmla="*/ 244145 w 8750471"/>
                <a:gd name="connsiteY7" fmla="*/ 2629252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769362 w 8750471"/>
                <a:gd name="connsiteY4" fmla="*/ 4628471 h 5281730"/>
                <a:gd name="connsiteX5" fmla="*/ 3094215 w 8750471"/>
                <a:gd name="connsiteY5" fmla="*/ 3864424 h 5281730"/>
                <a:gd name="connsiteX6" fmla="*/ 2650460 w 8750471"/>
                <a:gd name="connsiteY6" fmla="*/ 3677571 h 5281730"/>
                <a:gd name="connsiteX7" fmla="*/ 244145 w 8750471"/>
                <a:gd name="connsiteY7" fmla="*/ 2629252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805457 w 8750471"/>
                <a:gd name="connsiteY4" fmla="*/ 4628472 h 5281730"/>
                <a:gd name="connsiteX5" fmla="*/ 3094215 w 8750471"/>
                <a:gd name="connsiteY5" fmla="*/ 3864424 h 5281730"/>
                <a:gd name="connsiteX6" fmla="*/ 2650460 w 8750471"/>
                <a:gd name="connsiteY6" fmla="*/ 3677571 h 5281730"/>
                <a:gd name="connsiteX7" fmla="*/ 244145 w 8750471"/>
                <a:gd name="connsiteY7" fmla="*/ 2629252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805457 w 8750471"/>
                <a:gd name="connsiteY4" fmla="*/ 4628472 h 5281730"/>
                <a:gd name="connsiteX5" fmla="*/ 3094215 w 8750471"/>
                <a:gd name="connsiteY5" fmla="*/ 3864424 h 5281730"/>
                <a:gd name="connsiteX6" fmla="*/ 2650460 w 8750471"/>
                <a:gd name="connsiteY6" fmla="*/ 3677571 h 5281730"/>
                <a:gd name="connsiteX7" fmla="*/ 244145 w 8750471"/>
                <a:gd name="connsiteY7" fmla="*/ 2629252 h 5281730"/>
                <a:gd name="connsiteX8" fmla="*/ 51640 w 8750471"/>
                <a:gd name="connsiteY8"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973898 w 8750471"/>
                <a:gd name="connsiteY4" fmla="*/ 4778485 h 5281730"/>
                <a:gd name="connsiteX5" fmla="*/ 2805457 w 8750471"/>
                <a:gd name="connsiteY5" fmla="*/ 4628472 h 5281730"/>
                <a:gd name="connsiteX6" fmla="*/ 3094215 w 8750471"/>
                <a:gd name="connsiteY6" fmla="*/ 3864424 h 5281730"/>
                <a:gd name="connsiteX7" fmla="*/ 2650460 w 8750471"/>
                <a:gd name="connsiteY7" fmla="*/ 3677571 h 5281730"/>
                <a:gd name="connsiteX8" fmla="*/ 244145 w 8750471"/>
                <a:gd name="connsiteY8" fmla="*/ 2629252 h 5281730"/>
                <a:gd name="connsiteX9" fmla="*/ 51640 w 8750471"/>
                <a:gd name="connsiteY9"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937803 w 8750471"/>
                <a:gd name="connsiteY4" fmla="*/ 4815990 h 5281730"/>
                <a:gd name="connsiteX5" fmla="*/ 2805457 w 8750471"/>
                <a:gd name="connsiteY5" fmla="*/ 4628472 h 5281730"/>
                <a:gd name="connsiteX6" fmla="*/ 3094215 w 8750471"/>
                <a:gd name="connsiteY6" fmla="*/ 3864424 h 5281730"/>
                <a:gd name="connsiteX7" fmla="*/ 2650460 w 8750471"/>
                <a:gd name="connsiteY7" fmla="*/ 3677571 h 5281730"/>
                <a:gd name="connsiteX8" fmla="*/ 244145 w 8750471"/>
                <a:gd name="connsiteY8" fmla="*/ 2629252 h 5281730"/>
                <a:gd name="connsiteX9" fmla="*/ 51640 w 8750471"/>
                <a:gd name="connsiteY9"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937803 w 8750471"/>
                <a:gd name="connsiteY4" fmla="*/ 4815990 h 5281730"/>
                <a:gd name="connsiteX5" fmla="*/ 2805457 w 8750471"/>
                <a:gd name="connsiteY5" fmla="*/ 4628472 h 5281730"/>
                <a:gd name="connsiteX6" fmla="*/ 3094215 w 8750471"/>
                <a:gd name="connsiteY6" fmla="*/ 3864424 h 5281730"/>
                <a:gd name="connsiteX7" fmla="*/ 2650460 w 8750471"/>
                <a:gd name="connsiteY7" fmla="*/ 3677571 h 5281730"/>
                <a:gd name="connsiteX8" fmla="*/ 244145 w 8750471"/>
                <a:gd name="connsiteY8" fmla="*/ 2629252 h 5281730"/>
                <a:gd name="connsiteX9" fmla="*/ 51640 w 8750471"/>
                <a:gd name="connsiteY9"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937803 w 8750471"/>
                <a:gd name="connsiteY4" fmla="*/ 4815990 h 5281730"/>
                <a:gd name="connsiteX5" fmla="*/ 2576857 w 8750471"/>
                <a:gd name="connsiteY5" fmla="*/ 4790991 h 5281730"/>
                <a:gd name="connsiteX6" fmla="*/ 3094215 w 8750471"/>
                <a:gd name="connsiteY6" fmla="*/ 3864424 h 5281730"/>
                <a:gd name="connsiteX7" fmla="*/ 2650460 w 8750471"/>
                <a:gd name="connsiteY7" fmla="*/ 3677571 h 5281730"/>
                <a:gd name="connsiteX8" fmla="*/ 244145 w 8750471"/>
                <a:gd name="connsiteY8" fmla="*/ 2629252 h 5281730"/>
                <a:gd name="connsiteX9" fmla="*/ 51640 w 8750471"/>
                <a:gd name="connsiteY9" fmla="*/ 0 h 5281730"/>
                <a:gd name="connsiteX0" fmla="*/ 51640 w 8750471"/>
                <a:gd name="connsiteY0" fmla="*/ 0 h 5281730"/>
                <a:gd name="connsiteX1" fmla="*/ 8750471 w 8750471"/>
                <a:gd name="connsiteY1" fmla="*/ 0 h 5281730"/>
                <a:gd name="connsiteX2" fmla="*/ 8750471 w 8750471"/>
                <a:gd name="connsiteY2" fmla="*/ 4739924 h 5281730"/>
                <a:gd name="connsiteX3" fmla="*/ 3611572 w 8750471"/>
                <a:gd name="connsiteY3" fmla="*/ 5053517 h 5281730"/>
                <a:gd name="connsiteX4" fmla="*/ 2576855 w 8750471"/>
                <a:gd name="connsiteY4" fmla="*/ 4878497 h 5281730"/>
                <a:gd name="connsiteX5" fmla="*/ 2576857 w 8750471"/>
                <a:gd name="connsiteY5" fmla="*/ 4790991 h 5281730"/>
                <a:gd name="connsiteX6" fmla="*/ 3094215 w 8750471"/>
                <a:gd name="connsiteY6" fmla="*/ 3864424 h 5281730"/>
                <a:gd name="connsiteX7" fmla="*/ 2650460 w 8750471"/>
                <a:gd name="connsiteY7" fmla="*/ 3677571 h 5281730"/>
                <a:gd name="connsiteX8" fmla="*/ 244145 w 8750471"/>
                <a:gd name="connsiteY8" fmla="*/ 2629252 h 5281730"/>
                <a:gd name="connsiteX9" fmla="*/ 51640 w 8750471"/>
                <a:gd name="connsiteY9" fmla="*/ 0 h 5281730"/>
                <a:gd name="connsiteX0" fmla="*/ 51640 w 8750471"/>
                <a:gd name="connsiteY0" fmla="*/ 0 h 5306461"/>
                <a:gd name="connsiteX1" fmla="*/ 8750471 w 8750471"/>
                <a:gd name="connsiteY1" fmla="*/ 0 h 5306461"/>
                <a:gd name="connsiteX2" fmla="*/ 8750471 w 8750471"/>
                <a:gd name="connsiteY2" fmla="*/ 4739924 h 5306461"/>
                <a:gd name="connsiteX3" fmla="*/ 3439543 w 8750471"/>
                <a:gd name="connsiteY3" fmla="*/ 5106544 h 5306461"/>
                <a:gd name="connsiteX4" fmla="*/ 2576855 w 8750471"/>
                <a:gd name="connsiteY4" fmla="*/ 4878497 h 5306461"/>
                <a:gd name="connsiteX5" fmla="*/ 2576857 w 8750471"/>
                <a:gd name="connsiteY5" fmla="*/ 4790991 h 5306461"/>
                <a:gd name="connsiteX6" fmla="*/ 3094215 w 8750471"/>
                <a:gd name="connsiteY6" fmla="*/ 3864424 h 5306461"/>
                <a:gd name="connsiteX7" fmla="*/ 2650460 w 8750471"/>
                <a:gd name="connsiteY7" fmla="*/ 3677571 h 5306461"/>
                <a:gd name="connsiteX8" fmla="*/ 244145 w 8750471"/>
                <a:gd name="connsiteY8" fmla="*/ 2629252 h 5306461"/>
                <a:gd name="connsiteX9" fmla="*/ 51640 w 8750471"/>
                <a:gd name="connsiteY9" fmla="*/ 0 h 5306461"/>
                <a:gd name="connsiteX0" fmla="*/ 51640 w 8750471"/>
                <a:gd name="connsiteY0" fmla="*/ 0 h 5306461"/>
                <a:gd name="connsiteX1" fmla="*/ 8750471 w 8750471"/>
                <a:gd name="connsiteY1" fmla="*/ 0 h 5306461"/>
                <a:gd name="connsiteX2" fmla="*/ 8750471 w 8750471"/>
                <a:gd name="connsiteY2" fmla="*/ 4739924 h 5306461"/>
                <a:gd name="connsiteX3" fmla="*/ 3439543 w 8750471"/>
                <a:gd name="connsiteY3" fmla="*/ 5106544 h 5306461"/>
                <a:gd name="connsiteX4" fmla="*/ 2576855 w 8750471"/>
                <a:gd name="connsiteY4" fmla="*/ 4878497 h 5306461"/>
                <a:gd name="connsiteX5" fmla="*/ 2576857 w 8750471"/>
                <a:gd name="connsiteY5" fmla="*/ 4790991 h 5306461"/>
                <a:gd name="connsiteX6" fmla="*/ 3094215 w 8750471"/>
                <a:gd name="connsiteY6" fmla="*/ 3864424 h 5306461"/>
                <a:gd name="connsiteX7" fmla="*/ 2650460 w 8750471"/>
                <a:gd name="connsiteY7" fmla="*/ 3677571 h 5306461"/>
                <a:gd name="connsiteX8" fmla="*/ 244145 w 8750471"/>
                <a:gd name="connsiteY8" fmla="*/ 2629252 h 5306461"/>
                <a:gd name="connsiteX9" fmla="*/ 51640 w 8750471"/>
                <a:gd name="connsiteY9" fmla="*/ 0 h 5306461"/>
                <a:gd name="connsiteX0" fmla="*/ 51640 w 8750471"/>
                <a:gd name="connsiteY0" fmla="*/ 0 h 5306461"/>
                <a:gd name="connsiteX1" fmla="*/ 8750471 w 8750471"/>
                <a:gd name="connsiteY1" fmla="*/ 0 h 5306461"/>
                <a:gd name="connsiteX2" fmla="*/ 8750471 w 8750471"/>
                <a:gd name="connsiteY2" fmla="*/ 4739924 h 5306461"/>
                <a:gd name="connsiteX3" fmla="*/ 3439543 w 8750471"/>
                <a:gd name="connsiteY3" fmla="*/ 5106544 h 5306461"/>
                <a:gd name="connsiteX4" fmla="*/ 2736597 w 8750471"/>
                <a:gd name="connsiteY4" fmla="*/ 4772442 h 5306461"/>
                <a:gd name="connsiteX5" fmla="*/ 2576857 w 8750471"/>
                <a:gd name="connsiteY5" fmla="*/ 4790991 h 5306461"/>
                <a:gd name="connsiteX6" fmla="*/ 3094215 w 8750471"/>
                <a:gd name="connsiteY6" fmla="*/ 3864424 h 5306461"/>
                <a:gd name="connsiteX7" fmla="*/ 2650460 w 8750471"/>
                <a:gd name="connsiteY7" fmla="*/ 3677571 h 5306461"/>
                <a:gd name="connsiteX8" fmla="*/ 244145 w 8750471"/>
                <a:gd name="connsiteY8" fmla="*/ 2629252 h 5306461"/>
                <a:gd name="connsiteX9" fmla="*/ 51640 w 8750471"/>
                <a:gd name="connsiteY9" fmla="*/ 0 h 5306461"/>
                <a:gd name="connsiteX0" fmla="*/ 51640 w 8750471"/>
                <a:gd name="connsiteY0" fmla="*/ 0 h 5306461"/>
                <a:gd name="connsiteX1" fmla="*/ 8750471 w 8750471"/>
                <a:gd name="connsiteY1" fmla="*/ 0 h 5306461"/>
                <a:gd name="connsiteX2" fmla="*/ 8750471 w 8750471"/>
                <a:gd name="connsiteY2" fmla="*/ 4739924 h 5306461"/>
                <a:gd name="connsiteX3" fmla="*/ 3439543 w 8750471"/>
                <a:gd name="connsiteY3" fmla="*/ 5106544 h 5306461"/>
                <a:gd name="connsiteX4" fmla="*/ 2564568 w 8750471"/>
                <a:gd name="connsiteY4" fmla="*/ 4825469 h 5306461"/>
                <a:gd name="connsiteX5" fmla="*/ 2576857 w 8750471"/>
                <a:gd name="connsiteY5" fmla="*/ 4790991 h 5306461"/>
                <a:gd name="connsiteX6" fmla="*/ 3094215 w 8750471"/>
                <a:gd name="connsiteY6" fmla="*/ 3864424 h 5306461"/>
                <a:gd name="connsiteX7" fmla="*/ 2650460 w 8750471"/>
                <a:gd name="connsiteY7" fmla="*/ 3677571 h 5306461"/>
                <a:gd name="connsiteX8" fmla="*/ 244145 w 8750471"/>
                <a:gd name="connsiteY8" fmla="*/ 2629252 h 5306461"/>
                <a:gd name="connsiteX9" fmla="*/ 51640 w 8750471"/>
                <a:gd name="connsiteY9" fmla="*/ 0 h 530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0471" h="5306461">
                  <a:moveTo>
                    <a:pt x="51640" y="0"/>
                  </a:moveTo>
                  <a:lnTo>
                    <a:pt x="8750471" y="0"/>
                  </a:lnTo>
                  <a:lnTo>
                    <a:pt x="8750471" y="4739924"/>
                  </a:lnTo>
                  <a:cubicBezTo>
                    <a:pt x="8030346" y="5638433"/>
                    <a:pt x="6124825" y="5229542"/>
                    <a:pt x="3439543" y="5106544"/>
                  </a:cubicBezTo>
                  <a:cubicBezTo>
                    <a:pt x="2477036" y="4886094"/>
                    <a:pt x="2698921" y="4896310"/>
                    <a:pt x="2564568" y="4825469"/>
                  </a:cubicBezTo>
                  <a:cubicBezTo>
                    <a:pt x="2177553" y="4792133"/>
                    <a:pt x="2544773" y="4968337"/>
                    <a:pt x="2576857" y="4790991"/>
                  </a:cubicBezTo>
                  <a:cubicBezTo>
                    <a:pt x="2504668" y="4578224"/>
                    <a:pt x="2981685" y="4160422"/>
                    <a:pt x="3094215" y="3864424"/>
                  </a:cubicBezTo>
                  <a:cubicBezTo>
                    <a:pt x="2093589" y="3649861"/>
                    <a:pt x="3097398" y="3569613"/>
                    <a:pt x="2650460" y="3677571"/>
                  </a:cubicBezTo>
                  <a:cubicBezTo>
                    <a:pt x="891844" y="4180892"/>
                    <a:pt x="825672" y="5618042"/>
                    <a:pt x="244145" y="2629252"/>
                  </a:cubicBezTo>
                  <a:cubicBezTo>
                    <a:pt x="-205034" y="1706996"/>
                    <a:pt x="115808" y="959760"/>
                    <a:pt x="51640" y="0"/>
                  </a:cubicBezTo>
                  <a:close/>
                </a:path>
              </a:pathLst>
            </a:custGeom>
            <a:solidFill>
              <a:schemeClr val="accent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sp>
          <p:nvSpPr>
            <p:cNvPr id="23" name="Freeform: Shape 22">
              <a:extLst>
                <a:ext uri="{FF2B5EF4-FFF2-40B4-BE49-F238E27FC236}">
                  <a16:creationId xmlns:a16="http://schemas.microsoft.com/office/drawing/2014/main" id="{FC313D76-E7BA-43FD-AD6B-6AD5770E468A}"/>
                </a:ext>
              </a:extLst>
            </p:cNvPr>
            <p:cNvSpPr/>
            <p:nvPr/>
          </p:nvSpPr>
          <p:spPr>
            <a:xfrm>
              <a:off x="2525221" y="1561264"/>
              <a:ext cx="9026509" cy="4969042"/>
            </a:xfrm>
            <a:custGeom>
              <a:avLst/>
              <a:gdLst>
                <a:gd name="connsiteX0" fmla="*/ 8381759 w 9026509"/>
                <a:gd name="connsiteY0" fmla="*/ 0 h 4969042"/>
                <a:gd name="connsiteX1" fmla="*/ 644751 w 9026509"/>
                <a:gd name="connsiteY1" fmla="*/ 0 h 4969042"/>
                <a:gd name="connsiteX2" fmla="*/ 0 w 9026509"/>
                <a:gd name="connsiteY2" fmla="*/ 517609 h 4969042"/>
                <a:gd name="connsiteX3" fmla="*/ 0 w 9026509"/>
                <a:gd name="connsiteY3" fmla="*/ 1999315 h 4969042"/>
                <a:gd name="connsiteX4" fmla="*/ 257900 w 9026509"/>
                <a:gd name="connsiteY4" fmla="*/ 1969501 h 4969042"/>
                <a:gd name="connsiteX5" fmla="*/ 257900 w 9026509"/>
                <a:gd name="connsiteY5" fmla="*/ 517609 h 4969042"/>
                <a:gd name="connsiteX6" fmla="*/ 644751 w 9026509"/>
                <a:gd name="connsiteY6" fmla="*/ 207043 h 4969042"/>
                <a:gd name="connsiteX7" fmla="*/ 8381759 w 9026509"/>
                <a:gd name="connsiteY7" fmla="*/ 207043 h 4969042"/>
                <a:gd name="connsiteX8" fmla="*/ 8768609 w 9026509"/>
                <a:gd name="connsiteY8" fmla="*/ 517609 h 4969042"/>
                <a:gd name="connsiteX9" fmla="*/ 8768609 w 9026509"/>
                <a:gd name="connsiteY9" fmla="*/ 4451434 h 4969042"/>
                <a:gd name="connsiteX10" fmla="*/ 8381759 w 9026509"/>
                <a:gd name="connsiteY10" fmla="*/ 4761999 h 4969042"/>
                <a:gd name="connsiteX11" fmla="*/ 3396160 w 9026509"/>
                <a:gd name="connsiteY11" fmla="*/ 4761999 h 4969042"/>
                <a:gd name="connsiteX12" fmla="*/ 3155539 w 9026509"/>
                <a:gd name="connsiteY12" fmla="*/ 4969042 h 4969042"/>
                <a:gd name="connsiteX13" fmla="*/ 8381759 w 9026509"/>
                <a:gd name="connsiteY13" fmla="*/ 4969042 h 4969042"/>
                <a:gd name="connsiteX14" fmla="*/ 9026509 w 9026509"/>
                <a:gd name="connsiteY14" fmla="*/ 4451434 h 4969042"/>
                <a:gd name="connsiteX15" fmla="*/ 9026509 w 9026509"/>
                <a:gd name="connsiteY15" fmla="*/ 517609 h 4969042"/>
                <a:gd name="connsiteX16" fmla="*/ 8381759 w 9026509"/>
                <a:gd name="connsiteY16" fmla="*/ 0 h 496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26509" h="4969042">
                  <a:moveTo>
                    <a:pt x="8381759" y="0"/>
                  </a:moveTo>
                  <a:lnTo>
                    <a:pt x="644751" y="0"/>
                  </a:lnTo>
                  <a:cubicBezTo>
                    <a:pt x="288835" y="342"/>
                    <a:pt x="425" y="231878"/>
                    <a:pt x="0" y="517609"/>
                  </a:cubicBezTo>
                  <a:lnTo>
                    <a:pt x="0" y="1999315"/>
                  </a:lnTo>
                  <a:cubicBezTo>
                    <a:pt x="84578" y="1982772"/>
                    <a:pt x="170936" y="1972782"/>
                    <a:pt x="257900" y="1969501"/>
                  </a:cubicBezTo>
                  <a:lnTo>
                    <a:pt x="257900" y="517609"/>
                  </a:lnTo>
                  <a:cubicBezTo>
                    <a:pt x="257900" y="346083"/>
                    <a:pt x="431093" y="207043"/>
                    <a:pt x="644751" y="207043"/>
                  </a:cubicBezTo>
                  <a:lnTo>
                    <a:pt x="8381759" y="207043"/>
                  </a:lnTo>
                  <a:cubicBezTo>
                    <a:pt x="8595416" y="207043"/>
                    <a:pt x="8768609" y="346083"/>
                    <a:pt x="8768609" y="517609"/>
                  </a:cubicBezTo>
                  <a:lnTo>
                    <a:pt x="8768609" y="4451434"/>
                  </a:lnTo>
                  <a:cubicBezTo>
                    <a:pt x="8768609" y="4622959"/>
                    <a:pt x="8595416" y="4761999"/>
                    <a:pt x="8381759" y="4761999"/>
                  </a:cubicBezTo>
                  <a:lnTo>
                    <a:pt x="3396160" y="4761999"/>
                  </a:lnTo>
                  <a:lnTo>
                    <a:pt x="3155539" y="4969042"/>
                  </a:lnTo>
                  <a:lnTo>
                    <a:pt x="8381759" y="4969042"/>
                  </a:lnTo>
                  <a:cubicBezTo>
                    <a:pt x="8737674" y="4968700"/>
                    <a:pt x="9026083" y="4737164"/>
                    <a:pt x="9026509" y="4451434"/>
                  </a:cubicBezTo>
                  <a:lnTo>
                    <a:pt x="9026509" y="517609"/>
                  </a:lnTo>
                  <a:cubicBezTo>
                    <a:pt x="9026083" y="231878"/>
                    <a:pt x="8737674" y="342"/>
                    <a:pt x="8381759" y="0"/>
                  </a:cubicBezTo>
                  <a:close/>
                </a:path>
              </a:pathLst>
            </a:custGeom>
            <a:solidFill>
              <a:srgbClr val="000000"/>
            </a:solidFill>
            <a:ln w="128885" cap="flat">
              <a:solidFill>
                <a:schemeClr val="bg1"/>
              </a:solidFill>
              <a:prstDash val="solid"/>
              <a:miter/>
            </a:ln>
          </p:spPr>
          <p:txBody>
            <a:bodyPr rtlCol="0" anchor="ctr"/>
            <a:lstStyle/>
            <a:p>
              <a:endParaRPr lang="fr-FR"/>
            </a:p>
          </p:txBody>
        </p:sp>
        <p:pic>
          <p:nvPicPr>
            <p:cNvPr id="16" name="Graphic 15" descr="Exclamation mark with solid fill">
              <a:extLst>
                <a:ext uri="{FF2B5EF4-FFF2-40B4-BE49-F238E27FC236}">
                  <a16:creationId xmlns:a16="http://schemas.microsoft.com/office/drawing/2014/main" id="{2D24B78C-2916-42BE-99A8-AB5F72507F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26268" y="3002839"/>
              <a:ext cx="1732747" cy="1553994"/>
            </a:xfrm>
            <a:prstGeom prst="rect">
              <a:avLst/>
            </a:prstGeom>
          </p:spPr>
        </p:pic>
        <p:sp>
          <p:nvSpPr>
            <p:cNvPr id="19" name="TextBox 18">
              <a:extLst>
                <a:ext uri="{FF2B5EF4-FFF2-40B4-BE49-F238E27FC236}">
                  <a16:creationId xmlns:a16="http://schemas.microsoft.com/office/drawing/2014/main" id="{711A4463-86F1-48FD-B2D7-7CA00A902C71}"/>
                </a:ext>
              </a:extLst>
            </p:cNvPr>
            <p:cNvSpPr txBox="1"/>
            <p:nvPr/>
          </p:nvSpPr>
          <p:spPr>
            <a:xfrm>
              <a:off x="4347442" y="3364338"/>
              <a:ext cx="4744889" cy="830997"/>
            </a:xfrm>
            <a:prstGeom prst="rect">
              <a:avLst/>
            </a:prstGeom>
            <a:noFill/>
          </p:spPr>
          <p:txBody>
            <a:bodyPr wrap="none" lIns="0" tIns="0" rIns="0" bIns="0" rtlCol="0">
              <a:spAutoFit/>
            </a:bodyPr>
            <a:lstStyle/>
            <a:p>
              <a:pPr>
                <a:spcBef>
                  <a:spcPts val="600"/>
                </a:spcBef>
                <a:buSzPct val="100000"/>
              </a:pPr>
              <a:r>
                <a:rPr lang="fr-FR" sz="5400"/>
                <a:t>CISO as a Service</a:t>
              </a:r>
            </a:p>
          </p:txBody>
        </p:sp>
      </p:grpSp>
      <p:sp>
        <p:nvSpPr>
          <p:cNvPr id="24" name="Freeform: Shape 23">
            <a:extLst>
              <a:ext uri="{FF2B5EF4-FFF2-40B4-BE49-F238E27FC236}">
                <a16:creationId xmlns:a16="http://schemas.microsoft.com/office/drawing/2014/main" id="{73DA98BA-DF33-46AB-A50F-4250F979BE33}"/>
              </a:ext>
            </a:extLst>
          </p:cNvPr>
          <p:cNvSpPr/>
          <p:nvPr/>
        </p:nvSpPr>
        <p:spPr>
          <a:xfrm>
            <a:off x="364723" y="4993104"/>
            <a:ext cx="5530751" cy="2674089"/>
          </a:xfrm>
          <a:custGeom>
            <a:avLst/>
            <a:gdLst>
              <a:gd name="connsiteX0" fmla="*/ 6802704 w 6803110"/>
              <a:gd name="connsiteY0" fmla="*/ 477473 h 3408496"/>
              <a:gd name="connsiteX1" fmla="*/ 6165832 w 6803110"/>
              <a:gd name="connsiteY1" fmla="*/ 300 h 3408496"/>
              <a:gd name="connsiteX2" fmla="*/ 5736544 w 6803110"/>
              <a:gd name="connsiteY2" fmla="*/ 157280 h 3408496"/>
              <a:gd name="connsiteX3" fmla="*/ 3928534 w 6803110"/>
              <a:gd name="connsiteY3" fmla="*/ 1720458 h 3408496"/>
              <a:gd name="connsiteX4" fmla="*/ 2493448 w 6803110"/>
              <a:gd name="connsiteY4" fmla="*/ 1444883 h 3408496"/>
              <a:gd name="connsiteX5" fmla="*/ 2483261 w 6803110"/>
              <a:gd name="connsiteY5" fmla="*/ 1443227 h 3408496"/>
              <a:gd name="connsiteX6" fmla="*/ 2454505 w 6803110"/>
              <a:gd name="connsiteY6" fmla="*/ 1444055 h 3408496"/>
              <a:gd name="connsiteX7" fmla="*/ 2418786 w 6803110"/>
              <a:gd name="connsiteY7" fmla="*/ 1443227 h 3408496"/>
              <a:gd name="connsiteX8" fmla="*/ 2405891 w 6803110"/>
              <a:gd name="connsiteY8" fmla="*/ 1445401 h 3408496"/>
              <a:gd name="connsiteX9" fmla="*/ 694594 w 6803110"/>
              <a:gd name="connsiteY9" fmla="*/ 1849135 h 3408496"/>
              <a:gd name="connsiteX10" fmla="*/ 307743 w 6803110"/>
              <a:gd name="connsiteY10" fmla="*/ 2274506 h 3408496"/>
              <a:gd name="connsiteX11" fmla="*/ 4453 w 6803110"/>
              <a:gd name="connsiteY11" fmla="*/ 3176387 h 3408496"/>
              <a:gd name="connsiteX12" fmla="*/ 95362 w 6803110"/>
              <a:gd name="connsiteY12" fmla="*/ 3303201 h 3408496"/>
              <a:gd name="connsiteX13" fmla="*/ 129147 w 6803110"/>
              <a:gd name="connsiteY13" fmla="*/ 3306825 h 3408496"/>
              <a:gd name="connsiteX14" fmla="*/ 253584 w 6803110"/>
              <a:gd name="connsiteY14" fmla="*/ 3230219 h 3408496"/>
              <a:gd name="connsiteX15" fmla="*/ 556359 w 6803110"/>
              <a:gd name="connsiteY15" fmla="*/ 2328752 h 3408496"/>
              <a:gd name="connsiteX16" fmla="*/ 834891 w 6803110"/>
              <a:gd name="connsiteY16" fmla="*/ 2023155 h 3408496"/>
              <a:gd name="connsiteX17" fmla="*/ 2453087 w 6803110"/>
              <a:gd name="connsiteY17" fmla="*/ 1651616 h 3408496"/>
              <a:gd name="connsiteX18" fmla="*/ 3893718 w 6803110"/>
              <a:gd name="connsiteY18" fmla="*/ 1940338 h 3408496"/>
              <a:gd name="connsiteX19" fmla="*/ 4050005 w 6803110"/>
              <a:gd name="connsiteY19" fmla="*/ 1919634 h 3408496"/>
              <a:gd name="connsiteX20" fmla="*/ 5924812 w 6803110"/>
              <a:gd name="connsiteY20" fmla="*/ 298277 h 3408496"/>
              <a:gd name="connsiteX21" fmla="*/ 6431005 w 6803110"/>
              <a:gd name="connsiteY21" fmla="*/ 284353 h 3408496"/>
              <a:gd name="connsiteX22" fmla="*/ 6448349 w 6803110"/>
              <a:gd name="connsiteY22" fmla="*/ 690728 h 3408496"/>
              <a:gd name="connsiteX23" fmla="*/ 3491006 w 6803110"/>
              <a:gd name="connsiteY23" fmla="*/ 3234360 h 3408496"/>
              <a:gd name="connsiteX24" fmla="*/ 3497389 w 6803110"/>
              <a:gd name="connsiteY24" fmla="*/ 3380688 h 3408496"/>
              <a:gd name="connsiteX25" fmla="*/ 3679660 w 6803110"/>
              <a:gd name="connsiteY25" fmla="*/ 3375563 h 3408496"/>
              <a:gd name="connsiteX26" fmla="*/ 6637003 w 6803110"/>
              <a:gd name="connsiteY26" fmla="*/ 831931 h 3408496"/>
              <a:gd name="connsiteX27" fmla="*/ 6802704 w 6803110"/>
              <a:gd name="connsiteY27" fmla="*/ 477473 h 340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03110" h="3408496">
                <a:moveTo>
                  <a:pt x="6802704" y="477473"/>
                </a:moveTo>
                <a:cubicBezTo>
                  <a:pt x="6790969" y="204517"/>
                  <a:pt x="6505835" y="-9120"/>
                  <a:pt x="6165832" y="300"/>
                </a:cubicBezTo>
                <a:cubicBezTo>
                  <a:pt x="6002465" y="4824"/>
                  <a:pt x="5848022" y="61295"/>
                  <a:pt x="5736544" y="157280"/>
                </a:cubicBezTo>
                <a:lnTo>
                  <a:pt x="3928534" y="1720458"/>
                </a:lnTo>
                <a:cubicBezTo>
                  <a:pt x="3481632" y="1544109"/>
                  <a:pt x="2991376" y="1449977"/>
                  <a:pt x="2493448" y="1444883"/>
                </a:cubicBezTo>
                <a:cubicBezTo>
                  <a:pt x="2489967" y="1444883"/>
                  <a:pt x="2486872" y="1443227"/>
                  <a:pt x="2483261" y="1443227"/>
                </a:cubicBezTo>
                <a:cubicBezTo>
                  <a:pt x="2473590" y="1443227"/>
                  <a:pt x="2464176" y="1443952"/>
                  <a:pt x="2454505" y="1444055"/>
                </a:cubicBezTo>
                <a:cubicBezTo>
                  <a:pt x="2442513" y="1444055"/>
                  <a:pt x="2430778" y="1443227"/>
                  <a:pt x="2418786" y="1443227"/>
                </a:cubicBezTo>
                <a:cubicBezTo>
                  <a:pt x="2414440" y="1443755"/>
                  <a:pt x="2410133" y="1444480"/>
                  <a:pt x="2405891" y="1445401"/>
                </a:cubicBezTo>
                <a:cubicBezTo>
                  <a:pt x="1800006" y="1450732"/>
                  <a:pt x="1207738" y="1590456"/>
                  <a:pt x="694594" y="1849135"/>
                </a:cubicBezTo>
                <a:cubicBezTo>
                  <a:pt x="504780" y="1947833"/>
                  <a:pt x="367027" y="2099306"/>
                  <a:pt x="307743" y="2274506"/>
                </a:cubicBezTo>
                <a:lnTo>
                  <a:pt x="4453" y="3176387"/>
                </a:lnTo>
                <a:cubicBezTo>
                  <a:pt x="-14020" y="3231554"/>
                  <a:pt x="26665" y="3288305"/>
                  <a:pt x="95362" y="3303201"/>
                </a:cubicBezTo>
                <a:cubicBezTo>
                  <a:pt x="106371" y="3305613"/>
                  <a:pt x="117734" y="3306835"/>
                  <a:pt x="129147" y="3306825"/>
                </a:cubicBezTo>
                <a:cubicBezTo>
                  <a:pt x="187424" y="3306794"/>
                  <a:pt x="238433" y="3275396"/>
                  <a:pt x="253584" y="3230219"/>
                </a:cubicBezTo>
                <a:lnTo>
                  <a:pt x="556359" y="2328752"/>
                </a:lnTo>
                <a:cubicBezTo>
                  <a:pt x="599109" y="2202808"/>
                  <a:pt x="698301" y="2093975"/>
                  <a:pt x="834891" y="2023155"/>
                </a:cubicBezTo>
                <a:cubicBezTo>
                  <a:pt x="1319899" y="1779362"/>
                  <a:pt x="1880858" y="1650571"/>
                  <a:pt x="2453087" y="1651616"/>
                </a:cubicBezTo>
                <a:cubicBezTo>
                  <a:pt x="2955464" y="1651947"/>
                  <a:pt x="3450090" y="1751069"/>
                  <a:pt x="3893718" y="1940338"/>
                </a:cubicBezTo>
                <a:cubicBezTo>
                  <a:pt x="3945581" y="1962968"/>
                  <a:pt x="4009953" y="1954438"/>
                  <a:pt x="4050005" y="1919634"/>
                </a:cubicBezTo>
                <a:lnTo>
                  <a:pt x="5924812" y="298277"/>
                </a:lnTo>
                <a:cubicBezTo>
                  <a:pt x="6059809" y="182218"/>
                  <a:pt x="6286439" y="175976"/>
                  <a:pt x="6431005" y="284353"/>
                </a:cubicBezTo>
                <a:cubicBezTo>
                  <a:pt x="6575571" y="392730"/>
                  <a:pt x="6583347" y="574669"/>
                  <a:pt x="6448349" y="690728"/>
                </a:cubicBezTo>
                <a:lnTo>
                  <a:pt x="3491006" y="3234360"/>
                </a:lnTo>
                <a:cubicBezTo>
                  <a:pt x="3442431" y="3276183"/>
                  <a:pt x="3445293" y="3341691"/>
                  <a:pt x="3497389" y="3380688"/>
                </a:cubicBezTo>
                <a:cubicBezTo>
                  <a:pt x="3549485" y="3419684"/>
                  <a:pt x="3631085" y="3417386"/>
                  <a:pt x="3679660" y="3375563"/>
                </a:cubicBezTo>
                <a:lnTo>
                  <a:pt x="6637003" y="831931"/>
                </a:lnTo>
                <a:cubicBezTo>
                  <a:pt x="6748983" y="736288"/>
                  <a:pt x="6808661" y="608645"/>
                  <a:pt x="6802704" y="477473"/>
                </a:cubicBezTo>
                <a:close/>
              </a:path>
            </a:pathLst>
          </a:custGeom>
          <a:solidFill>
            <a:srgbClr val="000000"/>
          </a:solidFill>
          <a:ln w="128885" cap="flat">
            <a:solidFill>
              <a:schemeClr val="bg1"/>
            </a:solidFill>
            <a:prstDash val="solid"/>
            <a:miter/>
          </a:ln>
        </p:spPr>
        <p:txBody>
          <a:bodyPr rtlCol="0" anchor="ctr"/>
          <a:lstStyle/>
          <a:p>
            <a:endParaRPr lang="fr-FR"/>
          </a:p>
        </p:txBody>
      </p:sp>
      <p:sp>
        <p:nvSpPr>
          <p:cNvPr id="30" name="Freeform: Shape 29">
            <a:extLst>
              <a:ext uri="{FF2B5EF4-FFF2-40B4-BE49-F238E27FC236}">
                <a16:creationId xmlns:a16="http://schemas.microsoft.com/office/drawing/2014/main" id="{5EC182A3-C022-4B35-8CB8-89097A56693F}"/>
              </a:ext>
            </a:extLst>
          </p:cNvPr>
          <p:cNvSpPr/>
          <p:nvPr/>
        </p:nvSpPr>
        <p:spPr>
          <a:xfrm>
            <a:off x="1103974" y="4095415"/>
            <a:ext cx="2026124" cy="2002223"/>
          </a:xfrm>
          <a:custGeom>
            <a:avLst/>
            <a:gdLst>
              <a:gd name="connsiteX0" fmla="*/ 25112 w 1090672"/>
              <a:gd name="connsiteY0" fmla="*/ 1129663 h 1129662"/>
              <a:gd name="connsiteX1" fmla="*/ 25489 w 1090672"/>
              <a:gd name="connsiteY1" fmla="*/ 1129663 h 1129662"/>
              <a:gd name="connsiteX2" fmla="*/ 301432 w 1090672"/>
              <a:gd name="connsiteY2" fmla="*/ 1079608 h 1129662"/>
              <a:gd name="connsiteX3" fmla="*/ 303695 w 1090672"/>
              <a:gd name="connsiteY3" fmla="*/ 1078250 h 1129662"/>
              <a:gd name="connsiteX4" fmla="*/ 406997 w 1090672"/>
              <a:gd name="connsiteY4" fmla="*/ 989278 h 1129662"/>
              <a:gd name="connsiteX5" fmla="*/ 423816 w 1090672"/>
              <a:gd name="connsiteY5" fmla="*/ 973339 h 1129662"/>
              <a:gd name="connsiteX6" fmla="*/ 526666 w 1090672"/>
              <a:gd name="connsiteY6" fmla="*/ 992345 h 1129662"/>
              <a:gd name="connsiteX7" fmla="*/ 545999 w 1090672"/>
              <a:gd name="connsiteY7" fmla="*/ 992798 h 1129662"/>
              <a:gd name="connsiteX8" fmla="*/ 649076 w 1090672"/>
              <a:gd name="connsiteY8" fmla="*/ 979171 h 1129662"/>
              <a:gd name="connsiteX9" fmla="*/ 663330 w 1090672"/>
              <a:gd name="connsiteY9" fmla="*/ 992571 h 1129662"/>
              <a:gd name="connsiteX10" fmla="*/ 760197 w 1090672"/>
              <a:gd name="connsiteY10" fmla="*/ 1076868 h 1129662"/>
              <a:gd name="connsiteX11" fmla="*/ 1071387 w 1090672"/>
              <a:gd name="connsiteY11" fmla="*/ 1086270 h 1129662"/>
              <a:gd name="connsiteX12" fmla="*/ 1090318 w 1090672"/>
              <a:gd name="connsiteY12" fmla="*/ 1066158 h 1129662"/>
              <a:gd name="connsiteX13" fmla="*/ 1079080 w 1090672"/>
              <a:gd name="connsiteY13" fmla="*/ 1040539 h 1129662"/>
              <a:gd name="connsiteX14" fmla="*/ 994834 w 1090672"/>
              <a:gd name="connsiteY14" fmla="*/ 876346 h 1129662"/>
              <a:gd name="connsiteX15" fmla="*/ 1022488 w 1090672"/>
              <a:gd name="connsiteY15" fmla="*/ 660842 h 1129662"/>
              <a:gd name="connsiteX16" fmla="*/ 1061808 w 1090672"/>
              <a:gd name="connsiteY16" fmla="*/ 406293 h 1129662"/>
              <a:gd name="connsiteX17" fmla="*/ 943270 w 1090672"/>
              <a:gd name="connsiteY17" fmla="*/ 160444 h 1129662"/>
              <a:gd name="connsiteX18" fmla="*/ 812715 w 1090672"/>
              <a:gd name="connsiteY18" fmla="*/ 152575 h 1129662"/>
              <a:gd name="connsiteX19" fmla="*/ 603797 w 1090672"/>
              <a:gd name="connsiteY19" fmla="*/ 18877 h 1129662"/>
              <a:gd name="connsiteX20" fmla="*/ 199789 w 1090672"/>
              <a:gd name="connsiteY20" fmla="*/ 70969 h 1129662"/>
              <a:gd name="connsiteX21" fmla="*/ 41730 w 1090672"/>
              <a:gd name="connsiteY21" fmla="*/ 461779 h 1129662"/>
              <a:gd name="connsiteX22" fmla="*/ 52339 w 1090672"/>
              <a:gd name="connsiteY22" fmla="*/ 748557 h 1129662"/>
              <a:gd name="connsiteX23" fmla="*/ 55985 w 1090672"/>
              <a:gd name="connsiteY23" fmla="*/ 961799 h 1129662"/>
              <a:gd name="connsiteX24" fmla="*/ 4899 w 1090672"/>
              <a:gd name="connsiteY24" fmla="*/ 1089614 h 1129662"/>
              <a:gd name="connsiteX25" fmla="*/ 10234 w 1090672"/>
              <a:gd name="connsiteY25" fmla="*/ 1124765 h 1129662"/>
              <a:gd name="connsiteX26" fmla="*/ 25011 w 1090672"/>
              <a:gd name="connsiteY26" fmla="*/ 1129663 h 1129662"/>
              <a:gd name="connsiteX27" fmla="*/ 528979 w 1090672"/>
              <a:gd name="connsiteY27" fmla="*/ 942114 h 1129662"/>
              <a:gd name="connsiteX28" fmla="*/ 194408 w 1090672"/>
              <a:gd name="connsiteY28" fmla="*/ 609655 h 1129662"/>
              <a:gd name="connsiteX29" fmla="*/ 194408 w 1090672"/>
              <a:gd name="connsiteY29" fmla="*/ 573151 h 1129662"/>
              <a:gd name="connsiteX30" fmla="*/ 241748 w 1090672"/>
              <a:gd name="connsiteY30" fmla="*/ 526314 h 1129662"/>
              <a:gd name="connsiteX31" fmla="*/ 295750 w 1090672"/>
              <a:gd name="connsiteY31" fmla="*/ 521286 h 1129662"/>
              <a:gd name="connsiteX32" fmla="*/ 532574 w 1090672"/>
              <a:gd name="connsiteY32" fmla="*/ 454438 h 1129662"/>
              <a:gd name="connsiteX33" fmla="*/ 761177 w 1090672"/>
              <a:gd name="connsiteY33" fmla="*/ 298239 h 1129662"/>
              <a:gd name="connsiteX34" fmla="*/ 802156 w 1090672"/>
              <a:gd name="connsiteY34" fmla="*/ 408732 h 1129662"/>
              <a:gd name="connsiteX35" fmla="*/ 803765 w 1090672"/>
              <a:gd name="connsiteY35" fmla="*/ 411045 h 1129662"/>
              <a:gd name="connsiteX36" fmla="*/ 837982 w 1090672"/>
              <a:gd name="connsiteY36" fmla="*/ 442119 h 1129662"/>
              <a:gd name="connsiteX37" fmla="*/ 842080 w 1090672"/>
              <a:gd name="connsiteY37" fmla="*/ 445211 h 1129662"/>
              <a:gd name="connsiteX38" fmla="*/ 855128 w 1090672"/>
              <a:gd name="connsiteY38" fmla="*/ 457530 h 1129662"/>
              <a:gd name="connsiteX39" fmla="*/ 895830 w 1090672"/>
              <a:gd name="connsiteY39" fmla="*/ 553718 h 1129662"/>
              <a:gd name="connsiteX40" fmla="*/ 897665 w 1090672"/>
              <a:gd name="connsiteY40" fmla="*/ 590549 h 1129662"/>
              <a:gd name="connsiteX41" fmla="*/ 545693 w 1090672"/>
              <a:gd name="connsiteY41" fmla="*/ 942511 h 1129662"/>
              <a:gd name="connsiteX42" fmla="*/ 528979 w 1090672"/>
              <a:gd name="connsiteY42" fmla="*/ 942114 h 1129662"/>
              <a:gd name="connsiteX43" fmla="*/ 102545 w 1090672"/>
              <a:gd name="connsiteY43" fmla="*/ 745364 h 1129662"/>
              <a:gd name="connsiteX44" fmla="*/ 92011 w 1090672"/>
              <a:gd name="connsiteY44" fmla="*/ 462231 h 1129662"/>
              <a:gd name="connsiteX45" fmla="*/ 225935 w 1090672"/>
              <a:gd name="connsiteY45" fmla="*/ 113909 h 1129662"/>
              <a:gd name="connsiteX46" fmla="*/ 589618 w 1090672"/>
              <a:gd name="connsiteY46" fmla="*/ 67047 h 1129662"/>
              <a:gd name="connsiteX47" fmla="*/ 779279 w 1090672"/>
              <a:gd name="connsiteY47" fmla="*/ 192749 h 1129662"/>
              <a:gd name="connsiteX48" fmla="*/ 808794 w 1090672"/>
              <a:gd name="connsiteY48" fmla="*/ 205068 h 1129662"/>
              <a:gd name="connsiteX49" fmla="*/ 920820 w 1090672"/>
              <a:gd name="connsiteY49" fmla="*/ 205295 h 1129662"/>
              <a:gd name="connsiteX50" fmla="*/ 1011326 w 1090672"/>
              <a:gd name="connsiteY50" fmla="*/ 405967 h 1129662"/>
              <a:gd name="connsiteX51" fmla="*/ 973188 w 1090672"/>
              <a:gd name="connsiteY51" fmla="*/ 649830 h 1129662"/>
              <a:gd name="connsiteX52" fmla="*/ 945986 w 1090672"/>
              <a:gd name="connsiteY52" fmla="*/ 888665 h 1129662"/>
              <a:gd name="connsiteX53" fmla="*/ 1014896 w 1090672"/>
              <a:gd name="connsiteY53" fmla="*/ 1045995 h 1129662"/>
              <a:gd name="connsiteX54" fmla="*/ 789561 w 1090672"/>
              <a:gd name="connsiteY54" fmla="*/ 1036190 h 1129662"/>
              <a:gd name="connsiteX55" fmla="*/ 702801 w 1090672"/>
              <a:gd name="connsiteY55" fmla="*/ 960769 h 1129662"/>
              <a:gd name="connsiteX56" fmla="*/ 947947 w 1090672"/>
              <a:gd name="connsiteY56" fmla="*/ 590549 h 1129662"/>
              <a:gd name="connsiteX57" fmla="*/ 945785 w 1090672"/>
              <a:gd name="connsiteY57" fmla="*/ 548463 h 1129662"/>
              <a:gd name="connsiteX58" fmla="*/ 892461 w 1090672"/>
              <a:gd name="connsiteY58" fmla="*/ 423867 h 1129662"/>
              <a:gd name="connsiteX59" fmla="*/ 872349 w 1090672"/>
              <a:gd name="connsiteY59" fmla="*/ 405036 h 1129662"/>
              <a:gd name="connsiteX60" fmla="*/ 868050 w 1090672"/>
              <a:gd name="connsiteY60" fmla="*/ 401818 h 1129662"/>
              <a:gd name="connsiteX61" fmla="*/ 844166 w 1090672"/>
              <a:gd name="connsiteY61" fmla="*/ 381077 h 1129662"/>
              <a:gd name="connsiteX62" fmla="*/ 810151 w 1090672"/>
              <a:gd name="connsiteY62" fmla="*/ 286147 h 1129662"/>
              <a:gd name="connsiteX63" fmla="*/ 755915 w 1090672"/>
              <a:gd name="connsiteY63" fmla="*/ 245874 h 1129662"/>
              <a:gd name="connsiteX64" fmla="*/ 730003 w 1090672"/>
              <a:gd name="connsiteY64" fmla="*/ 258492 h 1129662"/>
              <a:gd name="connsiteX65" fmla="*/ 511029 w 1090672"/>
              <a:gd name="connsiteY65" fmla="*/ 408858 h 1129662"/>
              <a:gd name="connsiteX66" fmla="*/ 288057 w 1090672"/>
              <a:gd name="connsiteY66" fmla="*/ 471483 h 1129662"/>
              <a:gd name="connsiteX67" fmla="*/ 240466 w 1090672"/>
              <a:gd name="connsiteY67" fmla="*/ 475983 h 1129662"/>
              <a:gd name="connsiteX68" fmla="*/ 144127 w 1090672"/>
              <a:gd name="connsiteY68" fmla="*/ 570612 h 1129662"/>
              <a:gd name="connsiteX69" fmla="*/ 144127 w 1090672"/>
              <a:gd name="connsiteY69" fmla="*/ 570612 h 1129662"/>
              <a:gd name="connsiteX70" fmla="*/ 144127 w 1090672"/>
              <a:gd name="connsiteY70" fmla="*/ 612220 h 1129662"/>
              <a:gd name="connsiteX71" fmla="*/ 372605 w 1090672"/>
              <a:gd name="connsiteY71" fmla="*/ 952573 h 1129662"/>
              <a:gd name="connsiteX72" fmla="*/ 372328 w 1090672"/>
              <a:gd name="connsiteY72" fmla="*/ 952849 h 1129662"/>
              <a:gd name="connsiteX73" fmla="*/ 276794 w 1090672"/>
              <a:gd name="connsiteY73" fmla="*/ 1035813 h 1129662"/>
              <a:gd name="connsiteX74" fmla="*/ 71748 w 1090672"/>
              <a:gd name="connsiteY74" fmla="*/ 1077270 h 1129662"/>
              <a:gd name="connsiteX75" fmla="*/ 105738 w 1090672"/>
              <a:gd name="connsiteY75" fmla="*/ 968713 h 1129662"/>
              <a:gd name="connsiteX76" fmla="*/ 102545 w 1090672"/>
              <a:gd name="connsiteY76" fmla="*/ 745364 h 112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90672" h="1129662">
                <a:moveTo>
                  <a:pt x="25112" y="1129663"/>
                </a:moveTo>
                <a:lnTo>
                  <a:pt x="25489" y="1129663"/>
                </a:lnTo>
                <a:cubicBezTo>
                  <a:pt x="33031" y="1129663"/>
                  <a:pt x="212887" y="1126395"/>
                  <a:pt x="301432" y="1079608"/>
                </a:cubicBezTo>
                <a:cubicBezTo>
                  <a:pt x="302186" y="1079181"/>
                  <a:pt x="302965" y="1078728"/>
                  <a:pt x="303695" y="1078250"/>
                </a:cubicBezTo>
                <a:cubicBezTo>
                  <a:pt x="340392" y="1051327"/>
                  <a:pt x="374930" y="1021578"/>
                  <a:pt x="406997" y="989278"/>
                </a:cubicBezTo>
                <a:cubicBezTo>
                  <a:pt x="412779" y="983772"/>
                  <a:pt x="418361" y="978467"/>
                  <a:pt x="423816" y="973339"/>
                </a:cubicBezTo>
                <a:cubicBezTo>
                  <a:pt x="457095" y="984252"/>
                  <a:pt x="491686" y="990643"/>
                  <a:pt x="526666" y="992345"/>
                </a:cubicBezTo>
                <a:cubicBezTo>
                  <a:pt x="533127" y="992647"/>
                  <a:pt x="539588" y="992798"/>
                  <a:pt x="545999" y="992798"/>
                </a:cubicBezTo>
                <a:cubicBezTo>
                  <a:pt x="580801" y="992720"/>
                  <a:pt x="615448" y="988142"/>
                  <a:pt x="649076" y="979171"/>
                </a:cubicBezTo>
                <a:cubicBezTo>
                  <a:pt x="653676" y="983470"/>
                  <a:pt x="658327" y="987845"/>
                  <a:pt x="663330" y="992571"/>
                </a:cubicBezTo>
                <a:cubicBezTo>
                  <a:pt x="693876" y="1022612"/>
                  <a:pt x="726227" y="1050762"/>
                  <a:pt x="760197" y="1076868"/>
                </a:cubicBezTo>
                <a:cubicBezTo>
                  <a:pt x="842457" y="1136426"/>
                  <a:pt x="1048182" y="1091575"/>
                  <a:pt x="1071387" y="1086270"/>
                </a:cubicBezTo>
                <a:cubicBezTo>
                  <a:pt x="1081144" y="1083942"/>
                  <a:pt x="1088585" y="1076038"/>
                  <a:pt x="1090318" y="1066158"/>
                </a:cubicBezTo>
                <a:cubicBezTo>
                  <a:pt x="1092002" y="1056142"/>
                  <a:pt x="1087590" y="1046083"/>
                  <a:pt x="1079080" y="1040539"/>
                </a:cubicBezTo>
                <a:cubicBezTo>
                  <a:pt x="1078552" y="1040213"/>
                  <a:pt x="1027592" y="1005820"/>
                  <a:pt x="994834" y="876346"/>
                </a:cubicBezTo>
                <a:cubicBezTo>
                  <a:pt x="984099" y="834337"/>
                  <a:pt x="1002703" y="750065"/>
                  <a:pt x="1022488" y="660842"/>
                </a:cubicBezTo>
                <a:cubicBezTo>
                  <a:pt x="1044094" y="577526"/>
                  <a:pt x="1057268" y="492246"/>
                  <a:pt x="1061808" y="406293"/>
                </a:cubicBezTo>
                <a:cubicBezTo>
                  <a:pt x="1061808" y="278705"/>
                  <a:pt x="1024097" y="200568"/>
                  <a:pt x="943270" y="160444"/>
                </a:cubicBezTo>
                <a:cubicBezTo>
                  <a:pt x="901638" y="144273"/>
                  <a:pt x="855990" y="141523"/>
                  <a:pt x="812715" y="152575"/>
                </a:cubicBezTo>
                <a:cubicBezTo>
                  <a:pt x="790089" y="122180"/>
                  <a:pt x="729902" y="58172"/>
                  <a:pt x="603797" y="18877"/>
                </a:cubicBezTo>
                <a:cubicBezTo>
                  <a:pt x="467588" y="-18584"/>
                  <a:pt x="322042" y="182"/>
                  <a:pt x="199789" y="70969"/>
                </a:cubicBezTo>
                <a:cubicBezTo>
                  <a:pt x="94550" y="138848"/>
                  <a:pt x="44068" y="214773"/>
                  <a:pt x="41730" y="461779"/>
                </a:cubicBezTo>
                <a:cubicBezTo>
                  <a:pt x="40775" y="565911"/>
                  <a:pt x="46909" y="662903"/>
                  <a:pt x="52339" y="748557"/>
                </a:cubicBezTo>
                <a:cubicBezTo>
                  <a:pt x="59658" y="819403"/>
                  <a:pt x="60877" y="890744"/>
                  <a:pt x="55985" y="961799"/>
                </a:cubicBezTo>
                <a:cubicBezTo>
                  <a:pt x="50129" y="1008063"/>
                  <a:pt x="32543" y="1052059"/>
                  <a:pt x="4899" y="1089614"/>
                </a:cubicBezTo>
                <a:cubicBezTo>
                  <a:pt x="-3335" y="1100794"/>
                  <a:pt x="-946" y="1116532"/>
                  <a:pt x="10234" y="1124765"/>
                </a:cubicBezTo>
                <a:cubicBezTo>
                  <a:pt x="14518" y="1127921"/>
                  <a:pt x="19692" y="1129635"/>
                  <a:pt x="25011" y="1129663"/>
                </a:cubicBezTo>
                <a:close/>
                <a:moveTo>
                  <a:pt x="528979" y="942114"/>
                </a:moveTo>
                <a:cubicBezTo>
                  <a:pt x="349214" y="932332"/>
                  <a:pt x="205327" y="789355"/>
                  <a:pt x="194408" y="609655"/>
                </a:cubicBezTo>
                <a:cubicBezTo>
                  <a:pt x="193793" y="597495"/>
                  <a:pt x="193793" y="585312"/>
                  <a:pt x="194408" y="573151"/>
                </a:cubicBezTo>
                <a:cubicBezTo>
                  <a:pt x="195585" y="547593"/>
                  <a:pt x="216180" y="527217"/>
                  <a:pt x="241748" y="526314"/>
                </a:cubicBezTo>
                <a:cubicBezTo>
                  <a:pt x="259852" y="526020"/>
                  <a:pt x="277905" y="524338"/>
                  <a:pt x="295750" y="521286"/>
                </a:cubicBezTo>
                <a:cubicBezTo>
                  <a:pt x="377492" y="510488"/>
                  <a:pt x="457251" y="487975"/>
                  <a:pt x="532574" y="454438"/>
                </a:cubicBezTo>
                <a:cubicBezTo>
                  <a:pt x="615385" y="412772"/>
                  <a:pt x="692265" y="360243"/>
                  <a:pt x="761177" y="298239"/>
                </a:cubicBezTo>
                <a:cubicBezTo>
                  <a:pt x="767425" y="337411"/>
                  <a:pt x="781353" y="374961"/>
                  <a:pt x="802156" y="408732"/>
                </a:cubicBezTo>
                <a:cubicBezTo>
                  <a:pt x="802642" y="409539"/>
                  <a:pt x="803177" y="410311"/>
                  <a:pt x="803765" y="411045"/>
                </a:cubicBezTo>
                <a:cubicBezTo>
                  <a:pt x="813714" y="422904"/>
                  <a:pt x="825223" y="433357"/>
                  <a:pt x="837982" y="442119"/>
                </a:cubicBezTo>
                <a:lnTo>
                  <a:pt x="842080" y="445211"/>
                </a:lnTo>
                <a:cubicBezTo>
                  <a:pt x="846816" y="448886"/>
                  <a:pt x="851186" y="453012"/>
                  <a:pt x="855128" y="457530"/>
                </a:cubicBezTo>
                <a:cubicBezTo>
                  <a:pt x="878559" y="484460"/>
                  <a:pt x="892813" y="518149"/>
                  <a:pt x="895830" y="553718"/>
                </a:cubicBezTo>
                <a:cubicBezTo>
                  <a:pt x="897085" y="565954"/>
                  <a:pt x="897698" y="578247"/>
                  <a:pt x="897665" y="590549"/>
                </a:cubicBezTo>
                <a:cubicBezTo>
                  <a:pt x="897663" y="784935"/>
                  <a:pt x="740079" y="942514"/>
                  <a:pt x="545693" y="942511"/>
                </a:cubicBezTo>
                <a:cubicBezTo>
                  <a:pt x="540119" y="942511"/>
                  <a:pt x="534545" y="942378"/>
                  <a:pt x="528979" y="942114"/>
                </a:cubicBezTo>
                <a:close/>
                <a:moveTo>
                  <a:pt x="102545" y="745364"/>
                </a:moveTo>
                <a:cubicBezTo>
                  <a:pt x="97165" y="660615"/>
                  <a:pt x="91056" y="564528"/>
                  <a:pt x="92011" y="462231"/>
                </a:cubicBezTo>
                <a:cubicBezTo>
                  <a:pt x="94148" y="236896"/>
                  <a:pt x="135404" y="172436"/>
                  <a:pt x="225935" y="113909"/>
                </a:cubicBezTo>
                <a:cubicBezTo>
                  <a:pt x="336045" y="50362"/>
                  <a:pt x="466995" y="33488"/>
                  <a:pt x="589618" y="67047"/>
                </a:cubicBezTo>
                <a:cubicBezTo>
                  <a:pt x="733648" y="111922"/>
                  <a:pt x="778901" y="192196"/>
                  <a:pt x="779279" y="192749"/>
                </a:cubicBezTo>
                <a:cubicBezTo>
                  <a:pt x="784900" y="203391"/>
                  <a:pt x="797274" y="208555"/>
                  <a:pt x="808794" y="205068"/>
                </a:cubicBezTo>
                <a:cubicBezTo>
                  <a:pt x="828102" y="199261"/>
                  <a:pt x="885900" y="187948"/>
                  <a:pt x="920820" y="205295"/>
                </a:cubicBezTo>
                <a:cubicBezTo>
                  <a:pt x="963006" y="226211"/>
                  <a:pt x="1011326" y="267970"/>
                  <a:pt x="1011326" y="405967"/>
                </a:cubicBezTo>
                <a:cubicBezTo>
                  <a:pt x="1006680" y="488312"/>
                  <a:pt x="993906" y="569999"/>
                  <a:pt x="973188" y="649830"/>
                </a:cubicBezTo>
                <a:cubicBezTo>
                  <a:pt x="951240" y="749186"/>
                  <a:pt x="932284" y="835015"/>
                  <a:pt x="945986" y="888665"/>
                </a:cubicBezTo>
                <a:cubicBezTo>
                  <a:pt x="958274" y="945166"/>
                  <a:pt x="981700" y="998650"/>
                  <a:pt x="1014896" y="1045995"/>
                </a:cubicBezTo>
                <a:cubicBezTo>
                  <a:pt x="943245" y="1057786"/>
                  <a:pt x="832853" y="1067515"/>
                  <a:pt x="789561" y="1036190"/>
                </a:cubicBezTo>
                <a:cubicBezTo>
                  <a:pt x="759161" y="1012804"/>
                  <a:pt x="730189" y="987619"/>
                  <a:pt x="702801" y="960769"/>
                </a:cubicBezTo>
                <a:cubicBezTo>
                  <a:pt x="851440" y="897779"/>
                  <a:pt x="947982" y="751984"/>
                  <a:pt x="947947" y="590549"/>
                </a:cubicBezTo>
                <a:cubicBezTo>
                  <a:pt x="947947" y="576492"/>
                  <a:pt x="947225" y="562446"/>
                  <a:pt x="945785" y="548463"/>
                </a:cubicBezTo>
                <a:cubicBezTo>
                  <a:pt x="941672" y="502328"/>
                  <a:pt x="922997" y="458694"/>
                  <a:pt x="892461" y="423867"/>
                </a:cubicBezTo>
                <a:cubicBezTo>
                  <a:pt x="886370" y="416966"/>
                  <a:pt x="879635" y="410660"/>
                  <a:pt x="872349" y="405036"/>
                </a:cubicBezTo>
                <a:lnTo>
                  <a:pt x="868050" y="401818"/>
                </a:lnTo>
                <a:cubicBezTo>
                  <a:pt x="859316" y="395847"/>
                  <a:pt x="851301" y="388889"/>
                  <a:pt x="844166" y="381077"/>
                </a:cubicBezTo>
                <a:cubicBezTo>
                  <a:pt x="826533" y="352055"/>
                  <a:pt x="814961" y="319762"/>
                  <a:pt x="810151" y="286147"/>
                </a:cubicBezTo>
                <a:cubicBezTo>
                  <a:pt x="806295" y="260048"/>
                  <a:pt x="782014" y="242017"/>
                  <a:pt x="755915" y="245874"/>
                </a:cubicBezTo>
                <a:cubicBezTo>
                  <a:pt x="746184" y="247312"/>
                  <a:pt x="737135" y="251719"/>
                  <a:pt x="730003" y="258492"/>
                </a:cubicBezTo>
                <a:cubicBezTo>
                  <a:pt x="664100" y="318226"/>
                  <a:pt x="590445" y="368804"/>
                  <a:pt x="511029" y="408858"/>
                </a:cubicBezTo>
                <a:cubicBezTo>
                  <a:pt x="440087" y="440303"/>
                  <a:pt x="364997" y="461394"/>
                  <a:pt x="288057" y="471483"/>
                </a:cubicBezTo>
                <a:cubicBezTo>
                  <a:pt x="272332" y="474201"/>
                  <a:pt x="256423" y="475704"/>
                  <a:pt x="240466" y="475983"/>
                </a:cubicBezTo>
                <a:cubicBezTo>
                  <a:pt x="188609" y="477622"/>
                  <a:pt x="146694" y="518792"/>
                  <a:pt x="144127" y="570612"/>
                </a:cubicBezTo>
                <a:lnTo>
                  <a:pt x="144127" y="570612"/>
                </a:lnTo>
                <a:cubicBezTo>
                  <a:pt x="143474" y="584490"/>
                  <a:pt x="143499" y="598468"/>
                  <a:pt x="144127" y="612220"/>
                </a:cubicBezTo>
                <a:cubicBezTo>
                  <a:pt x="153057" y="758666"/>
                  <a:pt x="240448" y="888846"/>
                  <a:pt x="372605" y="952573"/>
                </a:cubicBezTo>
                <a:lnTo>
                  <a:pt x="372328" y="952849"/>
                </a:lnTo>
                <a:cubicBezTo>
                  <a:pt x="342567" y="982814"/>
                  <a:pt x="310636" y="1010544"/>
                  <a:pt x="276794" y="1035813"/>
                </a:cubicBezTo>
                <a:cubicBezTo>
                  <a:pt x="223999" y="1063141"/>
                  <a:pt x="128817" y="1073524"/>
                  <a:pt x="71748" y="1077270"/>
                </a:cubicBezTo>
                <a:cubicBezTo>
                  <a:pt x="89434" y="1043390"/>
                  <a:pt x="100943" y="1006630"/>
                  <a:pt x="105738" y="968713"/>
                </a:cubicBezTo>
                <a:cubicBezTo>
                  <a:pt x="111402" y="894319"/>
                  <a:pt x="110333" y="819567"/>
                  <a:pt x="102545" y="745364"/>
                </a:cubicBezTo>
                <a:close/>
              </a:path>
            </a:pathLst>
          </a:custGeom>
          <a:solidFill>
            <a:srgbClr val="000000"/>
          </a:solidFill>
          <a:ln w="38100" cap="flat">
            <a:solidFill>
              <a:srgbClr val="FFFFFF"/>
            </a:solidFill>
            <a:prstDash val="solid"/>
            <a:miter/>
          </a:ln>
        </p:spPr>
        <p:txBody>
          <a:bodyPr rtlCol="0" anchor="ctr"/>
          <a:lstStyle/>
          <a:p>
            <a:endParaRPr lang="fr-FR"/>
          </a:p>
        </p:txBody>
      </p:sp>
      <p:pic>
        <p:nvPicPr>
          <p:cNvPr id="35" name="Graphic 34" descr="A woman's face">
            <a:extLst>
              <a:ext uri="{FF2B5EF4-FFF2-40B4-BE49-F238E27FC236}">
                <a16:creationId xmlns:a16="http://schemas.microsoft.com/office/drawing/2014/main" id="{071CE6CA-96B4-4EE4-9995-0088254ECE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69162" y="4658447"/>
            <a:ext cx="994079" cy="1056208"/>
          </a:xfrm>
          <a:prstGeom prst="rect">
            <a:avLst/>
          </a:prstGeom>
        </p:spPr>
      </p:pic>
      <p:sp>
        <p:nvSpPr>
          <p:cNvPr id="17" name="ZoneTexte 16">
            <a:extLst>
              <a:ext uri="{FF2B5EF4-FFF2-40B4-BE49-F238E27FC236}">
                <a16:creationId xmlns:a16="http://schemas.microsoft.com/office/drawing/2014/main" id="{03D1B9AB-A2E1-4DBE-9BD7-E102C7BC53B5}"/>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4</a:t>
            </a:r>
          </a:p>
        </p:txBody>
      </p:sp>
      <p:sp>
        <p:nvSpPr>
          <p:cNvPr id="25" name="Freeform 926">
            <a:extLst>
              <a:ext uri="{FF2B5EF4-FFF2-40B4-BE49-F238E27FC236}">
                <a16:creationId xmlns:a16="http://schemas.microsoft.com/office/drawing/2014/main" id="{06FC41A0-236C-4B5E-B602-FB289FCC3CB0}"/>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926">
            <a:extLst>
              <a:ext uri="{FF2B5EF4-FFF2-40B4-BE49-F238E27FC236}">
                <a16:creationId xmlns:a16="http://schemas.microsoft.com/office/drawing/2014/main" id="{A277E185-E823-4B78-9CFD-F4EAEE8B88D4}"/>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TextBox 219">
            <a:extLst>
              <a:ext uri="{FF2B5EF4-FFF2-40B4-BE49-F238E27FC236}">
                <a16:creationId xmlns:a16="http://schemas.microsoft.com/office/drawing/2014/main" id="{6BA86156-344A-438F-85FF-475EFD8B7403}"/>
              </a:ext>
            </a:extLst>
          </p:cNvPr>
          <p:cNvSpPr txBox="1"/>
          <p:nvPr/>
        </p:nvSpPr>
        <p:spPr>
          <a:xfrm>
            <a:off x="2126176" y="469879"/>
            <a:ext cx="2535625" cy="307777"/>
          </a:xfrm>
          <a:prstGeom prst="rect">
            <a:avLst/>
          </a:prstGeom>
          <a:noFill/>
        </p:spPr>
        <p:txBody>
          <a:bodyPr wrap="square">
            <a:spAutoFit/>
          </a:bodyPr>
          <a:lstStyle/>
          <a:p>
            <a:pPr>
              <a:spcAft>
                <a:spcPts val="0"/>
              </a:spcAft>
            </a:pPr>
            <a:r>
              <a:rPr lang="fr-FR" altLang="zh-CN" sz="1400" dirty="0">
                <a:solidFill>
                  <a:schemeClr val="tx2"/>
                </a:solidFill>
              </a:rPr>
              <a:t>Organisme d’accueil</a:t>
            </a:r>
          </a:p>
        </p:txBody>
      </p:sp>
      <p:sp>
        <p:nvSpPr>
          <p:cNvPr id="40" name="TextBox 220">
            <a:extLst>
              <a:ext uri="{FF2B5EF4-FFF2-40B4-BE49-F238E27FC236}">
                <a16:creationId xmlns:a16="http://schemas.microsoft.com/office/drawing/2014/main" id="{4DBF8A78-F10B-4013-935A-6279D2AF5D12}"/>
              </a:ext>
            </a:extLst>
          </p:cNvPr>
          <p:cNvSpPr txBox="1"/>
          <p:nvPr/>
        </p:nvSpPr>
        <p:spPr>
          <a:xfrm>
            <a:off x="5819704" y="469879"/>
            <a:ext cx="253562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41" name="TextBox 38">
            <a:extLst>
              <a:ext uri="{FF2B5EF4-FFF2-40B4-BE49-F238E27FC236}">
                <a16:creationId xmlns:a16="http://schemas.microsoft.com/office/drawing/2014/main" id="{56F8E6B0-AA77-4E21-97AC-6FEF223244B5}"/>
              </a:ext>
            </a:extLst>
          </p:cNvPr>
          <p:cNvSpPr txBox="1"/>
          <p:nvPr/>
        </p:nvSpPr>
        <p:spPr>
          <a:xfrm>
            <a:off x="9513234" y="500490"/>
            <a:ext cx="2420555"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42" name="Freeform 926">
            <a:extLst>
              <a:ext uri="{FF2B5EF4-FFF2-40B4-BE49-F238E27FC236}">
                <a16:creationId xmlns:a16="http://schemas.microsoft.com/office/drawing/2014/main" id="{0C07D793-8320-4F34-9466-74C3D3A2FF3D}"/>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3" name="Rectangle 42">
            <a:extLst>
              <a:ext uri="{FF2B5EF4-FFF2-40B4-BE49-F238E27FC236}">
                <a16:creationId xmlns:a16="http://schemas.microsoft.com/office/drawing/2014/main" id="{23AEF1C4-9337-449F-9C7B-DAB1F3D2DE10}"/>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44" name="Rectangle 43">
            <a:extLst>
              <a:ext uri="{FF2B5EF4-FFF2-40B4-BE49-F238E27FC236}">
                <a16:creationId xmlns:a16="http://schemas.microsoft.com/office/drawing/2014/main" id="{A924C82E-4462-4A88-ACA9-135F41627593}"/>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45" name="Rectangle 44">
            <a:extLst>
              <a:ext uri="{FF2B5EF4-FFF2-40B4-BE49-F238E27FC236}">
                <a16:creationId xmlns:a16="http://schemas.microsoft.com/office/drawing/2014/main" id="{46995204-309C-4BBA-B5EC-D4A928CAA8AE}"/>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46" name="Rectangle 45">
            <a:extLst>
              <a:ext uri="{FF2B5EF4-FFF2-40B4-BE49-F238E27FC236}">
                <a16:creationId xmlns:a16="http://schemas.microsoft.com/office/drawing/2014/main" id="{16494CBA-B009-4492-BDC7-7555CED0779B}"/>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691375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AC24E6CE-6CB0-483D-B9DE-49369F158678}"/>
              </a:ext>
            </a:extLst>
          </p:cNvPr>
          <p:cNvGrpSpPr/>
          <p:nvPr/>
        </p:nvGrpSpPr>
        <p:grpSpPr>
          <a:xfrm>
            <a:off x="3356994" y="5939019"/>
            <a:ext cx="8342669" cy="795338"/>
            <a:chOff x="3414757" y="6049971"/>
            <a:chExt cx="8342669" cy="795338"/>
          </a:xfrm>
        </p:grpSpPr>
        <p:sp>
          <p:nvSpPr>
            <p:cNvPr id="125" name="Rectangle 14">
              <a:extLst>
                <a:ext uri="{FF2B5EF4-FFF2-40B4-BE49-F238E27FC236}">
                  <a16:creationId xmlns:a16="http://schemas.microsoft.com/office/drawing/2014/main" id="{2DAC146E-9949-4F3C-AB58-D525CB78D374}"/>
                </a:ext>
              </a:extLst>
            </p:cNvPr>
            <p:cNvSpPr>
              <a:spLocks noChangeArrowheads="1"/>
            </p:cNvSpPr>
            <p:nvPr/>
          </p:nvSpPr>
          <p:spPr bwMode="auto">
            <a:xfrm>
              <a:off x="3414757" y="6049971"/>
              <a:ext cx="3715260"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5">
              <a:extLst>
                <a:ext uri="{FF2B5EF4-FFF2-40B4-BE49-F238E27FC236}">
                  <a16:creationId xmlns:a16="http://schemas.microsoft.com/office/drawing/2014/main" id="{77FC47C5-7F1B-4A3B-82CB-2BCBDE2864E8}"/>
                </a:ext>
              </a:extLst>
            </p:cNvPr>
            <p:cNvSpPr>
              <a:spLocks noChangeArrowheads="1"/>
            </p:cNvSpPr>
            <p:nvPr/>
          </p:nvSpPr>
          <p:spPr bwMode="auto">
            <a:xfrm>
              <a:off x="3554458" y="6049971"/>
              <a:ext cx="8202968"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文本框 106">
              <a:extLst>
                <a:ext uri="{FF2B5EF4-FFF2-40B4-BE49-F238E27FC236}">
                  <a16:creationId xmlns:a16="http://schemas.microsoft.com/office/drawing/2014/main" id="{43090170-9E86-4302-B872-1EFF239B40FB}"/>
                </a:ext>
              </a:extLst>
            </p:cNvPr>
            <p:cNvSpPr txBox="1"/>
            <p:nvPr/>
          </p:nvSpPr>
          <p:spPr>
            <a:xfrm>
              <a:off x="5511830" y="6102234"/>
              <a:ext cx="1464564" cy="646331"/>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Accès à des ressources avancées</a:t>
              </a:r>
              <a:endParaRPr lang="en-US" sz="1400" b="1" dirty="0">
                <a:solidFill>
                  <a:schemeClr val="bg1"/>
                </a:solidFill>
              </a:endParaRPr>
            </a:p>
          </p:txBody>
        </p:sp>
        <p:sp>
          <p:nvSpPr>
            <p:cNvPr id="165" name="文本框 106">
              <a:extLst>
                <a:ext uri="{FF2B5EF4-FFF2-40B4-BE49-F238E27FC236}">
                  <a16:creationId xmlns:a16="http://schemas.microsoft.com/office/drawing/2014/main" id="{F413437A-2C06-42B3-A5EE-895BD0130AE9}"/>
                </a:ext>
              </a:extLst>
            </p:cNvPr>
            <p:cNvSpPr txBox="1"/>
            <p:nvPr/>
          </p:nvSpPr>
          <p:spPr>
            <a:xfrm>
              <a:off x="7435733" y="6144668"/>
              <a:ext cx="4209381" cy="430887"/>
            </a:xfrm>
            <a:prstGeom prst="rect">
              <a:avLst/>
            </a:prstGeom>
            <a:noFill/>
          </p:spPr>
          <p:txBody>
            <a:bodyPr vert="horz" wrap="square" lIns="0" tIns="0" rIns="0" bIns="0" rtlCol="0">
              <a:spAutoFit/>
            </a:bodyPr>
            <a:lstStyle/>
            <a:p>
              <a:pPr>
                <a:spcBef>
                  <a:spcPts val="200"/>
                </a:spcBef>
                <a:buSzPct val="100000"/>
              </a:pPr>
              <a:r>
                <a:rPr lang="fr-FR" altLang="zh-CN" sz="1400" dirty="0"/>
                <a:t>Utilisation des meilleures pratiques, outils et technologies de pointe pour renforcer la sécurité de l'information.</a:t>
              </a:r>
              <a:endParaRPr lang="en-US" sz="1400" dirty="0"/>
            </a:p>
          </p:txBody>
        </p:sp>
      </p:grpSp>
      <p:sp>
        <p:nvSpPr>
          <p:cNvPr id="117" name="Rectangle 6">
            <a:extLst>
              <a:ext uri="{FF2B5EF4-FFF2-40B4-BE49-F238E27FC236}">
                <a16:creationId xmlns:a16="http://schemas.microsoft.com/office/drawing/2014/main" id="{106CD99C-D06C-4500-8C85-1DF22392E543}"/>
              </a:ext>
            </a:extLst>
          </p:cNvPr>
          <p:cNvSpPr>
            <a:spLocks noChangeArrowheads="1"/>
          </p:cNvSpPr>
          <p:nvPr/>
        </p:nvSpPr>
        <p:spPr bwMode="auto">
          <a:xfrm>
            <a:off x="4111413" y="2633571"/>
            <a:ext cx="2912586"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7">
            <a:extLst>
              <a:ext uri="{FF2B5EF4-FFF2-40B4-BE49-F238E27FC236}">
                <a16:creationId xmlns:a16="http://schemas.microsoft.com/office/drawing/2014/main" id="{D6230F0A-3089-4FE2-8CA2-9F4872ED312A}"/>
              </a:ext>
            </a:extLst>
          </p:cNvPr>
          <p:cNvSpPr>
            <a:spLocks noChangeArrowheads="1"/>
          </p:cNvSpPr>
          <p:nvPr/>
        </p:nvSpPr>
        <p:spPr bwMode="auto">
          <a:xfrm>
            <a:off x="4662275" y="2644684"/>
            <a:ext cx="7303302"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文本框 106">
            <a:extLst>
              <a:ext uri="{FF2B5EF4-FFF2-40B4-BE49-F238E27FC236}">
                <a16:creationId xmlns:a16="http://schemas.microsoft.com/office/drawing/2014/main" id="{F304A6DC-172E-4ABC-80E5-27A0DFC66EA2}"/>
              </a:ext>
            </a:extLst>
          </p:cNvPr>
          <p:cNvSpPr txBox="1"/>
          <p:nvPr/>
        </p:nvSpPr>
        <p:spPr>
          <a:xfrm>
            <a:off x="5443978" y="2792356"/>
            <a:ext cx="1236946" cy="430887"/>
          </a:xfrm>
          <a:prstGeom prst="rect">
            <a:avLst/>
          </a:prstGeom>
          <a:noFill/>
        </p:spPr>
        <p:txBody>
          <a:bodyPr vert="horz" wrap="square" lIns="0" tIns="0" rIns="0" bIns="0" rtlCol="0">
            <a:spAutoFit/>
          </a:bodyPr>
          <a:lstStyle/>
          <a:p>
            <a:pPr algn="ctr">
              <a:spcBef>
                <a:spcPts val="200"/>
              </a:spcBef>
              <a:buSzPct val="100000"/>
            </a:pPr>
            <a:r>
              <a:rPr lang="fr-FR" sz="1400" b="1" i="0" dirty="0">
                <a:solidFill>
                  <a:schemeClr val="bg1"/>
                </a:solidFill>
                <a:effectLst/>
              </a:rPr>
              <a:t>Expertise spécialisée </a:t>
            </a:r>
            <a:endParaRPr lang="en-US" sz="1400" b="1" dirty="0">
              <a:solidFill>
                <a:schemeClr val="bg1"/>
              </a:solidFill>
            </a:endParaRPr>
          </a:p>
        </p:txBody>
      </p:sp>
      <p:sp>
        <p:nvSpPr>
          <p:cNvPr id="163" name="文本框 106">
            <a:extLst>
              <a:ext uri="{FF2B5EF4-FFF2-40B4-BE49-F238E27FC236}">
                <a16:creationId xmlns:a16="http://schemas.microsoft.com/office/drawing/2014/main" id="{85611E3E-9EA2-439F-A0D8-419697612AD8}"/>
              </a:ext>
            </a:extLst>
          </p:cNvPr>
          <p:cNvSpPr txBox="1"/>
          <p:nvPr/>
        </p:nvSpPr>
        <p:spPr>
          <a:xfrm>
            <a:off x="7179847" y="2816809"/>
            <a:ext cx="4614106" cy="430887"/>
          </a:xfrm>
          <a:prstGeom prst="rect">
            <a:avLst/>
          </a:prstGeom>
          <a:noFill/>
        </p:spPr>
        <p:txBody>
          <a:bodyPr vert="horz" wrap="square" lIns="0" tIns="0" rIns="0" bIns="0" rtlCol="0">
            <a:spAutoFit/>
          </a:bodyPr>
          <a:lstStyle/>
          <a:p>
            <a:pPr>
              <a:spcBef>
                <a:spcPts val="200"/>
              </a:spcBef>
              <a:buSzPct val="100000"/>
            </a:pPr>
            <a:r>
              <a:rPr lang="fr-FR" altLang="zh-CN" sz="1400" b="1" dirty="0"/>
              <a:t>Accès à une expertise hautement qualifiée en matière de cybersécurité pour faire face aux menaces sophistiquées.</a:t>
            </a:r>
            <a:endParaRPr lang="en-US" sz="1400" b="1" dirty="0"/>
          </a:p>
        </p:txBody>
      </p:sp>
      <p:grpSp>
        <p:nvGrpSpPr>
          <p:cNvPr id="5" name="Groupe 4">
            <a:extLst>
              <a:ext uri="{FF2B5EF4-FFF2-40B4-BE49-F238E27FC236}">
                <a16:creationId xmlns:a16="http://schemas.microsoft.com/office/drawing/2014/main" id="{B99FB03A-A3A4-48C5-9FA8-4AD4DBF1946D}"/>
              </a:ext>
            </a:extLst>
          </p:cNvPr>
          <p:cNvGrpSpPr/>
          <p:nvPr/>
        </p:nvGrpSpPr>
        <p:grpSpPr>
          <a:xfrm>
            <a:off x="5260763" y="3741746"/>
            <a:ext cx="6438900" cy="795338"/>
            <a:chOff x="5087982" y="3238509"/>
            <a:chExt cx="6438900" cy="795338"/>
          </a:xfrm>
        </p:grpSpPr>
        <p:sp>
          <p:nvSpPr>
            <p:cNvPr id="119" name="Rectangle 8">
              <a:extLst>
                <a:ext uri="{FF2B5EF4-FFF2-40B4-BE49-F238E27FC236}">
                  <a16:creationId xmlns:a16="http://schemas.microsoft.com/office/drawing/2014/main" id="{8BB3E113-DBDC-4943-BC20-08A1D8647163}"/>
                </a:ext>
              </a:extLst>
            </p:cNvPr>
            <p:cNvSpPr>
              <a:spLocks noChangeArrowheads="1"/>
            </p:cNvSpPr>
            <p:nvPr/>
          </p:nvSpPr>
          <p:spPr bwMode="auto">
            <a:xfrm>
              <a:off x="5087982" y="3238509"/>
              <a:ext cx="1811491"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9">
              <a:extLst>
                <a:ext uri="{FF2B5EF4-FFF2-40B4-BE49-F238E27FC236}">
                  <a16:creationId xmlns:a16="http://schemas.microsoft.com/office/drawing/2014/main" id="{DBA511E5-8029-4BAF-B020-F9BACBA7C36A}"/>
                </a:ext>
              </a:extLst>
            </p:cNvPr>
            <p:cNvSpPr>
              <a:spLocks noChangeArrowheads="1"/>
            </p:cNvSpPr>
            <p:nvPr/>
          </p:nvSpPr>
          <p:spPr bwMode="auto">
            <a:xfrm>
              <a:off x="5087982" y="3238509"/>
              <a:ext cx="6438900"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文本框 106">
              <a:extLst>
                <a:ext uri="{FF2B5EF4-FFF2-40B4-BE49-F238E27FC236}">
                  <a16:creationId xmlns:a16="http://schemas.microsoft.com/office/drawing/2014/main" id="{D27B26C8-C13D-464F-B11A-DE828B22FFC3}"/>
                </a:ext>
              </a:extLst>
            </p:cNvPr>
            <p:cNvSpPr txBox="1"/>
            <p:nvPr/>
          </p:nvSpPr>
          <p:spPr>
            <a:xfrm>
              <a:off x="5549945" y="3435562"/>
              <a:ext cx="1236946" cy="215444"/>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Coûts réduits</a:t>
              </a:r>
            </a:p>
          </p:txBody>
        </p:sp>
        <p:sp>
          <p:nvSpPr>
            <p:cNvPr id="167" name="文本框 106">
              <a:extLst>
                <a:ext uri="{FF2B5EF4-FFF2-40B4-BE49-F238E27FC236}">
                  <a16:creationId xmlns:a16="http://schemas.microsoft.com/office/drawing/2014/main" id="{3DDDC167-0805-4D3B-AE2C-251C02306ACE}"/>
                </a:ext>
              </a:extLst>
            </p:cNvPr>
            <p:cNvSpPr txBox="1"/>
            <p:nvPr/>
          </p:nvSpPr>
          <p:spPr>
            <a:xfrm>
              <a:off x="7091004" y="3420734"/>
              <a:ext cx="3727266" cy="430887"/>
            </a:xfrm>
            <a:prstGeom prst="rect">
              <a:avLst/>
            </a:prstGeom>
            <a:noFill/>
          </p:spPr>
          <p:txBody>
            <a:bodyPr vert="horz" wrap="square" lIns="0" tIns="0" rIns="0" bIns="0" rtlCol="0">
              <a:spAutoFit/>
            </a:bodyPr>
            <a:lstStyle/>
            <a:p>
              <a:pPr>
                <a:spcBef>
                  <a:spcPts val="200"/>
                </a:spcBef>
                <a:buSzPct val="100000"/>
              </a:pPr>
              <a:r>
                <a:rPr lang="fr-FR" altLang="zh-CN" sz="1400" dirty="0"/>
                <a:t>Économies financières par rapport à l'embauche d'un CISO permanent.</a:t>
              </a:r>
              <a:endParaRPr lang="en-US" sz="1400" dirty="0"/>
            </a:p>
          </p:txBody>
        </p:sp>
      </p:grpSp>
      <p:sp>
        <p:nvSpPr>
          <p:cNvPr id="121" name="Rectangle 10">
            <a:extLst>
              <a:ext uri="{FF2B5EF4-FFF2-40B4-BE49-F238E27FC236}">
                <a16:creationId xmlns:a16="http://schemas.microsoft.com/office/drawing/2014/main" id="{EECC24BB-F3E3-4694-B71D-CFCCEB9DDADC}"/>
              </a:ext>
            </a:extLst>
          </p:cNvPr>
          <p:cNvSpPr>
            <a:spLocks noChangeArrowheads="1"/>
          </p:cNvSpPr>
          <p:nvPr/>
        </p:nvSpPr>
        <p:spPr bwMode="auto">
          <a:xfrm>
            <a:off x="5181388" y="4839237"/>
            <a:ext cx="1890866" cy="803917"/>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1">
            <a:extLst>
              <a:ext uri="{FF2B5EF4-FFF2-40B4-BE49-F238E27FC236}">
                <a16:creationId xmlns:a16="http://schemas.microsoft.com/office/drawing/2014/main" id="{4799DAD5-7EDB-4FB6-9D0D-6E4A79685091}"/>
              </a:ext>
            </a:extLst>
          </p:cNvPr>
          <p:cNvSpPr>
            <a:spLocks noChangeArrowheads="1"/>
          </p:cNvSpPr>
          <p:nvPr/>
        </p:nvSpPr>
        <p:spPr bwMode="auto">
          <a:xfrm>
            <a:off x="5536988" y="4839236"/>
            <a:ext cx="6162675"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文本框 106">
            <a:extLst>
              <a:ext uri="{FF2B5EF4-FFF2-40B4-BE49-F238E27FC236}">
                <a16:creationId xmlns:a16="http://schemas.microsoft.com/office/drawing/2014/main" id="{19781465-D084-42C0-8F11-EA8A6B40B50B}"/>
              </a:ext>
            </a:extLst>
          </p:cNvPr>
          <p:cNvSpPr txBox="1"/>
          <p:nvPr/>
        </p:nvSpPr>
        <p:spPr>
          <a:xfrm>
            <a:off x="5992601" y="5016113"/>
            <a:ext cx="935037" cy="430887"/>
          </a:xfrm>
          <a:prstGeom prst="rect">
            <a:avLst/>
          </a:prstGeom>
          <a:noFill/>
        </p:spPr>
        <p:txBody>
          <a:bodyPr vert="horz" wrap="square" lIns="0" tIns="0" rIns="0" bIns="0" rtlCol="0">
            <a:spAutoFit/>
          </a:bodyPr>
          <a:lstStyle/>
          <a:p>
            <a:pPr>
              <a:spcBef>
                <a:spcPts val="200"/>
              </a:spcBef>
              <a:buSzPct val="100000"/>
            </a:pPr>
            <a:r>
              <a:rPr lang="fr-FR" sz="1400" b="1">
                <a:solidFill>
                  <a:schemeClr val="bg1"/>
                </a:solidFill>
              </a:rPr>
              <a:t>Flexibilité et scalabilité</a:t>
            </a:r>
            <a:endParaRPr lang="fr-FR" sz="1400" b="1" dirty="0">
              <a:solidFill>
                <a:schemeClr val="bg1"/>
              </a:solidFill>
            </a:endParaRPr>
          </a:p>
        </p:txBody>
      </p:sp>
      <p:sp>
        <p:nvSpPr>
          <p:cNvPr id="171" name="文本框 106">
            <a:extLst>
              <a:ext uri="{FF2B5EF4-FFF2-40B4-BE49-F238E27FC236}">
                <a16:creationId xmlns:a16="http://schemas.microsoft.com/office/drawing/2014/main" id="{D628E6C3-A266-430E-8C58-90D97AB26078}"/>
              </a:ext>
            </a:extLst>
          </p:cNvPr>
          <p:cNvSpPr txBox="1"/>
          <p:nvPr/>
        </p:nvSpPr>
        <p:spPr>
          <a:xfrm>
            <a:off x="7364691" y="4932898"/>
            <a:ext cx="4222660" cy="646331"/>
          </a:xfrm>
          <a:prstGeom prst="rect">
            <a:avLst/>
          </a:prstGeom>
          <a:noFill/>
        </p:spPr>
        <p:txBody>
          <a:bodyPr vert="horz" wrap="square" lIns="0" tIns="0" rIns="0" bIns="0" rtlCol="0">
            <a:spAutoFit/>
          </a:bodyPr>
          <a:lstStyle/>
          <a:p>
            <a:pPr>
              <a:spcBef>
                <a:spcPts val="200"/>
              </a:spcBef>
              <a:buSzPct val="100000"/>
            </a:pPr>
            <a:r>
              <a:rPr lang="fr-FR" altLang="zh-CN" sz="1400" dirty="0"/>
              <a:t>Adaptabilité aux besoins changeants de l'entreprise, en permettant une augmentation ou une diminution de la portée des services.</a:t>
            </a:r>
            <a:endParaRPr lang="en-US" sz="1400" dirty="0"/>
          </a:p>
        </p:txBody>
      </p:sp>
      <p:sp>
        <p:nvSpPr>
          <p:cNvPr id="61" name="TextBox 60">
            <a:extLst>
              <a:ext uri="{FF2B5EF4-FFF2-40B4-BE49-F238E27FC236}">
                <a16:creationId xmlns:a16="http://schemas.microsoft.com/office/drawing/2014/main" id="{7106FA92-EF01-4191-90E3-6759EF0B7553}"/>
              </a:ext>
            </a:extLst>
          </p:cNvPr>
          <p:cNvSpPr txBox="1"/>
          <p:nvPr/>
        </p:nvSpPr>
        <p:spPr>
          <a:xfrm>
            <a:off x="565980" y="1428403"/>
            <a:ext cx="12247049" cy="342210"/>
          </a:xfrm>
          <a:prstGeom prst="rect">
            <a:avLst/>
          </a:prstGeom>
          <a:noFill/>
          <a:ln>
            <a:noFill/>
            <a:prstDash val="dash"/>
          </a:ln>
        </p:spPr>
        <p:txBody>
          <a:bodyPr wrap="square">
            <a:spAutoFit/>
          </a:bodyPr>
          <a:lstStyle/>
          <a:p>
            <a:pPr marL="0" lvl="1" algn="just" fontAlgn="base">
              <a:lnSpc>
                <a:spcPct val="106000"/>
              </a:lnSpc>
              <a:spcAft>
                <a:spcPts val="364"/>
              </a:spcAft>
              <a:buClr>
                <a:srgbClr val="000000"/>
              </a:buClr>
            </a:pPr>
            <a:r>
              <a:rPr lang="fr-FR" sz="1600"/>
              <a:t>L'intérêt du CISO en tant que service réside dans plusieurs aspects clés :</a:t>
            </a:r>
            <a:endParaRPr lang="fr-FR" sz="1200">
              <a:cs typeface="Times New Roman" panose="02020603050405020304" pitchFamily="18" charset="0"/>
            </a:endParaRPr>
          </a:p>
        </p:txBody>
      </p:sp>
      <p:sp>
        <p:nvSpPr>
          <p:cNvPr id="127" name="Oval 16">
            <a:extLst>
              <a:ext uri="{FF2B5EF4-FFF2-40B4-BE49-F238E27FC236}">
                <a16:creationId xmlns:a16="http://schemas.microsoft.com/office/drawing/2014/main" id="{36D2A68F-A686-4C36-B5F1-3B7F8C1B8339}"/>
              </a:ext>
            </a:extLst>
          </p:cNvPr>
          <p:cNvSpPr>
            <a:spLocks noChangeArrowheads="1"/>
          </p:cNvSpPr>
          <p:nvPr/>
        </p:nvSpPr>
        <p:spPr bwMode="auto">
          <a:xfrm>
            <a:off x="1132725" y="2211067"/>
            <a:ext cx="4564063" cy="4735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ZoneTexte 64">
            <a:extLst>
              <a:ext uri="{FF2B5EF4-FFF2-40B4-BE49-F238E27FC236}">
                <a16:creationId xmlns:a16="http://schemas.microsoft.com/office/drawing/2014/main" id="{734D484A-4F6E-4414-ADCA-F3C326F314EE}"/>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5</a:t>
            </a:r>
          </a:p>
        </p:txBody>
      </p:sp>
      <p:sp>
        <p:nvSpPr>
          <p:cNvPr id="128" name="Freeform 17">
            <a:extLst>
              <a:ext uri="{FF2B5EF4-FFF2-40B4-BE49-F238E27FC236}">
                <a16:creationId xmlns:a16="http://schemas.microsoft.com/office/drawing/2014/main" id="{E24EA950-C290-4C89-9F1C-40F15363E3BF}"/>
              </a:ext>
            </a:extLst>
          </p:cNvPr>
          <p:cNvSpPr>
            <a:spLocks/>
          </p:cNvSpPr>
          <p:nvPr/>
        </p:nvSpPr>
        <p:spPr bwMode="auto">
          <a:xfrm>
            <a:off x="4185486" y="6033716"/>
            <a:ext cx="207963" cy="207963"/>
          </a:xfrm>
          <a:custGeom>
            <a:avLst/>
            <a:gdLst>
              <a:gd name="T0" fmla="*/ 34 w 37"/>
              <a:gd name="T1" fmla="*/ 14 h 37"/>
              <a:gd name="T2" fmla="*/ 24 w 37"/>
              <a:gd name="T3" fmla="*/ 34 h 37"/>
              <a:gd name="T4" fmla="*/ 3 w 37"/>
              <a:gd name="T5" fmla="*/ 24 h 37"/>
              <a:gd name="T6" fmla="*/ 14 w 37"/>
              <a:gd name="T7" fmla="*/ 3 h 37"/>
              <a:gd name="T8" fmla="*/ 34 w 37"/>
              <a:gd name="T9" fmla="*/ 14 h 37"/>
            </a:gdLst>
            <a:ahLst/>
            <a:cxnLst>
              <a:cxn ang="0">
                <a:pos x="T0" y="T1"/>
              </a:cxn>
              <a:cxn ang="0">
                <a:pos x="T2" y="T3"/>
              </a:cxn>
              <a:cxn ang="0">
                <a:pos x="T4" y="T5"/>
              </a:cxn>
              <a:cxn ang="0">
                <a:pos x="T6" y="T7"/>
              </a:cxn>
              <a:cxn ang="0">
                <a:pos x="T8" y="T9"/>
              </a:cxn>
            </a:cxnLst>
            <a:rect l="0" t="0" r="r" b="b"/>
            <a:pathLst>
              <a:path w="37" h="37">
                <a:moveTo>
                  <a:pt x="34" y="14"/>
                </a:moveTo>
                <a:cubicBezTo>
                  <a:pt x="37" y="22"/>
                  <a:pt x="32" y="32"/>
                  <a:pt x="24" y="34"/>
                </a:cubicBezTo>
                <a:cubicBezTo>
                  <a:pt x="15" y="37"/>
                  <a:pt x="6" y="32"/>
                  <a:pt x="3" y="24"/>
                </a:cubicBezTo>
                <a:cubicBezTo>
                  <a:pt x="0" y="15"/>
                  <a:pt x="5" y="6"/>
                  <a:pt x="14" y="3"/>
                </a:cubicBezTo>
                <a:cubicBezTo>
                  <a:pt x="22" y="0"/>
                  <a:pt x="31" y="5"/>
                  <a:pt x="34" y="1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9009F0D8-05B2-4A33-9FA3-73A1B1C17DD4}"/>
              </a:ext>
            </a:extLst>
          </p:cNvPr>
          <p:cNvSpPr>
            <a:spLocks/>
          </p:cNvSpPr>
          <p:nvPr/>
        </p:nvSpPr>
        <p:spPr bwMode="auto">
          <a:xfrm rot="20992730">
            <a:off x="4374762" y="5399223"/>
            <a:ext cx="845930" cy="664291"/>
          </a:xfrm>
          <a:custGeom>
            <a:avLst/>
            <a:gdLst>
              <a:gd name="T0" fmla="*/ 4 w 127"/>
              <a:gd name="T1" fmla="*/ 95 h 95"/>
              <a:gd name="T2" fmla="*/ 0 w 127"/>
              <a:gd name="T3" fmla="*/ 87 h 95"/>
              <a:gd name="T4" fmla="*/ 121 w 127"/>
              <a:gd name="T5" fmla="*/ 0 h 95"/>
              <a:gd name="T6" fmla="*/ 127 w 127"/>
              <a:gd name="T7" fmla="*/ 6 h 95"/>
              <a:gd name="T8" fmla="*/ 4 w 127"/>
              <a:gd name="T9" fmla="*/ 95 h 95"/>
            </a:gdLst>
            <a:ahLst/>
            <a:cxnLst>
              <a:cxn ang="0">
                <a:pos x="T0" y="T1"/>
              </a:cxn>
              <a:cxn ang="0">
                <a:pos x="T2" y="T3"/>
              </a:cxn>
              <a:cxn ang="0">
                <a:pos x="T4" y="T5"/>
              </a:cxn>
              <a:cxn ang="0">
                <a:pos x="T6" y="T7"/>
              </a:cxn>
              <a:cxn ang="0">
                <a:pos x="T8" y="T9"/>
              </a:cxn>
            </a:cxnLst>
            <a:rect l="0" t="0" r="r" b="b"/>
            <a:pathLst>
              <a:path w="127" h="95">
                <a:moveTo>
                  <a:pt x="4" y="95"/>
                </a:moveTo>
                <a:cubicBezTo>
                  <a:pt x="0" y="87"/>
                  <a:pt x="0" y="87"/>
                  <a:pt x="0" y="87"/>
                </a:cubicBezTo>
                <a:cubicBezTo>
                  <a:pt x="46" y="67"/>
                  <a:pt x="88" y="37"/>
                  <a:pt x="121" y="0"/>
                </a:cubicBezTo>
                <a:cubicBezTo>
                  <a:pt x="127" y="6"/>
                  <a:pt x="127" y="6"/>
                  <a:pt x="127" y="6"/>
                </a:cubicBezTo>
                <a:cubicBezTo>
                  <a:pt x="94" y="44"/>
                  <a:pt x="51" y="75"/>
                  <a:pt x="4" y="95"/>
                </a:cubicBezTo>
                <a:close/>
              </a:path>
            </a:pathLst>
          </a:custGeom>
          <a:solidFill>
            <a:srgbClr val="7FBE2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3">
            <a:extLst>
              <a:ext uri="{FF2B5EF4-FFF2-40B4-BE49-F238E27FC236}">
                <a16:creationId xmlns:a16="http://schemas.microsoft.com/office/drawing/2014/main" id="{96D4CE5B-DE4E-4185-8E77-7765B2AD0DDE}"/>
              </a:ext>
            </a:extLst>
          </p:cNvPr>
          <p:cNvSpPr>
            <a:spLocks/>
          </p:cNvSpPr>
          <p:nvPr/>
        </p:nvSpPr>
        <p:spPr bwMode="auto">
          <a:xfrm rot="20331017">
            <a:off x="5144973" y="4226899"/>
            <a:ext cx="326538" cy="785740"/>
          </a:xfrm>
          <a:custGeom>
            <a:avLst/>
            <a:gdLst>
              <a:gd name="T0" fmla="*/ 8 w 55"/>
              <a:gd name="T1" fmla="*/ 146 h 146"/>
              <a:gd name="T2" fmla="*/ 0 w 55"/>
              <a:gd name="T3" fmla="*/ 141 h 146"/>
              <a:gd name="T4" fmla="*/ 46 w 55"/>
              <a:gd name="T5" fmla="*/ 0 h 146"/>
              <a:gd name="T6" fmla="*/ 55 w 55"/>
              <a:gd name="T7" fmla="*/ 1 h 146"/>
              <a:gd name="T8" fmla="*/ 8 w 55"/>
              <a:gd name="T9" fmla="*/ 146 h 146"/>
            </a:gdLst>
            <a:ahLst/>
            <a:cxnLst>
              <a:cxn ang="0">
                <a:pos x="T0" y="T1"/>
              </a:cxn>
              <a:cxn ang="0">
                <a:pos x="T2" y="T3"/>
              </a:cxn>
              <a:cxn ang="0">
                <a:pos x="T4" y="T5"/>
              </a:cxn>
              <a:cxn ang="0">
                <a:pos x="T6" y="T7"/>
              </a:cxn>
              <a:cxn ang="0">
                <a:pos x="T8" y="T9"/>
              </a:cxn>
            </a:cxnLst>
            <a:rect l="0" t="0" r="r" b="b"/>
            <a:pathLst>
              <a:path w="55" h="146">
                <a:moveTo>
                  <a:pt x="8" y="146"/>
                </a:moveTo>
                <a:cubicBezTo>
                  <a:pt x="0" y="141"/>
                  <a:pt x="0" y="141"/>
                  <a:pt x="0" y="141"/>
                </a:cubicBezTo>
                <a:cubicBezTo>
                  <a:pt x="25" y="98"/>
                  <a:pt x="41" y="49"/>
                  <a:pt x="46" y="0"/>
                </a:cubicBezTo>
                <a:cubicBezTo>
                  <a:pt x="55" y="1"/>
                  <a:pt x="55" y="1"/>
                  <a:pt x="55" y="1"/>
                </a:cubicBezTo>
                <a:cubicBezTo>
                  <a:pt x="50" y="52"/>
                  <a:pt x="34" y="102"/>
                  <a:pt x="8" y="146"/>
                </a:cubicBezTo>
                <a:close/>
              </a:path>
            </a:pathLst>
          </a:custGeom>
          <a:solidFill>
            <a:srgbClr val="9AD3CE"/>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CD998AF5-EB20-47BD-9416-32F2C36292B6}"/>
              </a:ext>
            </a:extLst>
          </p:cNvPr>
          <p:cNvSpPr>
            <a:spLocks/>
          </p:cNvSpPr>
          <p:nvPr/>
        </p:nvSpPr>
        <p:spPr bwMode="auto">
          <a:xfrm>
            <a:off x="4451189" y="3069942"/>
            <a:ext cx="685160" cy="835026"/>
          </a:xfrm>
          <a:custGeom>
            <a:avLst/>
            <a:gdLst>
              <a:gd name="T0" fmla="*/ 121 w 127"/>
              <a:gd name="T1" fmla="*/ 96 h 96"/>
              <a:gd name="T2" fmla="*/ 0 w 127"/>
              <a:gd name="T3" fmla="*/ 9 h 96"/>
              <a:gd name="T4" fmla="*/ 4 w 127"/>
              <a:gd name="T5" fmla="*/ 0 h 96"/>
              <a:gd name="T6" fmla="*/ 127 w 127"/>
              <a:gd name="T7" fmla="*/ 90 h 96"/>
              <a:gd name="T8" fmla="*/ 121 w 127"/>
              <a:gd name="T9" fmla="*/ 96 h 96"/>
            </a:gdLst>
            <a:ahLst/>
            <a:cxnLst>
              <a:cxn ang="0">
                <a:pos x="T0" y="T1"/>
              </a:cxn>
              <a:cxn ang="0">
                <a:pos x="T2" y="T3"/>
              </a:cxn>
              <a:cxn ang="0">
                <a:pos x="T4" y="T5"/>
              </a:cxn>
              <a:cxn ang="0">
                <a:pos x="T6" y="T7"/>
              </a:cxn>
              <a:cxn ang="0">
                <a:pos x="T8" y="T9"/>
              </a:cxn>
            </a:cxnLst>
            <a:rect l="0" t="0" r="r" b="b"/>
            <a:pathLst>
              <a:path w="127" h="96">
                <a:moveTo>
                  <a:pt x="121" y="96"/>
                </a:moveTo>
                <a:cubicBezTo>
                  <a:pt x="88" y="58"/>
                  <a:pt x="46" y="28"/>
                  <a:pt x="0" y="9"/>
                </a:cubicBezTo>
                <a:cubicBezTo>
                  <a:pt x="4" y="0"/>
                  <a:pt x="4" y="0"/>
                  <a:pt x="4" y="0"/>
                </a:cubicBezTo>
                <a:cubicBezTo>
                  <a:pt x="51" y="20"/>
                  <a:pt x="94" y="52"/>
                  <a:pt x="127" y="90"/>
                </a:cubicBezTo>
                <a:lnTo>
                  <a:pt x="121" y="96"/>
                </a:lnTo>
                <a:close/>
              </a:path>
            </a:pathLst>
          </a:custGeom>
          <a:solidFill>
            <a:srgbClr val="696B7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26">
            <a:extLst>
              <a:ext uri="{FF2B5EF4-FFF2-40B4-BE49-F238E27FC236}">
                <a16:creationId xmlns:a16="http://schemas.microsoft.com/office/drawing/2014/main" id="{CCDF4F6F-D84D-4041-B1F9-1A4E99D3B08C}"/>
              </a:ext>
            </a:extLst>
          </p:cNvPr>
          <p:cNvSpPr>
            <a:spLocks/>
          </p:cNvSpPr>
          <p:nvPr/>
        </p:nvSpPr>
        <p:spPr bwMode="auto">
          <a:xfrm>
            <a:off x="2451144" y="5829309"/>
            <a:ext cx="912813" cy="333375"/>
          </a:xfrm>
          <a:custGeom>
            <a:avLst/>
            <a:gdLst>
              <a:gd name="T0" fmla="*/ 162 w 162"/>
              <a:gd name="T1" fmla="*/ 59 h 59"/>
              <a:gd name="T2" fmla="*/ 0 w 162"/>
              <a:gd name="T3" fmla="*/ 7 h 59"/>
              <a:gd name="T4" fmla="*/ 5 w 162"/>
              <a:gd name="T5" fmla="*/ 0 h 59"/>
              <a:gd name="T6" fmla="*/ 162 w 162"/>
              <a:gd name="T7" fmla="*/ 50 h 59"/>
              <a:gd name="T8" fmla="*/ 162 w 162"/>
              <a:gd name="T9" fmla="*/ 59 h 59"/>
            </a:gdLst>
            <a:ahLst/>
            <a:cxnLst>
              <a:cxn ang="0">
                <a:pos x="T0" y="T1"/>
              </a:cxn>
              <a:cxn ang="0">
                <a:pos x="T2" y="T3"/>
              </a:cxn>
              <a:cxn ang="0">
                <a:pos x="T4" y="T5"/>
              </a:cxn>
              <a:cxn ang="0">
                <a:pos x="T6" y="T7"/>
              </a:cxn>
              <a:cxn ang="0">
                <a:pos x="T8" y="T9"/>
              </a:cxn>
            </a:cxnLst>
            <a:rect l="0" t="0" r="r" b="b"/>
            <a:pathLst>
              <a:path w="162" h="59">
                <a:moveTo>
                  <a:pt x="162" y="59"/>
                </a:moveTo>
                <a:cubicBezTo>
                  <a:pt x="104" y="59"/>
                  <a:pt x="48" y="41"/>
                  <a:pt x="0" y="7"/>
                </a:cubicBezTo>
                <a:cubicBezTo>
                  <a:pt x="5" y="0"/>
                  <a:pt x="5" y="0"/>
                  <a:pt x="5" y="0"/>
                </a:cubicBezTo>
                <a:cubicBezTo>
                  <a:pt x="52" y="32"/>
                  <a:pt x="106" y="50"/>
                  <a:pt x="162" y="50"/>
                </a:cubicBezTo>
                <a:lnTo>
                  <a:pt x="162" y="59"/>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C4279C18-DBD1-47DD-B06A-CBD3B382187D}"/>
              </a:ext>
            </a:extLst>
          </p:cNvPr>
          <p:cNvSpPr>
            <a:spLocks/>
          </p:cNvSpPr>
          <p:nvPr/>
        </p:nvSpPr>
        <p:spPr bwMode="auto">
          <a:xfrm>
            <a:off x="1841544" y="5045084"/>
            <a:ext cx="598488" cy="795338"/>
          </a:xfrm>
          <a:custGeom>
            <a:avLst/>
            <a:gdLst>
              <a:gd name="T0" fmla="*/ 101 w 106"/>
              <a:gd name="T1" fmla="*/ 141 h 141"/>
              <a:gd name="T2" fmla="*/ 0 w 106"/>
              <a:gd name="T3" fmla="*/ 3 h 141"/>
              <a:gd name="T4" fmla="*/ 9 w 106"/>
              <a:gd name="T5" fmla="*/ 0 h 141"/>
              <a:gd name="T6" fmla="*/ 106 w 106"/>
              <a:gd name="T7" fmla="*/ 134 h 141"/>
              <a:gd name="T8" fmla="*/ 101 w 106"/>
              <a:gd name="T9" fmla="*/ 141 h 141"/>
            </a:gdLst>
            <a:ahLst/>
            <a:cxnLst>
              <a:cxn ang="0">
                <a:pos x="T0" y="T1"/>
              </a:cxn>
              <a:cxn ang="0">
                <a:pos x="T2" y="T3"/>
              </a:cxn>
              <a:cxn ang="0">
                <a:pos x="T4" y="T5"/>
              </a:cxn>
              <a:cxn ang="0">
                <a:pos x="T6" y="T7"/>
              </a:cxn>
              <a:cxn ang="0">
                <a:pos x="T8" y="T9"/>
              </a:cxn>
            </a:cxnLst>
            <a:rect l="0" t="0" r="r" b="b"/>
            <a:pathLst>
              <a:path w="106" h="141">
                <a:moveTo>
                  <a:pt x="101" y="141"/>
                </a:moveTo>
                <a:cubicBezTo>
                  <a:pt x="54" y="106"/>
                  <a:pt x="19" y="58"/>
                  <a:pt x="0" y="3"/>
                </a:cubicBezTo>
                <a:cubicBezTo>
                  <a:pt x="9" y="0"/>
                  <a:pt x="9" y="0"/>
                  <a:pt x="9" y="0"/>
                </a:cubicBezTo>
                <a:cubicBezTo>
                  <a:pt x="27" y="54"/>
                  <a:pt x="61" y="100"/>
                  <a:pt x="106" y="134"/>
                </a:cubicBezTo>
                <a:lnTo>
                  <a:pt x="101" y="141"/>
                </a:ln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A8359647-0C46-4769-9E91-6B7A18890B2B}"/>
              </a:ext>
            </a:extLst>
          </p:cNvPr>
          <p:cNvSpPr>
            <a:spLocks/>
          </p:cNvSpPr>
          <p:nvPr/>
        </p:nvSpPr>
        <p:spPr bwMode="auto">
          <a:xfrm>
            <a:off x="1728832" y="4051309"/>
            <a:ext cx="147638" cy="965200"/>
          </a:xfrm>
          <a:custGeom>
            <a:avLst/>
            <a:gdLst>
              <a:gd name="T0" fmla="*/ 17 w 26"/>
              <a:gd name="T1" fmla="*/ 171 h 171"/>
              <a:gd name="T2" fmla="*/ 17 w 26"/>
              <a:gd name="T3" fmla="*/ 0 h 171"/>
              <a:gd name="T4" fmla="*/ 26 w 26"/>
              <a:gd name="T5" fmla="*/ 3 h 171"/>
              <a:gd name="T6" fmla="*/ 26 w 26"/>
              <a:gd name="T7" fmla="*/ 168 h 171"/>
              <a:gd name="T8" fmla="*/ 17 w 26"/>
              <a:gd name="T9" fmla="*/ 171 h 171"/>
            </a:gdLst>
            <a:ahLst/>
            <a:cxnLst>
              <a:cxn ang="0">
                <a:pos x="T0" y="T1"/>
              </a:cxn>
              <a:cxn ang="0">
                <a:pos x="T2" y="T3"/>
              </a:cxn>
              <a:cxn ang="0">
                <a:pos x="T4" y="T5"/>
              </a:cxn>
              <a:cxn ang="0">
                <a:pos x="T6" y="T7"/>
              </a:cxn>
              <a:cxn ang="0">
                <a:pos x="T8" y="T9"/>
              </a:cxn>
            </a:cxnLst>
            <a:rect l="0" t="0" r="r" b="b"/>
            <a:pathLst>
              <a:path w="26" h="171">
                <a:moveTo>
                  <a:pt x="17" y="171"/>
                </a:moveTo>
                <a:cubicBezTo>
                  <a:pt x="0" y="115"/>
                  <a:pt x="0" y="56"/>
                  <a:pt x="17" y="0"/>
                </a:cubicBezTo>
                <a:cubicBezTo>
                  <a:pt x="26" y="3"/>
                  <a:pt x="26" y="3"/>
                  <a:pt x="26" y="3"/>
                </a:cubicBezTo>
                <a:cubicBezTo>
                  <a:pt x="9" y="57"/>
                  <a:pt x="9" y="114"/>
                  <a:pt x="26" y="168"/>
                </a:cubicBezTo>
                <a:lnTo>
                  <a:pt x="17" y="17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CAA7ACED-407E-44A1-8A1A-69800FADEE5F}"/>
              </a:ext>
            </a:extLst>
          </p:cNvPr>
          <p:cNvSpPr>
            <a:spLocks/>
          </p:cNvSpPr>
          <p:nvPr/>
        </p:nvSpPr>
        <p:spPr bwMode="auto">
          <a:xfrm>
            <a:off x="1841544" y="3227396"/>
            <a:ext cx="592138" cy="795338"/>
          </a:xfrm>
          <a:custGeom>
            <a:avLst/>
            <a:gdLst>
              <a:gd name="T0" fmla="*/ 8 w 105"/>
              <a:gd name="T1" fmla="*/ 141 h 141"/>
              <a:gd name="T2" fmla="*/ 0 w 105"/>
              <a:gd name="T3" fmla="*/ 138 h 141"/>
              <a:gd name="T4" fmla="*/ 100 w 105"/>
              <a:gd name="T5" fmla="*/ 0 h 141"/>
              <a:gd name="T6" fmla="*/ 105 w 105"/>
              <a:gd name="T7" fmla="*/ 7 h 141"/>
              <a:gd name="T8" fmla="*/ 8 w 105"/>
              <a:gd name="T9" fmla="*/ 141 h 141"/>
            </a:gdLst>
            <a:ahLst/>
            <a:cxnLst>
              <a:cxn ang="0">
                <a:pos x="T0" y="T1"/>
              </a:cxn>
              <a:cxn ang="0">
                <a:pos x="T2" y="T3"/>
              </a:cxn>
              <a:cxn ang="0">
                <a:pos x="T4" y="T5"/>
              </a:cxn>
              <a:cxn ang="0">
                <a:pos x="T6" y="T7"/>
              </a:cxn>
              <a:cxn ang="0">
                <a:pos x="T8" y="T9"/>
              </a:cxn>
            </a:cxnLst>
            <a:rect l="0" t="0" r="r" b="b"/>
            <a:pathLst>
              <a:path w="105" h="141">
                <a:moveTo>
                  <a:pt x="8" y="141"/>
                </a:moveTo>
                <a:cubicBezTo>
                  <a:pt x="0" y="138"/>
                  <a:pt x="0" y="138"/>
                  <a:pt x="0" y="138"/>
                </a:cubicBezTo>
                <a:cubicBezTo>
                  <a:pt x="19" y="83"/>
                  <a:pt x="53" y="35"/>
                  <a:pt x="100" y="0"/>
                </a:cubicBezTo>
                <a:cubicBezTo>
                  <a:pt x="105" y="7"/>
                  <a:pt x="105" y="7"/>
                  <a:pt x="105" y="7"/>
                </a:cubicBezTo>
                <a:cubicBezTo>
                  <a:pt x="60" y="41"/>
                  <a:pt x="26" y="87"/>
                  <a:pt x="8" y="141"/>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40F701DE-DC13-42E5-A750-9D2B7638CAA3}"/>
              </a:ext>
            </a:extLst>
          </p:cNvPr>
          <p:cNvSpPr>
            <a:spLocks/>
          </p:cNvSpPr>
          <p:nvPr/>
        </p:nvSpPr>
        <p:spPr bwMode="auto">
          <a:xfrm>
            <a:off x="2444794" y="2894021"/>
            <a:ext cx="912813" cy="344488"/>
          </a:xfrm>
          <a:custGeom>
            <a:avLst/>
            <a:gdLst>
              <a:gd name="T0" fmla="*/ 5 w 162"/>
              <a:gd name="T1" fmla="*/ 61 h 61"/>
              <a:gd name="T2" fmla="*/ 0 w 162"/>
              <a:gd name="T3" fmla="*/ 53 h 61"/>
              <a:gd name="T4" fmla="*/ 162 w 162"/>
              <a:gd name="T5" fmla="*/ 0 h 61"/>
              <a:gd name="T6" fmla="*/ 162 w 162"/>
              <a:gd name="T7" fmla="*/ 9 h 61"/>
              <a:gd name="T8" fmla="*/ 5 w 162"/>
              <a:gd name="T9" fmla="*/ 61 h 61"/>
            </a:gdLst>
            <a:ahLst/>
            <a:cxnLst>
              <a:cxn ang="0">
                <a:pos x="T0" y="T1"/>
              </a:cxn>
              <a:cxn ang="0">
                <a:pos x="T2" y="T3"/>
              </a:cxn>
              <a:cxn ang="0">
                <a:pos x="T4" y="T5"/>
              </a:cxn>
              <a:cxn ang="0">
                <a:pos x="T6" y="T7"/>
              </a:cxn>
              <a:cxn ang="0">
                <a:pos x="T8" y="T9"/>
              </a:cxn>
            </a:cxnLst>
            <a:rect l="0" t="0" r="r" b="b"/>
            <a:pathLst>
              <a:path w="162" h="61">
                <a:moveTo>
                  <a:pt x="5" y="61"/>
                </a:moveTo>
                <a:cubicBezTo>
                  <a:pt x="0" y="53"/>
                  <a:pt x="0" y="53"/>
                  <a:pt x="0" y="53"/>
                </a:cubicBezTo>
                <a:cubicBezTo>
                  <a:pt x="47" y="20"/>
                  <a:pt x="103" y="1"/>
                  <a:pt x="162" y="0"/>
                </a:cubicBezTo>
                <a:cubicBezTo>
                  <a:pt x="162" y="9"/>
                  <a:pt x="162" y="9"/>
                  <a:pt x="162" y="9"/>
                </a:cubicBezTo>
                <a:cubicBezTo>
                  <a:pt x="105" y="10"/>
                  <a:pt x="51" y="28"/>
                  <a:pt x="5" y="61"/>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E8725292-D9C8-45A1-BC87-5A1F18FC783A}"/>
              </a:ext>
            </a:extLst>
          </p:cNvPr>
          <p:cNvSpPr>
            <a:spLocks noEditPoints="1"/>
          </p:cNvSpPr>
          <p:nvPr/>
        </p:nvSpPr>
        <p:spPr bwMode="auto">
          <a:xfrm>
            <a:off x="4083886" y="5943228"/>
            <a:ext cx="411163" cy="395288"/>
          </a:xfrm>
          <a:custGeom>
            <a:avLst/>
            <a:gdLst>
              <a:gd name="T0" fmla="*/ 37 w 73"/>
              <a:gd name="T1" fmla="*/ 70 h 70"/>
              <a:gd name="T2" fmla="*/ 3 w 73"/>
              <a:gd name="T3" fmla="*/ 46 h 70"/>
              <a:gd name="T4" fmla="*/ 5 w 73"/>
              <a:gd name="T5" fmla="*/ 19 h 70"/>
              <a:gd name="T6" fmla="*/ 26 w 73"/>
              <a:gd name="T7" fmla="*/ 2 h 70"/>
              <a:gd name="T8" fmla="*/ 37 w 73"/>
              <a:gd name="T9" fmla="*/ 0 h 70"/>
              <a:gd name="T10" fmla="*/ 70 w 73"/>
              <a:gd name="T11" fmla="*/ 24 h 70"/>
              <a:gd name="T12" fmla="*/ 68 w 73"/>
              <a:gd name="T13" fmla="*/ 51 h 70"/>
              <a:gd name="T14" fmla="*/ 47 w 73"/>
              <a:gd name="T15" fmla="*/ 68 h 70"/>
              <a:gd name="T16" fmla="*/ 37 w 73"/>
              <a:gd name="T17" fmla="*/ 70 h 70"/>
              <a:gd name="T18" fmla="*/ 37 w 73"/>
              <a:gd name="T19" fmla="*/ 9 h 70"/>
              <a:gd name="T20" fmla="*/ 29 w 73"/>
              <a:gd name="T21" fmla="*/ 10 h 70"/>
              <a:gd name="T22" fmla="*/ 13 w 73"/>
              <a:gd name="T23" fmla="*/ 23 h 70"/>
              <a:gd name="T24" fmla="*/ 12 w 73"/>
              <a:gd name="T25" fmla="*/ 43 h 70"/>
              <a:gd name="T26" fmla="*/ 37 w 73"/>
              <a:gd name="T27" fmla="*/ 61 h 70"/>
              <a:gd name="T28" fmla="*/ 45 w 73"/>
              <a:gd name="T29" fmla="*/ 59 h 70"/>
              <a:gd name="T30" fmla="*/ 60 w 73"/>
              <a:gd name="T31" fmla="*/ 47 h 70"/>
              <a:gd name="T32" fmla="*/ 61 w 73"/>
              <a:gd name="T33" fmla="*/ 27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21" y="70"/>
                  <a:pt x="8" y="60"/>
                  <a:pt x="3" y="46"/>
                </a:cubicBezTo>
                <a:cubicBezTo>
                  <a:pt x="0" y="37"/>
                  <a:pt x="1" y="27"/>
                  <a:pt x="5" y="19"/>
                </a:cubicBezTo>
                <a:cubicBezTo>
                  <a:pt x="10" y="11"/>
                  <a:pt x="17" y="4"/>
                  <a:pt x="26" y="2"/>
                </a:cubicBezTo>
                <a:cubicBezTo>
                  <a:pt x="29" y="0"/>
                  <a:pt x="33" y="0"/>
                  <a:pt x="37" y="0"/>
                </a:cubicBezTo>
                <a:cubicBezTo>
                  <a:pt x="52" y="0"/>
                  <a:pt x="65" y="10"/>
                  <a:pt x="70" y="24"/>
                </a:cubicBezTo>
                <a:cubicBezTo>
                  <a:pt x="73" y="33"/>
                  <a:pt x="72" y="42"/>
                  <a:pt x="68" y="51"/>
                </a:cubicBezTo>
                <a:cubicBezTo>
                  <a:pt x="64" y="59"/>
                  <a:pt x="56" y="65"/>
                  <a:pt x="47" y="68"/>
                </a:cubicBezTo>
                <a:cubicBezTo>
                  <a:pt x="44" y="69"/>
                  <a:pt x="40" y="70"/>
                  <a:pt x="37" y="70"/>
                </a:cubicBezTo>
                <a:close/>
                <a:moveTo>
                  <a:pt x="37" y="9"/>
                </a:moveTo>
                <a:cubicBezTo>
                  <a:pt x="34" y="9"/>
                  <a:pt x="31" y="9"/>
                  <a:pt x="29" y="10"/>
                </a:cubicBezTo>
                <a:cubicBezTo>
                  <a:pt x="22" y="12"/>
                  <a:pt x="17" y="17"/>
                  <a:pt x="13" y="23"/>
                </a:cubicBezTo>
                <a:cubicBezTo>
                  <a:pt x="10" y="29"/>
                  <a:pt x="10" y="36"/>
                  <a:pt x="12" y="43"/>
                </a:cubicBezTo>
                <a:cubicBezTo>
                  <a:pt x="15" y="54"/>
                  <a:pt x="25" y="61"/>
                  <a:pt x="37" y="61"/>
                </a:cubicBezTo>
                <a:cubicBezTo>
                  <a:pt x="39" y="61"/>
                  <a:pt x="42" y="60"/>
                  <a:pt x="45" y="59"/>
                </a:cubicBezTo>
                <a:cubicBezTo>
                  <a:pt x="51" y="57"/>
                  <a:pt x="57" y="53"/>
                  <a:pt x="60" y="47"/>
                </a:cubicBezTo>
                <a:cubicBezTo>
                  <a:pt x="63" y="40"/>
                  <a:pt x="63" y="33"/>
                  <a:pt x="61" y="27"/>
                </a:cubicBezTo>
                <a:cubicBezTo>
                  <a:pt x="58" y="16"/>
                  <a:pt x="48" y="9"/>
                  <a:pt x="37" y="9"/>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e 7">
            <a:extLst>
              <a:ext uri="{FF2B5EF4-FFF2-40B4-BE49-F238E27FC236}">
                <a16:creationId xmlns:a16="http://schemas.microsoft.com/office/drawing/2014/main" id="{588710C3-C70A-4830-9BFD-DFFE69E4778E}"/>
              </a:ext>
            </a:extLst>
          </p:cNvPr>
          <p:cNvGrpSpPr/>
          <p:nvPr/>
        </p:nvGrpSpPr>
        <p:grpSpPr>
          <a:xfrm>
            <a:off x="5034749" y="4986518"/>
            <a:ext cx="388938" cy="395288"/>
            <a:chOff x="4954397" y="5103340"/>
            <a:chExt cx="388938" cy="395288"/>
          </a:xfrm>
        </p:grpSpPr>
        <p:sp>
          <p:nvSpPr>
            <p:cNvPr id="130" name="Oval 19">
              <a:extLst>
                <a:ext uri="{FF2B5EF4-FFF2-40B4-BE49-F238E27FC236}">
                  <a16:creationId xmlns:a16="http://schemas.microsoft.com/office/drawing/2014/main" id="{1EEF6D97-684A-411E-8440-BB5DD08116AC}"/>
                </a:ext>
              </a:extLst>
            </p:cNvPr>
            <p:cNvSpPr>
              <a:spLocks noChangeArrowheads="1"/>
            </p:cNvSpPr>
            <p:nvPr/>
          </p:nvSpPr>
          <p:spPr bwMode="auto">
            <a:xfrm>
              <a:off x="5055997" y="5204940"/>
              <a:ext cx="185738" cy="18573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4570C6EC-9734-4697-872B-9382D48F1655}"/>
                </a:ext>
              </a:extLst>
            </p:cNvPr>
            <p:cNvSpPr>
              <a:spLocks noEditPoints="1"/>
            </p:cNvSpPr>
            <p:nvPr/>
          </p:nvSpPr>
          <p:spPr bwMode="auto">
            <a:xfrm>
              <a:off x="4954397" y="5103340"/>
              <a:ext cx="388938" cy="395288"/>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9 h 70"/>
                <a:gd name="T12" fmla="*/ 9 w 69"/>
                <a:gd name="T13" fmla="*/ 35 h 70"/>
                <a:gd name="T14" fmla="*/ 35 w 69"/>
                <a:gd name="T15" fmla="*/ 61 h 70"/>
                <a:gd name="T16" fmla="*/ 60 w 69"/>
                <a:gd name="T17" fmla="*/ 35 h 70"/>
                <a:gd name="T18" fmla="*/ 35 w 69"/>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9"/>
                  </a:moveTo>
                  <a:cubicBezTo>
                    <a:pt x="20" y="9"/>
                    <a:pt x="9" y="21"/>
                    <a:pt x="9" y="35"/>
                  </a:cubicBezTo>
                  <a:cubicBezTo>
                    <a:pt x="9" y="49"/>
                    <a:pt x="20" y="61"/>
                    <a:pt x="35" y="61"/>
                  </a:cubicBezTo>
                  <a:cubicBezTo>
                    <a:pt x="49" y="61"/>
                    <a:pt x="60" y="49"/>
                    <a:pt x="60" y="35"/>
                  </a:cubicBezTo>
                  <a:cubicBezTo>
                    <a:pt x="60" y="21"/>
                    <a:pt x="49" y="9"/>
                    <a:pt x="35" y="9"/>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e 6">
            <a:extLst>
              <a:ext uri="{FF2B5EF4-FFF2-40B4-BE49-F238E27FC236}">
                <a16:creationId xmlns:a16="http://schemas.microsoft.com/office/drawing/2014/main" id="{52FF8857-F7B0-4176-828A-3136C527472B}"/>
              </a:ext>
            </a:extLst>
          </p:cNvPr>
          <p:cNvGrpSpPr/>
          <p:nvPr/>
        </p:nvGrpSpPr>
        <p:grpSpPr>
          <a:xfrm>
            <a:off x="4976467" y="3876393"/>
            <a:ext cx="406400" cy="395288"/>
            <a:chOff x="4726032" y="3209934"/>
            <a:chExt cx="406400" cy="395288"/>
          </a:xfrm>
        </p:grpSpPr>
        <p:sp>
          <p:nvSpPr>
            <p:cNvPr id="131" name="Freeform 20">
              <a:extLst>
                <a:ext uri="{FF2B5EF4-FFF2-40B4-BE49-F238E27FC236}">
                  <a16:creationId xmlns:a16="http://schemas.microsoft.com/office/drawing/2014/main" id="{DF8200B6-512E-499F-952E-96B34C74C71D}"/>
                </a:ext>
              </a:extLst>
            </p:cNvPr>
            <p:cNvSpPr>
              <a:spLocks/>
            </p:cNvSpPr>
            <p:nvPr/>
          </p:nvSpPr>
          <p:spPr bwMode="auto">
            <a:xfrm>
              <a:off x="4822869" y="3300421"/>
              <a:ext cx="214313" cy="209550"/>
            </a:xfrm>
            <a:custGeom>
              <a:avLst/>
              <a:gdLst>
                <a:gd name="T0" fmla="*/ 9 w 38"/>
                <a:gd name="T1" fmla="*/ 6 h 37"/>
                <a:gd name="T2" fmla="*/ 32 w 38"/>
                <a:gd name="T3" fmla="*/ 9 h 37"/>
                <a:gd name="T4" fmla="*/ 29 w 38"/>
                <a:gd name="T5" fmla="*/ 32 h 37"/>
                <a:gd name="T6" fmla="*/ 6 w 38"/>
                <a:gd name="T7" fmla="*/ 29 h 37"/>
                <a:gd name="T8" fmla="*/ 9 w 38"/>
                <a:gd name="T9" fmla="*/ 6 h 37"/>
              </a:gdLst>
              <a:ahLst/>
              <a:cxnLst>
                <a:cxn ang="0">
                  <a:pos x="T0" y="T1"/>
                </a:cxn>
                <a:cxn ang="0">
                  <a:pos x="T2" y="T3"/>
                </a:cxn>
                <a:cxn ang="0">
                  <a:pos x="T4" y="T5"/>
                </a:cxn>
                <a:cxn ang="0">
                  <a:pos x="T6" y="T7"/>
                </a:cxn>
                <a:cxn ang="0">
                  <a:pos x="T8" y="T9"/>
                </a:cxn>
              </a:cxnLst>
              <a:rect l="0" t="0" r="r" b="b"/>
              <a:pathLst>
                <a:path w="38" h="37">
                  <a:moveTo>
                    <a:pt x="9" y="6"/>
                  </a:moveTo>
                  <a:cubicBezTo>
                    <a:pt x="17" y="0"/>
                    <a:pt x="27" y="2"/>
                    <a:pt x="32" y="9"/>
                  </a:cubicBezTo>
                  <a:cubicBezTo>
                    <a:pt x="38" y="17"/>
                    <a:pt x="36" y="27"/>
                    <a:pt x="29" y="32"/>
                  </a:cubicBezTo>
                  <a:cubicBezTo>
                    <a:pt x="21" y="37"/>
                    <a:pt x="11" y="36"/>
                    <a:pt x="6" y="29"/>
                  </a:cubicBezTo>
                  <a:cubicBezTo>
                    <a:pt x="0" y="21"/>
                    <a:pt x="2" y="11"/>
                    <a:pt x="9" y="6"/>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8F7A0821-82ED-46D1-A15B-A284B2A9C669}"/>
                </a:ext>
              </a:extLst>
            </p:cNvPr>
            <p:cNvSpPr>
              <a:spLocks noEditPoints="1"/>
            </p:cNvSpPr>
            <p:nvPr/>
          </p:nvSpPr>
          <p:spPr bwMode="auto">
            <a:xfrm>
              <a:off x="4726032" y="3209934"/>
              <a:ext cx="406400" cy="395288"/>
            </a:xfrm>
            <a:custGeom>
              <a:avLst/>
              <a:gdLst>
                <a:gd name="T0" fmla="*/ 36 w 72"/>
                <a:gd name="T1" fmla="*/ 70 h 70"/>
                <a:gd name="T2" fmla="*/ 8 w 72"/>
                <a:gd name="T3" fmla="*/ 55 h 70"/>
                <a:gd name="T4" fmla="*/ 1 w 72"/>
                <a:gd name="T5" fmla="*/ 29 h 70"/>
                <a:gd name="T6" fmla="*/ 15 w 72"/>
                <a:gd name="T7" fmla="*/ 7 h 70"/>
                <a:gd name="T8" fmla="*/ 36 w 72"/>
                <a:gd name="T9" fmla="*/ 0 h 70"/>
                <a:gd name="T10" fmla="*/ 64 w 72"/>
                <a:gd name="T11" fmla="*/ 14 h 70"/>
                <a:gd name="T12" fmla="*/ 70 w 72"/>
                <a:gd name="T13" fmla="*/ 40 h 70"/>
                <a:gd name="T14" fmla="*/ 56 w 72"/>
                <a:gd name="T15" fmla="*/ 63 h 70"/>
                <a:gd name="T16" fmla="*/ 36 w 72"/>
                <a:gd name="T17" fmla="*/ 70 h 70"/>
                <a:gd name="T18" fmla="*/ 36 w 72"/>
                <a:gd name="T19" fmla="*/ 9 h 70"/>
                <a:gd name="T20" fmla="*/ 21 w 72"/>
                <a:gd name="T21" fmla="*/ 14 h 70"/>
                <a:gd name="T22" fmla="*/ 10 w 72"/>
                <a:gd name="T23" fmla="*/ 31 h 70"/>
                <a:gd name="T24" fmla="*/ 15 w 72"/>
                <a:gd name="T25" fmla="*/ 50 h 70"/>
                <a:gd name="T26" fmla="*/ 36 w 72"/>
                <a:gd name="T27" fmla="*/ 61 h 70"/>
                <a:gd name="T28" fmla="*/ 51 w 72"/>
                <a:gd name="T29" fmla="*/ 56 h 70"/>
                <a:gd name="T30" fmla="*/ 62 w 72"/>
                <a:gd name="T31" fmla="*/ 39 h 70"/>
                <a:gd name="T32" fmla="*/ 57 w 72"/>
                <a:gd name="T33" fmla="*/ 20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5" y="70"/>
                    <a:pt x="14" y="64"/>
                    <a:pt x="8" y="55"/>
                  </a:cubicBezTo>
                  <a:cubicBezTo>
                    <a:pt x="2" y="48"/>
                    <a:pt x="0" y="39"/>
                    <a:pt x="1" y="29"/>
                  </a:cubicBezTo>
                  <a:cubicBezTo>
                    <a:pt x="3" y="20"/>
                    <a:pt x="8" y="12"/>
                    <a:pt x="15" y="7"/>
                  </a:cubicBezTo>
                  <a:cubicBezTo>
                    <a:pt x="21" y="2"/>
                    <a:pt x="28" y="0"/>
                    <a:pt x="36" y="0"/>
                  </a:cubicBezTo>
                  <a:cubicBezTo>
                    <a:pt x="47" y="0"/>
                    <a:pt x="58" y="5"/>
                    <a:pt x="64" y="14"/>
                  </a:cubicBezTo>
                  <a:cubicBezTo>
                    <a:pt x="70" y="22"/>
                    <a:pt x="72" y="31"/>
                    <a:pt x="70" y="40"/>
                  </a:cubicBezTo>
                  <a:cubicBezTo>
                    <a:pt x="69" y="50"/>
                    <a:pt x="64" y="58"/>
                    <a:pt x="56" y="63"/>
                  </a:cubicBezTo>
                  <a:cubicBezTo>
                    <a:pt x="50" y="68"/>
                    <a:pt x="43" y="70"/>
                    <a:pt x="36" y="70"/>
                  </a:cubicBezTo>
                  <a:close/>
                  <a:moveTo>
                    <a:pt x="36" y="9"/>
                  </a:moveTo>
                  <a:cubicBezTo>
                    <a:pt x="30" y="9"/>
                    <a:pt x="25" y="11"/>
                    <a:pt x="21" y="14"/>
                  </a:cubicBezTo>
                  <a:cubicBezTo>
                    <a:pt x="15" y="18"/>
                    <a:pt x="11" y="24"/>
                    <a:pt x="10" y="31"/>
                  </a:cubicBezTo>
                  <a:cubicBezTo>
                    <a:pt x="9" y="38"/>
                    <a:pt x="11" y="45"/>
                    <a:pt x="15" y="50"/>
                  </a:cubicBezTo>
                  <a:cubicBezTo>
                    <a:pt x="20" y="57"/>
                    <a:pt x="28" y="61"/>
                    <a:pt x="36" y="61"/>
                  </a:cubicBezTo>
                  <a:cubicBezTo>
                    <a:pt x="41" y="61"/>
                    <a:pt x="47" y="59"/>
                    <a:pt x="51" y="56"/>
                  </a:cubicBezTo>
                  <a:cubicBezTo>
                    <a:pt x="57" y="52"/>
                    <a:pt x="60" y="46"/>
                    <a:pt x="62" y="39"/>
                  </a:cubicBezTo>
                  <a:cubicBezTo>
                    <a:pt x="63" y="32"/>
                    <a:pt x="61" y="25"/>
                    <a:pt x="57" y="20"/>
                  </a:cubicBezTo>
                  <a:cubicBezTo>
                    <a:pt x="52" y="13"/>
                    <a:pt x="44" y="9"/>
                    <a:pt x="36" y="9"/>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e 8">
            <a:extLst>
              <a:ext uri="{FF2B5EF4-FFF2-40B4-BE49-F238E27FC236}">
                <a16:creationId xmlns:a16="http://schemas.microsoft.com/office/drawing/2014/main" id="{1494306F-4324-4EF8-9B0F-A5BCCFEBCBEC}"/>
              </a:ext>
            </a:extLst>
          </p:cNvPr>
          <p:cNvGrpSpPr/>
          <p:nvPr/>
        </p:nvGrpSpPr>
        <p:grpSpPr>
          <a:xfrm>
            <a:off x="4094267" y="2868621"/>
            <a:ext cx="411163" cy="395288"/>
            <a:chOff x="3768769" y="2516196"/>
            <a:chExt cx="411163" cy="395288"/>
          </a:xfrm>
        </p:grpSpPr>
        <p:sp>
          <p:nvSpPr>
            <p:cNvPr id="132" name="Freeform 21">
              <a:extLst>
                <a:ext uri="{FF2B5EF4-FFF2-40B4-BE49-F238E27FC236}">
                  <a16:creationId xmlns:a16="http://schemas.microsoft.com/office/drawing/2014/main" id="{4562122B-A6A5-47CA-B6C1-375FC34CF071}"/>
                </a:ext>
              </a:extLst>
            </p:cNvPr>
            <p:cNvSpPr>
              <a:spLocks/>
            </p:cNvSpPr>
            <p:nvPr/>
          </p:nvSpPr>
          <p:spPr bwMode="auto">
            <a:xfrm>
              <a:off x="3870369" y="2606684"/>
              <a:ext cx="207963" cy="207963"/>
            </a:xfrm>
            <a:custGeom>
              <a:avLst/>
              <a:gdLst>
                <a:gd name="T0" fmla="*/ 3 w 37"/>
                <a:gd name="T1" fmla="*/ 14 h 37"/>
                <a:gd name="T2" fmla="*/ 24 w 37"/>
                <a:gd name="T3" fmla="*/ 3 h 37"/>
                <a:gd name="T4" fmla="*/ 34 w 37"/>
                <a:gd name="T5" fmla="*/ 24 h 37"/>
                <a:gd name="T6" fmla="*/ 14 w 37"/>
                <a:gd name="T7" fmla="*/ 35 h 37"/>
                <a:gd name="T8" fmla="*/ 3 w 37"/>
                <a:gd name="T9" fmla="*/ 14 h 37"/>
              </a:gdLst>
              <a:ahLst/>
              <a:cxnLst>
                <a:cxn ang="0">
                  <a:pos x="T0" y="T1"/>
                </a:cxn>
                <a:cxn ang="0">
                  <a:pos x="T2" y="T3"/>
                </a:cxn>
                <a:cxn ang="0">
                  <a:pos x="T4" y="T5"/>
                </a:cxn>
                <a:cxn ang="0">
                  <a:pos x="T6" y="T7"/>
                </a:cxn>
                <a:cxn ang="0">
                  <a:pos x="T8" y="T9"/>
                </a:cxn>
              </a:cxnLst>
              <a:rect l="0" t="0" r="r" b="b"/>
              <a:pathLst>
                <a:path w="37" h="37">
                  <a:moveTo>
                    <a:pt x="3" y="14"/>
                  </a:moveTo>
                  <a:cubicBezTo>
                    <a:pt x="6" y="5"/>
                    <a:pt x="15" y="0"/>
                    <a:pt x="24" y="3"/>
                  </a:cubicBezTo>
                  <a:cubicBezTo>
                    <a:pt x="32" y="6"/>
                    <a:pt x="37" y="15"/>
                    <a:pt x="34" y="24"/>
                  </a:cubicBezTo>
                  <a:cubicBezTo>
                    <a:pt x="31" y="33"/>
                    <a:pt x="22" y="37"/>
                    <a:pt x="14" y="35"/>
                  </a:cubicBezTo>
                  <a:cubicBezTo>
                    <a:pt x="5" y="32"/>
                    <a:pt x="0" y="22"/>
                    <a:pt x="3" y="14"/>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320A3C98-E4C7-48B6-ABCC-EB3CB87CFA10}"/>
                </a:ext>
              </a:extLst>
            </p:cNvPr>
            <p:cNvSpPr>
              <a:spLocks noEditPoints="1"/>
            </p:cNvSpPr>
            <p:nvPr/>
          </p:nvSpPr>
          <p:spPr bwMode="auto">
            <a:xfrm>
              <a:off x="3768769" y="2516196"/>
              <a:ext cx="411163" cy="395288"/>
            </a:xfrm>
            <a:custGeom>
              <a:avLst/>
              <a:gdLst>
                <a:gd name="T0" fmla="*/ 37 w 73"/>
                <a:gd name="T1" fmla="*/ 70 h 70"/>
                <a:gd name="T2" fmla="*/ 26 w 73"/>
                <a:gd name="T3" fmla="*/ 68 h 70"/>
                <a:gd name="T4" fmla="*/ 5 w 73"/>
                <a:gd name="T5" fmla="*/ 51 h 70"/>
                <a:gd name="T6" fmla="*/ 3 w 73"/>
                <a:gd name="T7" fmla="*/ 24 h 70"/>
                <a:gd name="T8" fmla="*/ 37 w 73"/>
                <a:gd name="T9" fmla="*/ 0 h 70"/>
                <a:gd name="T10" fmla="*/ 47 w 73"/>
                <a:gd name="T11" fmla="*/ 2 h 70"/>
                <a:gd name="T12" fmla="*/ 68 w 73"/>
                <a:gd name="T13" fmla="*/ 19 h 70"/>
                <a:gd name="T14" fmla="*/ 70 w 73"/>
                <a:gd name="T15" fmla="*/ 46 h 70"/>
                <a:gd name="T16" fmla="*/ 37 w 73"/>
                <a:gd name="T17" fmla="*/ 70 h 70"/>
                <a:gd name="T18" fmla="*/ 37 w 73"/>
                <a:gd name="T19" fmla="*/ 9 h 70"/>
                <a:gd name="T20" fmla="*/ 12 w 73"/>
                <a:gd name="T21" fmla="*/ 27 h 70"/>
                <a:gd name="T22" fmla="*/ 13 w 73"/>
                <a:gd name="T23" fmla="*/ 47 h 70"/>
                <a:gd name="T24" fmla="*/ 29 w 73"/>
                <a:gd name="T25" fmla="*/ 60 h 70"/>
                <a:gd name="T26" fmla="*/ 37 w 73"/>
                <a:gd name="T27" fmla="*/ 61 h 70"/>
                <a:gd name="T28" fmla="*/ 61 w 73"/>
                <a:gd name="T29" fmla="*/ 43 h 70"/>
                <a:gd name="T30" fmla="*/ 60 w 73"/>
                <a:gd name="T31" fmla="*/ 23 h 70"/>
                <a:gd name="T32" fmla="*/ 45 w 73"/>
                <a:gd name="T33" fmla="*/ 10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33" y="70"/>
                    <a:pt x="29" y="69"/>
                    <a:pt x="26" y="68"/>
                  </a:cubicBezTo>
                  <a:cubicBezTo>
                    <a:pt x="17" y="65"/>
                    <a:pt x="10" y="59"/>
                    <a:pt x="5" y="51"/>
                  </a:cubicBezTo>
                  <a:cubicBezTo>
                    <a:pt x="1" y="42"/>
                    <a:pt x="0" y="33"/>
                    <a:pt x="3" y="24"/>
                  </a:cubicBezTo>
                  <a:cubicBezTo>
                    <a:pt x="8" y="10"/>
                    <a:pt x="21" y="0"/>
                    <a:pt x="37" y="0"/>
                  </a:cubicBezTo>
                  <a:cubicBezTo>
                    <a:pt x="40" y="0"/>
                    <a:pt x="44" y="1"/>
                    <a:pt x="47" y="2"/>
                  </a:cubicBezTo>
                  <a:cubicBezTo>
                    <a:pt x="56" y="5"/>
                    <a:pt x="64" y="11"/>
                    <a:pt x="68" y="19"/>
                  </a:cubicBezTo>
                  <a:cubicBezTo>
                    <a:pt x="72" y="27"/>
                    <a:pt x="73" y="37"/>
                    <a:pt x="70" y="46"/>
                  </a:cubicBezTo>
                  <a:cubicBezTo>
                    <a:pt x="65" y="60"/>
                    <a:pt x="52" y="70"/>
                    <a:pt x="37" y="70"/>
                  </a:cubicBezTo>
                  <a:close/>
                  <a:moveTo>
                    <a:pt x="37" y="9"/>
                  </a:moveTo>
                  <a:cubicBezTo>
                    <a:pt x="25" y="9"/>
                    <a:pt x="15" y="16"/>
                    <a:pt x="12" y="27"/>
                  </a:cubicBezTo>
                  <a:cubicBezTo>
                    <a:pt x="10" y="33"/>
                    <a:pt x="10" y="41"/>
                    <a:pt x="13" y="47"/>
                  </a:cubicBezTo>
                  <a:cubicBezTo>
                    <a:pt x="17" y="53"/>
                    <a:pt x="22" y="57"/>
                    <a:pt x="29" y="60"/>
                  </a:cubicBezTo>
                  <a:cubicBezTo>
                    <a:pt x="31" y="60"/>
                    <a:pt x="34" y="61"/>
                    <a:pt x="37" y="61"/>
                  </a:cubicBezTo>
                  <a:cubicBezTo>
                    <a:pt x="48" y="61"/>
                    <a:pt x="58" y="54"/>
                    <a:pt x="61" y="43"/>
                  </a:cubicBezTo>
                  <a:cubicBezTo>
                    <a:pt x="63" y="36"/>
                    <a:pt x="63" y="29"/>
                    <a:pt x="60" y="23"/>
                  </a:cubicBezTo>
                  <a:cubicBezTo>
                    <a:pt x="57" y="17"/>
                    <a:pt x="51" y="12"/>
                    <a:pt x="45" y="10"/>
                  </a:cubicBezTo>
                  <a:cubicBezTo>
                    <a:pt x="42" y="9"/>
                    <a:pt x="39" y="9"/>
                    <a:pt x="37" y="9"/>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47" name="Picture 36">
            <a:extLst>
              <a:ext uri="{FF2B5EF4-FFF2-40B4-BE49-F238E27FC236}">
                <a16:creationId xmlns:a16="http://schemas.microsoft.com/office/drawing/2014/main" id="{2694479C-5DC3-4DF5-8ECA-2878CAC996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1744" y="3640146"/>
            <a:ext cx="10477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37">
            <a:extLst>
              <a:ext uri="{FF2B5EF4-FFF2-40B4-BE49-F238E27FC236}">
                <a16:creationId xmlns:a16="http://schemas.microsoft.com/office/drawing/2014/main" id="{E5352050-802F-4283-8975-B73A209FF6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3519" y="3335346"/>
            <a:ext cx="35401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38">
            <a:extLst>
              <a:ext uri="{FF2B5EF4-FFF2-40B4-BE49-F238E27FC236}">
                <a16:creationId xmlns:a16="http://schemas.microsoft.com/office/drawing/2014/main" id="{5022A6F0-FCD1-4CC4-A4A6-8D2655B265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1744" y="4203709"/>
            <a:ext cx="89693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Picture 39">
            <a:extLst>
              <a:ext uri="{FF2B5EF4-FFF2-40B4-BE49-F238E27FC236}">
                <a16:creationId xmlns:a16="http://schemas.microsoft.com/office/drawing/2014/main" id="{54F94781-CB97-41A8-AB23-4482B30B94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73519" y="4610109"/>
            <a:ext cx="996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40">
            <a:extLst>
              <a:ext uri="{FF2B5EF4-FFF2-40B4-BE49-F238E27FC236}">
                <a16:creationId xmlns:a16="http://schemas.microsoft.com/office/drawing/2014/main" id="{1717FCCE-BE4C-413A-82B6-8EA46A261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1744" y="5191134"/>
            <a:ext cx="96361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41">
            <a:extLst>
              <a:ext uri="{FF2B5EF4-FFF2-40B4-BE49-F238E27FC236}">
                <a16:creationId xmlns:a16="http://schemas.microsoft.com/office/drawing/2014/main" id="{E8B9C698-6FF6-4BBB-A46D-3CE7B84BCC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4769" y="5191134"/>
            <a:ext cx="457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 name="Freeform 42">
            <a:extLst>
              <a:ext uri="{FF2B5EF4-FFF2-40B4-BE49-F238E27FC236}">
                <a16:creationId xmlns:a16="http://schemas.microsoft.com/office/drawing/2014/main" id="{77E05EB0-F0EF-4138-A873-30DD08732090}"/>
              </a:ext>
            </a:extLst>
          </p:cNvPr>
          <p:cNvSpPr>
            <a:spLocks/>
          </p:cNvSpPr>
          <p:nvPr/>
        </p:nvSpPr>
        <p:spPr bwMode="auto">
          <a:xfrm>
            <a:off x="2197144" y="3194059"/>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43">
            <a:extLst>
              <a:ext uri="{FF2B5EF4-FFF2-40B4-BE49-F238E27FC236}">
                <a16:creationId xmlns:a16="http://schemas.microsoft.com/office/drawing/2014/main" id="{1D6803C8-99D6-4C22-84D9-493018A41570}"/>
              </a:ext>
            </a:extLst>
          </p:cNvPr>
          <p:cNvSpPr>
            <a:spLocks noChangeArrowheads="1"/>
          </p:cNvSpPr>
          <p:nvPr/>
        </p:nvSpPr>
        <p:spPr bwMode="auto">
          <a:xfrm>
            <a:off x="3887832" y="3271846"/>
            <a:ext cx="174625" cy="1809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9A3E178D-2130-453B-9553-ED59069037D0}"/>
              </a:ext>
            </a:extLst>
          </p:cNvPr>
          <p:cNvSpPr>
            <a:spLocks/>
          </p:cNvSpPr>
          <p:nvPr/>
        </p:nvSpPr>
        <p:spPr bwMode="auto">
          <a:xfrm>
            <a:off x="4140244" y="4090996"/>
            <a:ext cx="311150" cy="355600"/>
          </a:xfrm>
          <a:custGeom>
            <a:avLst/>
            <a:gdLst>
              <a:gd name="T0" fmla="*/ 23 w 55"/>
              <a:gd name="T1" fmla="*/ 4 h 63"/>
              <a:gd name="T2" fmla="*/ 12 w 55"/>
              <a:gd name="T3" fmla="*/ 47 h 63"/>
              <a:gd name="T4" fmla="*/ 55 w 55"/>
              <a:gd name="T5" fmla="*/ 29 h 63"/>
              <a:gd name="T6" fmla="*/ 23 w 55"/>
              <a:gd name="T7" fmla="*/ 4 h 63"/>
            </a:gdLst>
            <a:ahLst/>
            <a:cxnLst>
              <a:cxn ang="0">
                <a:pos x="T0" y="T1"/>
              </a:cxn>
              <a:cxn ang="0">
                <a:pos x="T2" y="T3"/>
              </a:cxn>
              <a:cxn ang="0">
                <a:pos x="T4" y="T5"/>
              </a:cxn>
              <a:cxn ang="0">
                <a:pos x="T6" y="T7"/>
              </a:cxn>
            </a:cxnLst>
            <a:rect l="0" t="0" r="r" b="b"/>
            <a:pathLst>
              <a:path w="55" h="63">
                <a:moveTo>
                  <a:pt x="23" y="4"/>
                </a:moveTo>
                <a:cubicBezTo>
                  <a:pt x="4" y="10"/>
                  <a:pt x="0" y="33"/>
                  <a:pt x="12" y="47"/>
                </a:cubicBezTo>
                <a:cubicBezTo>
                  <a:pt x="27" y="63"/>
                  <a:pt x="55" y="50"/>
                  <a:pt x="55" y="29"/>
                </a:cubicBezTo>
                <a:cubicBezTo>
                  <a:pt x="55" y="12"/>
                  <a:pt x="39" y="0"/>
                  <a:pt x="23" y="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9F83DFC8-7281-4EAB-A8B4-A862926D4BC8}"/>
              </a:ext>
            </a:extLst>
          </p:cNvPr>
          <p:cNvSpPr>
            <a:spLocks/>
          </p:cNvSpPr>
          <p:nvPr/>
        </p:nvSpPr>
        <p:spPr bwMode="auto">
          <a:xfrm>
            <a:off x="3594144" y="4537084"/>
            <a:ext cx="293688" cy="254000"/>
          </a:xfrm>
          <a:custGeom>
            <a:avLst/>
            <a:gdLst>
              <a:gd name="T0" fmla="*/ 39 w 52"/>
              <a:gd name="T1" fmla="*/ 8 h 45"/>
              <a:gd name="T2" fmla="*/ 13 w 52"/>
              <a:gd name="T3" fmla="*/ 5 h 45"/>
              <a:gd name="T4" fmla="*/ 3 w 52"/>
              <a:gd name="T5" fmla="*/ 29 h 45"/>
              <a:gd name="T6" fmla="*/ 5 w 52"/>
              <a:gd name="T7" fmla="*/ 32 h 45"/>
              <a:gd name="T8" fmla="*/ 20 w 52"/>
              <a:gd name="T9" fmla="*/ 44 h 45"/>
              <a:gd name="T10" fmla="*/ 24 w 52"/>
              <a:gd name="T11" fmla="*/ 44 h 45"/>
              <a:gd name="T12" fmla="*/ 39 w 52"/>
              <a:gd name="T13" fmla="*/ 8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39" y="8"/>
                </a:moveTo>
                <a:cubicBezTo>
                  <a:pt x="32" y="1"/>
                  <a:pt x="21" y="0"/>
                  <a:pt x="13" y="5"/>
                </a:cubicBezTo>
                <a:cubicBezTo>
                  <a:pt x="5" y="9"/>
                  <a:pt x="0" y="20"/>
                  <a:pt x="3" y="29"/>
                </a:cubicBezTo>
                <a:cubicBezTo>
                  <a:pt x="4" y="30"/>
                  <a:pt x="4" y="31"/>
                  <a:pt x="5" y="32"/>
                </a:cubicBezTo>
                <a:cubicBezTo>
                  <a:pt x="7" y="39"/>
                  <a:pt x="13" y="45"/>
                  <a:pt x="20" y="44"/>
                </a:cubicBezTo>
                <a:cubicBezTo>
                  <a:pt x="22" y="44"/>
                  <a:pt x="23" y="44"/>
                  <a:pt x="24" y="44"/>
                </a:cubicBezTo>
                <a:cubicBezTo>
                  <a:pt x="42" y="44"/>
                  <a:pt x="52" y="21"/>
                  <a:pt x="39"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46">
            <a:extLst>
              <a:ext uri="{FF2B5EF4-FFF2-40B4-BE49-F238E27FC236}">
                <a16:creationId xmlns:a16="http://schemas.microsoft.com/office/drawing/2014/main" id="{F130C76A-AED5-4242-A5C8-E47C73884E78}"/>
              </a:ext>
            </a:extLst>
          </p:cNvPr>
          <p:cNvSpPr>
            <a:spLocks noChangeArrowheads="1"/>
          </p:cNvSpPr>
          <p:nvPr/>
        </p:nvSpPr>
        <p:spPr bwMode="auto">
          <a:xfrm>
            <a:off x="4248194" y="5129221"/>
            <a:ext cx="230188" cy="2317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AE783DF8-9A92-4299-8115-E0412D7F2F95}"/>
              </a:ext>
            </a:extLst>
          </p:cNvPr>
          <p:cNvSpPr>
            <a:spLocks/>
          </p:cNvSpPr>
          <p:nvPr/>
        </p:nvSpPr>
        <p:spPr bwMode="auto">
          <a:xfrm>
            <a:off x="3790994" y="3876684"/>
            <a:ext cx="236538" cy="207963"/>
          </a:xfrm>
          <a:custGeom>
            <a:avLst/>
            <a:gdLst>
              <a:gd name="T0" fmla="*/ 21 w 42"/>
              <a:gd name="T1" fmla="*/ 0 h 37"/>
              <a:gd name="T2" fmla="*/ 3 w 42"/>
              <a:gd name="T3" fmla="*/ 23 h 37"/>
              <a:gd name="T4" fmla="*/ 3 w 42"/>
              <a:gd name="T5" fmla="*/ 24 h 37"/>
              <a:gd name="T6" fmla="*/ 21 w 42"/>
              <a:gd name="T7" fmla="*/ 37 h 37"/>
              <a:gd name="T8" fmla="*/ 38 w 42"/>
              <a:gd name="T9" fmla="*/ 24 h 37"/>
              <a:gd name="T10" fmla="*/ 38 w 42"/>
              <a:gd name="T11" fmla="*/ 23 h 37"/>
              <a:gd name="T12" fmla="*/ 21 w 42"/>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2" h="37">
                <a:moveTo>
                  <a:pt x="21" y="0"/>
                </a:moveTo>
                <a:cubicBezTo>
                  <a:pt x="9" y="0"/>
                  <a:pt x="0" y="12"/>
                  <a:pt x="3" y="23"/>
                </a:cubicBezTo>
                <a:cubicBezTo>
                  <a:pt x="3" y="24"/>
                  <a:pt x="3" y="24"/>
                  <a:pt x="3" y="24"/>
                </a:cubicBezTo>
                <a:cubicBezTo>
                  <a:pt x="6" y="32"/>
                  <a:pt x="13" y="37"/>
                  <a:pt x="21" y="37"/>
                </a:cubicBezTo>
                <a:cubicBezTo>
                  <a:pt x="29" y="37"/>
                  <a:pt x="36" y="32"/>
                  <a:pt x="38" y="24"/>
                </a:cubicBezTo>
                <a:cubicBezTo>
                  <a:pt x="38" y="24"/>
                  <a:pt x="38" y="24"/>
                  <a:pt x="38" y="23"/>
                </a:cubicBezTo>
                <a:cubicBezTo>
                  <a:pt x="42" y="12"/>
                  <a:pt x="32" y="0"/>
                  <a:pt x="21"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9F7B9A85-30FF-4FCE-AB0B-7E182D779B47}"/>
              </a:ext>
            </a:extLst>
          </p:cNvPr>
          <p:cNvSpPr>
            <a:spLocks/>
          </p:cNvSpPr>
          <p:nvPr/>
        </p:nvSpPr>
        <p:spPr bwMode="auto">
          <a:xfrm>
            <a:off x="4349794" y="3611571"/>
            <a:ext cx="190500" cy="192088"/>
          </a:xfrm>
          <a:custGeom>
            <a:avLst/>
            <a:gdLst>
              <a:gd name="T0" fmla="*/ 32 w 34"/>
              <a:gd name="T1" fmla="*/ 13 h 34"/>
              <a:gd name="T2" fmla="*/ 32 w 34"/>
              <a:gd name="T3" fmla="*/ 12 h 34"/>
              <a:gd name="T4" fmla="*/ 11 w 34"/>
              <a:gd name="T5" fmla="*/ 3 h 34"/>
              <a:gd name="T6" fmla="*/ 9 w 34"/>
              <a:gd name="T7" fmla="*/ 4 h 34"/>
              <a:gd name="T8" fmla="*/ 2 w 34"/>
              <a:gd name="T9" fmla="*/ 22 h 34"/>
              <a:gd name="T10" fmla="*/ 4 w 34"/>
              <a:gd name="T11" fmla="*/ 27 h 34"/>
              <a:gd name="T12" fmla="*/ 19 w 34"/>
              <a:gd name="T13" fmla="*/ 33 h 34"/>
              <a:gd name="T14" fmla="*/ 21 w 34"/>
              <a:gd name="T15" fmla="*/ 33 h 34"/>
              <a:gd name="T16" fmla="*/ 32 w 34"/>
              <a:gd name="T1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32" y="13"/>
                </a:moveTo>
                <a:cubicBezTo>
                  <a:pt x="32" y="13"/>
                  <a:pt x="32" y="13"/>
                  <a:pt x="32" y="12"/>
                </a:cubicBezTo>
                <a:cubicBezTo>
                  <a:pt x="30" y="2"/>
                  <a:pt x="19" y="0"/>
                  <a:pt x="11" y="3"/>
                </a:cubicBezTo>
                <a:cubicBezTo>
                  <a:pt x="9" y="4"/>
                  <a:pt x="9" y="4"/>
                  <a:pt x="9" y="4"/>
                </a:cubicBezTo>
                <a:cubicBezTo>
                  <a:pt x="3" y="7"/>
                  <a:pt x="0" y="15"/>
                  <a:pt x="2" y="22"/>
                </a:cubicBezTo>
                <a:cubicBezTo>
                  <a:pt x="3" y="24"/>
                  <a:pt x="3" y="25"/>
                  <a:pt x="4" y="27"/>
                </a:cubicBezTo>
                <a:cubicBezTo>
                  <a:pt x="7" y="33"/>
                  <a:pt x="14" y="34"/>
                  <a:pt x="19" y="33"/>
                </a:cubicBezTo>
                <a:cubicBezTo>
                  <a:pt x="20" y="33"/>
                  <a:pt x="21" y="33"/>
                  <a:pt x="21" y="33"/>
                </a:cubicBezTo>
                <a:cubicBezTo>
                  <a:pt x="30" y="30"/>
                  <a:pt x="34" y="22"/>
                  <a:pt x="32" y="13"/>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49">
            <a:extLst>
              <a:ext uri="{FF2B5EF4-FFF2-40B4-BE49-F238E27FC236}">
                <a16:creationId xmlns:a16="http://schemas.microsoft.com/office/drawing/2014/main" id="{D228FAF3-16FC-44B0-A7D3-6508C4275095}"/>
              </a:ext>
            </a:extLst>
          </p:cNvPr>
          <p:cNvSpPr>
            <a:spLocks noChangeArrowheads="1"/>
          </p:cNvSpPr>
          <p:nvPr/>
        </p:nvSpPr>
        <p:spPr bwMode="auto">
          <a:xfrm>
            <a:off x="4502194" y="4808546"/>
            <a:ext cx="223838" cy="225425"/>
          </a:xfrm>
          <a:prstGeom prst="ellipse">
            <a:avLst/>
          </a:pr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50">
            <a:extLst>
              <a:ext uri="{FF2B5EF4-FFF2-40B4-BE49-F238E27FC236}">
                <a16:creationId xmlns:a16="http://schemas.microsoft.com/office/drawing/2014/main" id="{F13B4A82-773E-4C38-B4BC-9FC2D1B9181A}"/>
              </a:ext>
            </a:extLst>
          </p:cNvPr>
          <p:cNvSpPr>
            <a:spLocks/>
          </p:cNvSpPr>
          <p:nvPr/>
        </p:nvSpPr>
        <p:spPr bwMode="auto">
          <a:xfrm>
            <a:off x="3786232" y="5440371"/>
            <a:ext cx="292100" cy="225425"/>
          </a:xfrm>
          <a:custGeom>
            <a:avLst/>
            <a:gdLst>
              <a:gd name="T0" fmla="*/ 26 w 52"/>
              <a:gd name="T1" fmla="*/ 0 h 40"/>
              <a:gd name="T2" fmla="*/ 26 w 52"/>
              <a:gd name="T3" fmla="*/ 40 h 40"/>
              <a:gd name="T4" fmla="*/ 26 w 52"/>
              <a:gd name="T5" fmla="*/ 0 h 40"/>
            </a:gdLst>
            <a:ahLst/>
            <a:cxnLst>
              <a:cxn ang="0">
                <a:pos x="T0" y="T1"/>
              </a:cxn>
              <a:cxn ang="0">
                <a:pos x="T2" y="T3"/>
              </a:cxn>
              <a:cxn ang="0">
                <a:pos x="T4" y="T5"/>
              </a:cxn>
            </a:cxnLst>
            <a:rect l="0" t="0" r="r" b="b"/>
            <a:pathLst>
              <a:path w="52" h="40">
                <a:moveTo>
                  <a:pt x="26" y="0"/>
                </a:moveTo>
                <a:cubicBezTo>
                  <a:pt x="0" y="0"/>
                  <a:pt x="0" y="40"/>
                  <a:pt x="26" y="40"/>
                </a:cubicBezTo>
                <a:cubicBezTo>
                  <a:pt x="52" y="40"/>
                  <a:pt x="52" y="0"/>
                  <a:pt x="26"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926">
            <a:extLst>
              <a:ext uri="{FF2B5EF4-FFF2-40B4-BE49-F238E27FC236}">
                <a16:creationId xmlns:a16="http://schemas.microsoft.com/office/drawing/2014/main" id="{9C87BCE3-8BEC-4B81-BC00-EC91A35D9A67}"/>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926">
            <a:extLst>
              <a:ext uri="{FF2B5EF4-FFF2-40B4-BE49-F238E27FC236}">
                <a16:creationId xmlns:a16="http://schemas.microsoft.com/office/drawing/2014/main" id="{4F65D99B-B459-45F4-A065-22FB2C6EF1B6}"/>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TextBox 219">
            <a:extLst>
              <a:ext uri="{FF2B5EF4-FFF2-40B4-BE49-F238E27FC236}">
                <a16:creationId xmlns:a16="http://schemas.microsoft.com/office/drawing/2014/main" id="{261272EB-798A-4D25-A0CA-B7FA8A95C70E}"/>
              </a:ext>
            </a:extLst>
          </p:cNvPr>
          <p:cNvSpPr txBox="1"/>
          <p:nvPr/>
        </p:nvSpPr>
        <p:spPr>
          <a:xfrm>
            <a:off x="2126176" y="469879"/>
            <a:ext cx="2535625" cy="307777"/>
          </a:xfrm>
          <a:prstGeom prst="rect">
            <a:avLst/>
          </a:prstGeom>
          <a:noFill/>
        </p:spPr>
        <p:txBody>
          <a:bodyPr wrap="square">
            <a:spAutoFit/>
          </a:bodyPr>
          <a:lstStyle/>
          <a:p>
            <a:pPr>
              <a:spcAft>
                <a:spcPts val="0"/>
              </a:spcAft>
            </a:pPr>
            <a:r>
              <a:rPr lang="fr-FR" altLang="zh-CN" sz="1400" dirty="0">
                <a:solidFill>
                  <a:schemeClr val="tx2"/>
                </a:solidFill>
              </a:rPr>
              <a:t>Organisme d’accueil</a:t>
            </a:r>
          </a:p>
        </p:txBody>
      </p:sp>
      <p:sp>
        <p:nvSpPr>
          <p:cNvPr id="74" name="TextBox 220">
            <a:extLst>
              <a:ext uri="{FF2B5EF4-FFF2-40B4-BE49-F238E27FC236}">
                <a16:creationId xmlns:a16="http://schemas.microsoft.com/office/drawing/2014/main" id="{61F02B5D-16D0-4FED-B556-C14E4E94A4EF}"/>
              </a:ext>
            </a:extLst>
          </p:cNvPr>
          <p:cNvSpPr txBox="1"/>
          <p:nvPr/>
        </p:nvSpPr>
        <p:spPr>
          <a:xfrm>
            <a:off x="5819704" y="469879"/>
            <a:ext cx="253562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77" name="TextBox 38">
            <a:extLst>
              <a:ext uri="{FF2B5EF4-FFF2-40B4-BE49-F238E27FC236}">
                <a16:creationId xmlns:a16="http://schemas.microsoft.com/office/drawing/2014/main" id="{3075BFA1-C20F-4717-939F-64AFE6DBDF15}"/>
              </a:ext>
            </a:extLst>
          </p:cNvPr>
          <p:cNvSpPr txBox="1"/>
          <p:nvPr/>
        </p:nvSpPr>
        <p:spPr>
          <a:xfrm>
            <a:off x="9513234" y="500490"/>
            <a:ext cx="2420555"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82" name="Freeform 926">
            <a:extLst>
              <a:ext uri="{FF2B5EF4-FFF2-40B4-BE49-F238E27FC236}">
                <a16:creationId xmlns:a16="http://schemas.microsoft.com/office/drawing/2014/main" id="{D9E596C3-D9D0-4C90-86FA-C6948AF557CF}"/>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 name="Rectangle 82">
            <a:extLst>
              <a:ext uri="{FF2B5EF4-FFF2-40B4-BE49-F238E27FC236}">
                <a16:creationId xmlns:a16="http://schemas.microsoft.com/office/drawing/2014/main" id="{D9A04349-B2EB-48F8-9B71-3A71D1C85E30}"/>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84" name="Rectangle 83">
            <a:extLst>
              <a:ext uri="{FF2B5EF4-FFF2-40B4-BE49-F238E27FC236}">
                <a16:creationId xmlns:a16="http://schemas.microsoft.com/office/drawing/2014/main" id="{46C52FD7-7E4F-4875-8BA7-83F1841126FD}"/>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5" name="Rectangle 84">
            <a:extLst>
              <a:ext uri="{FF2B5EF4-FFF2-40B4-BE49-F238E27FC236}">
                <a16:creationId xmlns:a16="http://schemas.microsoft.com/office/drawing/2014/main" id="{72559064-76C7-4122-A9B1-578B14785BAB}"/>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86" name="Rectangle 85">
            <a:extLst>
              <a:ext uri="{FF2B5EF4-FFF2-40B4-BE49-F238E27FC236}">
                <a16:creationId xmlns:a16="http://schemas.microsoft.com/office/drawing/2014/main" id="{0DFCCBA6-A9A0-4ACA-8C7B-5AAB6C41A30D}"/>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3911279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AC24E6CE-6CB0-483D-B9DE-49369F158678}"/>
              </a:ext>
            </a:extLst>
          </p:cNvPr>
          <p:cNvGrpSpPr/>
          <p:nvPr/>
        </p:nvGrpSpPr>
        <p:grpSpPr>
          <a:xfrm>
            <a:off x="3356994" y="5939019"/>
            <a:ext cx="8342669" cy="795338"/>
            <a:chOff x="3414757" y="6049971"/>
            <a:chExt cx="8342669" cy="795338"/>
          </a:xfrm>
        </p:grpSpPr>
        <p:sp>
          <p:nvSpPr>
            <p:cNvPr id="125" name="Rectangle 14">
              <a:extLst>
                <a:ext uri="{FF2B5EF4-FFF2-40B4-BE49-F238E27FC236}">
                  <a16:creationId xmlns:a16="http://schemas.microsoft.com/office/drawing/2014/main" id="{2DAC146E-9949-4F3C-AB58-D525CB78D374}"/>
                </a:ext>
              </a:extLst>
            </p:cNvPr>
            <p:cNvSpPr>
              <a:spLocks noChangeArrowheads="1"/>
            </p:cNvSpPr>
            <p:nvPr/>
          </p:nvSpPr>
          <p:spPr bwMode="auto">
            <a:xfrm>
              <a:off x="3414757" y="6049971"/>
              <a:ext cx="3715260"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5">
              <a:extLst>
                <a:ext uri="{FF2B5EF4-FFF2-40B4-BE49-F238E27FC236}">
                  <a16:creationId xmlns:a16="http://schemas.microsoft.com/office/drawing/2014/main" id="{77FC47C5-7F1B-4A3B-82CB-2BCBDE2864E8}"/>
                </a:ext>
              </a:extLst>
            </p:cNvPr>
            <p:cNvSpPr>
              <a:spLocks noChangeArrowheads="1"/>
            </p:cNvSpPr>
            <p:nvPr/>
          </p:nvSpPr>
          <p:spPr bwMode="auto">
            <a:xfrm>
              <a:off x="3554458" y="6049971"/>
              <a:ext cx="8202968"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文本框 106">
              <a:extLst>
                <a:ext uri="{FF2B5EF4-FFF2-40B4-BE49-F238E27FC236}">
                  <a16:creationId xmlns:a16="http://schemas.microsoft.com/office/drawing/2014/main" id="{43090170-9E86-4302-B872-1EFF239B40FB}"/>
                </a:ext>
              </a:extLst>
            </p:cNvPr>
            <p:cNvSpPr txBox="1"/>
            <p:nvPr/>
          </p:nvSpPr>
          <p:spPr>
            <a:xfrm>
              <a:off x="5511830" y="6102234"/>
              <a:ext cx="1464564" cy="646331"/>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Accès à des ressources avancées</a:t>
              </a:r>
              <a:endParaRPr lang="en-US" sz="1400" b="1" dirty="0">
                <a:solidFill>
                  <a:schemeClr val="bg1"/>
                </a:solidFill>
              </a:endParaRPr>
            </a:p>
          </p:txBody>
        </p:sp>
        <p:sp>
          <p:nvSpPr>
            <p:cNvPr id="165" name="文本框 106">
              <a:extLst>
                <a:ext uri="{FF2B5EF4-FFF2-40B4-BE49-F238E27FC236}">
                  <a16:creationId xmlns:a16="http://schemas.microsoft.com/office/drawing/2014/main" id="{F413437A-2C06-42B3-A5EE-895BD0130AE9}"/>
                </a:ext>
              </a:extLst>
            </p:cNvPr>
            <p:cNvSpPr txBox="1"/>
            <p:nvPr/>
          </p:nvSpPr>
          <p:spPr>
            <a:xfrm>
              <a:off x="7435733" y="6144668"/>
              <a:ext cx="4209381" cy="430887"/>
            </a:xfrm>
            <a:prstGeom prst="rect">
              <a:avLst/>
            </a:prstGeom>
            <a:noFill/>
          </p:spPr>
          <p:txBody>
            <a:bodyPr vert="horz" wrap="square" lIns="0" tIns="0" rIns="0" bIns="0" rtlCol="0">
              <a:spAutoFit/>
            </a:bodyPr>
            <a:lstStyle/>
            <a:p>
              <a:pPr>
                <a:spcBef>
                  <a:spcPts val="200"/>
                </a:spcBef>
                <a:buSzPct val="100000"/>
              </a:pPr>
              <a:r>
                <a:rPr lang="fr-FR" altLang="zh-CN" sz="1400" dirty="0"/>
                <a:t>Utilisation des meilleures pratiques, outils et technologies de pointe pour renforcer la sécurité de l'information.</a:t>
              </a:r>
              <a:endParaRPr lang="en-US" sz="1400" dirty="0"/>
            </a:p>
          </p:txBody>
        </p:sp>
      </p:grpSp>
      <p:grpSp>
        <p:nvGrpSpPr>
          <p:cNvPr id="6" name="Groupe 5">
            <a:extLst>
              <a:ext uri="{FF2B5EF4-FFF2-40B4-BE49-F238E27FC236}">
                <a16:creationId xmlns:a16="http://schemas.microsoft.com/office/drawing/2014/main" id="{878D30EE-6415-4F2B-997F-462A6E9F98E7}"/>
              </a:ext>
            </a:extLst>
          </p:cNvPr>
          <p:cNvGrpSpPr/>
          <p:nvPr/>
        </p:nvGrpSpPr>
        <p:grpSpPr>
          <a:xfrm>
            <a:off x="4111413" y="2633571"/>
            <a:ext cx="7682540" cy="806451"/>
            <a:chOff x="3938632" y="2290771"/>
            <a:chExt cx="7682540" cy="806451"/>
          </a:xfrm>
        </p:grpSpPr>
        <p:sp>
          <p:nvSpPr>
            <p:cNvPr id="117" name="Rectangle 6">
              <a:extLst>
                <a:ext uri="{FF2B5EF4-FFF2-40B4-BE49-F238E27FC236}">
                  <a16:creationId xmlns:a16="http://schemas.microsoft.com/office/drawing/2014/main" id="{106CD99C-D06C-4500-8C85-1DF22392E543}"/>
                </a:ext>
              </a:extLst>
            </p:cNvPr>
            <p:cNvSpPr>
              <a:spLocks noChangeArrowheads="1"/>
            </p:cNvSpPr>
            <p:nvPr/>
          </p:nvSpPr>
          <p:spPr bwMode="auto">
            <a:xfrm>
              <a:off x="3938632" y="2290771"/>
              <a:ext cx="2912586"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7">
              <a:extLst>
                <a:ext uri="{FF2B5EF4-FFF2-40B4-BE49-F238E27FC236}">
                  <a16:creationId xmlns:a16="http://schemas.microsoft.com/office/drawing/2014/main" id="{D6230F0A-3089-4FE2-8CA2-9F4872ED312A}"/>
                </a:ext>
              </a:extLst>
            </p:cNvPr>
            <p:cNvSpPr>
              <a:spLocks noChangeArrowheads="1"/>
            </p:cNvSpPr>
            <p:nvPr/>
          </p:nvSpPr>
          <p:spPr bwMode="auto">
            <a:xfrm>
              <a:off x="4489494" y="2301884"/>
              <a:ext cx="7037388"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文本框 106">
              <a:extLst>
                <a:ext uri="{FF2B5EF4-FFF2-40B4-BE49-F238E27FC236}">
                  <a16:creationId xmlns:a16="http://schemas.microsoft.com/office/drawing/2014/main" id="{F304A6DC-172E-4ABC-80E5-27A0DFC66EA2}"/>
                </a:ext>
              </a:extLst>
            </p:cNvPr>
            <p:cNvSpPr txBox="1"/>
            <p:nvPr/>
          </p:nvSpPr>
          <p:spPr>
            <a:xfrm>
              <a:off x="5271197" y="2449556"/>
              <a:ext cx="1236946" cy="430887"/>
            </a:xfrm>
            <a:prstGeom prst="rect">
              <a:avLst/>
            </a:prstGeom>
            <a:noFill/>
          </p:spPr>
          <p:txBody>
            <a:bodyPr vert="horz" wrap="square" lIns="0" tIns="0" rIns="0" bIns="0" rtlCol="0">
              <a:spAutoFit/>
            </a:bodyPr>
            <a:lstStyle/>
            <a:p>
              <a:pPr algn="ctr">
                <a:spcBef>
                  <a:spcPts val="200"/>
                </a:spcBef>
                <a:buSzPct val="100000"/>
              </a:pPr>
              <a:r>
                <a:rPr lang="fr-FR" sz="1400" b="1" i="0" dirty="0">
                  <a:solidFill>
                    <a:schemeClr val="bg1"/>
                  </a:solidFill>
                  <a:effectLst/>
                </a:rPr>
                <a:t>Expertise spécialisée </a:t>
              </a:r>
              <a:endParaRPr lang="en-US" sz="1400" b="1" dirty="0">
                <a:solidFill>
                  <a:schemeClr val="bg1"/>
                </a:solidFill>
              </a:endParaRPr>
            </a:p>
          </p:txBody>
        </p:sp>
        <p:sp>
          <p:nvSpPr>
            <p:cNvPr id="163" name="文本框 106">
              <a:extLst>
                <a:ext uri="{FF2B5EF4-FFF2-40B4-BE49-F238E27FC236}">
                  <a16:creationId xmlns:a16="http://schemas.microsoft.com/office/drawing/2014/main" id="{85611E3E-9EA2-439F-A0D8-419697612AD8}"/>
                </a:ext>
              </a:extLst>
            </p:cNvPr>
            <p:cNvSpPr txBox="1"/>
            <p:nvPr/>
          </p:nvSpPr>
          <p:spPr>
            <a:xfrm>
              <a:off x="7007066" y="2474009"/>
              <a:ext cx="4614106" cy="430887"/>
            </a:xfrm>
            <a:prstGeom prst="rect">
              <a:avLst/>
            </a:prstGeom>
            <a:noFill/>
          </p:spPr>
          <p:txBody>
            <a:bodyPr vert="horz" wrap="square" lIns="0" tIns="0" rIns="0" bIns="0" rtlCol="0">
              <a:spAutoFit/>
            </a:bodyPr>
            <a:lstStyle/>
            <a:p>
              <a:pPr>
                <a:spcBef>
                  <a:spcPts val="200"/>
                </a:spcBef>
                <a:buSzPct val="100000"/>
              </a:pPr>
              <a:r>
                <a:rPr lang="fr-FR" altLang="zh-CN" sz="1400" dirty="0"/>
                <a:t>Accès à une expertise hautement qualifiée en matière de cybersécurité pour faire face aux menaces sophistiquées.</a:t>
              </a:r>
              <a:endParaRPr lang="en-US" sz="1400" dirty="0"/>
            </a:p>
          </p:txBody>
        </p:sp>
      </p:grpSp>
      <p:sp>
        <p:nvSpPr>
          <p:cNvPr id="119" name="Rectangle 8">
            <a:extLst>
              <a:ext uri="{FF2B5EF4-FFF2-40B4-BE49-F238E27FC236}">
                <a16:creationId xmlns:a16="http://schemas.microsoft.com/office/drawing/2014/main" id="{8BB3E113-DBDC-4943-BC20-08A1D8647163}"/>
              </a:ext>
            </a:extLst>
          </p:cNvPr>
          <p:cNvSpPr>
            <a:spLocks noChangeArrowheads="1"/>
          </p:cNvSpPr>
          <p:nvPr/>
        </p:nvSpPr>
        <p:spPr bwMode="auto">
          <a:xfrm>
            <a:off x="5260763" y="3741746"/>
            <a:ext cx="1811491"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9">
            <a:extLst>
              <a:ext uri="{FF2B5EF4-FFF2-40B4-BE49-F238E27FC236}">
                <a16:creationId xmlns:a16="http://schemas.microsoft.com/office/drawing/2014/main" id="{DBA511E5-8029-4BAF-B020-F9BACBA7C36A}"/>
              </a:ext>
            </a:extLst>
          </p:cNvPr>
          <p:cNvSpPr>
            <a:spLocks noChangeArrowheads="1"/>
          </p:cNvSpPr>
          <p:nvPr/>
        </p:nvSpPr>
        <p:spPr bwMode="auto">
          <a:xfrm>
            <a:off x="5260763" y="3741746"/>
            <a:ext cx="6730940"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文本框 106">
            <a:extLst>
              <a:ext uri="{FF2B5EF4-FFF2-40B4-BE49-F238E27FC236}">
                <a16:creationId xmlns:a16="http://schemas.microsoft.com/office/drawing/2014/main" id="{D27B26C8-C13D-464F-B11A-DE828B22FFC3}"/>
              </a:ext>
            </a:extLst>
          </p:cNvPr>
          <p:cNvSpPr txBox="1"/>
          <p:nvPr/>
        </p:nvSpPr>
        <p:spPr>
          <a:xfrm>
            <a:off x="5722726" y="3938799"/>
            <a:ext cx="1236946" cy="215444"/>
          </a:xfrm>
          <a:prstGeom prst="rect">
            <a:avLst/>
          </a:prstGeom>
          <a:noFill/>
        </p:spPr>
        <p:txBody>
          <a:bodyPr vert="horz" wrap="square" lIns="0" tIns="0" rIns="0" bIns="0" rtlCol="0">
            <a:spAutoFit/>
          </a:bodyPr>
          <a:lstStyle/>
          <a:p>
            <a:pPr algn="ctr">
              <a:spcBef>
                <a:spcPts val="200"/>
              </a:spcBef>
              <a:buSzPct val="100000"/>
            </a:pPr>
            <a:r>
              <a:rPr lang="fr-FR" sz="1400" b="1" dirty="0">
                <a:solidFill>
                  <a:schemeClr val="bg1"/>
                </a:solidFill>
              </a:rPr>
              <a:t>Coûts réduits</a:t>
            </a:r>
          </a:p>
        </p:txBody>
      </p:sp>
      <p:sp>
        <p:nvSpPr>
          <p:cNvPr id="167" name="文本框 106">
            <a:extLst>
              <a:ext uri="{FF2B5EF4-FFF2-40B4-BE49-F238E27FC236}">
                <a16:creationId xmlns:a16="http://schemas.microsoft.com/office/drawing/2014/main" id="{3DDDC167-0805-4D3B-AE2C-251C02306ACE}"/>
              </a:ext>
            </a:extLst>
          </p:cNvPr>
          <p:cNvSpPr txBox="1"/>
          <p:nvPr/>
        </p:nvSpPr>
        <p:spPr>
          <a:xfrm>
            <a:off x="7263785" y="3923971"/>
            <a:ext cx="3727266" cy="430887"/>
          </a:xfrm>
          <a:prstGeom prst="rect">
            <a:avLst/>
          </a:prstGeom>
          <a:noFill/>
        </p:spPr>
        <p:txBody>
          <a:bodyPr vert="horz" wrap="square" lIns="0" tIns="0" rIns="0" bIns="0" rtlCol="0">
            <a:spAutoFit/>
          </a:bodyPr>
          <a:lstStyle/>
          <a:p>
            <a:pPr>
              <a:spcBef>
                <a:spcPts val="200"/>
              </a:spcBef>
              <a:buSzPct val="100000"/>
            </a:pPr>
            <a:r>
              <a:rPr lang="fr-FR" altLang="zh-CN" sz="1400" b="1" dirty="0"/>
              <a:t>Économies financières par rapport à l'embauche d'un CISO permanent.</a:t>
            </a:r>
            <a:endParaRPr lang="en-US" sz="1400" b="1" dirty="0"/>
          </a:p>
        </p:txBody>
      </p:sp>
      <p:sp>
        <p:nvSpPr>
          <p:cNvPr id="121" name="Rectangle 10">
            <a:extLst>
              <a:ext uri="{FF2B5EF4-FFF2-40B4-BE49-F238E27FC236}">
                <a16:creationId xmlns:a16="http://schemas.microsoft.com/office/drawing/2014/main" id="{EECC24BB-F3E3-4694-B71D-CFCCEB9DDADC}"/>
              </a:ext>
            </a:extLst>
          </p:cNvPr>
          <p:cNvSpPr>
            <a:spLocks noChangeArrowheads="1"/>
          </p:cNvSpPr>
          <p:nvPr/>
        </p:nvSpPr>
        <p:spPr bwMode="auto">
          <a:xfrm>
            <a:off x="5181388" y="4839237"/>
            <a:ext cx="1890866" cy="803917"/>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1">
            <a:extLst>
              <a:ext uri="{FF2B5EF4-FFF2-40B4-BE49-F238E27FC236}">
                <a16:creationId xmlns:a16="http://schemas.microsoft.com/office/drawing/2014/main" id="{4799DAD5-7EDB-4FB6-9D0D-6E4A79685091}"/>
              </a:ext>
            </a:extLst>
          </p:cNvPr>
          <p:cNvSpPr>
            <a:spLocks noChangeArrowheads="1"/>
          </p:cNvSpPr>
          <p:nvPr/>
        </p:nvSpPr>
        <p:spPr bwMode="auto">
          <a:xfrm>
            <a:off x="5536988" y="4839236"/>
            <a:ext cx="6162675"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文本框 106">
            <a:extLst>
              <a:ext uri="{FF2B5EF4-FFF2-40B4-BE49-F238E27FC236}">
                <a16:creationId xmlns:a16="http://schemas.microsoft.com/office/drawing/2014/main" id="{19781465-D084-42C0-8F11-EA8A6B40B50B}"/>
              </a:ext>
            </a:extLst>
          </p:cNvPr>
          <p:cNvSpPr txBox="1"/>
          <p:nvPr/>
        </p:nvSpPr>
        <p:spPr>
          <a:xfrm>
            <a:off x="5992601" y="5016113"/>
            <a:ext cx="935037" cy="430887"/>
          </a:xfrm>
          <a:prstGeom prst="rect">
            <a:avLst/>
          </a:prstGeom>
          <a:noFill/>
        </p:spPr>
        <p:txBody>
          <a:bodyPr vert="horz" wrap="square" lIns="0" tIns="0" rIns="0" bIns="0" rtlCol="0">
            <a:spAutoFit/>
          </a:bodyPr>
          <a:lstStyle/>
          <a:p>
            <a:pPr>
              <a:spcBef>
                <a:spcPts val="200"/>
              </a:spcBef>
              <a:buSzPct val="100000"/>
            </a:pPr>
            <a:r>
              <a:rPr lang="fr-FR" sz="1400" b="1" dirty="0">
                <a:solidFill>
                  <a:schemeClr val="bg1"/>
                </a:solidFill>
              </a:rPr>
              <a:t>Flexibilité et scalabilité</a:t>
            </a:r>
          </a:p>
        </p:txBody>
      </p:sp>
      <p:sp>
        <p:nvSpPr>
          <p:cNvPr id="171" name="文本框 106">
            <a:extLst>
              <a:ext uri="{FF2B5EF4-FFF2-40B4-BE49-F238E27FC236}">
                <a16:creationId xmlns:a16="http://schemas.microsoft.com/office/drawing/2014/main" id="{D628E6C3-A266-430E-8C58-90D97AB26078}"/>
              </a:ext>
            </a:extLst>
          </p:cNvPr>
          <p:cNvSpPr txBox="1"/>
          <p:nvPr/>
        </p:nvSpPr>
        <p:spPr>
          <a:xfrm>
            <a:off x="7364691" y="4932898"/>
            <a:ext cx="4222660" cy="646331"/>
          </a:xfrm>
          <a:prstGeom prst="rect">
            <a:avLst/>
          </a:prstGeom>
          <a:noFill/>
        </p:spPr>
        <p:txBody>
          <a:bodyPr vert="horz" wrap="square" lIns="0" tIns="0" rIns="0" bIns="0" rtlCol="0">
            <a:spAutoFit/>
          </a:bodyPr>
          <a:lstStyle/>
          <a:p>
            <a:pPr>
              <a:spcBef>
                <a:spcPts val="200"/>
              </a:spcBef>
              <a:buSzPct val="100000"/>
            </a:pPr>
            <a:r>
              <a:rPr lang="fr-FR" altLang="zh-CN" sz="1400" dirty="0"/>
              <a:t>Adaptabilité aux besoins changeants de l'entreprise, en permettant une augmentation ou une diminution de la portée des services.</a:t>
            </a:r>
            <a:endParaRPr lang="en-US" sz="1400" dirty="0"/>
          </a:p>
        </p:txBody>
      </p:sp>
      <p:sp>
        <p:nvSpPr>
          <p:cNvPr id="61" name="TextBox 60">
            <a:extLst>
              <a:ext uri="{FF2B5EF4-FFF2-40B4-BE49-F238E27FC236}">
                <a16:creationId xmlns:a16="http://schemas.microsoft.com/office/drawing/2014/main" id="{7106FA92-EF01-4191-90E3-6759EF0B7553}"/>
              </a:ext>
            </a:extLst>
          </p:cNvPr>
          <p:cNvSpPr txBox="1"/>
          <p:nvPr/>
        </p:nvSpPr>
        <p:spPr>
          <a:xfrm>
            <a:off x="565980" y="1428403"/>
            <a:ext cx="12247049" cy="342210"/>
          </a:xfrm>
          <a:prstGeom prst="rect">
            <a:avLst/>
          </a:prstGeom>
          <a:noFill/>
          <a:ln>
            <a:noFill/>
            <a:prstDash val="dash"/>
          </a:ln>
        </p:spPr>
        <p:txBody>
          <a:bodyPr wrap="square">
            <a:spAutoFit/>
          </a:bodyPr>
          <a:lstStyle/>
          <a:p>
            <a:pPr marL="0" lvl="1" algn="just" fontAlgn="base">
              <a:lnSpc>
                <a:spcPct val="106000"/>
              </a:lnSpc>
              <a:spcAft>
                <a:spcPts val="364"/>
              </a:spcAft>
              <a:buClr>
                <a:srgbClr val="000000"/>
              </a:buClr>
            </a:pPr>
            <a:r>
              <a:rPr lang="fr-FR" sz="1600"/>
              <a:t>L'intérêt du CISO en tant que service réside dans plusieurs aspects clés :</a:t>
            </a:r>
            <a:endParaRPr lang="fr-FR" sz="1200">
              <a:cs typeface="Times New Roman" panose="02020603050405020304" pitchFamily="18" charset="0"/>
            </a:endParaRPr>
          </a:p>
        </p:txBody>
      </p:sp>
      <p:sp>
        <p:nvSpPr>
          <p:cNvPr id="127" name="Oval 16">
            <a:extLst>
              <a:ext uri="{FF2B5EF4-FFF2-40B4-BE49-F238E27FC236}">
                <a16:creationId xmlns:a16="http://schemas.microsoft.com/office/drawing/2014/main" id="{36D2A68F-A686-4C36-B5F1-3B7F8C1B8339}"/>
              </a:ext>
            </a:extLst>
          </p:cNvPr>
          <p:cNvSpPr>
            <a:spLocks noChangeArrowheads="1"/>
          </p:cNvSpPr>
          <p:nvPr/>
        </p:nvSpPr>
        <p:spPr bwMode="auto">
          <a:xfrm>
            <a:off x="1132725" y="2211067"/>
            <a:ext cx="4564063" cy="4735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ZoneTexte 64">
            <a:extLst>
              <a:ext uri="{FF2B5EF4-FFF2-40B4-BE49-F238E27FC236}">
                <a16:creationId xmlns:a16="http://schemas.microsoft.com/office/drawing/2014/main" id="{734D484A-4F6E-4414-ADCA-F3C326F314EE}"/>
              </a:ext>
            </a:extLst>
          </p:cNvPr>
          <p:cNvSpPr txBox="1"/>
          <p:nvPr/>
        </p:nvSpPr>
        <p:spPr>
          <a:xfrm>
            <a:off x="13011325" y="6989253"/>
            <a:ext cx="117020" cy="276999"/>
          </a:xfrm>
          <a:prstGeom prst="rect">
            <a:avLst/>
          </a:prstGeom>
          <a:noFill/>
        </p:spPr>
        <p:txBody>
          <a:bodyPr wrap="none" lIns="0" tIns="0" rIns="0" bIns="0" rtlCol="0">
            <a:spAutoFit/>
          </a:bodyPr>
          <a:lstStyle/>
          <a:p>
            <a:pPr>
              <a:spcBef>
                <a:spcPts val="600"/>
              </a:spcBef>
              <a:buSzPct val="100000"/>
            </a:pPr>
            <a:r>
              <a:rPr lang="fr-FR" dirty="0">
                <a:solidFill>
                  <a:srgbClr val="313131"/>
                </a:solidFill>
              </a:rPr>
              <a:t>5</a:t>
            </a:r>
          </a:p>
        </p:txBody>
      </p:sp>
      <p:sp>
        <p:nvSpPr>
          <p:cNvPr id="128" name="Freeform 17">
            <a:extLst>
              <a:ext uri="{FF2B5EF4-FFF2-40B4-BE49-F238E27FC236}">
                <a16:creationId xmlns:a16="http://schemas.microsoft.com/office/drawing/2014/main" id="{E24EA950-C290-4C89-9F1C-40F15363E3BF}"/>
              </a:ext>
            </a:extLst>
          </p:cNvPr>
          <p:cNvSpPr>
            <a:spLocks/>
          </p:cNvSpPr>
          <p:nvPr/>
        </p:nvSpPr>
        <p:spPr bwMode="auto">
          <a:xfrm>
            <a:off x="4185486" y="6033716"/>
            <a:ext cx="207963" cy="207963"/>
          </a:xfrm>
          <a:custGeom>
            <a:avLst/>
            <a:gdLst>
              <a:gd name="T0" fmla="*/ 34 w 37"/>
              <a:gd name="T1" fmla="*/ 14 h 37"/>
              <a:gd name="T2" fmla="*/ 24 w 37"/>
              <a:gd name="T3" fmla="*/ 34 h 37"/>
              <a:gd name="T4" fmla="*/ 3 w 37"/>
              <a:gd name="T5" fmla="*/ 24 h 37"/>
              <a:gd name="T6" fmla="*/ 14 w 37"/>
              <a:gd name="T7" fmla="*/ 3 h 37"/>
              <a:gd name="T8" fmla="*/ 34 w 37"/>
              <a:gd name="T9" fmla="*/ 14 h 37"/>
            </a:gdLst>
            <a:ahLst/>
            <a:cxnLst>
              <a:cxn ang="0">
                <a:pos x="T0" y="T1"/>
              </a:cxn>
              <a:cxn ang="0">
                <a:pos x="T2" y="T3"/>
              </a:cxn>
              <a:cxn ang="0">
                <a:pos x="T4" y="T5"/>
              </a:cxn>
              <a:cxn ang="0">
                <a:pos x="T6" y="T7"/>
              </a:cxn>
              <a:cxn ang="0">
                <a:pos x="T8" y="T9"/>
              </a:cxn>
            </a:cxnLst>
            <a:rect l="0" t="0" r="r" b="b"/>
            <a:pathLst>
              <a:path w="37" h="37">
                <a:moveTo>
                  <a:pt x="34" y="14"/>
                </a:moveTo>
                <a:cubicBezTo>
                  <a:pt x="37" y="22"/>
                  <a:pt x="32" y="32"/>
                  <a:pt x="24" y="34"/>
                </a:cubicBezTo>
                <a:cubicBezTo>
                  <a:pt x="15" y="37"/>
                  <a:pt x="6" y="32"/>
                  <a:pt x="3" y="24"/>
                </a:cubicBezTo>
                <a:cubicBezTo>
                  <a:pt x="0" y="15"/>
                  <a:pt x="5" y="6"/>
                  <a:pt x="14" y="3"/>
                </a:cubicBezTo>
                <a:cubicBezTo>
                  <a:pt x="22" y="0"/>
                  <a:pt x="31" y="5"/>
                  <a:pt x="34" y="1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9009F0D8-05B2-4A33-9FA3-73A1B1C17DD4}"/>
              </a:ext>
            </a:extLst>
          </p:cNvPr>
          <p:cNvSpPr>
            <a:spLocks/>
          </p:cNvSpPr>
          <p:nvPr/>
        </p:nvSpPr>
        <p:spPr bwMode="auto">
          <a:xfrm rot="20992730">
            <a:off x="4374762" y="5399223"/>
            <a:ext cx="845930" cy="664291"/>
          </a:xfrm>
          <a:custGeom>
            <a:avLst/>
            <a:gdLst>
              <a:gd name="T0" fmla="*/ 4 w 127"/>
              <a:gd name="T1" fmla="*/ 95 h 95"/>
              <a:gd name="T2" fmla="*/ 0 w 127"/>
              <a:gd name="T3" fmla="*/ 87 h 95"/>
              <a:gd name="T4" fmla="*/ 121 w 127"/>
              <a:gd name="T5" fmla="*/ 0 h 95"/>
              <a:gd name="T6" fmla="*/ 127 w 127"/>
              <a:gd name="T7" fmla="*/ 6 h 95"/>
              <a:gd name="T8" fmla="*/ 4 w 127"/>
              <a:gd name="T9" fmla="*/ 95 h 95"/>
            </a:gdLst>
            <a:ahLst/>
            <a:cxnLst>
              <a:cxn ang="0">
                <a:pos x="T0" y="T1"/>
              </a:cxn>
              <a:cxn ang="0">
                <a:pos x="T2" y="T3"/>
              </a:cxn>
              <a:cxn ang="0">
                <a:pos x="T4" y="T5"/>
              </a:cxn>
              <a:cxn ang="0">
                <a:pos x="T6" y="T7"/>
              </a:cxn>
              <a:cxn ang="0">
                <a:pos x="T8" y="T9"/>
              </a:cxn>
            </a:cxnLst>
            <a:rect l="0" t="0" r="r" b="b"/>
            <a:pathLst>
              <a:path w="127" h="95">
                <a:moveTo>
                  <a:pt x="4" y="95"/>
                </a:moveTo>
                <a:cubicBezTo>
                  <a:pt x="0" y="87"/>
                  <a:pt x="0" y="87"/>
                  <a:pt x="0" y="87"/>
                </a:cubicBezTo>
                <a:cubicBezTo>
                  <a:pt x="46" y="67"/>
                  <a:pt x="88" y="37"/>
                  <a:pt x="121" y="0"/>
                </a:cubicBezTo>
                <a:cubicBezTo>
                  <a:pt x="127" y="6"/>
                  <a:pt x="127" y="6"/>
                  <a:pt x="127" y="6"/>
                </a:cubicBezTo>
                <a:cubicBezTo>
                  <a:pt x="94" y="44"/>
                  <a:pt x="51" y="75"/>
                  <a:pt x="4" y="95"/>
                </a:cubicBezTo>
                <a:close/>
              </a:path>
            </a:pathLst>
          </a:custGeom>
          <a:solidFill>
            <a:srgbClr val="7FBE2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3">
            <a:extLst>
              <a:ext uri="{FF2B5EF4-FFF2-40B4-BE49-F238E27FC236}">
                <a16:creationId xmlns:a16="http://schemas.microsoft.com/office/drawing/2014/main" id="{96D4CE5B-DE4E-4185-8E77-7765B2AD0DDE}"/>
              </a:ext>
            </a:extLst>
          </p:cNvPr>
          <p:cNvSpPr>
            <a:spLocks/>
          </p:cNvSpPr>
          <p:nvPr/>
        </p:nvSpPr>
        <p:spPr bwMode="auto">
          <a:xfrm rot="20331017">
            <a:off x="5144973" y="4226899"/>
            <a:ext cx="326538" cy="785740"/>
          </a:xfrm>
          <a:custGeom>
            <a:avLst/>
            <a:gdLst>
              <a:gd name="T0" fmla="*/ 8 w 55"/>
              <a:gd name="T1" fmla="*/ 146 h 146"/>
              <a:gd name="T2" fmla="*/ 0 w 55"/>
              <a:gd name="T3" fmla="*/ 141 h 146"/>
              <a:gd name="T4" fmla="*/ 46 w 55"/>
              <a:gd name="T5" fmla="*/ 0 h 146"/>
              <a:gd name="T6" fmla="*/ 55 w 55"/>
              <a:gd name="T7" fmla="*/ 1 h 146"/>
              <a:gd name="T8" fmla="*/ 8 w 55"/>
              <a:gd name="T9" fmla="*/ 146 h 146"/>
            </a:gdLst>
            <a:ahLst/>
            <a:cxnLst>
              <a:cxn ang="0">
                <a:pos x="T0" y="T1"/>
              </a:cxn>
              <a:cxn ang="0">
                <a:pos x="T2" y="T3"/>
              </a:cxn>
              <a:cxn ang="0">
                <a:pos x="T4" y="T5"/>
              </a:cxn>
              <a:cxn ang="0">
                <a:pos x="T6" y="T7"/>
              </a:cxn>
              <a:cxn ang="0">
                <a:pos x="T8" y="T9"/>
              </a:cxn>
            </a:cxnLst>
            <a:rect l="0" t="0" r="r" b="b"/>
            <a:pathLst>
              <a:path w="55" h="146">
                <a:moveTo>
                  <a:pt x="8" y="146"/>
                </a:moveTo>
                <a:cubicBezTo>
                  <a:pt x="0" y="141"/>
                  <a:pt x="0" y="141"/>
                  <a:pt x="0" y="141"/>
                </a:cubicBezTo>
                <a:cubicBezTo>
                  <a:pt x="25" y="98"/>
                  <a:pt x="41" y="49"/>
                  <a:pt x="46" y="0"/>
                </a:cubicBezTo>
                <a:cubicBezTo>
                  <a:pt x="55" y="1"/>
                  <a:pt x="55" y="1"/>
                  <a:pt x="55" y="1"/>
                </a:cubicBezTo>
                <a:cubicBezTo>
                  <a:pt x="50" y="52"/>
                  <a:pt x="34" y="102"/>
                  <a:pt x="8" y="146"/>
                </a:cubicBezTo>
                <a:close/>
              </a:path>
            </a:pathLst>
          </a:custGeom>
          <a:solidFill>
            <a:srgbClr val="9AD3CE"/>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CD998AF5-EB20-47BD-9416-32F2C36292B6}"/>
              </a:ext>
            </a:extLst>
          </p:cNvPr>
          <p:cNvSpPr>
            <a:spLocks/>
          </p:cNvSpPr>
          <p:nvPr/>
        </p:nvSpPr>
        <p:spPr bwMode="auto">
          <a:xfrm>
            <a:off x="4451189" y="3069942"/>
            <a:ext cx="685160" cy="835026"/>
          </a:xfrm>
          <a:custGeom>
            <a:avLst/>
            <a:gdLst>
              <a:gd name="T0" fmla="*/ 121 w 127"/>
              <a:gd name="T1" fmla="*/ 96 h 96"/>
              <a:gd name="T2" fmla="*/ 0 w 127"/>
              <a:gd name="T3" fmla="*/ 9 h 96"/>
              <a:gd name="T4" fmla="*/ 4 w 127"/>
              <a:gd name="T5" fmla="*/ 0 h 96"/>
              <a:gd name="T6" fmla="*/ 127 w 127"/>
              <a:gd name="T7" fmla="*/ 90 h 96"/>
              <a:gd name="T8" fmla="*/ 121 w 127"/>
              <a:gd name="T9" fmla="*/ 96 h 96"/>
            </a:gdLst>
            <a:ahLst/>
            <a:cxnLst>
              <a:cxn ang="0">
                <a:pos x="T0" y="T1"/>
              </a:cxn>
              <a:cxn ang="0">
                <a:pos x="T2" y="T3"/>
              </a:cxn>
              <a:cxn ang="0">
                <a:pos x="T4" y="T5"/>
              </a:cxn>
              <a:cxn ang="0">
                <a:pos x="T6" y="T7"/>
              </a:cxn>
              <a:cxn ang="0">
                <a:pos x="T8" y="T9"/>
              </a:cxn>
            </a:cxnLst>
            <a:rect l="0" t="0" r="r" b="b"/>
            <a:pathLst>
              <a:path w="127" h="96">
                <a:moveTo>
                  <a:pt x="121" y="96"/>
                </a:moveTo>
                <a:cubicBezTo>
                  <a:pt x="88" y="58"/>
                  <a:pt x="46" y="28"/>
                  <a:pt x="0" y="9"/>
                </a:cubicBezTo>
                <a:cubicBezTo>
                  <a:pt x="4" y="0"/>
                  <a:pt x="4" y="0"/>
                  <a:pt x="4" y="0"/>
                </a:cubicBezTo>
                <a:cubicBezTo>
                  <a:pt x="51" y="20"/>
                  <a:pt x="94" y="52"/>
                  <a:pt x="127" y="90"/>
                </a:cubicBezTo>
                <a:lnTo>
                  <a:pt x="121" y="96"/>
                </a:lnTo>
                <a:close/>
              </a:path>
            </a:pathLst>
          </a:custGeom>
          <a:solidFill>
            <a:srgbClr val="696B7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26">
            <a:extLst>
              <a:ext uri="{FF2B5EF4-FFF2-40B4-BE49-F238E27FC236}">
                <a16:creationId xmlns:a16="http://schemas.microsoft.com/office/drawing/2014/main" id="{CCDF4F6F-D84D-4041-B1F9-1A4E99D3B08C}"/>
              </a:ext>
            </a:extLst>
          </p:cNvPr>
          <p:cNvSpPr>
            <a:spLocks/>
          </p:cNvSpPr>
          <p:nvPr/>
        </p:nvSpPr>
        <p:spPr bwMode="auto">
          <a:xfrm>
            <a:off x="2451144" y="5829309"/>
            <a:ext cx="912813" cy="333375"/>
          </a:xfrm>
          <a:custGeom>
            <a:avLst/>
            <a:gdLst>
              <a:gd name="T0" fmla="*/ 162 w 162"/>
              <a:gd name="T1" fmla="*/ 59 h 59"/>
              <a:gd name="T2" fmla="*/ 0 w 162"/>
              <a:gd name="T3" fmla="*/ 7 h 59"/>
              <a:gd name="T4" fmla="*/ 5 w 162"/>
              <a:gd name="T5" fmla="*/ 0 h 59"/>
              <a:gd name="T6" fmla="*/ 162 w 162"/>
              <a:gd name="T7" fmla="*/ 50 h 59"/>
              <a:gd name="T8" fmla="*/ 162 w 162"/>
              <a:gd name="T9" fmla="*/ 59 h 59"/>
            </a:gdLst>
            <a:ahLst/>
            <a:cxnLst>
              <a:cxn ang="0">
                <a:pos x="T0" y="T1"/>
              </a:cxn>
              <a:cxn ang="0">
                <a:pos x="T2" y="T3"/>
              </a:cxn>
              <a:cxn ang="0">
                <a:pos x="T4" y="T5"/>
              </a:cxn>
              <a:cxn ang="0">
                <a:pos x="T6" y="T7"/>
              </a:cxn>
              <a:cxn ang="0">
                <a:pos x="T8" y="T9"/>
              </a:cxn>
            </a:cxnLst>
            <a:rect l="0" t="0" r="r" b="b"/>
            <a:pathLst>
              <a:path w="162" h="59">
                <a:moveTo>
                  <a:pt x="162" y="59"/>
                </a:moveTo>
                <a:cubicBezTo>
                  <a:pt x="104" y="59"/>
                  <a:pt x="48" y="41"/>
                  <a:pt x="0" y="7"/>
                </a:cubicBezTo>
                <a:cubicBezTo>
                  <a:pt x="5" y="0"/>
                  <a:pt x="5" y="0"/>
                  <a:pt x="5" y="0"/>
                </a:cubicBezTo>
                <a:cubicBezTo>
                  <a:pt x="52" y="32"/>
                  <a:pt x="106" y="50"/>
                  <a:pt x="162" y="50"/>
                </a:cubicBezTo>
                <a:lnTo>
                  <a:pt x="162" y="59"/>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C4279C18-DBD1-47DD-B06A-CBD3B382187D}"/>
              </a:ext>
            </a:extLst>
          </p:cNvPr>
          <p:cNvSpPr>
            <a:spLocks/>
          </p:cNvSpPr>
          <p:nvPr/>
        </p:nvSpPr>
        <p:spPr bwMode="auto">
          <a:xfrm>
            <a:off x="1841544" y="5045084"/>
            <a:ext cx="598488" cy="795338"/>
          </a:xfrm>
          <a:custGeom>
            <a:avLst/>
            <a:gdLst>
              <a:gd name="T0" fmla="*/ 101 w 106"/>
              <a:gd name="T1" fmla="*/ 141 h 141"/>
              <a:gd name="T2" fmla="*/ 0 w 106"/>
              <a:gd name="T3" fmla="*/ 3 h 141"/>
              <a:gd name="T4" fmla="*/ 9 w 106"/>
              <a:gd name="T5" fmla="*/ 0 h 141"/>
              <a:gd name="T6" fmla="*/ 106 w 106"/>
              <a:gd name="T7" fmla="*/ 134 h 141"/>
              <a:gd name="T8" fmla="*/ 101 w 106"/>
              <a:gd name="T9" fmla="*/ 141 h 141"/>
            </a:gdLst>
            <a:ahLst/>
            <a:cxnLst>
              <a:cxn ang="0">
                <a:pos x="T0" y="T1"/>
              </a:cxn>
              <a:cxn ang="0">
                <a:pos x="T2" y="T3"/>
              </a:cxn>
              <a:cxn ang="0">
                <a:pos x="T4" y="T5"/>
              </a:cxn>
              <a:cxn ang="0">
                <a:pos x="T6" y="T7"/>
              </a:cxn>
              <a:cxn ang="0">
                <a:pos x="T8" y="T9"/>
              </a:cxn>
            </a:cxnLst>
            <a:rect l="0" t="0" r="r" b="b"/>
            <a:pathLst>
              <a:path w="106" h="141">
                <a:moveTo>
                  <a:pt x="101" y="141"/>
                </a:moveTo>
                <a:cubicBezTo>
                  <a:pt x="54" y="106"/>
                  <a:pt x="19" y="58"/>
                  <a:pt x="0" y="3"/>
                </a:cubicBezTo>
                <a:cubicBezTo>
                  <a:pt x="9" y="0"/>
                  <a:pt x="9" y="0"/>
                  <a:pt x="9" y="0"/>
                </a:cubicBezTo>
                <a:cubicBezTo>
                  <a:pt x="27" y="54"/>
                  <a:pt x="61" y="100"/>
                  <a:pt x="106" y="134"/>
                </a:cubicBezTo>
                <a:lnTo>
                  <a:pt x="101" y="141"/>
                </a:ln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A8359647-0C46-4769-9E91-6B7A18890B2B}"/>
              </a:ext>
            </a:extLst>
          </p:cNvPr>
          <p:cNvSpPr>
            <a:spLocks/>
          </p:cNvSpPr>
          <p:nvPr/>
        </p:nvSpPr>
        <p:spPr bwMode="auto">
          <a:xfrm>
            <a:off x="1728832" y="4051309"/>
            <a:ext cx="147638" cy="965200"/>
          </a:xfrm>
          <a:custGeom>
            <a:avLst/>
            <a:gdLst>
              <a:gd name="T0" fmla="*/ 17 w 26"/>
              <a:gd name="T1" fmla="*/ 171 h 171"/>
              <a:gd name="T2" fmla="*/ 17 w 26"/>
              <a:gd name="T3" fmla="*/ 0 h 171"/>
              <a:gd name="T4" fmla="*/ 26 w 26"/>
              <a:gd name="T5" fmla="*/ 3 h 171"/>
              <a:gd name="T6" fmla="*/ 26 w 26"/>
              <a:gd name="T7" fmla="*/ 168 h 171"/>
              <a:gd name="T8" fmla="*/ 17 w 26"/>
              <a:gd name="T9" fmla="*/ 171 h 171"/>
            </a:gdLst>
            <a:ahLst/>
            <a:cxnLst>
              <a:cxn ang="0">
                <a:pos x="T0" y="T1"/>
              </a:cxn>
              <a:cxn ang="0">
                <a:pos x="T2" y="T3"/>
              </a:cxn>
              <a:cxn ang="0">
                <a:pos x="T4" y="T5"/>
              </a:cxn>
              <a:cxn ang="0">
                <a:pos x="T6" y="T7"/>
              </a:cxn>
              <a:cxn ang="0">
                <a:pos x="T8" y="T9"/>
              </a:cxn>
            </a:cxnLst>
            <a:rect l="0" t="0" r="r" b="b"/>
            <a:pathLst>
              <a:path w="26" h="171">
                <a:moveTo>
                  <a:pt x="17" y="171"/>
                </a:moveTo>
                <a:cubicBezTo>
                  <a:pt x="0" y="115"/>
                  <a:pt x="0" y="56"/>
                  <a:pt x="17" y="0"/>
                </a:cubicBezTo>
                <a:cubicBezTo>
                  <a:pt x="26" y="3"/>
                  <a:pt x="26" y="3"/>
                  <a:pt x="26" y="3"/>
                </a:cubicBezTo>
                <a:cubicBezTo>
                  <a:pt x="9" y="57"/>
                  <a:pt x="9" y="114"/>
                  <a:pt x="26" y="168"/>
                </a:cubicBezTo>
                <a:lnTo>
                  <a:pt x="17" y="17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CAA7ACED-407E-44A1-8A1A-69800FADEE5F}"/>
              </a:ext>
            </a:extLst>
          </p:cNvPr>
          <p:cNvSpPr>
            <a:spLocks/>
          </p:cNvSpPr>
          <p:nvPr/>
        </p:nvSpPr>
        <p:spPr bwMode="auto">
          <a:xfrm>
            <a:off x="1841544" y="3227396"/>
            <a:ext cx="592138" cy="795338"/>
          </a:xfrm>
          <a:custGeom>
            <a:avLst/>
            <a:gdLst>
              <a:gd name="T0" fmla="*/ 8 w 105"/>
              <a:gd name="T1" fmla="*/ 141 h 141"/>
              <a:gd name="T2" fmla="*/ 0 w 105"/>
              <a:gd name="T3" fmla="*/ 138 h 141"/>
              <a:gd name="T4" fmla="*/ 100 w 105"/>
              <a:gd name="T5" fmla="*/ 0 h 141"/>
              <a:gd name="T6" fmla="*/ 105 w 105"/>
              <a:gd name="T7" fmla="*/ 7 h 141"/>
              <a:gd name="T8" fmla="*/ 8 w 105"/>
              <a:gd name="T9" fmla="*/ 141 h 141"/>
            </a:gdLst>
            <a:ahLst/>
            <a:cxnLst>
              <a:cxn ang="0">
                <a:pos x="T0" y="T1"/>
              </a:cxn>
              <a:cxn ang="0">
                <a:pos x="T2" y="T3"/>
              </a:cxn>
              <a:cxn ang="0">
                <a:pos x="T4" y="T5"/>
              </a:cxn>
              <a:cxn ang="0">
                <a:pos x="T6" y="T7"/>
              </a:cxn>
              <a:cxn ang="0">
                <a:pos x="T8" y="T9"/>
              </a:cxn>
            </a:cxnLst>
            <a:rect l="0" t="0" r="r" b="b"/>
            <a:pathLst>
              <a:path w="105" h="141">
                <a:moveTo>
                  <a:pt x="8" y="141"/>
                </a:moveTo>
                <a:cubicBezTo>
                  <a:pt x="0" y="138"/>
                  <a:pt x="0" y="138"/>
                  <a:pt x="0" y="138"/>
                </a:cubicBezTo>
                <a:cubicBezTo>
                  <a:pt x="19" y="83"/>
                  <a:pt x="53" y="35"/>
                  <a:pt x="100" y="0"/>
                </a:cubicBezTo>
                <a:cubicBezTo>
                  <a:pt x="105" y="7"/>
                  <a:pt x="105" y="7"/>
                  <a:pt x="105" y="7"/>
                </a:cubicBezTo>
                <a:cubicBezTo>
                  <a:pt x="60" y="41"/>
                  <a:pt x="26" y="87"/>
                  <a:pt x="8" y="141"/>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40F701DE-DC13-42E5-A750-9D2B7638CAA3}"/>
              </a:ext>
            </a:extLst>
          </p:cNvPr>
          <p:cNvSpPr>
            <a:spLocks/>
          </p:cNvSpPr>
          <p:nvPr/>
        </p:nvSpPr>
        <p:spPr bwMode="auto">
          <a:xfrm>
            <a:off x="2444794" y="2894021"/>
            <a:ext cx="912813" cy="344488"/>
          </a:xfrm>
          <a:custGeom>
            <a:avLst/>
            <a:gdLst>
              <a:gd name="T0" fmla="*/ 5 w 162"/>
              <a:gd name="T1" fmla="*/ 61 h 61"/>
              <a:gd name="T2" fmla="*/ 0 w 162"/>
              <a:gd name="T3" fmla="*/ 53 h 61"/>
              <a:gd name="T4" fmla="*/ 162 w 162"/>
              <a:gd name="T5" fmla="*/ 0 h 61"/>
              <a:gd name="T6" fmla="*/ 162 w 162"/>
              <a:gd name="T7" fmla="*/ 9 h 61"/>
              <a:gd name="T8" fmla="*/ 5 w 162"/>
              <a:gd name="T9" fmla="*/ 61 h 61"/>
            </a:gdLst>
            <a:ahLst/>
            <a:cxnLst>
              <a:cxn ang="0">
                <a:pos x="T0" y="T1"/>
              </a:cxn>
              <a:cxn ang="0">
                <a:pos x="T2" y="T3"/>
              </a:cxn>
              <a:cxn ang="0">
                <a:pos x="T4" y="T5"/>
              </a:cxn>
              <a:cxn ang="0">
                <a:pos x="T6" y="T7"/>
              </a:cxn>
              <a:cxn ang="0">
                <a:pos x="T8" y="T9"/>
              </a:cxn>
            </a:cxnLst>
            <a:rect l="0" t="0" r="r" b="b"/>
            <a:pathLst>
              <a:path w="162" h="61">
                <a:moveTo>
                  <a:pt x="5" y="61"/>
                </a:moveTo>
                <a:cubicBezTo>
                  <a:pt x="0" y="53"/>
                  <a:pt x="0" y="53"/>
                  <a:pt x="0" y="53"/>
                </a:cubicBezTo>
                <a:cubicBezTo>
                  <a:pt x="47" y="20"/>
                  <a:pt x="103" y="1"/>
                  <a:pt x="162" y="0"/>
                </a:cubicBezTo>
                <a:cubicBezTo>
                  <a:pt x="162" y="9"/>
                  <a:pt x="162" y="9"/>
                  <a:pt x="162" y="9"/>
                </a:cubicBezTo>
                <a:cubicBezTo>
                  <a:pt x="105" y="10"/>
                  <a:pt x="51" y="28"/>
                  <a:pt x="5" y="61"/>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E8725292-D9C8-45A1-BC87-5A1F18FC783A}"/>
              </a:ext>
            </a:extLst>
          </p:cNvPr>
          <p:cNvSpPr>
            <a:spLocks noEditPoints="1"/>
          </p:cNvSpPr>
          <p:nvPr/>
        </p:nvSpPr>
        <p:spPr bwMode="auto">
          <a:xfrm>
            <a:off x="4083886" y="5943228"/>
            <a:ext cx="411163" cy="395288"/>
          </a:xfrm>
          <a:custGeom>
            <a:avLst/>
            <a:gdLst>
              <a:gd name="T0" fmla="*/ 37 w 73"/>
              <a:gd name="T1" fmla="*/ 70 h 70"/>
              <a:gd name="T2" fmla="*/ 3 w 73"/>
              <a:gd name="T3" fmla="*/ 46 h 70"/>
              <a:gd name="T4" fmla="*/ 5 w 73"/>
              <a:gd name="T5" fmla="*/ 19 h 70"/>
              <a:gd name="T6" fmla="*/ 26 w 73"/>
              <a:gd name="T7" fmla="*/ 2 h 70"/>
              <a:gd name="T8" fmla="*/ 37 w 73"/>
              <a:gd name="T9" fmla="*/ 0 h 70"/>
              <a:gd name="T10" fmla="*/ 70 w 73"/>
              <a:gd name="T11" fmla="*/ 24 h 70"/>
              <a:gd name="T12" fmla="*/ 68 w 73"/>
              <a:gd name="T13" fmla="*/ 51 h 70"/>
              <a:gd name="T14" fmla="*/ 47 w 73"/>
              <a:gd name="T15" fmla="*/ 68 h 70"/>
              <a:gd name="T16" fmla="*/ 37 w 73"/>
              <a:gd name="T17" fmla="*/ 70 h 70"/>
              <a:gd name="T18" fmla="*/ 37 w 73"/>
              <a:gd name="T19" fmla="*/ 9 h 70"/>
              <a:gd name="T20" fmla="*/ 29 w 73"/>
              <a:gd name="T21" fmla="*/ 10 h 70"/>
              <a:gd name="T22" fmla="*/ 13 w 73"/>
              <a:gd name="T23" fmla="*/ 23 h 70"/>
              <a:gd name="T24" fmla="*/ 12 w 73"/>
              <a:gd name="T25" fmla="*/ 43 h 70"/>
              <a:gd name="T26" fmla="*/ 37 w 73"/>
              <a:gd name="T27" fmla="*/ 61 h 70"/>
              <a:gd name="T28" fmla="*/ 45 w 73"/>
              <a:gd name="T29" fmla="*/ 59 h 70"/>
              <a:gd name="T30" fmla="*/ 60 w 73"/>
              <a:gd name="T31" fmla="*/ 47 h 70"/>
              <a:gd name="T32" fmla="*/ 61 w 73"/>
              <a:gd name="T33" fmla="*/ 27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21" y="70"/>
                  <a:pt x="8" y="60"/>
                  <a:pt x="3" y="46"/>
                </a:cubicBezTo>
                <a:cubicBezTo>
                  <a:pt x="0" y="37"/>
                  <a:pt x="1" y="27"/>
                  <a:pt x="5" y="19"/>
                </a:cubicBezTo>
                <a:cubicBezTo>
                  <a:pt x="10" y="11"/>
                  <a:pt x="17" y="4"/>
                  <a:pt x="26" y="2"/>
                </a:cubicBezTo>
                <a:cubicBezTo>
                  <a:pt x="29" y="0"/>
                  <a:pt x="33" y="0"/>
                  <a:pt x="37" y="0"/>
                </a:cubicBezTo>
                <a:cubicBezTo>
                  <a:pt x="52" y="0"/>
                  <a:pt x="65" y="10"/>
                  <a:pt x="70" y="24"/>
                </a:cubicBezTo>
                <a:cubicBezTo>
                  <a:pt x="73" y="33"/>
                  <a:pt x="72" y="42"/>
                  <a:pt x="68" y="51"/>
                </a:cubicBezTo>
                <a:cubicBezTo>
                  <a:pt x="64" y="59"/>
                  <a:pt x="56" y="65"/>
                  <a:pt x="47" y="68"/>
                </a:cubicBezTo>
                <a:cubicBezTo>
                  <a:pt x="44" y="69"/>
                  <a:pt x="40" y="70"/>
                  <a:pt x="37" y="70"/>
                </a:cubicBezTo>
                <a:close/>
                <a:moveTo>
                  <a:pt x="37" y="9"/>
                </a:moveTo>
                <a:cubicBezTo>
                  <a:pt x="34" y="9"/>
                  <a:pt x="31" y="9"/>
                  <a:pt x="29" y="10"/>
                </a:cubicBezTo>
                <a:cubicBezTo>
                  <a:pt x="22" y="12"/>
                  <a:pt x="17" y="17"/>
                  <a:pt x="13" y="23"/>
                </a:cubicBezTo>
                <a:cubicBezTo>
                  <a:pt x="10" y="29"/>
                  <a:pt x="10" y="36"/>
                  <a:pt x="12" y="43"/>
                </a:cubicBezTo>
                <a:cubicBezTo>
                  <a:pt x="15" y="54"/>
                  <a:pt x="25" y="61"/>
                  <a:pt x="37" y="61"/>
                </a:cubicBezTo>
                <a:cubicBezTo>
                  <a:pt x="39" y="61"/>
                  <a:pt x="42" y="60"/>
                  <a:pt x="45" y="59"/>
                </a:cubicBezTo>
                <a:cubicBezTo>
                  <a:pt x="51" y="57"/>
                  <a:pt x="57" y="53"/>
                  <a:pt x="60" y="47"/>
                </a:cubicBezTo>
                <a:cubicBezTo>
                  <a:pt x="63" y="40"/>
                  <a:pt x="63" y="33"/>
                  <a:pt x="61" y="27"/>
                </a:cubicBezTo>
                <a:cubicBezTo>
                  <a:pt x="58" y="16"/>
                  <a:pt x="48" y="9"/>
                  <a:pt x="37" y="9"/>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e 7">
            <a:extLst>
              <a:ext uri="{FF2B5EF4-FFF2-40B4-BE49-F238E27FC236}">
                <a16:creationId xmlns:a16="http://schemas.microsoft.com/office/drawing/2014/main" id="{588710C3-C70A-4830-9BFD-DFFE69E4778E}"/>
              </a:ext>
            </a:extLst>
          </p:cNvPr>
          <p:cNvGrpSpPr/>
          <p:nvPr/>
        </p:nvGrpSpPr>
        <p:grpSpPr>
          <a:xfrm>
            <a:off x="5034749" y="4986518"/>
            <a:ext cx="388938" cy="395288"/>
            <a:chOff x="4954397" y="5103340"/>
            <a:chExt cx="388938" cy="395288"/>
          </a:xfrm>
        </p:grpSpPr>
        <p:sp>
          <p:nvSpPr>
            <p:cNvPr id="130" name="Oval 19">
              <a:extLst>
                <a:ext uri="{FF2B5EF4-FFF2-40B4-BE49-F238E27FC236}">
                  <a16:creationId xmlns:a16="http://schemas.microsoft.com/office/drawing/2014/main" id="{1EEF6D97-684A-411E-8440-BB5DD08116AC}"/>
                </a:ext>
              </a:extLst>
            </p:cNvPr>
            <p:cNvSpPr>
              <a:spLocks noChangeArrowheads="1"/>
            </p:cNvSpPr>
            <p:nvPr/>
          </p:nvSpPr>
          <p:spPr bwMode="auto">
            <a:xfrm>
              <a:off x="5055997" y="5204940"/>
              <a:ext cx="185738" cy="18573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4570C6EC-9734-4697-872B-9382D48F1655}"/>
                </a:ext>
              </a:extLst>
            </p:cNvPr>
            <p:cNvSpPr>
              <a:spLocks noEditPoints="1"/>
            </p:cNvSpPr>
            <p:nvPr/>
          </p:nvSpPr>
          <p:spPr bwMode="auto">
            <a:xfrm>
              <a:off x="4954397" y="5103340"/>
              <a:ext cx="388938" cy="395288"/>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9 h 70"/>
                <a:gd name="T12" fmla="*/ 9 w 69"/>
                <a:gd name="T13" fmla="*/ 35 h 70"/>
                <a:gd name="T14" fmla="*/ 35 w 69"/>
                <a:gd name="T15" fmla="*/ 61 h 70"/>
                <a:gd name="T16" fmla="*/ 60 w 69"/>
                <a:gd name="T17" fmla="*/ 35 h 70"/>
                <a:gd name="T18" fmla="*/ 35 w 69"/>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9"/>
                  </a:moveTo>
                  <a:cubicBezTo>
                    <a:pt x="20" y="9"/>
                    <a:pt x="9" y="21"/>
                    <a:pt x="9" y="35"/>
                  </a:cubicBezTo>
                  <a:cubicBezTo>
                    <a:pt x="9" y="49"/>
                    <a:pt x="20" y="61"/>
                    <a:pt x="35" y="61"/>
                  </a:cubicBezTo>
                  <a:cubicBezTo>
                    <a:pt x="49" y="61"/>
                    <a:pt x="60" y="49"/>
                    <a:pt x="60" y="35"/>
                  </a:cubicBezTo>
                  <a:cubicBezTo>
                    <a:pt x="60" y="21"/>
                    <a:pt x="49" y="9"/>
                    <a:pt x="35" y="9"/>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e 6">
            <a:extLst>
              <a:ext uri="{FF2B5EF4-FFF2-40B4-BE49-F238E27FC236}">
                <a16:creationId xmlns:a16="http://schemas.microsoft.com/office/drawing/2014/main" id="{52FF8857-F7B0-4176-828A-3136C527472B}"/>
              </a:ext>
            </a:extLst>
          </p:cNvPr>
          <p:cNvGrpSpPr/>
          <p:nvPr/>
        </p:nvGrpSpPr>
        <p:grpSpPr>
          <a:xfrm>
            <a:off x="4976467" y="3876393"/>
            <a:ext cx="406400" cy="395288"/>
            <a:chOff x="4726032" y="3209934"/>
            <a:chExt cx="406400" cy="395288"/>
          </a:xfrm>
        </p:grpSpPr>
        <p:sp>
          <p:nvSpPr>
            <p:cNvPr id="131" name="Freeform 20">
              <a:extLst>
                <a:ext uri="{FF2B5EF4-FFF2-40B4-BE49-F238E27FC236}">
                  <a16:creationId xmlns:a16="http://schemas.microsoft.com/office/drawing/2014/main" id="{DF8200B6-512E-499F-952E-96B34C74C71D}"/>
                </a:ext>
              </a:extLst>
            </p:cNvPr>
            <p:cNvSpPr>
              <a:spLocks/>
            </p:cNvSpPr>
            <p:nvPr/>
          </p:nvSpPr>
          <p:spPr bwMode="auto">
            <a:xfrm>
              <a:off x="4822869" y="3300421"/>
              <a:ext cx="214313" cy="209550"/>
            </a:xfrm>
            <a:custGeom>
              <a:avLst/>
              <a:gdLst>
                <a:gd name="T0" fmla="*/ 9 w 38"/>
                <a:gd name="T1" fmla="*/ 6 h 37"/>
                <a:gd name="T2" fmla="*/ 32 w 38"/>
                <a:gd name="T3" fmla="*/ 9 h 37"/>
                <a:gd name="T4" fmla="*/ 29 w 38"/>
                <a:gd name="T5" fmla="*/ 32 h 37"/>
                <a:gd name="T6" fmla="*/ 6 w 38"/>
                <a:gd name="T7" fmla="*/ 29 h 37"/>
                <a:gd name="T8" fmla="*/ 9 w 38"/>
                <a:gd name="T9" fmla="*/ 6 h 37"/>
              </a:gdLst>
              <a:ahLst/>
              <a:cxnLst>
                <a:cxn ang="0">
                  <a:pos x="T0" y="T1"/>
                </a:cxn>
                <a:cxn ang="0">
                  <a:pos x="T2" y="T3"/>
                </a:cxn>
                <a:cxn ang="0">
                  <a:pos x="T4" y="T5"/>
                </a:cxn>
                <a:cxn ang="0">
                  <a:pos x="T6" y="T7"/>
                </a:cxn>
                <a:cxn ang="0">
                  <a:pos x="T8" y="T9"/>
                </a:cxn>
              </a:cxnLst>
              <a:rect l="0" t="0" r="r" b="b"/>
              <a:pathLst>
                <a:path w="38" h="37">
                  <a:moveTo>
                    <a:pt x="9" y="6"/>
                  </a:moveTo>
                  <a:cubicBezTo>
                    <a:pt x="17" y="0"/>
                    <a:pt x="27" y="2"/>
                    <a:pt x="32" y="9"/>
                  </a:cubicBezTo>
                  <a:cubicBezTo>
                    <a:pt x="38" y="17"/>
                    <a:pt x="36" y="27"/>
                    <a:pt x="29" y="32"/>
                  </a:cubicBezTo>
                  <a:cubicBezTo>
                    <a:pt x="21" y="37"/>
                    <a:pt x="11" y="36"/>
                    <a:pt x="6" y="29"/>
                  </a:cubicBezTo>
                  <a:cubicBezTo>
                    <a:pt x="0" y="21"/>
                    <a:pt x="2" y="11"/>
                    <a:pt x="9" y="6"/>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8F7A0821-82ED-46D1-A15B-A284B2A9C669}"/>
                </a:ext>
              </a:extLst>
            </p:cNvPr>
            <p:cNvSpPr>
              <a:spLocks noEditPoints="1"/>
            </p:cNvSpPr>
            <p:nvPr/>
          </p:nvSpPr>
          <p:spPr bwMode="auto">
            <a:xfrm>
              <a:off x="4726032" y="3209934"/>
              <a:ext cx="406400" cy="395288"/>
            </a:xfrm>
            <a:custGeom>
              <a:avLst/>
              <a:gdLst>
                <a:gd name="T0" fmla="*/ 36 w 72"/>
                <a:gd name="T1" fmla="*/ 70 h 70"/>
                <a:gd name="T2" fmla="*/ 8 w 72"/>
                <a:gd name="T3" fmla="*/ 55 h 70"/>
                <a:gd name="T4" fmla="*/ 1 w 72"/>
                <a:gd name="T5" fmla="*/ 29 h 70"/>
                <a:gd name="T6" fmla="*/ 15 w 72"/>
                <a:gd name="T7" fmla="*/ 7 h 70"/>
                <a:gd name="T8" fmla="*/ 36 w 72"/>
                <a:gd name="T9" fmla="*/ 0 h 70"/>
                <a:gd name="T10" fmla="*/ 64 w 72"/>
                <a:gd name="T11" fmla="*/ 14 h 70"/>
                <a:gd name="T12" fmla="*/ 70 w 72"/>
                <a:gd name="T13" fmla="*/ 40 h 70"/>
                <a:gd name="T14" fmla="*/ 56 w 72"/>
                <a:gd name="T15" fmla="*/ 63 h 70"/>
                <a:gd name="T16" fmla="*/ 36 w 72"/>
                <a:gd name="T17" fmla="*/ 70 h 70"/>
                <a:gd name="T18" fmla="*/ 36 w 72"/>
                <a:gd name="T19" fmla="*/ 9 h 70"/>
                <a:gd name="T20" fmla="*/ 21 w 72"/>
                <a:gd name="T21" fmla="*/ 14 h 70"/>
                <a:gd name="T22" fmla="*/ 10 w 72"/>
                <a:gd name="T23" fmla="*/ 31 h 70"/>
                <a:gd name="T24" fmla="*/ 15 w 72"/>
                <a:gd name="T25" fmla="*/ 50 h 70"/>
                <a:gd name="T26" fmla="*/ 36 w 72"/>
                <a:gd name="T27" fmla="*/ 61 h 70"/>
                <a:gd name="T28" fmla="*/ 51 w 72"/>
                <a:gd name="T29" fmla="*/ 56 h 70"/>
                <a:gd name="T30" fmla="*/ 62 w 72"/>
                <a:gd name="T31" fmla="*/ 39 h 70"/>
                <a:gd name="T32" fmla="*/ 57 w 72"/>
                <a:gd name="T33" fmla="*/ 20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5" y="70"/>
                    <a:pt x="14" y="64"/>
                    <a:pt x="8" y="55"/>
                  </a:cubicBezTo>
                  <a:cubicBezTo>
                    <a:pt x="2" y="48"/>
                    <a:pt x="0" y="39"/>
                    <a:pt x="1" y="29"/>
                  </a:cubicBezTo>
                  <a:cubicBezTo>
                    <a:pt x="3" y="20"/>
                    <a:pt x="8" y="12"/>
                    <a:pt x="15" y="7"/>
                  </a:cubicBezTo>
                  <a:cubicBezTo>
                    <a:pt x="21" y="2"/>
                    <a:pt x="28" y="0"/>
                    <a:pt x="36" y="0"/>
                  </a:cubicBezTo>
                  <a:cubicBezTo>
                    <a:pt x="47" y="0"/>
                    <a:pt x="58" y="5"/>
                    <a:pt x="64" y="14"/>
                  </a:cubicBezTo>
                  <a:cubicBezTo>
                    <a:pt x="70" y="22"/>
                    <a:pt x="72" y="31"/>
                    <a:pt x="70" y="40"/>
                  </a:cubicBezTo>
                  <a:cubicBezTo>
                    <a:pt x="69" y="50"/>
                    <a:pt x="64" y="58"/>
                    <a:pt x="56" y="63"/>
                  </a:cubicBezTo>
                  <a:cubicBezTo>
                    <a:pt x="50" y="68"/>
                    <a:pt x="43" y="70"/>
                    <a:pt x="36" y="70"/>
                  </a:cubicBezTo>
                  <a:close/>
                  <a:moveTo>
                    <a:pt x="36" y="9"/>
                  </a:moveTo>
                  <a:cubicBezTo>
                    <a:pt x="30" y="9"/>
                    <a:pt x="25" y="11"/>
                    <a:pt x="21" y="14"/>
                  </a:cubicBezTo>
                  <a:cubicBezTo>
                    <a:pt x="15" y="18"/>
                    <a:pt x="11" y="24"/>
                    <a:pt x="10" y="31"/>
                  </a:cubicBezTo>
                  <a:cubicBezTo>
                    <a:pt x="9" y="38"/>
                    <a:pt x="11" y="45"/>
                    <a:pt x="15" y="50"/>
                  </a:cubicBezTo>
                  <a:cubicBezTo>
                    <a:pt x="20" y="57"/>
                    <a:pt x="28" y="61"/>
                    <a:pt x="36" y="61"/>
                  </a:cubicBezTo>
                  <a:cubicBezTo>
                    <a:pt x="41" y="61"/>
                    <a:pt x="47" y="59"/>
                    <a:pt x="51" y="56"/>
                  </a:cubicBezTo>
                  <a:cubicBezTo>
                    <a:pt x="57" y="52"/>
                    <a:pt x="60" y="46"/>
                    <a:pt x="62" y="39"/>
                  </a:cubicBezTo>
                  <a:cubicBezTo>
                    <a:pt x="63" y="32"/>
                    <a:pt x="61" y="25"/>
                    <a:pt x="57" y="20"/>
                  </a:cubicBezTo>
                  <a:cubicBezTo>
                    <a:pt x="52" y="13"/>
                    <a:pt x="44" y="9"/>
                    <a:pt x="36" y="9"/>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e 8">
            <a:extLst>
              <a:ext uri="{FF2B5EF4-FFF2-40B4-BE49-F238E27FC236}">
                <a16:creationId xmlns:a16="http://schemas.microsoft.com/office/drawing/2014/main" id="{1494306F-4324-4EF8-9B0F-A5BCCFEBCBEC}"/>
              </a:ext>
            </a:extLst>
          </p:cNvPr>
          <p:cNvGrpSpPr/>
          <p:nvPr/>
        </p:nvGrpSpPr>
        <p:grpSpPr>
          <a:xfrm>
            <a:off x="4094267" y="2868621"/>
            <a:ext cx="411163" cy="395288"/>
            <a:chOff x="3768769" y="2516196"/>
            <a:chExt cx="411163" cy="395288"/>
          </a:xfrm>
        </p:grpSpPr>
        <p:sp>
          <p:nvSpPr>
            <p:cNvPr id="132" name="Freeform 21">
              <a:extLst>
                <a:ext uri="{FF2B5EF4-FFF2-40B4-BE49-F238E27FC236}">
                  <a16:creationId xmlns:a16="http://schemas.microsoft.com/office/drawing/2014/main" id="{4562122B-A6A5-47CA-B6C1-375FC34CF071}"/>
                </a:ext>
              </a:extLst>
            </p:cNvPr>
            <p:cNvSpPr>
              <a:spLocks/>
            </p:cNvSpPr>
            <p:nvPr/>
          </p:nvSpPr>
          <p:spPr bwMode="auto">
            <a:xfrm>
              <a:off x="3870369" y="2606684"/>
              <a:ext cx="207963" cy="207963"/>
            </a:xfrm>
            <a:custGeom>
              <a:avLst/>
              <a:gdLst>
                <a:gd name="T0" fmla="*/ 3 w 37"/>
                <a:gd name="T1" fmla="*/ 14 h 37"/>
                <a:gd name="T2" fmla="*/ 24 w 37"/>
                <a:gd name="T3" fmla="*/ 3 h 37"/>
                <a:gd name="T4" fmla="*/ 34 w 37"/>
                <a:gd name="T5" fmla="*/ 24 h 37"/>
                <a:gd name="T6" fmla="*/ 14 w 37"/>
                <a:gd name="T7" fmla="*/ 35 h 37"/>
                <a:gd name="T8" fmla="*/ 3 w 37"/>
                <a:gd name="T9" fmla="*/ 14 h 37"/>
              </a:gdLst>
              <a:ahLst/>
              <a:cxnLst>
                <a:cxn ang="0">
                  <a:pos x="T0" y="T1"/>
                </a:cxn>
                <a:cxn ang="0">
                  <a:pos x="T2" y="T3"/>
                </a:cxn>
                <a:cxn ang="0">
                  <a:pos x="T4" y="T5"/>
                </a:cxn>
                <a:cxn ang="0">
                  <a:pos x="T6" y="T7"/>
                </a:cxn>
                <a:cxn ang="0">
                  <a:pos x="T8" y="T9"/>
                </a:cxn>
              </a:cxnLst>
              <a:rect l="0" t="0" r="r" b="b"/>
              <a:pathLst>
                <a:path w="37" h="37">
                  <a:moveTo>
                    <a:pt x="3" y="14"/>
                  </a:moveTo>
                  <a:cubicBezTo>
                    <a:pt x="6" y="5"/>
                    <a:pt x="15" y="0"/>
                    <a:pt x="24" y="3"/>
                  </a:cubicBezTo>
                  <a:cubicBezTo>
                    <a:pt x="32" y="6"/>
                    <a:pt x="37" y="15"/>
                    <a:pt x="34" y="24"/>
                  </a:cubicBezTo>
                  <a:cubicBezTo>
                    <a:pt x="31" y="33"/>
                    <a:pt x="22" y="37"/>
                    <a:pt x="14" y="35"/>
                  </a:cubicBezTo>
                  <a:cubicBezTo>
                    <a:pt x="5" y="32"/>
                    <a:pt x="0" y="22"/>
                    <a:pt x="3" y="14"/>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320A3C98-E4C7-48B6-ABCC-EB3CB87CFA10}"/>
                </a:ext>
              </a:extLst>
            </p:cNvPr>
            <p:cNvSpPr>
              <a:spLocks noEditPoints="1"/>
            </p:cNvSpPr>
            <p:nvPr/>
          </p:nvSpPr>
          <p:spPr bwMode="auto">
            <a:xfrm>
              <a:off x="3768769" y="2516196"/>
              <a:ext cx="411163" cy="395288"/>
            </a:xfrm>
            <a:custGeom>
              <a:avLst/>
              <a:gdLst>
                <a:gd name="T0" fmla="*/ 37 w 73"/>
                <a:gd name="T1" fmla="*/ 70 h 70"/>
                <a:gd name="T2" fmla="*/ 26 w 73"/>
                <a:gd name="T3" fmla="*/ 68 h 70"/>
                <a:gd name="T4" fmla="*/ 5 w 73"/>
                <a:gd name="T5" fmla="*/ 51 h 70"/>
                <a:gd name="T6" fmla="*/ 3 w 73"/>
                <a:gd name="T7" fmla="*/ 24 h 70"/>
                <a:gd name="T8" fmla="*/ 37 w 73"/>
                <a:gd name="T9" fmla="*/ 0 h 70"/>
                <a:gd name="T10" fmla="*/ 47 w 73"/>
                <a:gd name="T11" fmla="*/ 2 h 70"/>
                <a:gd name="T12" fmla="*/ 68 w 73"/>
                <a:gd name="T13" fmla="*/ 19 h 70"/>
                <a:gd name="T14" fmla="*/ 70 w 73"/>
                <a:gd name="T15" fmla="*/ 46 h 70"/>
                <a:gd name="T16" fmla="*/ 37 w 73"/>
                <a:gd name="T17" fmla="*/ 70 h 70"/>
                <a:gd name="T18" fmla="*/ 37 w 73"/>
                <a:gd name="T19" fmla="*/ 9 h 70"/>
                <a:gd name="T20" fmla="*/ 12 w 73"/>
                <a:gd name="T21" fmla="*/ 27 h 70"/>
                <a:gd name="T22" fmla="*/ 13 w 73"/>
                <a:gd name="T23" fmla="*/ 47 h 70"/>
                <a:gd name="T24" fmla="*/ 29 w 73"/>
                <a:gd name="T25" fmla="*/ 60 h 70"/>
                <a:gd name="T26" fmla="*/ 37 w 73"/>
                <a:gd name="T27" fmla="*/ 61 h 70"/>
                <a:gd name="T28" fmla="*/ 61 w 73"/>
                <a:gd name="T29" fmla="*/ 43 h 70"/>
                <a:gd name="T30" fmla="*/ 60 w 73"/>
                <a:gd name="T31" fmla="*/ 23 h 70"/>
                <a:gd name="T32" fmla="*/ 45 w 73"/>
                <a:gd name="T33" fmla="*/ 10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33" y="70"/>
                    <a:pt x="29" y="69"/>
                    <a:pt x="26" y="68"/>
                  </a:cubicBezTo>
                  <a:cubicBezTo>
                    <a:pt x="17" y="65"/>
                    <a:pt x="10" y="59"/>
                    <a:pt x="5" y="51"/>
                  </a:cubicBezTo>
                  <a:cubicBezTo>
                    <a:pt x="1" y="42"/>
                    <a:pt x="0" y="33"/>
                    <a:pt x="3" y="24"/>
                  </a:cubicBezTo>
                  <a:cubicBezTo>
                    <a:pt x="8" y="10"/>
                    <a:pt x="21" y="0"/>
                    <a:pt x="37" y="0"/>
                  </a:cubicBezTo>
                  <a:cubicBezTo>
                    <a:pt x="40" y="0"/>
                    <a:pt x="44" y="1"/>
                    <a:pt x="47" y="2"/>
                  </a:cubicBezTo>
                  <a:cubicBezTo>
                    <a:pt x="56" y="5"/>
                    <a:pt x="64" y="11"/>
                    <a:pt x="68" y="19"/>
                  </a:cubicBezTo>
                  <a:cubicBezTo>
                    <a:pt x="72" y="27"/>
                    <a:pt x="73" y="37"/>
                    <a:pt x="70" y="46"/>
                  </a:cubicBezTo>
                  <a:cubicBezTo>
                    <a:pt x="65" y="60"/>
                    <a:pt x="52" y="70"/>
                    <a:pt x="37" y="70"/>
                  </a:cubicBezTo>
                  <a:close/>
                  <a:moveTo>
                    <a:pt x="37" y="9"/>
                  </a:moveTo>
                  <a:cubicBezTo>
                    <a:pt x="25" y="9"/>
                    <a:pt x="15" y="16"/>
                    <a:pt x="12" y="27"/>
                  </a:cubicBezTo>
                  <a:cubicBezTo>
                    <a:pt x="10" y="33"/>
                    <a:pt x="10" y="41"/>
                    <a:pt x="13" y="47"/>
                  </a:cubicBezTo>
                  <a:cubicBezTo>
                    <a:pt x="17" y="53"/>
                    <a:pt x="22" y="57"/>
                    <a:pt x="29" y="60"/>
                  </a:cubicBezTo>
                  <a:cubicBezTo>
                    <a:pt x="31" y="60"/>
                    <a:pt x="34" y="61"/>
                    <a:pt x="37" y="61"/>
                  </a:cubicBezTo>
                  <a:cubicBezTo>
                    <a:pt x="48" y="61"/>
                    <a:pt x="58" y="54"/>
                    <a:pt x="61" y="43"/>
                  </a:cubicBezTo>
                  <a:cubicBezTo>
                    <a:pt x="63" y="36"/>
                    <a:pt x="63" y="29"/>
                    <a:pt x="60" y="23"/>
                  </a:cubicBezTo>
                  <a:cubicBezTo>
                    <a:pt x="57" y="17"/>
                    <a:pt x="51" y="12"/>
                    <a:pt x="45" y="10"/>
                  </a:cubicBezTo>
                  <a:cubicBezTo>
                    <a:pt x="42" y="9"/>
                    <a:pt x="39" y="9"/>
                    <a:pt x="37" y="9"/>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47" name="Picture 36">
            <a:extLst>
              <a:ext uri="{FF2B5EF4-FFF2-40B4-BE49-F238E27FC236}">
                <a16:creationId xmlns:a16="http://schemas.microsoft.com/office/drawing/2014/main" id="{2694479C-5DC3-4DF5-8ECA-2878CAC996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1744" y="3640146"/>
            <a:ext cx="10477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37">
            <a:extLst>
              <a:ext uri="{FF2B5EF4-FFF2-40B4-BE49-F238E27FC236}">
                <a16:creationId xmlns:a16="http://schemas.microsoft.com/office/drawing/2014/main" id="{E5352050-802F-4283-8975-B73A209FF6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3519" y="3335346"/>
            <a:ext cx="35401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38">
            <a:extLst>
              <a:ext uri="{FF2B5EF4-FFF2-40B4-BE49-F238E27FC236}">
                <a16:creationId xmlns:a16="http://schemas.microsoft.com/office/drawing/2014/main" id="{5022A6F0-FCD1-4CC4-A4A6-8D2655B265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1744" y="4203709"/>
            <a:ext cx="89693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Picture 39">
            <a:extLst>
              <a:ext uri="{FF2B5EF4-FFF2-40B4-BE49-F238E27FC236}">
                <a16:creationId xmlns:a16="http://schemas.microsoft.com/office/drawing/2014/main" id="{54F94781-CB97-41A8-AB23-4482B30B94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73519" y="4610109"/>
            <a:ext cx="996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40">
            <a:extLst>
              <a:ext uri="{FF2B5EF4-FFF2-40B4-BE49-F238E27FC236}">
                <a16:creationId xmlns:a16="http://schemas.microsoft.com/office/drawing/2014/main" id="{1717FCCE-BE4C-413A-82B6-8EA46A261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1744" y="5191134"/>
            <a:ext cx="96361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41">
            <a:extLst>
              <a:ext uri="{FF2B5EF4-FFF2-40B4-BE49-F238E27FC236}">
                <a16:creationId xmlns:a16="http://schemas.microsoft.com/office/drawing/2014/main" id="{E8B9C698-6FF6-4BBB-A46D-3CE7B84BCC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4769" y="5191134"/>
            <a:ext cx="457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 name="Freeform 42">
            <a:extLst>
              <a:ext uri="{FF2B5EF4-FFF2-40B4-BE49-F238E27FC236}">
                <a16:creationId xmlns:a16="http://schemas.microsoft.com/office/drawing/2014/main" id="{77E05EB0-F0EF-4138-A873-30DD08732090}"/>
              </a:ext>
            </a:extLst>
          </p:cNvPr>
          <p:cNvSpPr>
            <a:spLocks/>
          </p:cNvSpPr>
          <p:nvPr/>
        </p:nvSpPr>
        <p:spPr bwMode="auto">
          <a:xfrm>
            <a:off x="2197144" y="3194059"/>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43">
            <a:extLst>
              <a:ext uri="{FF2B5EF4-FFF2-40B4-BE49-F238E27FC236}">
                <a16:creationId xmlns:a16="http://schemas.microsoft.com/office/drawing/2014/main" id="{1D6803C8-99D6-4C22-84D9-493018A41570}"/>
              </a:ext>
            </a:extLst>
          </p:cNvPr>
          <p:cNvSpPr>
            <a:spLocks noChangeArrowheads="1"/>
          </p:cNvSpPr>
          <p:nvPr/>
        </p:nvSpPr>
        <p:spPr bwMode="auto">
          <a:xfrm>
            <a:off x="3887832" y="3271846"/>
            <a:ext cx="174625" cy="1809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9A3E178D-2130-453B-9553-ED59069037D0}"/>
              </a:ext>
            </a:extLst>
          </p:cNvPr>
          <p:cNvSpPr>
            <a:spLocks/>
          </p:cNvSpPr>
          <p:nvPr/>
        </p:nvSpPr>
        <p:spPr bwMode="auto">
          <a:xfrm>
            <a:off x="4140244" y="4090996"/>
            <a:ext cx="311150" cy="355600"/>
          </a:xfrm>
          <a:custGeom>
            <a:avLst/>
            <a:gdLst>
              <a:gd name="T0" fmla="*/ 23 w 55"/>
              <a:gd name="T1" fmla="*/ 4 h 63"/>
              <a:gd name="T2" fmla="*/ 12 w 55"/>
              <a:gd name="T3" fmla="*/ 47 h 63"/>
              <a:gd name="T4" fmla="*/ 55 w 55"/>
              <a:gd name="T5" fmla="*/ 29 h 63"/>
              <a:gd name="T6" fmla="*/ 23 w 55"/>
              <a:gd name="T7" fmla="*/ 4 h 63"/>
            </a:gdLst>
            <a:ahLst/>
            <a:cxnLst>
              <a:cxn ang="0">
                <a:pos x="T0" y="T1"/>
              </a:cxn>
              <a:cxn ang="0">
                <a:pos x="T2" y="T3"/>
              </a:cxn>
              <a:cxn ang="0">
                <a:pos x="T4" y="T5"/>
              </a:cxn>
              <a:cxn ang="0">
                <a:pos x="T6" y="T7"/>
              </a:cxn>
            </a:cxnLst>
            <a:rect l="0" t="0" r="r" b="b"/>
            <a:pathLst>
              <a:path w="55" h="63">
                <a:moveTo>
                  <a:pt x="23" y="4"/>
                </a:moveTo>
                <a:cubicBezTo>
                  <a:pt x="4" y="10"/>
                  <a:pt x="0" y="33"/>
                  <a:pt x="12" y="47"/>
                </a:cubicBezTo>
                <a:cubicBezTo>
                  <a:pt x="27" y="63"/>
                  <a:pt x="55" y="50"/>
                  <a:pt x="55" y="29"/>
                </a:cubicBezTo>
                <a:cubicBezTo>
                  <a:pt x="55" y="12"/>
                  <a:pt x="39" y="0"/>
                  <a:pt x="23" y="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9F83DFC8-7281-4EAB-A8B4-A862926D4BC8}"/>
              </a:ext>
            </a:extLst>
          </p:cNvPr>
          <p:cNvSpPr>
            <a:spLocks/>
          </p:cNvSpPr>
          <p:nvPr/>
        </p:nvSpPr>
        <p:spPr bwMode="auto">
          <a:xfrm>
            <a:off x="3594144" y="4537084"/>
            <a:ext cx="293688" cy="254000"/>
          </a:xfrm>
          <a:custGeom>
            <a:avLst/>
            <a:gdLst>
              <a:gd name="T0" fmla="*/ 39 w 52"/>
              <a:gd name="T1" fmla="*/ 8 h 45"/>
              <a:gd name="T2" fmla="*/ 13 w 52"/>
              <a:gd name="T3" fmla="*/ 5 h 45"/>
              <a:gd name="T4" fmla="*/ 3 w 52"/>
              <a:gd name="T5" fmla="*/ 29 h 45"/>
              <a:gd name="T6" fmla="*/ 5 w 52"/>
              <a:gd name="T7" fmla="*/ 32 h 45"/>
              <a:gd name="T8" fmla="*/ 20 w 52"/>
              <a:gd name="T9" fmla="*/ 44 h 45"/>
              <a:gd name="T10" fmla="*/ 24 w 52"/>
              <a:gd name="T11" fmla="*/ 44 h 45"/>
              <a:gd name="T12" fmla="*/ 39 w 52"/>
              <a:gd name="T13" fmla="*/ 8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39" y="8"/>
                </a:moveTo>
                <a:cubicBezTo>
                  <a:pt x="32" y="1"/>
                  <a:pt x="21" y="0"/>
                  <a:pt x="13" y="5"/>
                </a:cubicBezTo>
                <a:cubicBezTo>
                  <a:pt x="5" y="9"/>
                  <a:pt x="0" y="20"/>
                  <a:pt x="3" y="29"/>
                </a:cubicBezTo>
                <a:cubicBezTo>
                  <a:pt x="4" y="30"/>
                  <a:pt x="4" y="31"/>
                  <a:pt x="5" y="32"/>
                </a:cubicBezTo>
                <a:cubicBezTo>
                  <a:pt x="7" y="39"/>
                  <a:pt x="13" y="45"/>
                  <a:pt x="20" y="44"/>
                </a:cubicBezTo>
                <a:cubicBezTo>
                  <a:pt x="22" y="44"/>
                  <a:pt x="23" y="44"/>
                  <a:pt x="24" y="44"/>
                </a:cubicBezTo>
                <a:cubicBezTo>
                  <a:pt x="42" y="44"/>
                  <a:pt x="52" y="21"/>
                  <a:pt x="39"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46">
            <a:extLst>
              <a:ext uri="{FF2B5EF4-FFF2-40B4-BE49-F238E27FC236}">
                <a16:creationId xmlns:a16="http://schemas.microsoft.com/office/drawing/2014/main" id="{F130C76A-AED5-4242-A5C8-E47C73884E78}"/>
              </a:ext>
            </a:extLst>
          </p:cNvPr>
          <p:cNvSpPr>
            <a:spLocks noChangeArrowheads="1"/>
          </p:cNvSpPr>
          <p:nvPr/>
        </p:nvSpPr>
        <p:spPr bwMode="auto">
          <a:xfrm>
            <a:off x="4248194" y="5129221"/>
            <a:ext cx="230188" cy="2317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AE783DF8-9A92-4299-8115-E0412D7F2F95}"/>
              </a:ext>
            </a:extLst>
          </p:cNvPr>
          <p:cNvSpPr>
            <a:spLocks/>
          </p:cNvSpPr>
          <p:nvPr/>
        </p:nvSpPr>
        <p:spPr bwMode="auto">
          <a:xfrm>
            <a:off x="3790994" y="3876684"/>
            <a:ext cx="236538" cy="207963"/>
          </a:xfrm>
          <a:custGeom>
            <a:avLst/>
            <a:gdLst>
              <a:gd name="T0" fmla="*/ 21 w 42"/>
              <a:gd name="T1" fmla="*/ 0 h 37"/>
              <a:gd name="T2" fmla="*/ 3 w 42"/>
              <a:gd name="T3" fmla="*/ 23 h 37"/>
              <a:gd name="T4" fmla="*/ 3 w 42"/>
              <a:gd name="T5" fmla="*/ 24 h 37"/>
              <a:gd name="T6" fmla="*/ 21 w 42"/>
              <a:gd name="T7" fmla="*/ 37 h 37"/>
              <a:gd name="T8" fmla="*/ 38 w 42"/>
              <a:gd name="T9" fmla="*/ 24 h 37"/>
              <a:gd name="T10" fmla="*/ 38 w 42"/>
              <a:gd name="T11" fmla="*/ 23 h 37"/>
              <a:gd name="T12" fmla="*/ 21 w 42"/>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2" h="37">
                <a:moveTo>
                  <a:pt x="21" y="0"/>
                </a:moveTo>
                <a:cubicBezTo>
                  <a:pt x="9" y="0"/>
                  <a:pt x="0" y="12"/>
                  <a:pt x="3" y="23"/>
                </a:cubicBezTo>
                <a:cubicBezTo>
                  <a:pt x="3" y="24"/>
                  <a:pt x="3" y="24"/>
                  <a:pt x="3" y="24"/>
                </a:cubicBezTo>
                <a:cubicBezTo>
                  <a:pt x="6" y="32"/>
                  <a:pt x="13" y="37"/>
                  <a:pt x="21" y="37"/>
                </a:cubicBezTo>
                <a:cubicBezTo>
                  <a:pt x="29" y="37"/>
                  <a:pt x="36" y="32"/>
                  <a:pt x="38" y="24"/>
                </a:cubicBezTo>
                <a:cubicBezTo>
                  <a:pt x="38" y="24"/>
                  <a:pt x="38" y="24"/>
                  <a:pt x="38" y="23"/>
                </a:cubicBezTo>
                <a:cubicBezTo>
                  <a:pt x="42" y="12"/>
                  <a:pt x="32" y="0"/>
                  <a:pt x="21"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9F7B9A85-30FF-4FCE-AB0B-7E182D779B47}"/>
              </a:ext>
            </a:extLst>
          </p:cNvPr>
          <p:cNvSpPr>
            <a:spLocks/>
          </p:cNvSpPr>
          <p:nvPr/>
        </p:nvSpPr>
        <p:spPr bwMode="auto">
          <a:xfrm>
            <a:off x="4349794" y="3611571"/>
            <a:ext cx="190500" cy="192088"/>
          </a:xfrm>
          <a:custGeom>
            <a:avLst/>
            <a:gdLst>
              <a:gd name="T0" fmla="*/ 32 w 34"/>
              <a:gd name="T1" fmla="*/ 13 h 34"/>
              <a:gd name="T2" fmla="*/ 32 w 34"/>
              <a:gd name="T3" fmla="*/ 12 h 34"/>
              <a:gd name="T4" fmla="*/ 11 w 34"/>
              <a:gd name="T5" fmla="*/ 3 h 34"/>
              <a:gd name="T6" fmla="*/ 9 w 34"/>
              <a:gd name="T7" fmla="*/ 4 h 34"/>
              <a:gd name="T8" fmla="*/ 2 w 34"/>
              <a:gd name="T9" fmla="*/ 22 h 34"/>
              <a:gd name="T10" fmla="*/ 4 w 34"/>
              <a:gd name="T11" fmla="*/ 27 h 34"/>
              <a:gd name="T12" fmla="*/ 19 w 34"/>
              <a:gd name="T13" fmla="*/ 33 h 34"/>
              <a:gd name="T14" fmla="*/ 21 w 34"/>
              <a:gd name="T15" fmla="*/ 33 h 34"/>
              <a:gd name="T16" fmla="*/ 32 w 34"/>
              <a:gd name="T1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32" y="13"/>
                </a:moveTo>
                <a:cubicBezTo>
                  <a:pt x="32" y="13"/>
                  <a:pt x="32" y="13"/>
                  <a:pt x="32" y="12"/>
                </a:cubicBezTo>
                <a:cubicBezTo>
                  <a:pt x="30" y="2"/>
                  <a:pt x="19" y="0"/>
                  <a:pt x="11" y="3"/>
                </a:cubicBezTo>
                <a:cubicBezTo>
                  <a:pt x="9" y="4"/>
                  <a:pt x="9" y="4"/>
                  <a:pt x="9" y="4"/>
                </a:cubicBezTo>
                <a:cubicBezTo>
                  <a:pt x="3" y="7"/>
                  <a:pt x="0" y="15"/>
                  <a:pt x="2" y="22"/>
                </a:cubicBezTo>
                <a:cubicBezTo>
                  <a:pt x="3" y="24"/>
                  <a:pt x="3" y="25"/>
                  <a:pt x="4" y="27"/>
                </a:cubicBezTo>
                <a:cubicBezTo>
                  <a:pt x="7" y="33"/>
                  <a:pt x="14" y="34"/>
                  <a:pt x="19" y="33"/>
                </a:cubicBezTo>
                <a:cubicBezTo>
                  <a:pt x="20" y="33"/>
                  <a:pt x="21" y="33"/>
                  <a:pt x="21" y="33"/>
                </a:cubicBezTo>
                <a:cubicBezTo>
                  <a:pt x="30" y="30"/>
                  <a:pt x="34" y="22"/>
                  <a:pt x="32" y="13"/>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49">
            <a:extLst>
              <a:ext uri="{FF2B5EF4-FFF2-40B4-BE49-F238E27FC236}">
                <a16:creationId xmlns:a16="http://schemas.microsoft.com/office/drawing/2014/main" id="{D228FAF3-16FC-44B0-A7D3-6508C4275095}"/>
              </a:ext>
            </a:extLst>
          </p:cNvPr>
          <p:cNvSpPr>
            <a:spLocks noChangeArrowheads="1"/>
          </p:cNvSpPr>
          <p:nvPr/>
        </p:nvSpPr>
        <p:spPr bwMode="auto">
          <a:xfrm>
            <a:off x="4502194" y="4808546"/>
            <a:ext cx="223838" cy="225425"/>
          </a:xfrm>
          <a:prstGeom prst="ellipse">
            <a:avLst/>
          </a:pr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50">
            <a:extLst>
              <a:ext uri="{FF2B5EF4-FFF2-40B4-BE49-F238E27FC236}">
                <a16:creationId xmlns:a16="http://schemas.microsoft.com/office/drawing/2014/main" id="{F13B4A82-773E-4C38-B4BC-9FC2D1B9181A}"/>
              </a:ext>
            </a:extLst>
          </p:cNvPr>
          <p:cNvSpPr>
            <a:spLocks/>
          </p:cNvSpPr>
          <p:nvPr/>
        </p:nvSpPr>
        <p:spPr bwMode="auto">
          <a:xfrm>
            <a:off x="3786232" y="5440371"/>
            <a:ext cx="292100" cy="225425"/>
          </a:xfrm>
          <a:custGeom>
            <a:avLst/>
            <a:gdLst>
              <a:gd name="T0" fmla="*/ 26 w 52"/>
              <a:gd name="T1" fmla="*/ 0 h 40"/>
              <a:gd name="T2" fmla="*/ 26 w 52"/>
              <a:gd name="T3" fmla="*/ 40 h 40"/>
              <a:gd name="T4" fmla="*/ 26 w 52"/>
              <a:gd name="T5" fmla="*/ 0 h 40"/>
            </a:gdLst>
            <a:ahLst/>
            <a:cxnLst>
              <a:cxn ang="0">
                <a:pos x="T0" y="T1"/>
              </a:cxn>
              <a:cxn ang="0">
                <a:pos x="T2" y="T3"/>
              </a:cxn>
              <a:cxn ang="0">
                <a:pos x="T4" y="T5"/>
              </a:cxn>
            </a:cxnLst>
            <a:rect l="0" t="0" r="r" b="b"/>
            <a:pathLst>
              <a:path w="52" h="40">
                <a:moveTo>
                  <a:pt x="26" y="0"/>
                </a:moveTo>
                <a:cubicBezTo>
                  <a:pt x="0" y="0"/>
                  <a:pt x="0" y="40"/>
                  <a:pt x="26" y="40"/>
                </a:cubicBezTo>
                <a:cubicBezTo>
                  <a:pt x="52" y="40"/>
                  <a:pt x="52" y="0"/>
                  <a:pt x="26"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926">
            <a:extLst>
              <a:ext uri="{FF2B5EF4-FFF2-40B4-BE49-F238E27FC236}">
                <a16:creationId xmlns:a16="http://schemas.microsoft.com/office/drawing/2014/main" id="{D44D4C6F-985C-45DA-9246-F667A3C56AAE}"/>
              </a:ext>
            </a:extLst>
          </p:cNvPr>
          <p:cNvSpPr>
            <a:spLocks noChangeAspect="1" noEditPoints="1"/>
          </p:cNvSpPr>
          <p:nvPr/>
        </p:nvSpPr>
        <p:spPr bwMode="auto">
          <a:xfrm>
            <a:off x="2659804"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926">
            <a:extLst>
              <a:ext uri="{FF2B5EF4-FFF2-40B4-BE49-F238E27FC236}">
                <a16:creationId xmlns:a16="http://schemas.microsoft.com/office/drawing/2014/main" id="{E1990BF4-2F62-4ECF-870B-C3D4428C86A5}"/>
              </a:ext>
            </a:extLst>
          </p:cNvPr>
          <p:cNvSpPr>
            <a:spLocks noChangeAspect="1" noEditPoints="1"/>
          </p:cNvSpPr>
          <p:nvPr/>
        </p:nvSpPr>
        <p:spPr bwMode="auto">
          <a:xfrm>
            <a:off x="6612632" y="708374"/>
            <a:ext cx="306000" cy="306000"/>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TextBox 219">
            <a:extLst>
              <a:ext uri="{FF2B5EF4-FFF2-40B4-BE49-F238E27FC236}">
                <a16:creationId xmlns:a16="http://schemas.microsoft.com/office/drawing/2014/main" id="{4C67A1DD-B02A-4240-9CF0-7E2221509CD2}"/>
              </a:ext>
            </a:extLst>
          </p:cNvPr>
          <p:cNvSpPr txBox="1"/>
          <p:nvPr/>
        </p:nvSpPr>
        <p:spPr>
          <a:xfrm>
            <a:off x="2126176" y="469879"/>
            <a:ext cx="2535625" cy="307777"/>
          </a:xfrm>
          <a:prstGeom prst="rect">
            <a:avLst/>
          </a:prstGeom>
          <a:noFill/>
        </p:spPr>
        <p:txBody>
          <a:bodyPr wrap="square">
            <a:spAutoFit/>
          </a:bodyPr>
          <a:lstStyle/>
          <a:p>
            <a:pPr>
              <a:spcAft>
                <a:spcPts val="0"/>
              </a:spcAft>
            </a:pPr>
            <a:r>
              <a:rPr lang="fr-FR" altLang="zh-CN" sz="1400" dirty="0">
                <a:solidFill>
                  <a:schemeClr val="tx2"/>
                </a:solidFill>
              </a:rPr>
              <a:t>Organisme d’accueil</a:t>
            </a:r>
          </a:p>
        </p:txBody>
      </p:sp>
      <p:sp>
        <p:nvSpPr>
          <p:cNvPr id="74" name="TextBox 220">
            <a:extLst>
              <a:ext uri="{FF2B5EF4-FFF2-40B4-BE49-F238E27FC236}">
                <a16:creationId xmlns:a16="http://schemas.microsoft.com/office/drawing/2014/main" id="{EA2EF373-334E-40A9-8F5A-F722A54926E6}"/>
              </a:ext>
            </a:extLst>
          </p:cNvPr>
          <p:cNvSpPr txBox="1"/>
          <p:nvPr/>
        </p:nvSpPr>
        <p:spPr>
          <a:xfrm>
            <a:off x="5819704" y="469879"/>
            <a:ext cx="2535625" cy="307777"/>
          </a:xfrm>
          <a:prstGeom prst="rect">
            <a:avLst/>
          </a:prstGeom>
          <a:noFill/>
        </p:spPr>
        <p:txBody>
          <a:bodyPr wrap="square">
            <a:spAutoFit/>
          </a:bodyPr>
          <a:lstStyle/>
          <a:p>
            <a:pPr>
              <a:spcAft>
                <a:spcPts val="0"/>
              </a:spcAft>
            </a:pPr>
            <a:r>
              <a:rPr lang="fr-FR" altLang="zh-CN" sz="1400" b="1" dirty="0">
                <a:solidFill>
                  <a:schemeClr val="tx1">
                    <a:lumMod val="75000"/>
                    <a:lumOff val="25000"/>
                  </a:schemeClr>
                </a:solidFill>
              </a:rPr>
              <a:t>Problématique et objectifs</a:t>
            </a:r>
          </a:p>
        </p:txBody>
      </p:sp>
      <p:sp>
        <p:nvSpPr>
          <p:cNvPr id="77" name="TextBox 38">
            <a:extLst>
              <a:ext uri="{FF2B5EF4-FFF2-40B4-BE49-F238E27FC236}">
                <a16:creationId xmlns:a16="http://schemas.microsoft.com/office/drawing/2014/main" id="{AE222612-8157-4765-932F-ECC2FBC1B2DA}"/>
              </a:ext>
            </a:extLst>
          </p:cNvPr>
          <p:cNvSpPr txBox="1"/>
          <p:nvPr/>
        </p:nvSpPr>
        <p:spPr>
          <a:xfrm>
            <a:off x="9513234" y="500490"/>
            <a:ext cx="2420555" cy="307777"/>
          </a:xfrm>
          <a:prstGeom prst="rect">
            <a:avLst/>
          </a:prstGeom>
          <a:noFill/>
        </p:spPr>
        <p:txBody>
          <a:bodyPr wrap="square">
            <a:spAutoFit/>
          </a:bodyPr>
          <a:lstStyle/>
          <a:p>
            <a:pPr>
              <a:spcAft>
                <a:spcPts val="0"/>
              </a:spcAft>
            </a:pPr>
            <a:r>
              <a:rPr lang="fr-FR" altLang="zh-CN" sz="1400" dirty="0">
                <a:solidFill>
                  <a:schemeClr val="tx2"/>
                </a:solidFill>
              </a:rPr>
              <a:t>Conduite du projet</a:t>
            </a:r>
          </a:p>
        </p:txBody>
      </p:sp>
      <p:sp>
        <p:nvSpPr>
          <p:cNvPr id="82" name="Freeform 926">
            <a:extLst>
              <a:ext uri="{FF2B5EF4-FFF2-40B4-BE49-F238E27FC236}">
                <a16:creationId xmlns:a16="http://schemas.microsoft.com/office/drawing/2014/main" id="{2D8446CE-31B9-485B-8C0A-4954ABF3BF2E}"/>
              </a:ext>
            </a:extLst>
          </p:cNvPr>
          <p:cNvSpPr>
            <a:spLocks noChangeAspect="1" noEditPoints="1"/>
          </p:cNvSpPr>
          <p:nvPr/>
        </p:nvSpPr>
        <p:spPr bwMode="auto">
          <a:xfrm>
            <a:off x="10030659" y="713868"/>
            <a:ext cx="295013" cy="295013"/>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 name="Rectangle 82">
            <a:extLst>
              <a:ext uri="{FF2B5EF4-FFF2-40B4-BE49-F238E27FC236}">
                <a16:creationId xmlns:a16="http://schemas.microsoft.com/office/drawing/2014/main" id="{6F68B69B-9603-4776-BBEA-A2D810BD292B}"/>
              </a:ext>
            </a:extLst>
          </p:cNvPr>
          <p:cNvSpPr/>
          <p:nvPr/>
        </p:nvSpPr>
        <p:spPr bwMode="gray">
          <a:xfrm>
            <a:off x="0" y="129978"/>
            <a:ext cx="8915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         I.  Contexte général</a:t>
            </a:r>
          </a:p>
        </p:txBody>
      </p:sp>
      <p:sp>
        <p:nvSpPr>
          <p:cNvPr id="84" name="Rectangle 83">
            <a:extLst>
              <a:ext uri="{FF2B5EF4-FFF2-40B4-BE49-F238E27FC236}">
                <a16:creationId xmlns:a16="http://schemas.microsoft.com/office/drawing/2014/main" id="{E2B9853B-A126-481A-B8FC-5B64138C8FC6}"/>
              </a:ext>
            </a:extLst>
          </p:cNvPr>
          <p:cNvSpPr/>
          <p:nvPr/>
        </p:nvSpPr>
        <p:spPr bwMode="gray">
          <a:xfrm>
            <a:off x="12093375" y="136942"/>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V</a:t>
            </a:r>
          </a:p>
        </p:txBody>
      </p:sp>
      <p:sp>
        <p:nvSpPr>
          <p:cNvPr id="85" name="Rectangle 84">
            <a:extLst>
              <a:ext uri="{FF2B5EF4-FFF2-40B4-BE49-F238E27FC236}">
                <a16:creationId xmlns:a16="http://schemas.microsoft.com/office/drawing/2014/main" id="{B108D9E1-6721-4946-82CE-A875E0AB48B8}"/>
              </a:ext>
            </a:extLst>
          </p:cNvPr>
          <p:cNvSpPr/>
          <p:nvPr/>
        </p:nvSpPr>
        <p:spPr bwMode="gray">
          <a:xfrm>
            <a:off x="10585348" y="129978"/>
            <a:ext cx="1346400"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tx1">
                    <a:lumMod val="85000"/>
                    <a:lumOff val="15000"/>
                  </a:schemeClr>
                </a:solidFill>
              </a:rPr>
              <a:t>III</a:t>
            </a:r>
          </a:p>
        </p:txBody>
      </p:sp>
      <p:sp>
        <p:nvSpPr>
          <p:cNvPr id="86" name="Rectangle 85">
            <a:extLst>
              <a:ext uri="{FF2B5EF4-FFF2-40B4-BE49-F238E27FC236}">
                <a16:creationId xmlns:a16="http://schemas.microsoft.com/office/drawing/2014/main" id="{DF00AD9F-B4E9-4F38-9E57-81A01C74CFCB}"/>
              </a:ext>
            </a:extLst>
          </p:cNvPr>
          <p:cNvSpPr/>
          <p:nvPr/>
        </p:nvSpPr>
        <p:spPr bwMode="gray">
          <a:xfrm>
            <a:off x="9077026" y="129978"/>
            <a:ext cx="1346696" cy="34836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a:solidFill>
                  <a:schemeClr val="tx1">
                    <a:lumMod val="85000"/>
                    <a:lumOff val="15000"/>
                  </a:schemeClr>
                </a:solidFill>
              </a:rPr>
              <a:t>II</a:t>
            </a:r>
          </a:p>
        </p:txBody>
      </p:sp>
    </p:spTree>
    <p:extLst>
      <p:ext uri="{BB962C8B-B14F-4D97-AF65-F5344CB8AC3E}">
        <p14:creationId xmlns:p14="http://schemas.microsoft.com/office/powerpoint/2010/main" val="8007101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22"/>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ags/tag5.xml><?xml version="1.0" encoding="utf-8"?>
<p:tagLst xmlns:a="http://schemas.openxmlformats.org/drawingml/2006/main" xmlns:r="http://schemas.openxmlformats.org/officeDocument/2006/relationships" xmlns:p="http://schemas.openxmlformats.org/presentationml/2006/main">
  <p:tag name="NUM" val="28"/>
</p:tagLst>
</file>

<file path=ppt/tags/tag6.xml><?xml version="1.0" encoding="utf-8"?>
<p:tagLst xmlns:a="http://schemas.openxmlformats.org/drawingml/2006/main" xmlns:r="http://schemas.openxmlformats.org/officeDocument/2006/relationships" xmlns:p="http://schemas.openxmlformats.org/presentationml/2006/main">
  <p:tag name="NUM" val="24"/>
</p:tagLst>
</file>

<file path=ppt/tags/tag7.xml><?xml version="1.0" encoding="utf-8"?>
<p:tagLst xmlns:a="http://schemas.openxmlformats.org/drawingml/2006/main" xmlns:r="http://schemas.openxmlformats.org/officeDocument/2006/relationships" xmlns:p="http://schemas.openxmlformats.org/presentationml/2006/main">
  <p:tag name="NUM" val="30"/>
</p:tagLst>
</file>

<file path=ppt/tags/tag8.xml><?xml version="1.0" encoding="utf-8"?>
<p:tagLst xmlns:a="http://schemas.openxmlformats.org/drawingml/2006/main" xmlns:r="http://schemas.openxmlformats.org/officeDocument/2006/relationships" xmlns:p="http://schemas.openxmlformats.org/presentationml/2006/main">
  <p:tag name="NUM" val="26"/>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Default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 Theme" id="{30D23596-C60A-493D-B210-FAEB436D8986}" vid="{E7DE79C4-FB34-4429-B6D1-386817C710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85D0C9C98C504296A1479F96A4E295" ma:contentTypeVersion="6" ma:contentTypeDescription="Create a new document." ma:contentTypeScope="" ma:versionID="f592b31f9ceadb241bed8f9e9ae05a04">
  <xsd:schema xmlns:xsd="http://www.w3.org/2001/XMLSchema" xmlns:xs="http://www.w3.org/2001/XMLSchema" xmlns:p="http://schemas.microsoft.com/office/2006/metadata/properties" xmlns:ns2="8b3c0b11-1945-4763-a012-472344be3fdd" xmlns:ns3="fed9ef73-2b7e-4bbe-aac8-42bf0494de1a" targetNamespace="http://schemas.microsoft.com/office/2006/metadata/properties" ma:root="true" ma:fieldsID="d1aa41a849e0a5ba333b4981524c6ca8" ns2:_="" ns3:_="">
    <xsd:import namespace="8b3c0b11-1945-4763-a012-472344be3fdd"/>
    <xsd:import namespace="fed9ef73-2b7e-4bbe-aac8-42bf0494de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3c0b11-1945-4763-a012-472344be3f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ed9ef73-2b7e-4bbe-aac8-42bf0494de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D2AEEA-5F3C-4544-9A8F-1E6B7988FCC6}">
  <ds:schemaRefs>
    <ds:schemaRef ds:uri="http://schemas.microsoft.com/sharepoint/v3/contenttype/forms"/>
  </ds:schemaRefs>
</ds:datastoreItem>
</file>

<file path=customXml/itemProps2.xml><?xml version="1.0" encoding="utf-8"?>
<ds:datastoreItem xmlns:ds="http://schemas.openxmlformats.org/officeDocument/2006/customXml" ds:itemID="{40D79925-B213-44B7-A7F0-8E0066AC65EC}">
  <ds:schemaRefs>
    <ds:schemaRef ds:uri="http://purl.org/dc/dcmitype/"/>
    <ds:schemaRef ds:uri="http://purl.org/dc/elements/1.1/"/>
    <ds:schemaRef ds:uri="8b3c0b11-1945-4763-a012-472344be3fdd"/>
    <ds:schemaRef ds:uri="http://schemas.microsoft.com/office/2006/documentManagement/types"/>
    <ds:schemaRef ds:uri="http://www.w3.org/XML/1998/namespace"/>
    <ds:schemaRef ds:uri="http://schemas.microsoft.com/office/2006/metadata/properties"/>
    <ds:schemaRef ds:uri="http://purl.org/dc/terms/"/>
    <ds:schemaRef ds:uri="http://schemas.microsoft.com/office/infopath/2007/PartnerControls"/>
    <ds:schemaRef ds:uri="http://schemas.openxmlformats.org/package/2006/metadata/core-properties"/>
    <ds:schemaRef ds:uri="fed9ef73-2b7e-4bbe-aac8-42bf0494de1a"/>
  </ds:schemaRefs>
</ds:datastoreItem>
</file>

<file path=customXml/itemProps3.xml><?xml version="1.0" encoding="utf-8"?>
<ds:datastoreItem xmlns:ds="http://schemas.openxmlformats.org/officeDocument/2006/customXml" ds:itemID="{1787DCEE-6A43-4023-91D6-2A231A6659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3c0b11-1945-4763-a012-472344be3fdd"/>
    <ds:schemaRef ds:uri="fed9ef73-2b7e-4bbe-aac8-42bf0494de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5403</TotalTime>
  <Words>6658</Words>
  <Application>Microsoft Office PowerPoint</Application>
  <PresentationFormat>Custom</PresentationFormat>
  <Paragraphs>1382</Paragraphs>
  <Slides>52</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3" baseType="lpstr">
      <vt:lpstr>Arial</vt:lpstr>
      <vt:lpstr>Bahnschrift</vt:lpstr>
      <vt:lpstr>Calibri</vt:lpstr>
      <vt:lpstr>Calibri Light</vt:lpstr>
      <vt:lpstr>Cambria</vt:lpstr>
      <vt:lpstr>Söhne</vt:lpstr>
      <vt:lpstr>Verdana</vt:lpstr>
      <vt:lpstr>Wingdings</vt:lpstr>
      <vt:lpstr>Wingdings 2</vt:lpstr>
      <vt:lpstr>Default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 Bakkouri, Manal</dc:creator>
  <cp:lastModifiedBy>El Bakkouri, Manal</cp:lastModifiedBy>
  <cp:revision>1</cp:revision>
  <dcterms:created xsi:type="dcterms:W3CDTF">2023-05-15T14:37:08Z</dcterms:created>
  <dcterms:modified xsi:type="dcterms:W3CDTF">2024-02-22T08:5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15T14:37:0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fd50613-b60a-4271-a455-a84c6bee2b61</vt:lpwstr>
  </property>
  <property fmtid="{D5CDD505-2E9C-101B-9397-08002B2CF9AE}" pid="8" name="MSIP_Label_ea60d57e-af5b-4752-ac57-3e4f28ca11dc_ContentBits">
    <vt:lpwstr>0</vt:lpwstr>
  </property>
  <property fmtid="{D5CDD505-2E9C-101B-9397-08002B2CF9AE}" pid="9" name="ContentTypeId">
    <vt:lpwstr>0x0101009685D0C9C98C504296A1479F96A4E295</vt:lpwstr>
  </property>
</Properties>
</file>